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webextensions/taskpanes.xml" ContentType="application/vnd.ms-office.webextensiontaskpanes+xml"/>
  <Override PartName="/ppt/webextensions/webextension1.xml" ContentType="application/vnd.ms-office.webextension+xml"/>
  <Override PartName="/ppt/webextensions/webextension2.xml" ContentType="application/vnd.ms-office.webextension+xml"/>
  <Override PartName="/ppt/webextensions/webextension3.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3.xml" ContentType="application/vnd.openxmlformats-officedocument.theme+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4.xml" ContentType="application/vnd.openxmlformats-officedocument.theme+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autoCompressPictures="0">
  <p:sldMasterIdLst>
    <p:sldMasterId id="2147483648" r:id="rId4"/>
    <p:sldMasterId id="2147483864" r:id="rId5"/>
    <p:sldMasterId id="2147483939" r:id="rId6"/>
    <p:sldMasterId id="2147483999" r:id="rId7"/>
  </p:sldMasterIdLst>
  <p:notesMasterIdLst>
    <p:notesMasterId r:id="rId25"/>
  </p:notesMasterIdLst>
  <p:handoutMasterIdLst>
    <p:handoutMasterId r:id="rId26"/>
  </p:handoutMasterIdLst>
  <p:sldIdLst>
    <p:sldId id="2147483590" r:id="rId8"/>
    <p:sldId id="2147483574" r:id="rId9"/>
    <p:sldId id="2147483575" r:id="rId10"/>
    <p:sldId id="2147483591" r:id="rId11"/>
    <p:sldId id="2147483577" r:id="rId12"/>
    <p:sldId id="2147483578" r:id="rId13"/>
    <p:sldId id="2147483579" r:id="rId14"/>
    <p:sldId id="2147483568" r:id="rId15"/>
    <p:sldId id="2147483581" r:id="rId16"/>
    <p:sldId id="2147483582" r:id="rId17"/>
    <p:sldId id="2147483580" r:id="rId18"/>
    <p:sldId id="2147483563" r:id="rId19"/>
    <p:sldId id="2147483587" r:id="rId20"/>
    <p:sldId id="2147483588" r:id="rId21"/>
    <p:sldId id="2147483586" r:id="rId22"/>
    <p:sldId id="2147483584" r:id="rId23"/>
    <p:sldId id="297" r:id="rId24"/>
  </p:sldIdLst>
  <p:sldSz cx="12192000" cy="6858000"/>
  <p:notesSz cx="6797675" cy="9928225"/>
  <p:embeddedFontLst>
    <p:embeddedFont>
      <p:font typeface="Roboto" panose="02000000000000000000" pitchFamily="2" charset="0"/>
      <p:regular r:id="rId27"/>
      <p:bold r:id="rId28"/>
      <p:italic r:id="rId29"/>
      <p:boldItalic r:id="rId30"/>
    </p:embeddedFont>
    <p:embeddedFont>
      <p:font typeface="Segoe UI" panose="020B0502040204020203" pitchFamily="34" charset="0"/>
      <p:regular r:id="rId31"/>
      <p:bold r:id="rId32"/>
      <p:italic r:id="rId33"/>
      <p:boldItalic r:id="rId34"/>
    </p:embeddedFont>
  </p:embeddedFontLst>
  <p:custDataLst>
    <p:tags r:id="rId3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AA20936-35FD-4F45-8B93-B8D8CDF1B3A8}">
          <p14:sldIdLst>
            <p14:sldId id="2147483590"/>
            <p14:sldId id="2147483574"/>
            <p14:sldId id="2147483575"/>
            <p14:sldId id="2147483591"/>
            <p14:sldId id="2147483577"/>
            <p14:sldId id="2147483578"/>
            <p14:sldId id="2147483579"/>
            <p14:sldId id="2147483568"/>
            <p14:sldId id="2147483581"/>
            <p14:sldId id="2147483582"/>
            <p14:sldId id="2147483580"/>
            <p14:sldId id="2147483563"/>
            <p14:sldId id="2147483587"/>
            <p14:sldId id="2147483588"/>
            <p14:sldId id="2147483586"/>
            <p14:sldId id="2147483584"/>
            <p14:sldId id="297"/>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993E110-CB2A-DF73-30F1-52B350EAAFF1}" name="Leire Sarasola Santiago" initials="LS" userId="S::Leire_Sarasola_Santiago@mckinsey.com::28d2d51b-6b56-4966-af21-ff2d3724b935" providerId="AD"/>
  <p188:author id="{DA20E185-106B-BC1E-74F8-4A4C7D7A70C3}" name="Carolyne Gathinji" initials="CG" userId="S::carolyne_gathinji@mckinsey.com::32232d56-7fe0-4579-b671-a77d632d1aad"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7CFFF"/>
    <a:srgbClr val="FFFFFF"/>
    <a:srgbClr val="FF9A6D"/>
    <a:srgbClr val="FABEC0"/>
    <a:srgbClr val="D61118"/>
    <a:srgbClr val="88B59D"/>
    <a:srgbClr val="F47477"/>
    <a:srgbClr val="076533"/>
    <a:srgbClr val="F74B00"/>
    <a:srgbClr val="FF916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3714E19-8C8C-7934-F849-2B702B4ADB02}" v="58" dt="2026-07-08T12:06:16.771"/>
    <p1510:client id="{112D5943-72D0-D858-566D-7546BB18E6D1}" v="11" dt="2026-07-08T07:30:21.986"/>
    <p1510:client id="{66854DC4-7310-FAA9-A6B5-43E24D4746B9}" v="1" dt="2026-07-08T07:49:32.477"/>
    <p1510:client id="{80D9EFEA-C78D-B821-D60A-6F003A6D922A}" v="17" dt="2026-07-08T08:09:42.718"/>
    <p1510:client id="{C4D8FDBA-9C8D-4F5D-B79D-77BCC4359065}" v="488" dt="2026-07-08T09:11:07.19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47" autoAdjust="0"/>
    <p:restoredTop sz="94660"/>
  </p:normalViewPr>
  <p:slideViewPr>
    <p:cSldViewPr snapToGrid="0">
      <p:cViewPr>
        <p:scale>
          <a:sx n="63" d="100"/>
          <a:sy n="63" d="100"/>
        </p:scale>
        <p:origin x="800" y="26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handoutMaster" Target="handoutMasters/handoutMaster1.xml"/><Relationship Id="rId39" Type="http://schemas.openxmlformats.org/officeDocument/2006/relationships/theme" Target="theme/theme1.xml"/><Relationship Id="rId21" Type="http://schemas.openxmlformats.org/officeDocument/2006/relationships/slide" Target="slides/slide14.xml"/><Relationship Id="rId34" Type="http://schemas.openxmlformats.org/officeDocument/2006/relationships/font" Target="fonts/font8.fntdata"/><Relationship Id="rId42" Type="http://schemas.microsoft.com/office/2018/10/relationships/authors" Targe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font" Target="fonts/font3.fntdata"/><Relationship Id="rId41"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font" Target="fonts/font6.fntdata"/><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font" Target="fonts/font2.fntdata"/><Relationship Id="rId36" Type="http://schemas.openxmlformats.org/officeDocument/2006/relationships/commentAuthors" Target="commentAuthor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font" Target="fonts/font5.fntdata"/><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font" Target="fonts/font1.fntdata"/><Relationship Id="rId30" Type="http://schemas.openxmlformats.org/officeDocument/2006/relationships/font" Target="fonts/font4.fntdata"/><Relationship Id="rId35" Type="http://schemas.openxmlformats.org/officeDocument/2006/relationships/tags" Target="tags/tag1.xml"/><Relationship Id="rId8" Type="http://schemas.openxmlformats.org/officeDocument/2006/relationships/slide" Target="slides/slide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notesMaster" Target="notesMasters/notesMaster1.xml"/><Relationship Id="rId33" Type="http://schemas.openxmlformats.org/officeDocument/2006/relationships/font" Target="fonts/font7.fntdata"/><Relationship Id="rId38"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1" y="0"/>
            <a:ext cx="2946064" cy="496915"/>
          </a:xfrm>
          <a:prstGeom prst="rect">
            <a:avLst/>
          </a:prstGeom>
        </p:spPr>
        <p:txBody>
          <a:bodyPr vert="horz" lIns="90416" tIns="45208" rIns="90416" bIns="45208" rtlCol="0"/>
          <a:lstStyle>
            <a:lvl1pPr algn="l">
              <a:defRPr sz="1200"/>
            </a:lvl1pPr>
          </a:lstStyle>
          <a:p>
            <a:endParaRPr lang="en-US"/>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3850092" y="0"/>
            <a:ext cx="2946064" cy="496915"/>
          </a:xfrm>
          <a:prstGeom prst="rect">
            <a:avLst/>
          </a:prstGeom>
        </p:spPr>
        <p:txBody>
          <a:bodyPr vert="horz" lIns="90416" tIns="45208" rIns="90416" bIns="45208" rtlCol="0"/>
          <a:lstStyle>
            <a:lvl1pPr algn="r">
              <a:defRPr sz="1200"/>
            </a:lvl1pPr>
          </a:lstStyle>
          <a:p>
            <a:fld id="{A6BD5B6C-20AF-4F0F-889A-7AADC7535123}" type="datetime3">
              <a:rPr lang="en-US" smtClean="0"/>
              <a:t>8 July 2026</a:t>
            </a:fld>
            <a:endParaRPr lang="en-US"/>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1" y="9431310"/>
            <a:ext cx="2946064" cy="496915"/>
          </a:xfrm>
          <a:prstGeom prst="rect">
            <a:avLst/>
          </a:prstGeom>
        </p:spPr>
        <p:txBody>
          <a:bodyPr vert="horz" lIns="90416" tIns="45208" rIns="90416" bIns="45208"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3850092" y="9431310"/>
            <a:ext cx="2946064" cy="496915"/>
          </a:xfrm>
          <a:prstGeom prst="rect">
            <a:avLst/>
          </a:prstGeom>
        </p:spPr>
        <p:txBody>
          <a:bodyPr vert="horz" lIns="90416" tIns="45208" rIns="90416" bIns="45208" rtlCol="0" anchor="b"/>
          <a:lstStyle>
            <a:lvl1pPr algn="r">
              <a:defRPr sz="1200"/>
            </a:lvl1pPr>
          </a:lstStyle>
          <a:p>
            <a:fld id="{D2610F73-99D1-48E7-A408-B5EB5C8393F8}" type="slidenum">
              <a:rPr lang="en-US" smtClean="0"/>
              <a:t>‹#›</a:t>
            </a:fld>
            <a:endParaRPr lang="en-US"/>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135"/>
          </a:xfrm>
          <a:prstGeom prst="rect">
            <a:avLst/>
          </a:prstGeom>
        </p:spPr>
        <p:txBody>
          <a:bodyPr vert="horz" lIns="904159" tIns="46586" rIns="93174" bIns="46586" rtlCol="0"/>
          <a:lstStyle>
            <a:lvl1pPr algn="l" rtl="0">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3850443" y="0"/>
            <a:ext cx="2945659" cy="498135"/>
          </a:xfrm>
          <a:prstGeom prst="rect">
            <a:avLst/>
          </a:prstGeom>
        </p:spPr>
        <p:txBody>
          <a:bodyPr vert="horz" lIns="93174" tIns="46586" rIns="904159" bIns="46586" rtlCol="0"/>
          <a:lstStyle>
            <a:lvl1pPr algn="r" rtl="0">
              <a:defRPr sz="900">
                <a:latin typeface="+mn-lt"/>
                <a:cs typeface="Arial" panose="020B0604020202020204" pitchFamily="34" charset="0"/>
              </a:defRPr>
            </a:lvl1pPr>
          </a:lstStyle>
          <a:p>
            <a:fld id="{1DF34805-1F01-4BDA-A8CA-FCEA2B4BC8D0}" type="datetime3">
              <a:rPr lang="en-US" smtClean="0"/>
              <a:pPr/>
              <a:t>8 July 2026</a:t>
            </a:fld>
            <a:endParaRPr lang="en-US"/>
          </a:p>
        </p:txBody>
      </p:sp>
      <p:sp>
        <p:nvSpPr>
          <p:cNvPr id="4" name="Slide Image Placeholder 3"/>
          <p:cNvSpPr>
            <a:spLocks noGrp="1" noRot="1" noChangeAspect="1"/>
          </p:cNvSpPr>
          <p:nvPr>
            <p:ph type="sldImg" idx="2"/>
          </p:nvPr>
        </p:nvSpPr>
        <p:spPr>
          <a:xfrm>
            <a:off x="422275" y="596900"/>
            <a:ext cx="5953125" cy="3349625"/>
          </a:xfrm>
          <a:prstGeom prst="rect">
            <a:avLst/>
          </a:prstGeom>
          <a:noFill/>
          <a:ln w="6350">
            <a:solidFill>
              <a:prstClr val="black"/>
            </a:solidFill>
          </a:ln>
        </p:spPr>
        <p:txBody>
          <a:bodyPr vert="horz" lIns="93174" tIns="46586" rIns="93174" bIns="46586" rtlCol="0" anchor="ctr"/>
          <a:lstStyle/>
          <a:p>
            <a:endParaRPr lang="en-US"/>
          </a:p>
        </p:txBody>
      </p:sp>
      <p:sp>
        <p:nvSpPr>
          <p:cNvPr id="6" name="Footer Placeholder 5"/>
          <p:cNvSpPr>
            <a:spLocks noGrp="1"/>
          </p:cNvSpPr>
          <p:nvPr>
            <p:ph type="ftr" sz="quarter" idx="4"/>
          </p:nvPr>
        </p:nvSpPr>
        <p:spPr>
          <a:xfrm>
            <a:off x="0" y="9430092"/>
            <a:ext cx="2945659" cy="498134"/>
          </a:xfrm>
          <a:prstGeom prst="rect">
            <a:avLst/>
          </a:prstGeom>
        </p:spPr>
        <p:txBody>
          <a:bodyPr vert="horz" lIns="904159" tIns="46586" rIns="93174" bIns="46586" rtlCol="0" anchor="b"/>
          <a:lstStyle>
            <a:lvl1pPr algn="l" rtl="0">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3850443" y="9430092"/>
            <a:ext cx="2945659" cy="498134"/>
          </a:xfrm>
          <a:prstGeom prst="rect">
            <a:avLst/>
          </a:prstGeom>
        </p:spPr>
        <p:txBody>
          <a:bodyPr vert="horz" lIns="93174" tIns="46586" rIns="904159" bIns="46586" rtlCol="0" anchor="b"/>
          <a:lstStyle>
            <a:lvl1pPr algn="r" rtl="0">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5" name="Notes Placeholder 4">
            <a:extLst>
              <a:ext uri="{FF2B5EF4-FFF2-40B4-BE49-F238E27FC236}">
                <a16:creationId xmlns:a16="http://schemas.microsoft.com/office/drawing/2014/main" id="{22FEA09E-B533-4D4E-953A-87FE390760BA}"/>
              </a:ext>
            </a:extLst>
          </p:cNvPr>
          <p:cNvSpPr>
            <a:spLocks noGrp="1"/>
          </p:cNvSpPr>
          <p:nvPr>
            <p:ph type="body" sz="quarter" idx="3"/>
          </p:nvPr>
        </p:nvSpPr>
        <p:spPr>
          <a:xfrm>
            <a:off x="703470" y="4777770"/>
            <a:ext cx="5390735" cy="1000274"/>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300"/>
      </a:spcBef>
      <a:spcAft>
        <a:spcPts val="300"/>
      </a:spcAft>
      <a:defRPr lang="en-US" sz="1100" kern="1200">
        <a:solidFill>
          <a:schemeClr val="tx1"/>
        </a:solidFill>
        <a:latin typeface="+mn-lt"/>
        <a:ea typeface="+mn-ea"/>
        <a:cs typeface="Arial" panose="020B0604020202020204" pitchFamily="34" charset="0"/>
      </a:defRPr>
    </a:lvl1pPr>
    <a:lvl2pPr marL="144000" indent="-144000" algn="l" defTabSz="914400" rtl="0" eaLnBrk="1" latinLnBrk="0" hangingPunct="1">
      <a:spcAft>
        <a:spcPts val="300"/>
      </a:spcAft>
      <a:buSzPct val="110000"/>
      <a:buFont typeface="Wingdings" panose="05000000000000000000" pitchFamily="2" charset="2"/>
      <a:buChar char=""/>
      <a:defRPr lang="en-US" sz="1100" kern="1200">
        <a:solidFill>
          <a:schemeClr val="tx1"/>
        </a:solidFill>
        <a:latin typeface="+mn-lt"/>
        <a:ea typeface="+mn-ea"/>
        <a:cs typeface="+mn-cs"/>
      </a:defRPr>
    </a:lvl2pPr>
    <a:lvl3pPr marL="288000" indent="-144000" algn="l" defTabSz="914400" rtl="0" eaLnBrk="1" latinLnBrk="0" hangingPunct="1">
      <a:spcAft>
        <a:spcPts val="300"/>
      </a:spcAft>
      <a:buSzPct val="110000"/>
      <a:buFont typeface="Arial" panose="020B0604020202020204" pitchFamily="34" charset="0"/>
      <a:buChar char="‒"/>
      <a:defRPr lang="en-US" sz="1100" kern="1200">
        <a:solidFill>
          <a:schemeClr val="tx1"/>
        </a:solidFill>
        <a:latin typeface="+mn-lt"/>
        <a:ea typeface="+mn-ea"/>
        <a:cs typeface="+mn-cs"/>
      </a:defRPr>
    </a:lvl3pPr>
    <a:lvl4pPr marL="432000" indent="-144000" algn="l" defTabSz="914400" rtl="0" eaLnBrk="1" latinLnBrk="0" hangingPunct="1">
      <a:spcAft>
        <a:spcPts val="300"/>
      </a:spcAft>
      <a:buSzPct val="100000"/>
      <a:buFont typeface="Arial" panose="020B0604020202020204" pitchFamily="34" charset="0"/>
      <a:buChar char="•"/>
      <a:defRPr lang="en-US" sz="1100" kern="1200">
        <a:solidFill>
          <a:schemeClr val="tx1"/>
        </a:solidFill>
        <a:latin typeface="+mn-lt"/>
        <a:ea typeface="+mn-ea"/>
        <a:cs typeface="+mn-cs"/>
      </a:defRPr>
    </a:lvl4pPr>
    <a:lvl5pPr marL="576000" indent="-144000" algn="l" defTabSz="914400" rtl="0" eaLnBrk="1" latinLnBrk="0" hangingPunct="1">
      <a:spcAft>
        <a:spcPts val="300"/>
      </a:spcAft>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25.xml"/><Relationship Id="rId7" Type="http://schemas.openxmlformats.org/officeDocument/2006/relationships/slideMaster" Target="../slideMasters/slideMaster1.xml"/><Relationship Id="rId12" Type="http://schemas.openxmlformats.org/officeDocument/2006/relationships/image" Target="../media/image8.png"/><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tags" Target="../tags/tag28.xml"/><Relationship Id="rId11" Type="http://schemas.openxmlformats.org/officeDocument/2006/relationships/image" Target="../media/image7.png"/><Relationship Id="rId5" Type="http://schemas.openxmlformats.org/officeDocument/2006/relationships/tags" Target="../tags/tag27.xml"/><Relationship Id="rId10" Type="http://schemas.openxmlformats.org/officeDocument/2006/relationships/image" Target="../media/image6.png"/><Relationship Id="rId4" Type="http://schemas.openxmlformats.org/officeDocument/2006/relationships/tags" Target="../tags/tag26.xml"/><Relationship Id="rId9" Type="http://schemas.openxmlformats.org/officeDocument/2006/relationships/image" Target="../media/image5.emf"/></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91.xml"/><Relationship Id="rId13" Type="http://schemas.openxmlformats.org/officeDocument/2006/relationships/image" Target="../media/image4.png"/><Relationship Id="rId3" Type="http://schemas.openxmlformats.org/officeDocument/2006/relationships/tags" Target="../tags/tag86.xml"/><Relationship Id="rId7" Type="http://schemas.openxmlformats.org/officeDocument/2006/relationships/tags" Target="../tags/tag90.xml"/><Relationship Id="rId12" Type="http://schemas.openxmlformats.org/officeDocument/2006/relationships/image" Target="../media/image2.png"/><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tags" Target="../tags/tag89.xml"/><Relationship Id="rId11" Type="http://schemas.openxmlformats.org/officeDocument/2006/relationships/image" Target="../media/image1.emf"/><Relationship Id="rId5" Type="http://schemas.openxmlformats.org/officeDocument/2006/relationships/tags" Target="../tags/tag88.xml"/><Relationship Id="rId10" Type="http://schemas.openxmlformats.org/officeDocument/2006/relationships/oleObject" Target="../embeddings/oleObject9.bin"/><Relationship Id="rId4" Type="http://schemas.openxmlformats.org/officeDocument/2006/relationships/tags" Target="../tags/tag87.xml"/><Relationship Id="rId9"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99.xml"/><Relationship Id="rId13" Type="http://schemas.openxmlformats.org/officeDocument/2006/relationships/image" Target="../media/image4.png"/><Relationship Id="rId3" Type="http://schemas.openxmlformats.org/officeDocument/2006/relationships/tags" Target="../tags/tag94.xml"/><Relationship Id="rId7" Type="http://schemas.openxmlformats.org/officeDocument/2006/relationships/tags" Target="../tags/tag98.xml"/><Relationship Id="rId12" Type="http://schemas.openxmlformats.org/officeDocument/2006/relationships/image" Target="../media/image2.png"/><Relationship Id="rId2" Type="http://schemas.openxmlformats.org/officeDocument/2006/relationships/tags" Target="../tags/tag93.xml"/><Relationship Id="rId1" Type="http://schemas.openxmlformats.org/officeDocument/2006/relationships/tags" Target="../tags/tag92.xml"/><Relationship Id="rId6" Type="http://schemas.openxmlformats.org/officeDocument/2006/relationships/tags" Target="../tags/tag97.xml"/><Relationship Id="rId11" Type="http://schemas.openxmlformats.org/officeDocument/2006/relationships/image" Target="../media/image10.emf"/><Relationship Id="rId5" Type="http://schemas.openxmlformats.org/officeDocument/2006/relationships/tags" Target="../tags/tag96.xml"/><Relationship Id="rId10" Type="http://schemas.openxmlformats.org/officeDocument/2006/relationships/oleObject" Target="../embeddings/oleObject8.bin"/><Relationship Id="rId4" Type="http://schemas.openxmlformats.org/officeDocument/2006/relationships/tags" Target="../tags/tag95.xml"/><Relationship Id="rId9"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107.xml"/><Relationship Id="rId13" Type="http://schemas.openxmlformats.org/officeDocument/2006/relationships/image" Target="../media/image4.png"/><Relationship Id="rId3" Type="http://schemas.openxmlformats.org/officeDocument/2006/relationships/tags" Target="../tags/tag102.xml"/><Relationship Id="rId7" Type="http://schemas.openxmlformats.org/officeDocument/2006/relationships/tags" Target="../tags/tag106.xml"/><Relationship Id="rId12" Type="http://schemas.openxmlformats.org/officeDocument/2006/relationships/image" Target="../media/image2.png"/><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tags" Target="../tags/tag105.xml"/><Relationship Id="rId11" Type="http://schemas.openxmlformats.org/officeDocument/2006/relationships/image" Target="../media/image1.emf"/><Relationship Id="rId5" Type="http://schemas.openxmlformats.org/officeDocument/2006/relationships/tags" Target="../tags/tag104.xml"/><Relationship Id="rId10" Type="http://schemas.openxmlformats.org/officeDocument/2006/relationships/oleObject" Target="../embeddings/oleObject9.bin"/><Relationship Id="rId4" Type="http://schemas.openxmlformats.org/officeDocument/2006/relationships/tags" Target="../tags/tag103.xml"/><Relationship Id="rId9"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10.xml"/><Relationship Id="rId7" Type="http://schemas.openxmlformats.org/officeDocument/2006/relationships/image" Target="../media/image5.emf"/><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oleObject" Target="../embeddings/oleObject10.bin"/><Relationship Id="rId5" Type="http://schemas.openxmlformats.org/officeDocument/2006/relationships/slideMaster" Target="../slideMasters/slideMaster1.xml"/><Relationship Id="rId4" Type="http://schemas.openxmlformats.org/officeDocument/2006/relationships/tags" Target="../tags/tag111.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134.xml"/><Relationship Id="rId7" Type="http://schemas.openxmlformats.org/officeDocument/2006/relationships/oleObject" Target="../embeddings/oleObject12.bin"/><Relationship Id="rId2" Type="http://schemas.openxmlformats.org/officeDocument/2006/relationships/tags" Target="../tags/tag133.xml"/><Relationship Id="rId1" Type="http://schemas.openxmlformats.org/officeDocument/2006/relationships/tags" Target="../tags/tag132.xml"/><Relationship Id="rId6" Type="http://schemas.openxmlformats.org/officeDocument/2006/relationships/slideMaster" Target="../slideMasters/slideMaster2.xml"/><Relationship Id="rId11" Type="http://schemas.openxmlformats.org/officeDocument/2006/relationships/image" Target="../media/image8.png"/><Relationship Id="rId5" Type="http://schemas.openxmlformats.org/officeDocument/2006/relationships/tags" Target="../tags/tag136.xml"/><Relationship Id="rId10" Type="http://schemas.openxmlformats.org/officeDocument/2006/relationships/image" Target="../media/image7.png"/><Relationship Id="rId4" Type="http://schemas.openxmlformats.org/officeDocument/2006/relationships/tags" Target="../tags/tag135.xml"/><Relationship Id="rId9" Type="http://schemas.openxmlformats.org/officeDocument/2006/relationships/image" Target="../media/image13.png"/></Relationships>
</file>

<file path=ppt/slideLayouts/_rels/slideLayout15.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39.xml"/><Relationship Id="rId7" Type="http://schemas.openxmlformats.org/officeDocument/2006/relationships/tags" Target="../tags/tag143.xml"/><Relationship Id="rId2" Type="http://schemas.openxmlformats.org/officeDocument/2006/relationships/tags" Target="../tags/tag138.xml"/><Relationship Id="rId1" Type="http://schemas.openxmlformats.org/officeDocument/2006/relationships/tags" Target="../tags/tag137.xml"/><Relationship Id="rId6" Type="http://schemas.openxmlformats.org/officeDocument/2006/relationships/tags" Target="../tags/tag142.xml"/><Relationship Id="rId5" Type="http://schemas.openxmlformats.org/officeDocument/2006/relationships/tags" Target="../tags/tag141.xml"/><Relationship Id="rId10" Type="http://schemas.openxmlformats.org/officeDocument/2006/relationships/image" Target="../media/image1.emf"/><Relationship Id="rId4" Type="http://schemas.openxmlformats.org/officeDocument/2006/relationships/tags" Target="../tags/tag140.xml"/><Relationship Id="rId9" Type="http://schemas.openxmlformats.org/officeDocument/2006/relationships/oleObject" Target="../embeddings/oleObject13.bin"/></Relationships>
</file>

<file path=ppt/slideLayouts/_rels/slideLayout16.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46.xml"/><Relationship Id="rId7" Type="http://schemas.openxmlformats.org/officeDocument/2006/relationships/tags" Target="../tags/tag150.xml"/><Relationship Id="rId2" Type="http://schemas.openxmlformats.org/officeDocument/2006/relationships/tags" Target="../tags/tag145.xml"/><Relationship Id="rId1" Type="http://schemas.openxmlformats.org/officeDocument/2006/relationships/tags" Target="../tags/tag144.xml"/><Relationship Id="rId6" Type="http://schemas.openxmlformats.org/officeDocument/2006/relationships/tags" Target="../tags/tag149.xml"/><Relationship Id="rId5" Type="http://schemas.openxmlformats.org/officeDocument/2006/relationships/tags" Target="../tags/tag148.xml"/><Relationship Id="rId10" Type="http://schemas.openxmlformats.org/officeDocument/2006/relationships/image" Target="../media/image1.emf"/><Relationship Id="rId4" Type="http://schemas.openxmlformats.org/officeDocument/2006/relationships/tags" Target="../tags/tag147.xml"/><Relationship Id="rId9" Type="http://schemas.openxmlformats.org/officeDocument/2006/relationships/oleObject" Target="../embeddings/oleObject14.bin"/></Relationships>
</file>

<file path=ppt/slideLayouts/_rels/slideLayout17.xml.rels><?xml version="1.0" encoding="UTF-8" standalone="yes"?>
<Relationships xmlns="http://schemas.openxmlformats.org/package/2006/relationships"><Relationship Id="rId8" Type="http://schemas.openxmlformats.org/officeDocument/2006/relationships/oleObject" Target="../embeddings/oleObject15.bin"/><Relationship Id="rId3" Type="http://schemas.openxmlformats.org/officeDocument/2006/relationships/tags" Target="../tags/tag153.xml"/><Relationship Id="rId7" Type="http://schemas.openxmlformats.org/officeDocument/2006/relationships/slideMaster" Target="../slideMasters/slideMaster2.xml"/><Relationship Id="rId2" Type="http://schemas.openxmlformats.org/officeDocument/2006/relationships/tags" Target="../tags/tag152.xml"/><Relationship Id="rId1" Type="http://schemas.openxmlformats.org/officeDocument/2006/relationships/tags" Target="../tags/tag151.xml"/><Relationship Id="rId6" Type="http://schemas.openxmlformats.org/officeDocument/2006/relationships/tags" Target="../tags/tag156.xml"/><Relationship Id="rId5" Type="http://schemas.openxmlformats.org/officeDocument/2006/relationships/tags" Target="../tags/tag155.xml"/><Relationship Id="rId4" Type="http://schemas.openxmlformats.org/officeDocument/2006/relationships/tags" Target="../tags/tag154.xml"/><Relationship Id="rId9" Type="http://schemas.openxmlformats.org/officeDocument/2006/relationships/image" Target="../media/image5.emf"/></Relationships>
</file>

<file path=ppt/slideLayouts/_rels/slideLayout18.xml.rels><?xml version="1.0" encoding="UTF-8" standalone="yes"?>
<Relationships xmlns="http://schemas.openxmlformats.org/package/2006/relationships"><Relationship Id="rId8" Type="http://schemas.openxmlformats.org/officeDocument/2006/relationships/oleObject" Target="../embeddings/oleObject15.bin"/><Relationship Id="rId3" Type="http://schemas.openxmlformats.org/officeDocument/2006/relationships/tags" Target="../tags/tag159.xml"/><Relationship Id="rId7" Type="http://schemas.openxmlformats.org/officeDocument/2006/relationships/slideMaster" Target="../slideMasters/slideMaster2.xml"/><Relationship Id="rId2" Type="http://schemas.openxmlformats.org/officeDocument/2006/relationships/tags" Target="../tags/tag158.xml"/><Relationship Id="rId1" Type="http://schemas.openxmlformats.org/officeDocument/2006/relationships/tags" Target="../tags/tag157.xml"/><Relationship Id="rId6" Type="http://schemas.openxmlformats.org/officeDocument/2006/relationships/tags" Target="../tags/tag162.xml"/><Relationship Id="rId5" Type="http://schemas.openxmlformats.org/officeDocument/2006/relationships/tags" Target="../tags/tag161.xml"/><Relationship Id="rId4" Type="http://schemas.openxmlformats.org/officeDocument/2006/relationships/tags" Target="../tags/tag160.xml"/><Relationship Id="rId9" Type="http://schemas.openxmlformats.org/officeDocument/2006/relationships/image" Target="../media/image5.emf"/></Relationships>
</file>

<file path=ppt/slideLayouts/_rels/slideLayout19.xml.rels><?xml version="1.0" encoding="UTF-8" standalone="yes"?>
<Relationships xmlns="http://schemas.openxmlformats.org/package/2006/relationships"><Relationship Id="rId8" Type="http://schemas.openxmlformats.org/officeDocument/2006/relationships/oleObject" Target="../embeddings/oleObject16.bin"/><Relationship Id="rId3" Type="http://schemas.openxmlformats.org/officeDocument/2006/relationships/tags" Target="../tags/tag165.xml"/><Relationship Id="rId7" Type="http://schemas.openxmlformats.org/officeDocument/2006/relationships/slideMaster" Target="../slideMasters/slideMaster2.xml"/><Relationship Id="rId2" Type="http://schemas.openxmlformats.org/officeDocument/2006/relationships/tags" Target="../tags/tag164.xml"/><Relationship Id="rId1" Type="http://schemas.openxmlformats.org/officeDocument/2006/relationships/tags" Target="../tags/tag163.xml"/><Relationship Id="rId6" Type="http://schemas.openxmlformats.org/officeDocument/2006/relationships/tags" Target="../tags/tag168.xml"/><Relationship Id="rId5" Type="http://schemas.openxmlformats.org/officeDocument/2006/relationships/tags" Target="../tags/tag167.xml"/><Relationship Id="rId10" Type="http://schemas.openxmlformats.org/officeDocument/2006/relationships/image" Target="../media/image9.jpeg"/><Relationship Id="rId4" Type="http://schemas.openxmlformats.org/officeDocument/2006/relationships/tags" Target="../tags/tag166.xml"/><Relationship Id="rId9" Type="http://schemas.openxmlformats.org/officeDocument/2006/relationships/image" Target="../media/image5.emf"/></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1.xml"/><Relationship Id="rId7" Type="http://schemas.openxmlformats.org/officeDocument/2006/relationships/tags" Target="../tags/tag35.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tags" Target="../tags/tag34.xml"/><Relationship Id="rId5" Type="http://schemas.openxmlformats.org/officeDocument/2006/relationships/tags" Target="../tags/tag33.xml"/><Relationship Id="rId10" Type="http://schemas.openxmlformats.org/officeDocument/2006/relationships/image" Target="../media/image1.emf"/><Relationship Id="rId4" Type="http://schemas.openxmlformats.org/officeDocument/2006/relationships/tags" Target="../tags/tag32.xml"/><Relationship Id="rId9"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71.xml"/><Relationship Id="rId7" Type="http://schemas.openxmlformats.org/officeDocument/2006/relationships/tags" Target="../tags/tag175.xml"/><Relationship Id="rId2" Type="http://schemas.openxmlformats.org/officeDocument/2006/relationships/tags" Target="../tags/tag170.xml"/><Relationship Id="rId1" Type="http://schemas.openxmlformats.org/officeDocument/2006/relationships/tags" Target="../tags/tag169.xml"/><Relationship Id="rId6" Type="http://schemas.openxmlformats.org/officeDocument/2006/relationships/tags" Target="../tags/tag174.xml"/><Relationship Id="rId5" Type="http://schemas.openxmlformats.org/officeDocument/2006/relationships/tags" Target="../tags/tag173.xml"/><Relationship Id="rId10" Type="http://schemas.openxmlformats.org/officeDocument/2006/relationships/image" Target="../media/image5.emf"/><Relationship Id="rId4" Type="http://schemas.openxmlformats.org/officeDocument/2006/relationships/tags" Target="../tags/tag172.xml"/><Relationship Id="rId9" Type="http://schemas.openxmlformats.org/officeDocument/2006/relationships/oleObject" Target="../embeddings/oleObject13.bin"/></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183.xml"/><Relationship Id="rId13" Type="http://schemas.openxmlformats.org/officeDocument/2006/relationships/image" Target="../media/image12.png"/><Relationship Id="rId3" Type="http://schemas.openxmlformats.org/officeDocument/2006/relationships/tags" Target="../tags/tag178.xml"/><Relationship Id="rId7" Type="http://schemas.openxmlformats.org/officeDocument/2006/relationships/tags" Target="../tags/tag182.xml"/><Relationship Id="rId12" Type="http://schemas.openxmlformats.org/officeDocument/2006/relationships/image" Target="../media/image11.png"/><Relationship Id="rId2" Type="http://schemas.openxmlformats.org/officeDocument/2006/relationships/tags" Target="../tags/tag177.xml"/><Relationship Id="rId1" Type="http://schemas.openxmlformats.org/officeDocument/2006/relationships/tags" Target="../tags/tag176.xml"/><Relationship Id="rId6" Type="http://schemas.openxmlformats.org/officeDocument/2006/relationships/tags" Target="../tags/tag181.xml"/><Relationship Id="rId11" Type="http://schemas.openxmlformats.org/officeDocument/2006/relationships/image" Target="../media/image1.emf"/><Relationship Id="rId5" Type="http://schemas.openxmlformats.org/officeDocument/2006/relationships/tags" Target="../tags/tag180.xml"/><Relationship Id="rId15" Type="http://schemas.openxmlformats.org/officeDocument/2006/relationships/image" Target="../media/image2.png"/><Relationship Id="rId10" Type="http://schemas.openxmlformats.org/officeDocument/2006/relationships/oleObject" Target="../embeddings/oleObject17.bin"/><Relationship Id="rId4" Type="http://schemas.openxmlformats.org/officeDocument/2006/relationships/tags" Target="../tags/tag179.xml"/><Relationship Id="rId9" Type="http://schemas.openxmlformats.org/officeDocument/2006/relationships/slideMaster" Target="../slideMasters/slideMaster2.xml"/><Relationship Id="rId14" Type="http://schemas.microsoft.com/office/2007/relationships/hdphoto" Target="../media/hdphoto1.wdp"/></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191.xml"/><Relationship Id="rId13" Type="http://schemas.openxmlformats.org/officeDocument/2006/relationships/image" Target="../media/image12.png"/><Relationship Id="rId3" Type="http://schemas.openxmlformats.org/officeDocument/2006/relationships/tags" Target="../tags/tag186.xml"/><Relationship Id="rId7" Type="http://schemas.openxmlformats.org/officeDocument/2006/relationships/tags" Target="../tags/tag190.xml"/><Relationship Id="rId12" Type="http://schemas.openxmlformats.org/officeDocument/2006/relationships/image" Target="../media/image11.png"/><Relationship Id="rId2" Type="http://schemas.openxmlformats.org/officeDocument/2006/relationships/tags" Target="../tags/tag185.xml"/><Relationship Id="rId1" Type="http://schemas.openxmlformats.org/officeDocument/2006/relationships/tags" Target="../tags/tag184.xml"/><Relationship Id="rId6" Type="http://schemas.openxmlformats.org/officeDocument/2006/relationships/tags" Target="../tags/tag189.xml"/><Relationship Id="rId11" Type="http://schemas.openxmlformats.org/officeDocument/2006/relationships/image" Target="../media/image1.emf"/><Relationship Id="rId5" Type="http://schemas.openxmlformats.org/officeDocument/2006/relationships/tags" Target="../tags/tag188.xml"/><Relationship Id="rId15" Type="http://schemas.openxmlformats.org/officeDocument/2006/relationships/image" Target="../media/image2.png"/><Relationship Id="rId10" Type="http://schemas.openxmlformats.org/officeDocument/2006/relationships/oleObject" Target="../embeddings/oleObject18.bin"/><Relationship Id="rId4" Type="http://schemas.openxmlformats.org/officeDocument/2006/relationships/tags" Target="../tags/tag187.xml"/><Relationship Id="rId9" Type="http://schemas.openxmlformats.org/officeDocument/2006/relationships/slideMaster" Target="../slideMasters/slideMaster2.xml"/><Relationship Id="rId14" Type="http://schemas.microsoft.com/office/2007/relationships/hdphoto" Target="../media/hdphoto1.wdp"/></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199.xml"/><Relationship Id="rId13" Type="http://schemas.openxmlformats.org/officeDocument/2006/relationships/image" Target="../media/image12.png"/><Relationship Id="rId3" Type="http://schemas.openxmlformats.org/officeDocument/2006/relationships/tags" Target="../tags/tag194.xml"/><Relationship Id="rId7" Type="http://schemas.openxmlformats.org/officeDocument/2006/relationships/tags" Target="../tags/tag198.xml"/><Relationship Id="rId12" Type="http://schemas.openxmlformats.org/officeDocument/2006/relationships/image" Target="../media/image11.png"/><Relationship Id="rId2" Type="http://schemas.openxmlformats.org/officeDocument/2006/relationships/tags" Target="../tags/tag193.xml"/><Relationship Id="rId1" Type="http://schemas.openxmlformats.org/officeDocument/2006/relationships/tags" Target="../tags/tag192.xml"/><Relationship Id="rId6" Type="http://schemas.openxmlformats.org/officeDocument/2006/relationships/tags" Target="../tags/tag197.xml"/><Relationship Id="rId11" Type="http://schemas.openxmlformats.org/officeDocument/2006/relationships/image" Target="../media/image5.emf"/><Relationship Id="rId5" Type="http://schemas.openxmlformats.org/officeDocument/2006/relationships/tags" Target="../tags/tag196.xml"/><Relationship Id="rId10" Type="http://schemas.openxmlformats.org/officeDocument/2006/relationships/oleObject" Target="../embeddings/oleObject19.bin"/><Relationship Id="rId4" Type="http://schemas.openxmlformats.org/officeDocument/2006/relationships/tags" Target="../tags/tag195.xml"/><Relationship Id="rId9" Type="http://schemas.openxmlformats.org/officeDocument/2006/relationships/slideMaster" Target="../slideMasters/slideMaster2.xml"/><Relationship Id="rId14" Type="http://schemas.microsoft.com/office/2007/relationships/hdphoto" Target="../media/hdphoto1.wdp"/></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207.xml"/><Relationship Id="rId13" Type="http://schemas.openxmlformats.org/officeDocument/2006/relationships/image" Target="../media/image12.png"/><Relationship Id="rId3" Type="http://schemas.openxmlformats.org/officeDocument/2006/relationships/tags" Target="../tags/tag202.xml"/><Relationship Id="rId7" Type="http://schemas.openxmlformats.org/officeDocument/2006/relationships/tags" Target="../tags/tag206.xml"/><Relationship Id="rId12" Type="http://schemas.openxmlformats.org/officeDocument/2006/relationships/image" Target="../media/image11.png"/><Relationship Id="rId2" Type="http://schemas.openxmlformats.org/officeDocument/2006/relationships/tags" Target="../tags/tag201.xml"/><Relationship Id="rId1" Type="http://schemas.openxmlformats.org/officeDocument/2006/relationships/tags" Target="../tags/tag200.xml"/><Relationship Id="rId6" Type="http://schemas.openxmlformats.org/officeDocument/2006/relationships/tags" Target="../tags/tag205.xml"/><Relationship Id="rId11" Type="http://schemas.openxmlformats.org/officeDocument/2006/relationships/image" Target="../media/image1.emf"/><Relationship Id="rId5" Type="http://schemas.openxmlformats.org/officeDocument/2006/relationships/tags" Target="../tags/tag204.xml"/><Relationship Id="rId15" Type="http://schemas.openxmlformats.org/officeDocument/2006/relationships/image" Target="../media/image2.png"/><Relationship Id="rId10" Type="http://schemas.openxmlformats.org/officeDocument/2006/relationships/oleObject" Target="../embeddings/oleObject20.bin"/><Relationship Id="rId4" Type="http://schemas.openxmlformats.org/officeDocument/2006/relationships/tags" Target="../tags/tag203.xml"/><Relationship Id="rId9" Type="http://schemas.openxmlformats.org/officeDocument/2006/relationships/slideMaster" Target="../slideMasters/slideMaster2.xml"/><Relationship Id="rId14" Type="http://schemas.microsoft.com/office/2007/relationships/hdphoto" Target="../media/hdphoto1.wdp"/></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15.xml"/><Relationship Id="rId13" Type="http://schemas.openxmlformats.org/officeDocument/2006/relationships/image" Target="../media/image12.png"/><Relationship Id="rId3" Type="http://schemas.openxmlformats.org/officeDocument/2006/relationships/tags" Target="../tags/tag210.xml"/><Relationship Id="rId7" Type="http://schemas.openxmlformats.org/officeDocument/2006/relationships/tags" Target="../tags/tag214.xml"/><Relationship Id="rId12" Type="http://schemas.openxmlformats.org/officeDocument/2006/relationships/image" Target="../media/image11.png"/><Relationship Id="rId2" Type="http://schemas.openxmlformats.org/officeDocument/2006/relationships/tags" Target="../tags/tag209.xml"/><Relationship Id="rId1" Type="http://schemas.openxmlformats.org/officeDocument/2006/relationships/tags" Target="../tags/tag208.xml"/><Relationship Id="rId6" Type="http://schemas.openxmlformats.org/officeDocument/2006/relationships/tags" Target="../tags/tag213.xml"/><Relationship Id="rId11" Type="http://schemas.openxmlformats.org/officeDocument/2006/relationships/image" Target="../media/image5.emf"/><Relationship Id="rId5" Type="http://schemas.openxmlformats.org/officeDocument/2006/relationships/tags" Target="../tags/tag212.xml"/><Relationship Id="rId15" Type="http://schemas.openxmlformats.org/officeDocument/2006/relationships/image" Target="../media/image2.png"/><Relationship Id="rId10" Type="http://schemas.openxmlformats.org/officeDocument/2006/relationships/oleObject" Target="../embeddings/oleObject21.bin"/><Relationship Id="rId4" Type="http://schemas.openxmlformats.org/officeDocument/2006/relationships/tags" Target="../tags/tag211.xml"/><Relationship Id="rId9" Type="http://schemas.openxmlformats.org/officeDocument/2006/relationships/slideMaster" Target="../slideMasters/slideMaster2.xml"/><Relationship Id="rId14" Type="http://schemas.microsoft.com/office/2007/relationships/hdphoto" Target="../media/hdphoto1.wdp"/></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223.xml"/><Relationship Id="rId13" Type="http://schemas.openxmlformats.org/officeDocument/2006/relationships/image" Target="../media/image14.png"/><Relationship Id="rId3" Type="http://schemas.openxmlformats.org/officeDocument/2006/relationships/tags" Target="../tags/tag218.xml"/><Relationship Id="rId7" Type="http://schemas.openxmlformats.org/officeDocument/2006/relationships/tags" Target="../tags/tag222.xml"/><Relationship Id="rId12" Type="http://schemas.openxmlformats.org/officeDocument/2006/relationships/image" Target="../media/image2.png"/><Relationship Id="rId2" Type="http://schemas.openxmlformats.org/officeDocument/2006/relationships/tags" Target="../tags/tag217.xml"/><Relationship Id="rId1" Type="http://schemas.openxmlformats.org/officeDocument/2006/relationships/tags" Target="../tags/tag216.xml"/><Relationship Id="rId6" Type="http://schemas.openxmlformats.org/officeDocument/2006/relationships/tags" Target="../tags/tag221.xml"/><Relationship Id="rId11" Type="http://schemas.openxmlformats.org/officeDocument/2006/relationships/image" Target="../media/image5.emf"/><Relationship Id="rId5" Type="http://schemas.openxmlformats.org/officeDocument/2006/relationships/tags" Target="../tags/tag220.xml"/><Relationship Id="rId10" Type="http://schemas.openxmlformats.org/officeDocument/2006/relationships/oleObject" Target="../embeddings/oleObject22.bin"/><Relationship Id="rId4" Type="http://schemas.openxmlformats.org/officeDocument/2006/relationships/tags" Target="../tags/tag219.xml"/><Relationship Id="rId9" Type="http://schemas.openxmlformats.org/officeDocument/2006/relationships/slideMaster" Target="../slideMasters/slideMaster2.xml"/><Relationship Id="rId14" Type="http://schemas.openxmlformats.org/officeDocument/2006/relationships/image" Target="../media/image11.png"/></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231.xml"/><Relationship Id="rId13" Type="http://schemas.openxmlformats.org/officeDocument/2006/relationships/image" Target="../media/image11.png"/><Relationship Id="rId3" Type="http://schemas.openxmlformats.org/officeDocument/2006/relationships/tags" Target="../tags/tag226.xml"/><Relationship Id="rId7" Type="http://schemas.openxmlformats.org/officeDocument/2006/relationships/tags" Target="../tags/tag230.xml"/><Relationship Id="rId12" Type="http://schemas.openxmlformats.org/officeDocument/2006/relationships/image" Target="../media/image14.png"/><Relationship Id="rId2" Type="http://schemas.openxmlformats.org/officeDocument/2006/relationships/tags" Target="../tags/tag225.xml"/><Relationship Id="rId1" Type="http://schemas.openxmlformats.org/officeDocument/2006/relationships/tags" Target="../tags/tag224.xml"/><Relationship Id="rId6" Type="http://schemas.openxmlformats.org/officeDocument/2006/relationships/tags" Target="../tags/tag229.xml"/><Relationship Id="rId11" Type="http://schemas.openxmlformats.org/officeDocument/2006/relationships/image" Target="../media/image1.emf"/><Relationship Id="rId5" Type="http://schemas.openxmlformats.org/officeDocument/2006/relationships/tags" Target="../tags/tag228.xml"/><Relationship Id="rId10" Type="http://schemas.openxmlformats.org/officeDocument/2006/relationships/oleObject" Target="../embeddings/oleObject23.bin"/><Relationship Id="rId4" Type="http://schemas.openxmlformats.org/officeDocument/2006/relationships/tags" Target="../tags/tag227.xml"/><Relationship Id="rId9" Type="http://schemas.openxmlformats.org/officeDocument/2006/relationships/slideMaster" Target="../slideMasters/slideMaster2.xml"/><Relationship Id="rId14" Type="http://schemas.openxmlformats.org/officeDocument/2006/relationships/image" Target="../media/image15.png"/></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239.xml"/><Relationship Id="rId13" Type="http://schemas.openxmlformats.org/officeDocument/2006/relationships/image" Target="../media/image11.png"/><Relationship Id="rId3" Type="http://schemas.openxmlformats.org/officeDocument/2006/relationships/tags" Target="../tags/tag234.xml"/><Relationship Id="rId7" Type="http://schemas.openxmlformats.org/officeDocument/2006/relationships/tags" Target="../tags/tag238.xml"/><Relationship Id="rId12" Type="http://schemas.openxmlformats.org/officeDocument/2006/relationships/image" Target="../media/image14.png"/><Relationship Id="rId2" Type="http://schemas.openxmlformats.org/officeDocument/2006/relationships/tags" Target="../tags/tag233.xml"/><Relationship Id="rId1" Type="http://schemas.openxmlformats.org/officeDocument/2006/relationships/tags" Target="../tags/tag232.xml"/><Relationship Id="rId6" Type="http://schemas.openxmlformats.org/officeDocument/2006/relationships/tags" Target="../tags/tag237.xml"/><Relationship Id="rId11" Type="http://schemas.openxmlformats.org/officeDocument/2006/relationships/image" Target="../media/image5.emf"/><Relationship Id="rId5" Type="http://schemas.openxmlformats.org/officeDocument/2006/relationships/tags" Target="../tags/tag236.xml"/><Relationship Id="rId10" Type="http://schemas.openxmlformats.org/officeDocument/2006/relationships/oleObject" Target="../embeddings/oleObject24.bin"/><Relationship Id="rId4" Type="http://schemas.openxmlformats.org/officeDocument/2006/relationships/tags" Target="../tags/tag235.xml"/><Relationship Id="rId9" Type="http://schemas.openxmlformats.org/officeDocument/2006/relationships/slideMaster" Target="../slideMasters/slideMaster2.xml"/><Relationship Id="rId14" Type="http://schemas.openxmlformats.org/officeDocument/2006/relationships/image" Target="../media/image15.png"/></Relationships>
</file>

<file path=ppt/slideLayouts/_rels/slideLayout29.xml.rels><?xml version="1.0" encoding="UTF-8" standalone="yes"?>
<Relationships xmlns="http://schemas.openxmlformats.org/package/2006/relationships"><Relationship Id="rId8" Type="http://schemas.openxmlformats.org/officeDocument/2006/relationships/oleObject" Target="../embeddings/oleObject25.bin"/><Relationship Id="rId13" Type="http://schemas.microsoft.com/office/2007/relationships/hdphoto" Target="../media/hdphoto1.wdp"/><Relationship Id="rId3" Type="http://schemas.openxmlformats.org/officeDocument/2006/relationships/tags" Target="../tags/tag242.xml"/><Relationship Id="rId7" Type="http://schemas.openxmlformats.org/officeDocument/2006/relationships/slideMaster" Target="../slideMasters/slideMaster2.xml"/><Relationship Id="rId12" Type="http://schemas.openxmlformats.org/officeDocument/2006/relationships/image" Target="../media/image12.png"/><Relationship Id="rId2" Type="http://schemas.openxmlformats.org/officeDocument/2006/relationships/tags" Target="../tags/tag241.xml"/><Relationship Id="rId1" Type="http://schemas.openxmlformats.org/officeDocument/2006/relationships/tags" Target="../tags/tag240.xml"/><Relationship Id="rId6" Type="http://schemas.openxmlformats.org/officeDocument/2006/relationships/tags" Target="../tags/tag245.xml"/><Relationship Id="rId11" Type="http://schemas.openxmlformats.org/officeDocument/2006/relationships/image" Target="../media/image11.png"/><Relationship Id="rId5" Type="http://schemas.openxmlformats.org/officeDocument/2006/relationships/tags" Target="../tags/tag244.xml"/><Relationship Id="rId10" Type="http://schemas.openxmlformats.org/officeDocument/2006/relationships/image" Target="../media/image2.png"/><Relationship Id="rId4" Type="http://schemas.openxmlformats.org/officeDocument/2006/relationships/tags" Target="../tags/tag243.xml"/><Relationship Id="rId9" Type="http://schemas.openxmlformats.org/officeDocument/2006/relationships/image" Target="../media/image5.emf"/></Relationships>
</file>

<file path=ppt/slideLayouts/_rels/slideLayout3.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8.xml"/><Relationship Id="rId7" Type="http://schemas.openxmlformats.org/officeDocument/2006/relationships/tags" Target="../tags/tag42.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tags" Target="../tags/tag41.xml"/><Relationship Id="rId5" Type="http://schemas.openxmlformats.org/officeDocument/2006/relationships/tags" Target="../tags/tag40.xml"/><Relationship Id="rId10" Type="http://schemas.openxmlformats.org/officeDocument/2006/relationships/image" Target="../media/image1.emf"/><Relationship Id="rId4" Type="http://schemas.openxmlformats.org/officeDocument/2006/relationships/tags" Target="../tags/tag39.xml"/><Relationship Id="rId9"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248.xml"/><Relationship Id="rId7" Type="http://schemas.openxmlformats.org/officeDocument/2006/relationships/image" Target="../media/image5.emf"/><Relationship Id="rId2" Type="http://schemas.openxmlformats.org/officeDocument/2006/relationships/tags" Target="../tags/tag247.xml"/><Relationship Id="rId1" Type="http://schemas.openxmlformats.org/officeDocument/2006/relationships/tags" Target="../tags/tag246.xml"/><Relationship Id="rId6" Type="http://schemas.openxmlformats.org/officeDocument/2006/relationships/oleObject" Target="../embeddings/oleObject26.bin"/><Relationship Id="rId5" Type="http://schemas.openxmlformats.org/officeDocument/2006/relationships/slideMaster" Target="../slideMasters/slideMaster2.xml"/><Relationship Id="rId10" Type="http://schemas.microsoft.com/office/2007/relationships/hdphoto" Target="../media/hdphoto1.wdp"/><Relationship Id="rId4" Type="http://schemas.openxmlformats.org/officeDocument/2006/relationships/tags" Target="../tags/tag249.xml"/><Relationship Id="rId9" Type="http://schemas.openxmlformats.org/officeDocument/2006/relationships/image" Target="../media/image12.png"/></Relationships>
</file>

<file path=ppt/slideLayouts/_rels/slideLayout31.xml.rels><?xml version="1.0" encoding="UTF-8" standalone="yes"?>
<Relationships xmlns="http://schemas.openxmlformats.org/package/2006/relationships"><Relationship Id="rId8" Type="http://schemas.openxmlformats.org/officeDocument/2006/relationships/hyperlink" Target="mailto:info@invest.go.ke" TargetMode="External"/><Relationship Id="rId13" Type="http://schemas.microsoft.com/office/2007/relationships/hdphoto" Target="../media/hdphoto2.wdp"/><Relationship Id="rId3" Type="http://schemas.openxmlformats.org/officeDocument/2006/relationships/slideMaster" Target="../slideMasters/slideMaster2.xml"/><Relationship Id="rId7" Type="http://schemas.openxmlformats.org/officeDocument/2006/relationships/image" Target="../media/image17.png"/><Relationship Id="rId12" Type="http://schemas.openxmlformats.org/officeDocument/2006/relationships/image" Target="../media/image20.png"/><Relationship Id="rId2" Type="http://schemas.openxmlformats.org/officeDocument/2006/relationships/tags" Target="../tags/tag251.xml"/><Relationship Id="rId1" Type="http://schemas.openxmlformats.org/officeDocument/2006/relationships/tags" Target="../tags/tag250.xml"/><Relationship Id="rId6" Type="http://schemas.openxmlformats.org/officeDocument/2006/relationships/image" Target="../media/image16.png"/><Relationship Id="rId11" Type="http://schemas.openxmlformats.org/officeDocument/2006/relationships/image" Target="../media/image19.png"/><Relationship Id="rId5" Type="http://schemas.openxmlformats.org/officeDocument/2006/relationships/image" Target="../media/image5.emf"/><Relationship Id="rId10" Type="http://schemas.openxmlformats.org/officeDocument/2006/relationships/image" Target="../media/image18.emf"/><Relationship Id="rId4" Type="http://schemas.openxmlformats.org/officeDocument/2006/relationships/oleObject" Target="../embeddings/oleObject27.bin"/><Relationship Id="rId9" Type="http://schemas.openxmlformats.org/officeDocument/2006/relationships/hyperlink" Target="http://www.invest.go.ke/" TargetMode="External"/></Relationships>
</file>

<file path=ppt/slideLayouts/_rels/slideLayout32.xml.rels><?xml version="1.0" encoding="UTF-8" standalone="yes"?>
<Relationships xmlns="http://schemas.openxmlformats.org/package/2006/relationships"><Relationship Id="rId8" Type="http://schemas.openxmlformats.org/officeDocument/2006/relationships/oleObject" Target="../embeddings/oleObject29.bin"/><Relationship Id="rId3" Type="http://schemas.openxmlformats.org/officeDocument/2006/relationships/tags" Target="../tags/tag274.xml"/><Relationship Id="rId7" Type="http://schemas.openxmlformats.org/officeDocument/2006/relationships/slideMaster" Target="../slideMasters/slideMaster3.xml"/><Relationship Id="rId12" Type="http://schemas.openxmlformats.org/officeDocument/2006/relationships/image" Target="../media/image22.png"/><Relationship Id="rId2" Type="http://schemas.openxmlformats.org/officeDocument/2006/relationships/tags" Target="../tags/tag273.xml"/><Relationship Id="rId1" Type="http://schemas.openxmlformats.org/officeDocument/2006/relationships/tags" Target="../tags/tag272.xml"/><Relationship Id="rId6" Type="http://schemas.openxmlformats.org/officeDocument/2006/relationships/tags" Target="../tags/tag277.xml"/><Relationship Id="rId11" Type="http://schemas.openxmlformats.org/officeDocument/2006/relationships/image" Target="../media/image21.png"/><Relationship Id="rId5" Type="http://schemas.openxmlformats.org/officeDocument/2006/relationships/tags" Target="../tags/tag276.xml"/><Relationship Id="rId10" Type="http://schemas.openxmlformats.org/officeDocument/2006/relationships/image" Target="../media/image23.png"/><Relationship Id="rId4" Type="http://schemas.openxmlformats.org/officeDocument/2006/relationships/tags" Target="../tags/tag275.xml"/><Relationship Id="rId9" Type="http://schemas.openxmlformats.org/officeDocument/2006/relationships/image" Target="../media/image5.emf"/></Relationships>
</file>

<file path=ppt/slideLayouts/_rels/slideLayout33.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280.xml"/><Relationship Id="rId7" Type="http://schemas.openxmlformats.org/officeDocument/2006/relationships/tags" Target="../tags/tag284.xml"/><Relationship Id="rId2" Type="http://schemas.openxmlformats.org/officeDocument/2006/relationships/tags" Target="../tags/tag279.xml"/><Relationship Id="rId1" Type="http://schemas.openxmlformats.org/officeDocument/2006/relationships/tags" Target="../tags/tag278.xml"/><Relationship Id="rId6" Type="http://schemas.openxmlformats.org/officeDocument/2006/relationships/tags" Target="../tags/tag283.xml"/><Relationship Id="rId5" Type="http://schemas.openxmlformats.org/officeDocument/2006/relationships/tags" Target="../tags/tag282.xml"/><Relationship Id="rId10" Type="http://schemas.openxmlformats.org/officeDocument/2006/relationships/image" Target="../media/image1.emf"/><Relationship Id="rId4" Type="http://schemas.openxmlformats.org/officeDocument/2006/relationships/tags" Target="../tags/tag281.xml"/><Relationship Id="rId9" Type="http://schemas.openxmlformats.org/officeDocument/2006/relationships/oleObject" Target="../embeddings/oleObject30.bin"/></Relationships>
</file>

<file path=ppt/slideLayouts/_rels/slideLayout34.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287.xml"/><Relationship Id="rId7" Type="http://schemas.openxmlformats.org/officeDocument/2006/relationships/tags" Target="../tags/tag291.xml"/><Relationship Id="rId2" Type="http://schemas.openxmlformats.org/officeDocument/2006/relationships/tags" Target="../tags/tag286.xml"/><Relationship Id="rId1" Type="http://schemas.openxmlformats.org/officeDocument/2006/relationships/tags" Target="../tags/tag285.xml"/><Relationship Id="rId6" Type="http://schemas.openxmlformats.org/officeDocument/2006/relationships/tags" Target="../tags/tag290.xml"/><Relationship Id="rId5" Type="http://schemas.openxmlformats.org/officeDocument/2006/relationships/tags" Target="../tags/tag289.xml"/><Relationship Id="rId10" Type="http://schemas.openxmlformats.org/officeDocument/2006/relationships/image" Target="../media/image1.emf"/><Relationship Id="rId4" Type="http://schemas.openxmlformats.org/officeDocument/2006/relationships/tags" Target="../tags/tag288.xml"/><Relationship Id="rId9" Type="http://schemas.openxmlformats.org/officeDocument/2006/relationships/oleObject" Target="../embeddings/oleObject31.bin"/></Relationships>
</file>

<file path=ppt/slideLayouts/_rels/slideLayout35.xml.rels><?xml version="1.0" encoding="UTF-8" standalone="yes"?>
<Relationships xmlns="http://schemas.openxmlformats.org/package/2006/relationships"><Relationship Id="rId8" Type="http://schemas.openxmlformats.org/officeDocument/2006/relationships/oleObject" Target="../embeddings/oleObject32.bin"/><Relationship Id="rId3" Type="http://schemas.openxmlformats.org/officeDocument/2006/relationships/tags" Target="../tags/tag294.xml"/><Relationship Id="rId7" Type="http://schemas.openxmlformats.org/officeDocument/2006/relationships/slideMaster" Target="../slideMasters/slideMaster3.xml"/><Relationship Id="rId2" Type="http://schemas.openxmlformats.org/officeDocument/2006/relationships/tags" Target="../tags/tag293.xml"/><Relationship Id="rId1" Type="http://schemas.openxmlformats.org/officeDocument/2006/relationships/tags" Target="../tags/tag292.xml"/><Relationship Id="rId6" Type="http://schemas.openxmlformats.org/officeDocument/2006/relationships/tags" Target="../tags/tag297.xml"/><Relationship Id="rId5" Type="http://schemas.openxmlformats.org/officeDocument/2006/relationships/tags" Target="../tags/tag296.xml"/><Relationship Id="rId4" Type="http://schemas.openxmlformats.org/officeDocument/2006/relationships/tags" Target="../tags/tag295.xml"/><Relationship Id="rId9" Type="http://schemas.openxmlformats.org/officeDocument/2006/relationships/image" Target="../media/image5.emf"/></Relationships>
</file>

<file path=ppt/slideLayouts/_rels/slideLayout36.xml.rels><?xml version="1.0" encoding="UTF-8" standalone="yes"?>
<Relationships xmlns="http://schemas.openxmlformats.org/package/2006/relationships"><Relationship Id="rId8" Type="http://schemas.openxmlformats.org/officeDocument/2006/relationships/oleObject" Target="../embeddings/oleObject32.bin"/><Relationship Id="rId3" Type="http://schemas.openxmlformats.org/officeDocument/2006/relationships/tags" Target="../tags/tag300.xml"/><Relationship Id="rId7" Type="http://schemas.openxmlformats.org/officeDocument/2006/relationships/slideMaster" Target="../slideMasters/slideMaster3.xml"/><Relationship Id="rId2" Type="http://schemas.openxmlformats.org/officeDocument/2006/relationships/tags" Target="../tags/tag299.xml"/><Relationship Id="rId1" Type="http://schemas.openxmlformats.org/officeDocument/2006/relationships/tags" Target="../tags/tag298.xml"/><Relationship Id="rId6" Type="http://schemas.openxmlformats.org/officeDocument/2006/relationships/tags" Target="../tags/tag303.xml"/><Relationship Id="rId5" Type="http://schemas.openxmlformats.org/officeDocument/2006/relationships/tags" Target="../tags/tag302.xml"/><Relationship Id="rId4" Type="http://schemas.openxmlformats.org/officeDocument/2006/relationships/tags" Target="../tags/tag301.xml"/><Relationship Id="rId9" Type="http://schemas.openxmlformats.org/officeDocument/2006/relationships/image" Target="../media/image5.emf"/></Relationships>
</file>

<file path=ppt/slideLayouts/_rels/slideLayout37.xml.rels><?xml version="1.0" encoding="UTF-8" standalone="yes"?>
<Relationships xmlns="http://schemas.openxmlformats.org/package/2006/relationships"><Relationship Id="rId8" Type="http://schemas.openxmlformats.org/officeDocument/2006/relationships/oleObject" Target="../embeddings/oleObject33.bin"/><Relationship Id="rId3" Type="http://schemas.openxmlformats.org/officeDocument/2006/relationships/tags" Target="../tags/tag306.xml"/><Relationship Id="rId7" Type="http://schemas.openxmlformats.org/officeDocument/2006/relationships/slideMaster" Target="../slideMasters/slideMaster3.xml"/><Relationship Id="rId2" Type="http://schemas.openxmlformats.org/officeDocument/2006/relationships/tags" Target="../tags/tag305.xml"/><Relationship Id="rId1" Type="http://schemas.openxmlformats.org/officeDocument/2006/relationships/tags" Target="../tags/tag304.xml"/><Relationship Id="rId6" Type="http://schemas.openxmlformats.org/officeDocument/2006/relationships/tags" Target="../tags/tag309.xml"/><Relationship Id="rId5" Type="http://schemas.openxmlformats.org/officeDocument/2006/relationships/tags" Target="../tags/tag308.xml"/><Relationship Id="rId4" Type="http://schemas.openxmlformats.org/officeDocument/2006/relationships/tags" Target="../tags/tag307.xml"/><Relationship Id="rId9" Type="http://schemas.openxmlformats.org/officeDocument/2006/relationships/image" Target="../media/image5.emf"/></Relationships>
</file>

<file path=ppt/slideLayouts/_rels/slideLayout38.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312.xml"/><Relationship Id="rId7" Type="http://schemas.openxmlformats.org/officeDocument/2006/relationships/tags" Target="../tags/tag316.xml"/><Relationship Id="rId2" Type="http://schemas.openxmlformats.org/officeDocument/2006/relationships/tags" Target="../tags/tag311.xml"/><Relationship Id="rId1" Type="http://schemas.openxmlformats.org/officeDocument/2006/relationships/tags" Target="../tags/tag310.xml"/><Relationship Id="rId6" Type="http://schemas.openxmlformats.org/officeDocument/2006/relationships/tags" Target="../tags/tag315.xml"/><Relationship Id="rId5" Type="http://schemas.openxmlformats.org/officeDocument/2006/relationships/tags" Target="../tags/tag314.xml"/><Relationship Id="rId10" Type="http://schemas.openxmlformats.org/officeDocument/2006/relationships/image" Target="../media/image5.emf"/><Relationship Id="rId4" Type="http://schemas.openxmlformats.org/officeDocument/2006/relationships/tags" Target="../tags/tag313.xml"/><Relationship Id="rId9" Type="http://schemas.openxmlformats.org/officeDocument/2006/relationships/oleObject" Target="../embeddings/oleObject34.bin"/></Relationships>
</file>

<file path=ppt/slideLayouts/_rels/slideLayout39.xml.rels><?xml version="1.0" encoding="UTF-8" standalone="yes"?>
<Relationships xmlns="http://schemas.openxmlformats.org/package/2006/relationships"><Relationship Id="rId8" Type="http://schemas.openxmlformats.org/officeDocument/2006/relationships/tags" Target="../tags/tag324.xml"/><Relationship Id="rId13" Type="http://schemas.openxmlformats.org/officeDocument/2006/relationships/image" Target="../media/image22.png"/><Relationship Id="rId3" Type="http://schemas.openxmlformats.org/officeDocument/2006/relationships/tags" Target="../tags/tag319.xml"/><Relationship Id="rId7" Type="http://schemas.openxmlformats.org/officeDocument/2006/relationships/tags" Target="../tags/tag323.xml"/><Relationship Id="rId12" Type="http://schemas.openxmlformats.org/officeDocument/2006/relationships/image" Target="../media/image21.png"/><Relationship Id="rId2" Type="http://schemas.openxmlformats.org/officeDocument/2006/relationships/tags" Target="../tags/tag318.xml"/><Relationship Id="rId1" Type="http://schemas.openxmlformats.org/officeDocument/2006/relationships/tags" Target="../tags/tag317.xml"/><Relationship Id="rId6" Type="http://schemas.openxmlformats.org/officeDocument/2006/relationships/tags" Target="../tags/tag322.xml"/><Relationship Id="rId11" Type="http://schemas.openxmlformats.org/officeDocument/2006/relationships/image" Target="../media/image1.emf"/><Relationship Id="rId5" Type="http://schemas.openxmlformats.org/officeDocument/2006/relationships/tags" Target="../tags/tag321.xml"/><Relationship Id="rId10" Type="http://schemas.openxmlformats.org/officeDocument/2006/relationships/oleObject" Target="../embeddings/oleObject35.bin"/><Relationship Id="rId4" Type="http://schemas.openxmlformats.org/officeDocument/2006/relationships/tags" Target="../tags/tag320.xml"/><Relationship Id="rId9"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45.xml"/><Relationship Id="rId7"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tags" Target="../tags/tag48.xml"/><Relationship Id="rId5" Type="http://schemas.openxmlformats.org/officeDocument/2006/relationships/tags" Target="../tags/tag47.xml"/><Relationship Id="rId4" Type="http://schemas.openxmlformats.org/officeDocument/2006/relationships/tags" Target="../tags/tag46.xml"/><Relationship Id="rId9" Type="http://schemas.openxmlformats.org/officeDocument/2006/relationships/image" Target="../media/image5.emf"/></Relationships>
</file>

<file path=ppt/slideLayouts/_rels/slideLayout40.xml.rels><?xml version="1.0" encoding="UTF-8" standalone="yes"?>
<Relationships xmlns="http://schemas.openxmlformats.org/package/2006/relationships"><Relationship Id="rId8" Type="http://schemas.openxmlformats.org/officeDocument/2006/relationships/tags" Target="../tags/tag332.xml"/><Relationship Id="rId13" Type="http://schemas.openxmlformats.org/officeDocument/2006/relationships/image" Target="../media/image22.png"/><Relationship Id="rId3" Type="http://schemas.openxmlformats.org/officeDocument/2006/relationships/tags" Target="../tags/tag327.xml"/><Relationship Id="rId7" Type="http://schemas.openxmlformats.org/officeDocument/2006/relationships/tags" Target="../tags/tag331.xml"/><Relationship Id="rId12" Type="http://schemas.openxmlformats.org/officeDocument/2006/relationships/image" Target="../media/image21.png"/><Relationship Id="rId2" Type="http://schemas.openxmlformats.org/officeDocument/2006/relationships/tags" Target="../tags/tag326.xml"/><Relationship Id="rId1" Type="http://schemas.openxmlformats.org/officeDocument/2006/relationships/tags" Target="../tags/tag325.xml"/><Relationship Id="rId6" Type="http://schemas.openxmlformats.org/officeDocument/2006/relationships/tags" Target="../tags/tag330.xml"/><Relationship Id="rId11" Type="http://schemas.openxmlformats.org/officeDocument/2006/relationships/image" Target="../media/image1.emf"/><Relationship Id="rId5" Type="http://schemas.openxmlformats.org/officeDocument/2006/relationships/tags" Target="../tags/tag329.xml"/><Relationship Id="rId10" Type="http://schemas.openxmlformats.org/officeDocument/2006/relationships/oleObject" Target="../embeddings/oleObject36.bin"/><Relationship Id="rId4" Type="http://schemas.openxmlformats.org/officeDocument/2006/relationships/tags" Target="../tags/tag328.xml"/><Relationship Id="rId9"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8" Type="http://schemas.openxmlformats.org/officeDocument/2006/relationships/tags" Target="../tags/tag340.xml"/><Relationship Id="rId13" Type="http://schemas.openxmlformats.org/officeDocument/2006/relationships/image" Target="../media/image22.png"/><Relationship Id="rId3" Type="http://schemas.openxmlformats.org/officeDocument/2006/relationships/tags" Target="../tags/tag335.xml"/><Relationship Id="rId7" Type="http://schemas.openxmlformats.org/officeDocument/2006/relationships/tags" Target="../tags/tag339.xml"/><Relationship Id="rId12" Type="http://schemas.openxmlformats.org/officeDocument/2006/relationships/image" Target="../media/image21.png"/><Relationship Id="rId2" Type="http://schemas.openxmlformats.org/officeDocument/2006/relationships/tags" Target="../tags/tag334.xml"/><Relationship Id="rId1" Type="http://schemas.openxmlformats.org/officeDocument/2006/relationships/tags" Target="../tags/tag333.xml"/><Relationship Id="rId6" Type="http://schemas.openxmlformats.org/officeDocument/2006/relationships/tags" Target="../tags/tag338.xml"/><Relationship Id="rId11" Type="http://schemas.openxmlformats.org/officeDocument/2006/relationships/image" Target="../media/image1.emf"/><Relationship Id="rId5" Type="http://schemas.openxmlformats.org/officeDocument/2006/relationships/tags" Target="../tags/tag337.xml"/><Relationship Id="rId10" Type="http://schemas.openxmlformats.org/officeDocument/2006/relationships/oleObject" Target="../embeddings/oleObject37.bin"/><Relationship Id="rId4" Type="http://schemas.openxmlformats.org/officeDocument/2006/relationships/tags" Target="../tags/tag336.xml"/><Relationship Id="rId9"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8" Type="http://schemas.openxmlformats.org/officeDocument/2006/relationships/tags" Target="../tags/tag348.xml"/><Relationship Id="rId13" Type="http://schemas.openxmlformats.org/officeDocument/2006/relationships/image" Target="../media/image22.png"/><Relationship Id="rId3" Type="http://schemas.openxmlformats.org/officeDocument/2006/relationships/tags" Target="../tags/tag343.xml"/><Relationship Id="rId7" Type="http://schemas.openxmlformats.org/officeDocument/2006/relationships/tags" Target="../tags/tag347.xml"/><Relationship Id="rId12" Type="http://schemas.openxmlformats.org/officeDocument/2006/relationships/image" Target="../media/image21.png"/><Relationship Id="rId2" Type="http://schemas.openxmlformats.org/officeDocument/2006/relationships/tags" Target="../tags/tag342.xml"/><Relationship Id="rId1" Type="http://schemas.openxmlformats.org/officeDocument/2006/relationships/tags" Target="../tags/tag341.xml"/><Relationship Id="rId6" Type="http://schemas.openxmlformats.org/officeDocument/2006/relationships/tags" Target="../tags/tag346.xml"/><Relationship Id="rId11" Type="http://schemas.openxmlformats.org/officeDocument/2006/relationships/image" Target="../media/image10.emf"/><Relationship Id="rId5" Type="http://schemas.openxmlformats.org/officeDocument/2006/relationships/tags" Target="../tags/tag345.xml"/><Relationship Id="rId10" Type="http://schemas.openxmlformats.org/officeDocument/2006/relationships/oleObject" Target="../embeddings/oleObject38.bin"/><Relationship Id="rId4" Type="http://schemas.openxmlformats.org/officeDocument/2006/relationships/tags" Target="../tags/tag344.xml"/><Relationship Id="rId9"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8" Type="http://schemas.openxmlformats.org/officeDocument/2006/relationships/tags" Target="../tags/tag356.xml"/><Relationship Id="rId13" Type="http://schemas.openxmlformats.org/officeDocument/2006/relationships/image" Target="../media/image22.png"/><Relationship Id="rId3" Type="http://schemas.openxmlformats.org/officeDocument/2006/relationships/tags" Target="../tags/tag351.xml"/><Relationship Id="rId7" Type="http://schemas.openxmlformats.org/officeDocument/2006/relationships/tags" Target="../tags/tag355.xml"/><Relationship Id="rId12" Type="http://schemas.openxmlformats.org/officeDocument/2006/relationships/image" Target="../media/image21.png"/><Relationship Id="rId2" Type="http://schemas.openxmlformats.org/officeDocument/2006/relationships/tags" Target="../tags/tag350.xml"/><Relationship Id="rId1" Type="http://schemas.openxmlformats.org/officeDocument/2006/relationships/tags" Target="../tags/tag349.xml"/><Relationship Id="rId6" Type="http://schemas.openxmlformats.org/officeDocument/2006/relationships/tags" Target="../tags/tag354.xml"/><Relationship Id="rId11" Type="http://schemas.openxmlformats.org/officeDocument/2006/relationships/image" Target="../media/image1.emf"/><Relationship Id="rId5" Type="http://schemas.openxmlformats.org/officeDocument/2006/relationships/tags" Target="../tags/tag353.xml"/><Relationship Id="rId10" Type="http://schemas.openxmlformats.org/officeDocument/2006/relationships/oleObject" Target="../embeddings/oleObject36.bin"/><Relationship Id="rId4" Type="http://schemas.openxmlformats.org/officeDocument/2006/relationships/tags" Target="../tags/tag352.xml"/><Relationship Id="rId9"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8" Type="http://schemas.openxmlformats.org/officeDocument/2006/relationships/oleObject" Target="../embeddings/oleObject39.bin"/><Relationship Id="rId3" Type="http://schemas.openxmlformats.org/officeDocument/2006/relationships/tags" Target="../tags/tag359.xml"/><Relationship Id="rId7" Type="http://schemas.openxmlformats.org/officeDocument/2006/relationships/slideMaster" Target="../slideMasters/slideMaster3.xml"/><Relationship Id="rId2" Type="http://schemas.openxmlformats.org/officeDocument/2006/relationships/tags" Target="../tags/tag358.xml"/><Relationship Id="rId1" Type="http://schemas.openxmlformats.org/officeDocument/2006/relationships/tags" Target="../tags/tag357.xml"/><Relationship Id="rId6" Type="http://schemas.openxmlformats.org/officeDocument/2006/relationships/tags" Target="../tags/tag362.xml"/><Relationship Id="rId11" Type="http://schemas.openxmlformats.org/officeDocument/2006/relationships/image" Target="../media/image22.png"/><Relationship Id="rId5" Type="http://schemas.openxmlformats.org/officeDocument/2006/relationships/tags" Target="../tags/tag361.xml"/><Relationship Id="rId10" Type="http://schemas.openxmlformats.org/officeDocument/2006/relationships/image" Target="../media/image21.png"/><Relationship Id="rId4" Type="http://schemas.openxmlformats.org/officeDocument/2006/relationships/tags" Target="../tags/tag360.xml"/><Relationship Id="rId9" Type="http://schemas.openxmlformats.org/officeDocument/2006/relationships/image" Target="../media/image5.emf"/></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365.xml"/><Relationship Id="rId7" Type="http://schemas.openxmlformats.org/officeDocument/2006/relationships/image" Target="../media/image5.emf"/><Relationship Id="rId2" Type="http://schemas.openxmlformats.org/officeDocument/2006/relationships/tags" Target="../tags/tag364.xml"/><Relationship Id="rId1" Type="http://schemas.openxmlformats.org/officeDocument/2006/relationships/tags" Target="../tags/tag363.xml"/><Relationship Id="rId6" Type="http://schemas.openxmlformats.org/officeDocument/2006/relationships/oleObject" Target="../embeddings/oleObject40.bin"/><Relationship Id="rId5" Type="http://schemas.openxmlformats.org/officeDocument/2006/relationships/slideMaster" Target="../slideMasters/slideMaster3.xml"/><Relationship Id="rId4" Type="http://schemas.openxmlformats.org/officeDocument/2006/relationships/tags" Target="../tags/tag366.xml"/><Relationship Id="rId9" Type="http://schemas.openxmlformats.org/officeDocument/2006/relationships/image" Target="../media/image22.png"/></Relationships>
</file>

<file path=ppt/slideLayouts/_rels/slideLayout46.xml.rels><?xml version="1.0" encoding="UTF-8" standalone="yes"?>
<Relationships xmlns="http://schemas.openxmlformats.org/package/2006/relationships"><Relationship Id="rId8" Type="http://schemas.openxmlformats.org/officeDocument/2006/relationships/tags" Target="../tags/tag374.xml"/><Relationship Id="rId13" Type="http://schemas.openxmlformats.org/officeDocument/2006/relationships/oleObject" Target="../embeddings/oleObject41.bin"/><Relationship Id="rId18" Type="http://schemas.openxmlformats.org/officeDocument/2006/relationships/hyperlink" Target="http://www.invest.go.ke/" TargetMode="External"/><Relationship Id="rId26" Type="http://schemas.openxmlformats.org/officeDocument/2006/relationships/image" Target="../media/image31.svg"/><Relationship Id="rId3" Type="http://schemas.openxmlformats.org/officeDocument/2006/relationships/tags" Target="../tags/tag369.xml"/><Relationship Id="rId21" Type="http://schemas.openxmlformats.org/officeDocument/2006/relationships/image" Target="../media/image26.svg"/><Relationship Id="rId7" Type="http://schemas.openxmlformats.org/officeDocument/2006/relationships/tags" Target="../tags/tag373.xml"/><Relationship Id="rId12" Type="http://schemas.openxmlformats.org/officeDocument/2006/relationships/slideMaster" Target="../slideMasters/slideMaster3.xml"/><Relationship Id="rId17" Type="http://schemas.openxmlformats.org/officeDocument/2006/relationships/image" Target="../media/image22.png"/><Relationship Id="rId25" Type="http://schemas.openxmlformats.org/officeDocument/2006/relationships/image" Target="../media/image30.svg"/><Relationship Id="rId2" Type="http://schemas.openxmlformats.org/officeDocument/2006/relationships/tags" Target="../tags/tag368.xml"/><Relationship Id="rId16" Type="http://schemas.openxmlformats.org/officeDocument/2006/relationships/image" Target="../media/image21.png"/><Relationship Id="rId20" Type="http://schemas.openxmlformats.org/officeDocument/2006/relationships/image" Target="../media/image25.svg"/><Relationship Id="rId1" Type="http://schemas.openxmlformats.org/officeDocument/2006/relationships/tags" Target="../tags/tag367.xml"/><Relationship Id="rId6" Type="http://schemas.openxmlformats.org/officeDocument/2006/relationships/tags" Target="../tags/tag372.xml"/><Relationship Id="rId11" Type="http://schemas.openxmlformats.org/officeDocument/2006/relationships/tags" Target="../tags/tag377.xml"/><Relationship Id="rId24" Type="http://schemas.openxmlformats.org/officeDocument/2006/relationships/image" Target="../media/image29.svg"/><Relationship Id="rId5" Type="http://schemas.openxmlformats.org/officeDocument/2006/relationships/tags" Target="../tags/tag371.xml"/><Relationship Id="rId15" Type="http://schemas.openxmlformats.org/officeDocument/2006/relationships/hyperlink" Target="mailto:info@investkenya.go.ke" TargetMode="External"/><Relationship Id="rId23" Type="http://schemas.openxmlformats.org/officeDocument/2006/relationships/image" Target="../media/image28.svg"/><Relationship Id="rId10" Type="http://schemas.openxmlformats.org/officeDocument/2006/relationships/tags" Target="../tags/tag376.xml"/><Relationship Id="rId19" Type="http://schemas.openxmlformats.org/officeDocument/2006/relationships/image" Target="../media/image24.png"/><Relationship Id="rId4" Type="http://schemas.openxmlformats.org/officeDocument/2006/relationships/tags" Target="../tags/tag370.xml"/><Relationship Id="rId9" Type="http://schemas.openxmlformats.org/officeDocument/2006/relationships/tags" Target="../tags/tag375.xml"/><Relationship Id="rId14" Type="http://schemas.openxmlformats.org/officeDocument/2006/relationships/image" Target="../media/image5.emf"/><Relationship Id="rId22" Type="http://schemas.openxmlformats.org/officeDocument/2006/relationships/image" Target="../media/image27.svg"/></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387.xml"/><Relationship Id="rId7" Type="http://schemas.openxmlformats.org/officeDocument/2006/relationships/oleObject" Target="../embeddings/oleObject43.bin"/><Relationship Id="rId12" Type="http://schemas.openxmlformats.org/officeDocument/2006/relationships/image" Target="../media/image32.png"/><Relationship Id="rId2" Type="http://schemas.openxmlformats.org/officeDocument/2006/relationships/tags" Target="../tags/tag386.xml"/><Relationship Id="rId1" Type="http://schemas.openxmlformats.org/officeDocument/2006/relationships/tags" Target="../tags/tag385.xml"/><Relationship Id="rId6" Type="http://schemas.openxmlformats.org/officeDocument/2006/relationships/slideMaster" Target="../slideMasters/slideMaster4.xml"/><Relationship Id="rId11" Type="http://schemas.openxmlformats.org/officeDocument/2006/relationships/image" Target="../media/image35.png"/><Relationship Id="rId5" Type="http://schemas.openxmlformats.org/officeDocument/2006/relationships/tags" Target="../tags/tag389.xml"/><Relationship Id="rId10" Type="http://schemas.microsoft.com/office/2007/relationships/hdphoto" Target="../media/hdphoto3.wdp"/><Relationship Id="rId4" Type="http://schemas.openxmlformats.org/officeDocument/2006/relationships/tags" Target="../tags/tag388.xml"/><Relationship Id="rId9" Type="http://schemas.openxmlformats.org/officeDocument/2006/relationships/image" Target="../media/image34.png"/></Relationships>
</file>

<file path=ppt/slideLayouts/_rels/slideLayout48.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392.xml"/><Relationship Id="rId7" Type="http://schemas.openxmlformats.org/officeDocument/2006/relationships/tags" Target="../tags/tag396.xml"/><Relationship Id="rId2" Type="http://schemas.openxmlformats.org/officeDocument/2006/relationships/tags" Target="../tags/tag391.xml"/><Relationship Id="rId1" Type="http://schemas.openxmlformats.org/officeDocument/2006/relationships/tags" Target="../tags/tag390.xml"/><Relationship Id="rId6" Type="http://schemas.openxmlformats.org/officeDocument/2006/relationships/tags" Target="../tags/tag395.xml"/><Relationship Id="rId5" Type="http://schemas.openxmlformats.org/officeDocument/2006/relationships/tags" Target="../tags/tag394.xml"/><Relationship Id="rId10" Type="http://schemas.openxmlformats.org/officeDocument/2006/relationships/image" Target="../media/image1.emf"/><Relationship Id="rId4" Type="http://schemas.openxmlformats.org/officeDocument/2006/relationships/tags" Target="../tags/tag393.xml"/><Relationship Id="rId9" Type="http://schemas.openxmlformats.org/officeDocument/2006/relationships/oleObject" Target="../embeddings/oleObject44.bin"/></Relationships>
</file>

<file path=ppt/slideLayouts/_rels/slideLayout49.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399.xml"/><Relationship Id="rId7" Type="http://schemas.openxmlformats.org/officeDocument/2006/relationships/tags" Target="../tags/tag403.xml"/><Relationship Id="rId2" Type="http://schemas.openxmlformats.org/officeDocument/2006/relationships/tags" Target="../tags/tag398.xml"/><Relationship Id="rId1" Type="http://schemas.openxmlformats.org/officeDocument/2006/relationships/tags" Target="../tags/tag397.xml"/><Relationship Id="rId6" Type="http://schemas.openxmlformats.org/officeDocument/2006/relationships/tags" Target="../tags/tag402.xml"/><Relationship Id="rId5" Type="http://schemas.openxmlformats.org/officeDocument/2006/relationships/tags" Target="../tags/tag401.xml"/><Relationship Id="rId10" Type="http://schemas.openxmlformats.org/officeDocument/2006/relationships/image" Target="../media/image1.emf"/><Relationship Id="rId4" Type="http://schemas.openxmlformats.org/officeDocument/2006/relationships/tags" Target="../tags/tag400.xml"/><Relationship Id="rId9" Type="http://schemas.openxmlformats.org/officeDocument/2006/relationships/oleObject" Target="../embeddings/oleObject45.bin"/></Relationships>
</file>

<file path=ppt/slideLayouts/_rels/slideLayout5.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51.xml"/><Relationship Id="rId7" Type="http://schemas.openxmlformats.org/officeDocument/2006/relationships/slideMaster" Target="../slideMasters/slideMaster1.xml"/><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tags" Target="../tags/tag54.xml"/><Relationship Id="rId5" Type="http://schemas.openxmlformats.org/officeDocument/2006/relationships/tags" Target="../tags/tag53.xml"/><Relationship Id="rId4" Type="http://schemas.openxmlformats.org/officeDocument/2006/relationships/tags" Target="../tags/tag52.xml"/><Relationship Id="rId9" Type="http://schemas.openxmlformats.org/officeDocument/2006/relationships/image" Target="../media/image5.emf"/></Relationships>
</file>

<file path=ppt/slideLayouts/_rels/slideLayout50.xml.rels><?xml version="1.0" encoding="UTF-8" standalone="yes"?>
<Relationships xmlns="http://schemas.openxmlformats.org/package/2006/relationships"><Relationship Id="rId8" Type="http://schemas.openxmlformats.org/officeDocument/2006/relationships/oleObject" Target="../embeddings/oleObject46.bin"/><Relationship Id="rId3" Type="http://schemas.openxmlformats.org/officeDocument/2006/relationships/tags" Target="../tags/tag406.xml"/><Relationship Id="rId7" Type="http://schemas.openxmlformats.org/officeDocument/2006/relationships/slideMaster" Target="../slideMasters/slideMaster4.xml"/><Relationship Id="rId2" Type="http://schemas.openxmlformats.org/officeDocument/2006/relationships/tags" Target="../tags/tag405.xml"/><Relationship Id="rId1" Type="http://schemas.openxmlformats.org/officeDocument/2006/relationships/tags" Target="../tags/tag404.xml"/><Relationship Id="rId6" Type="http://schemas.openxmlformats.org/officeDocument/2006/relationships/tags" Target="../tags/tag409.xml"/><Relationship Id="rId5" Type="http://schemas.openxmlformats.org/officeDocument/2006/relationships/tags" Target="../tags/tag408.xml"/><Relationship Id="rId4" Type="http://schemas.openxmlformats.org/officeDocument/2006/relationships/tags" Target="../tags/tag407.xml"/><Relationship Id="rId9" Type="http://schemas.openxmlformats.org/officeDocument/2006/relationships/image" Target="../media/image5.emf"/></Relationships>
</file>

<file path=ppt/slideLayouts/_rels/slideLayout51.xml.rels><?xml version="1.0" encoding="UTF-8" standalone="yes"?>
<Relationships xmlns="http://schemas.openxmlformats.org/package/2006/relationships"><Relationship Id="rId8" Type="http://schemas.openxmlformats.org/officeDocument/2006/relationships/oleObject" Target="../embeddings/oleObject47.bin"/><Relationship Id="rId3" Type="http://schemas.openxmlformats.org/officeDocument/2006/relationships/tags" Target="../tags/tag412.xml"/><Relationship Id="rId7" Type="http://schemas.openxmlformats.org/officeDocument/2006/relationships/slideMaster" Target="../slideMasters/slideMaster4.xml"/><Relationship Id="rId2" Type="http://schemas.openxmlformats.org/officeDocument/2006/relationships/tags" Target="../tags/tag411.xml"/><Relationship Id="rId1" Type="http://schemas.openxmlformats.org/officeDocument/2006/relationships/tags" Target="../tags/tag410.xml"/><Relationship Id="rId6" Type="http://schemas.openxmlformats.org/officeDocument/2006/relationships/tags" Target="../tags/tag415.xml"/><Relationship Id="rId5" Type="http://schemas.openxmlformats.org/officeDocument/2006/relationships/tags" Target="../tags/tag414.xml"/><Relationship Id="rId4" Type="http://schemas.openxmlformats.org/officeDocument/2006/relationships/tags" Target="../tags/tag413.xml"/><Relationship Id="rId9" Type="http://schemas.openxmlformats.org/officeDocument/2006/relationships/image" Target="../media/image5.emf"/></Relationships>
</file>

<file path=ppt/slideLayouts/_rels/slideLayout52.xml.rels><?xml version="1.0" encoding="UTF-8" standalone="yes"?>
<Relationships xmlns="http://schemas.openxmlformats.org/package/2006/relationships"><Relationship Id="rId8" Type="http://schemas.openxmlformats.org/officeDocument/2006/relationships/oleObject" Target="../embeddings/oleObject48.bin"/><Relationship Id="rId3" Type="http://schemas.openxmlformats.org/officeDocument/2006/relationships/tags" Target="../tags/tag418.xml"/><Relationship Id="rId7" Type="http://schemas.openxmlformats.org/officeDocument/2006/relationships/slideMaster" Target="../slideMasters/slideMaster4.xml"/><Relationship Id="rId2" Type="http://schemas.openxmlformats.org/officeDocument/2006/relationships/tags" Target="../tags/tag417.xml"/><Relationship Id="rId1" Type="http://schemas.openxmlformats.org/officeDocument/2006/relationships/tags" Target="../tags/tag416.xml"/><Relationship Id="rId6" Type="http://schemas.openxmlformats.org/officeDocument/2006/relationships/tags" Target="../tags/tag421.xml"/><Relationship Id="rId5" Type="http://schemas.openxmlformats.org/officeDocument/2006/relationships/tags" Target="../tags/tag420.xml"/><Relationship Id="rId4" Type="http://schemas.openxmlformats.org/officeDocument/2006/relationships/tags" Target="../tags/tag419.xml"/><Relationship Id="rId9" Type="http://schemas.openxmlformats.org/officeDocument/2006/relationships/image" Target="../media/image5.emf"/></Relationships>
</file>

<file path=ppt/slideLayouts/_rels/slideLayout53.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424.xml"/><Relationship Id="rId7" Type="http://schemas.openxmlformats.org/officeDocument/2006/relationships/tags" Target="../tags/tag428.xml"/><Relationship Id="rId2" Type="http://schemas.openxmlformats.org/officeDocument/2006/relationships/tags" Target="../tags/tag423.xml"/><Relationship Id="rId1" Type="http://schemas.openxmlformats.org/officeDocument/2006/relationships/tags" Target="../tags/tag422.xml"/><Relationship Id="rId6" Type="http://schemas.openxmlformats.org/officeDocument/2006/relationships/tags" Target="../tags/tag427.xml"/><Relationship Id="rId5" Type="http://schemas.openxmlformats.org/officeDocument/2006/relationships/tags" Target="../tags/tag426.xml"/><Relationship Id="rId10" Type="http://schemas.openxmlformats.org/officeDocument/2006/relationships/image" Target="../media/image5.emf"/><Relationship Id="rId4" Type="http://schemas.openxmlformats.org/officeDocument/2006/relationships/tags" Target="../tags/tag425.xml"/><Relationship Id="rId9" Type="http://schemas.openxmlformats.org/officeDocument/2006/relationships/oleObject" Target="../embeddings/oleObject49.bin"/></Relationships>
</file>

<file path=ppt/slideLayouts/_rels/slideLayout54.xml.rels><?xml version="1.0" encoding="UTF-8" standalone="yes"?>
<Relationships xmlns="http://schemas.openxmlformats.org/package/2006/relationships"><Relationship Id="rId8" Type="http://schemas.openxmlformats.org/officeDocument/2006/relationships/tags" Target="../tags/tag436.xml"/><Relationship Id="rId13" Type="http://schemas.openxmlformats.org/officeDocument/2006/relationships/image" Target="../media/image33.png"/><Relationship Id="rId3" Type="http://schemas.openxmlformats.org/officeDocument/2006/relationships/tags" Target="../tags/tag431.xml"/><Relationship Id="rId7" Type="http://schemas.openxmlformats.org/officeDocument/2006/relationships/tags" Target="../tags/tag435.xml"/><Relationship Id="rId12" Type="http://schemas.openxmlformats.org/officeDocument/2006/relationships/image" Target="../media/image32.png"/><Relationship Id="rId2" Type="http://schemas.openxmlformats.org/officeDocument/2006/relationships/tags" Target="../tags/tag430.xml"/><Relationship Id="rId1" Type="http://schemas.openxmlformats.org/officeDocument/2006/relationships/tags" Target="../tags/tag429.xml"/><Relationship Id="rId6" Type="http://schemas.openxmlformats.org/officeDocument/2006/relationships/tags" Target="../tags/tag434.xml"/><Relationship Id="rId11" Type="http://schemas.openxmlformats.org/officeDocument/2006/relationships/image" Target="../media/image1.emf"/><Relationship Id="rId5" Type="http://schemas.openxmlformats.org/officeDocument/2006/relationships/tags" Target="../tags/tag433.xml"/><Relationship Id="rId10" Type="http://schemas.openxmlformats.org/officeDocument/2006/relationships/oleObject" Target="../embeddings/oleObject50.bin"/><Relationship Id="rId4" Type="http://schemas.openxmlformats.org/officeDocument/2006/relationships/tags" Target="../tags/tag432.xml"/><Relationship Id="rId9"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8" Type="http://schemas.openxmlformats.org/officeDocument/2006/relationships/tags" Target="../tags/tag444.xml"/><Relationship Id="rId13" Type="http://schemas.openxmlformats.org/officeDocument/2006/relationships/image" Target="../media/image33.png"/><Relationship Id="rId3" Type="http://schemas.openxmlformats.org/officeDocument/2006/relationships/tags" Target="../tags/tag439.xml"/><Relationship Id="rId7" Type="http://schemas.openxmlformats.org/officeDocument/2006/relationships/tags" Target="../tags/tag443.xml"/><Relationship Id="rId12" Type="http://schemas.openxmlformats.org/officeDocument/2006/relationships/image" Target="../media/image32.png"/><Relationship Id="rId2" Type="http://schemas.openxmlformats.org/officeDocument/2006/relationships/tags" Target="../tags/tag438.xml"/><Relationship Id="rId1" Type="http://schemas.openxmlformats.org/officeDocument/2006/relationships/tags" Target="../tags/tag437.xml"/><Relationship Id="rId6" Type="http://schemas.openxmlformats.org/officeDocument/2006/relationships/tags" Target="../tags/tag442.xml"/><Relationship Id="rId11" Type="http://schemas.openxmlformats.org/officeDocument/2006/relationships/image" Target="../media/image1.emf"/><Relationship Id="rId5" Type="http://schemas.openxmlformats.org/officeDocument/2006/relationships/tags" Target="../tags/tag441.xml"/><Relationship Id="rId10" Type="http://schemas.openxmlformats.org/officeDocument/2006/relationships/oleObject" Target="../embeddings/oleObject51.bin"/><Relationship Id="rId4" Type="http://schemas.openxmlformats.org/officeDocument/2006/relationships/tags" Target="../tags/tag440.xml"/><Relationship Id="rId9"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8" Type="http://schemas.openxmlformats.org/officeDocument/2006/relationships/tags" Target="../tags/tag452.xml"/><Relationship Id="rId13" Type="http://schemas.openxmlformats.org/officeDocument/2006/relationships/image" Target="../media/image33.png"/><Relationship Id="rId3" Type="http://schemas.openxmlformats.org/officeDocument/2006/relationships/tags" Target="../tags/tag447.xml"/><Relationship Id="rId7" Type="http://schemas.openxmlformats.org/officeDocument/2006/relationships/tags" Target="../tags/tag451.xml"/><Relationship Id="rId12" Type="http://schemas.openxmlformats.org/officeDocument/2006/relationships/image" Target="../media/image32.png"/><Relationship Id="rId2" Type="http://schemas.openxmlformats.org/officeDocument/2006/relationships/tags" Target="../tags/tag446.xml"/><Relationship Id="rId1" Type="http://schemas.openxmlformats.org/officeDocument/2006/relationships/tags" Target="../tags/tag445.xml"/><Relationship Id="rId6" Type="http://schemas.openxmlformats.org/officeDocument/2006/relationships/tags" Target="../tags/tag450.xml"/><Relationship Id="rId11" Type="http://schemas.openxmlformats.org/officeDocument/2006/relationships/image" Target="../media/image1.emf"/><Relationship Id="rId5" Type="http://schemas.openxmlformats.org/officeDocument/2006/relationships/tags" Target="../tags/tag449.xml"/><Relationship Id="rId10" Type="http://schemas.openxmlformats.org/officeDocument/2006/relationships/oleObject" Target="../embeddings/oleObject52.bin"/><Relationship Id="rId4" Type="http://schemas.openxmlformats.org/officeDocument/2006/relationships/tags" Target="../tags/tag448.xml"/><Relationship Id="rId9"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8" Type="http://schemas.openxmlformats.org/officeDocument/2006/relationships/tags" Target="../tags/tag460.xml"/><Relationship Id="rId13" Type="http://schemas.openxmlformats.org/officeDocument/2006/relationships/image" Target="../media/image33.png"/><Relationship Id="rId3" Type="http://schemas.openxmlformats.org/officeDocument/2006/relationships/tags" Target="../tags/tag455.xml"/><Relationship Id="rId7" Type="http://schemas.openxmlformats.org/officeDocument/2006/relationships/tags" Target="../tags/tag459.xml"/><Relationship Id="rId12" Type="http://schemas.openxmlformats.org/officeDocument/2006/relationships/image" Target="../media/image32.png"/><Relationship Id="rId2" Type="http://schemas.openxmlformats.org/officeDocument/2006/relationships/tags" Target="../tags/tag454.xml"/><Relationship Id="rId1" Type="http://schemas.openxmlformats.org/officeDocument/2006/relationships/tags" Target="../tags/tag453.xml"/><Relationship Id="rId6" Type="http://schemas.openxmlformats.org/officeDocument/2006/relationships/tags" Target="../tags/tag458.xml"/><Relationship Id="rId11" Type="http://schemas.openxmlformats.org/officeDocument/2006/relationships/image" Target="../media/image10.emf"/><Relationship Id="rId5" Type="http://schemas.openxmlformats.org/officeDocument/2006/relationships/tags" Target="../tags/tag457.xml"/><Relationship Id="rId10" Type="http://schemas.openxmlformats.org/officeDocument/2006/relationships/oleObject" Target="../embeddings/oleObject53.bin"/><Relationship Id="rId4" Type="http://schemas.openxmlformats.org/officeDocument/2006/relationships/tags" Target="../tags/tag456.xml"/><Relationship Id="rId9"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8" Type="http://schemas.openxmlformats.org/officeDocument/2006/relationships/tags" Target="../tags/tag468.xml"/><Relationship Id="rId13" Type="http://schemas.openxmlformats.org/officeDocument/2006/relationships/image" Target="../media/image33.png"/><Relationship Id="rId3" Type="http://schemas.openxmlformats.org/officeDocument/2006/relationships/tags" Target="../tags/tag463.xml"/><Relationship Id="rId7" Type="http://schemas.openxmlformats.org/officeDocument/2006/relationships/tags" Target="../tags/tag467.xml"/><Relationship Id="rId12" Type="http://schemas.openxmlformats.org/officeDocument/2006/relationships/image" Target="../media/image32.png"/><Relationship Id="rId2" Type="http://schemas.openxmlformats.org/officeDocument/2006/relationships/tags" Target="../tags/tag462.xml"/><Relationship Id="rId1" Type="http://schemas.openxmlformats.org/officeDocument/2006/relationships/tags" Target="../tags/tag461.xml"/><Relationship Id="rId6" Type="http://schemas.openxmlformats.org/officeDocument/2006/relationships/tags" Target="../tags/tag466.xml"/><Relationship Id="rId11" Type="http://schemas.openxmlformats.org/officeDocument/2006/relationships/image" Target="../media/image1.emf"/><Relationship Id="rId5" Type="http://schemas.openxmlformats.org/officeDocument/2006/relationships/tags" Target="../tags/tag465.xml"/><Relationship Id="rId10" Type="http://schemas.openxmlformats.org/officeDocument/2006/relationships/oleObject" Target="../embeddings/oleObject54.bin"/><Relationship Id="rId4" Type="http://schemas.openxmlformats.org/officeDocument/2006/relationships/tags" Target="../tags/tag464.xml"/><Relationship Id="rId9"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8" Type="http://schemas.openxmlformats.org/officeDocument/2006/relationships/oleObject" Target="../embeddings/oleObject55.bin"/><Relationship Id="rId3" Type="http://schemas.openxmlformats.org/officeDocument/2006/relationships/tags" Target="../tags/tag471.xml"/><Relationship Id="rId7" Type="http://schemas.openxmlformats.org/officeDocument/2006/relationships/slideMaster" Target="../slideMasters/slideMaster4.xml"/><Relationship Id="rId2" Type="http://schemas.openxmlformats.org/officeDocument/2006/relationships/tags" Target="../tags/tag470.xml"/><Relationship Id="rId1" Type="http://schemas.openxmlformats.org/officeDocument/2006/relationships/tags" Target="../tags/tag469.xml"/><Relationship Id="rId6" Type="http://schemas.openxmlformats.org/officeDocument/2006/relationships/tags" Target="../tags/tag474.xml"/><Relationship Id="rId11" Type="http://schemas.openxmlformats.org/officeDocument/2006/relationships/image" Target="../media/image33.png"/><Relationship Id="rId5" Type="http://schemas.openxmlformats.org/officeDocument/2006/relationships/tags" Target="../tags/tag473.xml"/><Relationship Id="rId10" Type="http://schemas.openxmlformats.org/officeDocument/2006/relationships/image" Target="../media/image32.png"/><Relationship Id="rId4" Type="http://schemas.openxmlformats.org/officeDocument/2006/relationships/tags" Target="../tags/tag472.xml"/><Relationship Id="rId9" Type="http://schemas.openxmlformats.org/officeDocument/2006/relationships/image" Target="../media/image5.emf"/></Relationships>
</file>

<file path=ppt/slideLayouts/_rels/slideLayout6.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57.xml"/><Relationship Id="rId7" Type="http://schemas.openxmlformats.org/officeDocument/2006/relationships/slideMaster" Target="../slideMasters/slideMaster1.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tags" Target="../tags/tag60.xml"/><Relationship Id="rId5" Type="http://schemas.openxmlformats.org/officeDocument/2006/relationships/tags" Target="../tags/tag59.xml"/><Relationship Id="rId10" Type="http://schemas.openxmlformats.org/officeDocument/2006/relationships/image" Target="../media/image9.jpeg"/><Relationship Id="rId4" Type="http://schemas.openxmlformats.org/officeDocument/2006/relationships/tags" Target="../tags/tag58.xml"/><Relationship Id="rId9" Type="http://schemas.openxmlformats.org/officeDocument/2006/relationships/image" Target="../media/image5.emf"/></Relationships>
</file>

<file path=ppt/slideLayouts/_rels/slideLayout60.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tags" Target="../tags/tag477.xml"/><Relationship Id="rId7" Type="http://schemas.openxmlformats.org/officeDocument/2006/relationships/image" Target="../media/image5.emf"/><Relationship Id="rId2" Type="http://schemas.openxmlformats.org/officeDocument/2006/relationships/tags" Target="../tags/tag476.xml"/><Relationship Id="rId1" Type="http://schemas.openxmlformats.org/officeDocument/2006/relationships/tags" Target="../tags/tag475.xml"/><Relationship Id="rId6" Type="http://schemas.openxmlformats.org/officeDocument/2006/relationships/oleObject" Target="../embeddings/oleObject56.bin"/><Relationship Id="rId5" Type="http://schemas.openxmlformats.org/officeDocument/2006/relationships/slideMaster" Target="../slideMasters/slideMaster4.xml"/><Relationship Id="rId4" Type="http://schemas.openxmlformats.org/officeDocument/2006/relationships/tags" Target="../tags/tag478.xml"/><Relationship Id="rId9" Type="http://schemas.openxmlformats.org/officeDocument/2006/relationships/image" Target="../media/image33.png"/></Relationships>
</file>

<file path=ppt/slideLayouts/_rels/slideLayout61.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image" Target="../media/image40.svg"/><Relationship Id="rId18" Type="http://schemas.openxmlformats.org/officeDocument/2006/relationships/image" Target="../media/image45.svg"/><Relationship Id="rId3" Type="http://schemas.openxmlformats.org/officeDocument/2006/relationships/tags" Target="../tags/tag481.xml"/><Relationship Id="rId7" Type="http://schemas.openxmlformats.org/officeDocument/2006/relationships/image" Target="../media/image36.png"/><Relationship Id="rId12" Type="http://schemas.openxmlformats.org/officeDocument/2006/relationships/image" Target="../media/image39.svg"/><Relationship Id="rId17" Type="http://schemas.openxmlformats.org/officeDocument/2006/relationships/image" Target="../media/image44.svg"/><Relationship Id="rId2" Type="http://schemas.openxmlformats.org/officeDocument/2006/relationships/tags" Target="../tags/tag480.xml"/><Relationship Id="rId16" Type="http://schemas.openxmlformats.org/officeDocument/2006/relationships/image" Target="../media/image43.svg"/><Relationship Id="rId1" Type="http://schemas.openxmlformats.org/officeDocument/2006/relationships/tags" Target="../tags/tag479.xml"/><Relationship Id="rId6" Type="http://schemas.openxmlformats.org/officeDocument/2006/relationships/image" Target="../media/image5.emf"/><Relationship Id="rId11" Type="http://schemas.openxmlformats.org/officeDocument/2006/relationships/image" Target="../media/image38.svg"/><Relationship Id="rId5" Type="http://schemas.openxmlformats.org/officeDocument/2006/relationships/oleObject" Target="../embeddings/oleObject57.bin"/><Relationship Id="rId15" Type="http://schemas.openxmlformats.org/officeDocument/2006/relationships/image" Target="../media/image42.svg"/><Relationship Id="rId10" Type="http://schemas.openxmlformats.org/officeDocument/2006/relationships/image" Target="../media/image37.png"/><Relationship Id="rId4" Type="http://schemas.openxmlformats.org/officeDocument/2006/relationships/slideMaster" Target="../slideMasters/slideMaster4.xml"/><Relationship Id="rId9" Type="http://schemas.openxmlformats.org/officeDocument/2006/relationships/image" Target="../media/image22.png"/><Relationship Id="rId14" Type="http://schemas.openxmlformats.org/officeDocument/2006/relationships/image" Target="../media/image41.svg"/></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63.xml"/><Relationship Id="rId7" Type="http://schemas.openxmlformats.org/officeDocument/2006/relationships/tags" Target="../tags/tag67.xml"/><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tags" Target="../tags/tag66.xml"/><Relationship Id="rId5" Type="http://schemas.openxmlformats.org/officeDocument/2006/relationships/tags" Target="../tags/tag65.xml"/><Relationship Id="rId10" Type="http://schemas.openxmlformats.org/officeDocument/2006/relationships/image" Target="../media/image5.emf"/><Relationship Id="rId4" Type="http://schemas.openxmlformats.org/officeDocument/2006/relationships/tags" Target="../tags/tag64.xml"/><Relationship Id="rId9"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75.xml"/><Relationship Id="rId13" Type="http://schemas.openxmlformats.org/officeDocument/2006/relationships/image" Target="../media/image4.png"/><Relationship Id="rId3" Type="http://schemas.openxmlformats.org/officeDocument/2006/relationships/tags" Target="../tags/tag70.xml"/><Relationship Id="rId7" Type="http://schemas.openxmlformats.org/officeDocument/2006/relationships/tags" Target="../tags/tag74.xml"/><Relationship Id="rId12" Type="http://schemas.openxmlformats.org/officeDocument/2006/relationships/image" Target="../media/image2.png"/><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tags" Target="../tags/tag73.xml"/><Relationship Id="rId11" Type="http://schemas.openxmlformats.org/officeDocument/2006/relationships/image" Target="../media/image1.emf"/><Relationship Id="rId5" Type="http://schemas.openxmlformats.org/officeDocument/2006/relationships/tags" Target="../tags/tag72.xml"/><Relationship Id="rId10" Type="http://schemas.openxmlformats.org/officeDocument/2006/relationships/oleObject" Target="../embeddings/oleObject8.bin"/><Relationship Id="rId4" Type="http://schemas.openxmlformats.org/officeDocument/2006/relationships/tags" Target="../tags/tag71.xml"/><Relationship Id="rId9"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83.xml"/><Relationship Id="rId13" Type="http://schemas.openxmlformats.org/officeDocument/2006/relationships/image" Target="../media/image4.png"/><Relationship Id="rId3" Type="http://schemas.openxmlformats.org/officeDocument/2006/relationships/tags" Target="../tags/tag78.xml"/><Relationship Id="rId7" Type="http://schemas.openxmlformats.org/officeDocument/2006/relationships/tags" Target="../tags/tag82.xml"/><Relationship Id="rId12" Type="http://schemas.openxmlformats.org/officeDocument/2006/relationships/image" Target="../media/image2.png"/><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tags" Target="../tags/tag81.xml"/><Relationship Id="rId11" Type="http://schemas.openxmlformats.org/officeDocument/2006/relationships/image" Target="../media/image1.emf"/><Relationship Id="rId5" Type="http://schemas.openxmlformats.org/officeDocument/2006/relationships/tags" Target="../tags/tag80.xml"/><Relationship Id="rId10" Type="http://schemas.openxmlformats.org/officeDocument/2006/relationships/oleObject" Target="../embeddings/oleObject9.bin"/><Relationship Id="rId4" Type="http://schemas.openxmlformats.org/officeDocument/2006/relationships/tags" Target="../tags/tag79.xml"/><Relationship Id="rId9"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749032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814AD47C-0212-BB61-4613-13660D17FDD3}"/>
              </a:ext>
            </a:extLst>
          </p:cNvPr>
          <p:cNvSpPr>
            <a:spLocks/>
          </p:cNvSpPr>
          <p:nvPr userDrawn="1"/>
        </p:nvSpPr>
        <p:spPr bwMode="ltGray">
          <a:xfrm>
            <a:off x="0" y="0"/>
            <a:ext cx="12188824" cy="6861176"/>
          </a:xfrm>
          <a:prstGeom prst="rect">
            <a:avLst/>
          </a:prstGeom>
          <a:solidFill>
            <a:srgbClr val="FCF1E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4" name="Freeform: Shape 3">
            <a:extLst>
              <a:ext uri="{FF2B5EF4-FFF2-40B4-BE49-F238E27FC236}">
                <a16:creationId xmlns:a16="http://schemas.microsoft.com/office/drawing/2014/main" id="{AFC4568C-29D3-4065-778B-CD6AE040690B}"/>
              </a:ext>
            </a:extLst>
          </p:cNvPr>
          <p:cNvSpPr/>
          <p:nvPr userDrawn="1"/>
        </p:nvSpPr>
        <p:spPr bwMode="ltGray">
          <a:xfrm>
            <a:off x="6212209" y="0"/>
            <a:ext cx="5979791" cy="6851648"/>
          </a:xfrm>
          <a:custGeom>
            <a:avLst/>
            <a:gdLst>
              <a:gd name="connsiteX0" fmla="*/ 1825338 w 5979791"/>
              <a:gd name="connsiteY0" fmla="*/ 0 h 6851648"/>
              <a:gd name="connsiteX1" fmla="*/ 5979791 w 5979791"/>
              <a:gd name="connsiteY1" fmla="*/ 0 h 6851648"/>
              <a:gd name="connsiteX2" fmla="*/ 5979791 w 5979791"/>
              <a:gd name="connsiteY2" fmla="*/ 6815648 h 6851648"/>
              <a:gd name="connsiteX3" fmla="*/ 5920533 w 5979791"/>
              <a:gd name="connsiteY3" fmla="*/ 6851648 h 6851648"/>
              <a:gd name="connsiteX4" fmla="*/ 2066485 w 5979791"/>
              <a:gd name="connsiteY4" fmla="*/ 6851648 h 6851648"/>
              <a:gd name="connsiteX5" fmla="*/ 1923036 w 5979791"/>
              <a:gd name="connsiteY5" fmla="*/ 6769167 h 6851648"/>
              <a:gd name="connsiteX6" fmla="*/ 0 w 5979791"/>
              <a:gd name="connsiteY6" fmla="*/ 3353267 h 6851648"/>
              <a:gd name="connsiteX7" fmla="*/ 1760981 w 5979791"/>
              <a:gd name="connsiteY7" fmla="*/ 41259 h 6851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79791" h="6851648">
                <a:moveTo>
                  <a:pt x="1825338" y="0"/>
                </a:moveTo>
                <a:lnTo>
                  <a:pt x="5979791" y="0"/>
                </a:lnTo>
                <a:lnTo>
                  <a:pt x="5979791" y="6815648"/>
                </a:lnTo>
                <a:lnTo>
                  <a:pt x="5920533" y="6851648"/>
                </a:lnTo>
                <a:lnTo>
                  <a:pt x="2066485" y="6851648"/>
                </a:lnTo>
                <a:lnTo>
                  <a:pt x="1923036" y="6769167"/>
                </a:lnTo>
                <a:cubicBezTo>
                  <a:pt x="770131" y="6068645"/>
                  <a:pt x="0" y="4800893"/>
                  <a:pt x="0" y="3353267"/>
                </a:cubicBezTo>
                <a:cubicBezTo>
                  <a:pt x="0" y="1974576"/>
                  <a:pt x="698532" y="759035"/>
                  <a:pt x="1760981" y="41259"/>
                </a:cubicBez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5" name="Rectangle 4">
            <a:extLst>
              <a:ext uri="{FF2B5EF4-FFF2-40B4-BE49-F238E27FC236}">
                <a16:creationId xmlns:a16="http://schemas.microsoft.com/office/drawing/2014/main" id="{7B403B45-890C-F473-E180-60ACE7126208}"/>
              </a:ext>
            </a:extLst>
          </p:cNvPr>
          <p:cNvSpPr/>
          <p:nvPr userDrawn="1"/>
        </p:nvSpPr>
        <p:spPr bwMode="ltGray">
          <a:xfrm>
            <a:off x="-1" y="6725920"/>
            <a:ext cx="12195179" cy="13208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6" name="Title 4">
            <a:extLst>
              <a:ext uri="{FF2B5EF4-FFF2-40B4-BE49-F238E27FC236}">
                <a16:creationId xmlns:a16="http://schemas.microsoft.com/office/drawing/2014/main" id="{FBF3EF91-E28B-A1B7-3DE2-F675B8AAA918}"/>
              </a:ext>
            </a:extLst>
          </p:cNvPr>
          <p:cNvSpPr txBox="1">
            <a:spLocks/>
          </p:cNvSpPr>
          <p:nvPr userDrawn="1">
            <p:custDataLst>
              <p:tags r:id="rId2"/>
            </p:custDataLst>
          </p:nvPr>
        </p:nvSpPr>
        <p:spPr bwMode="ltGray">
          <a:xfrm>
            <a:off x="7161016" y="1288934"/>
            <a:ext cx="3936975" cy="2314095"/>
          </a:xfrm>
          <a:prstGeom prst="rect">
            <a:avLst/>
          </a:prstGeom>
          <a:noFill/>
          <a:ln/>
          <a:extLst>
            <a:ext uri="{909E8E84-426E-40DD-AFC4-6F175D3DCCD1}">
              <a14:hiddenFill xmlns:a14="http://schemas.microsoft.com/office/drawing/2010/main">
                <a:solidFill>
                  <a:srgbClr val="FFFFFF"/>
                </a:solidFill>
              </a14:hiddenFill>
            </a:ext>
          </a:extLst>
        </p:spPr>
        <p:txBody>
          <a:bodyPr vert="horz" wrap="none" lIns="0" tIns="0" rIns="0" bIns="0" rtlCol="0" anchor="ctr" anchorCtr="0">
            <a:spAutoFit/>
          </a:bodyPr>
          <a:lstStyle>
            <a:lvl1pPr algn="l" defTabSz="914400" rtl="0" eaLnBrk="1" latinLnBrk="0" hangingPunct="1">
              <a:lnSpc>
                <a:spcPct val="100000"/>
              </a:lnSpc>
              <a:spcBef>
                <a:spcPct val="0"/>
              </a:spcBef>
              <a:buNone/>
              <a:defRPr lang="en-US" sz="2500" b="1" kern="1200" spc="0" baseline="0">
                <a:ln w="6350" cap="flat">
                  <a:noFill/>
                  <a:miter lim="800000"/>
                </a:ln>
                <a:solidFill>
                  <a:schemeClr val="accent2"/>
                </a:solidFill>
                <a:latin typeface="+mj-lt"/>
                <a:ea typeface="+mj-ea"/>
                <a:cs typeface="+mj-cs"/>
              </a:defRPr>
            </a:lvl1pPr>
          </a:lstStyle>
          <a:p>
            <a:pPr algn="ctr" rtl="0">
              <a:lnSpc>
                <a:spcPct val="120000"/>
              </a:lnSpc>
              <a:spcBef>
                <a:spcPts val="400"/>
              </a:spcBef>
              <a:spcAft>
                <a:spcPts val="400"/>
              </a:spcAft>
              <a:buClr>
                <a:schemeClr val="tx2"/>
              </a:buClr>
            </a:pPr>
            <a:r>
              <a:rPr lang="en-US" sz="13800" b="0">
                <a:solidFill>
                  <a:schemeClr val="accent2"/>
                </a:solidFill>
                <a:ea typeface="Calibri Light" panose="020F0302020204030204" pitchFamily="34" charset="0"/>
                <a:cs typeface="Calibri Light" panose="020F0302020204030204" pitchFamily="34" charset="0"/>
              </a:rPr>
              <a:t>2025</a:t>
            </a:r>
          </a:p>
        </p:txBody>
      </p:sp>
      <p:pic>
        <p:nvPicPr>
          <p:cNvPr id="8" name="Picture 7">
            <a:extLst>
              <a:ext uri="{FF2B5EF4-FFF2-40B4-BE49-F238E27FC236}">
                <a16:creationId xmlns:a16="http://schemas.microsoft.com/office/drawing/2014/main" id="{7665BFA5-F272-BC69-FC04-9398D9298E4B}"/>
              </a:ext>
            </a:extLst>
          </p:cNvPr>
          <p:cNvPicPr>
            <a:picLocks/>
          </p:cNvPicPr>
          <p:nvPr userDrawn="1"/>
        </p:nvPicPr>
        <p:blipFill>
          <a:blip r:embed="rId10" cstate="email">
            <a:extLst>
              <a:ext uri="{28A0092B-C50C-407E-A947-70E740481C1C}">
                <a14:useLocalDpi xmlns:a14="http://schemas.microsoft.com/office/drawing/2010/main"/>
              </a:ext>
            </a:extLst>
          </a:blip>
          <a:srcRect b="-78"/>
          <a:stretch/>
        </p:blipFill>
        <p:spPr bwMode="ltGray">
          <a:xfrm>
            <a:off x="3373120" y="2772453"/>
            <a:ext cx="8818880" cy="4096343"/>
          </a:xfrm>
          <a:custGeom>
            <a:avLst/>
            <a:gdLst>
              <a:gd name="connsiteX0" fmla="*/ 0 w 8818880"/>
              <a:gd name="connsiteY0" fmla="*/ 0 h 4093167"/>
              <a:gd name="connsiteX1" fmla="*/ 8818880 w 8818880"/>
              <a:gd name="connsiteY1" fmla="*/ 0 h 4093167"/>
              <a:gd name="connsiteX2" fmla="*/ 8818880 w 8818880"/>
              <a:gd name="connsiteY2" fmla="*/ 4089991 h 4093167"/>
              <a:gd name="connsiteX3" fmla="*/ 2603493 w 8818880"/>
              <a:gd name="connsiteY3" fmla="*/ 4089991 h 4093167"/>
              <a:gd name="connsiteX4" fmla="*/ 2603493 w 8818880"/>
              <a:gd name="connsiteY4" fmla="*/ 4093167 h 4093167"/>
              <a:gd name="connsiteX5" fmla="*/ 0 w 8818880"/>
              <a:gd name="connsiteY5" fmla="*/ 4093167 h 4093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18880" h="4093167">
                <a:moveTo>
                  <a:pt x="0" y="0"/>
                </a:moveTo>
                <a:lnTo>
                  <a:pt x="8818880" y="0"/>
                </a:lnTo>
                <a:lnTo>
                  <a:pt x="8818880" y="4089991"/>
                </a:lnTo>
                <a:lnTo>
                  <a:pt x="2603493" y="4089991"/>
                </a:lnTo>
                <a:lnTo>
                  <a:pt x="2603493" y="4093167"/>
                </a:lnTo>
                <a:lnTo>
                  <a:pt x="0" y="4093167"/>
                </a:lnTo>
                <a:close/>
              </a:path>
            </a:pathLst>
          </a:custGeom>
        </p:spPr>
      </p:pic>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bwMode="ltGray">
          <a:xfrm>
            <a:off x="551338" y="4675755"/>
            <a:ext cx="4833463"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rtl="0">
              <a:defRPr lang="en-US" sz="1400" dirty="0"/>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bwMode="ltGray">
          <a:xfrm>
            <a:off x="551338" y="4001652"/>
            <a:ext cx="4833463"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2000" dirty="0"/>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6"/>
            </p:custDataLst>
          </p:nvPr>
        </p:nvSpPr>
        <p:spPr bwMode="ltGray">
          <a:xfrm>
            <a:off x="551338" y="1580211"/>
            <a:ext cx="4833463" cy="236289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lvl1pPr rtl="0">
              <a:defRPr lang="en-US" sz="4800" dirty="0">
                <a:solidFill>
                  <a:schemeClr val="accent5"/>
                </a:solidFill>
              </a:defRPr>
            </a:lvl1pPr>
          </a:lstStyle>
          <a:p>
            <a:pPr lvl="0"/>
            <a:r>
              <a:rPr lang="en-US"/>
              <a:t>Click to edit Master title style</a:t>
            </a:r>
          </a:p>
        </p:txBody>
      </p:sp>
      <p:grpSp>
        <p:nvGrpSpPr>
          <p:cNvPr id="23" name="Group 22">
            <a:extLst>
              <a:ext uri="{FF2B5EF4-FFF2-40B4-BE49-F238E27FC236}">
                <a16:creationId xmlns:a16="http://schemas.microsoft.com/office/drawing/2014/main" id="{AB7F7BC9-9FC7-F012-2E5E-8DD634DCC775}"/>
              </a:ext>
            </a:extLst>
          </p:cNvPr>
          <p:cNvGrpSpPr>
            <a:grpSpLocks/>
          </p:cNvGrpSpPr>
          <p:nvPr userDrawn="1"/>
        </p:nvGrpSpPr>
        <p:grpSpPr bwMode="ltGray">
          <a:xfrm>
            <a:off x="551338" y="5917504"/>
            <a:ext cx="1881188" cy="562281"/>
            <a:chOff x="9982200" y="6279859"/>
            <a:chExt cx="1330325" cy="397630"/>
          </a:xfrm>
        </p:grpSpPr>
        <p:pic>
          <p:nvPicPr>
            <p:cNvPr id="24" name="Google Shape;68;p16">
              <a:extLst>
                <a:ext uri="{FF2B5EF4-FFF2-40B4-BE49-F238E27FC236}">
                  <a16:creationId xmlns:a16="http://schemas.microsoft.com/office/drawing/2014/main" id="{74AE5E61-D3D1-3B23-05E6-769F12D7D814}"/>
                </a:ext>
              </a:extLst>
            </p:cNvPr>
            <p:cNvPicPr preferRelativeResize="0"/>
            <p:nvPr userDrawn="1"/>
          </p:nvPicPr>
          <p:blipFill rotWithShape="1">
            <a:blip r:embed="rId11" cstate="email">
              <a:alphaModFix/>
              <a:extLst>
                <a:ext uri="{28A0092B-C50C-407E-A947-70E740481C1C}">
                  <a14:useLocalDpi xmlns:a14="http://schemas.microsoft.com/office/drawing/2010/main"/>
                </a:ext>
              </a:extLst>
            </a:blip>
            <a:srcRect/>
            <a:stretch/>
          </p:blipFill>
          <p:spPr bwMode="ltGray">
            <a:xfrm>
              <a:off x="10504277" y="6327530"/>
              <a:ext cx="808248" cy="334079"/>
            </a:xfrm>
            <a:prstGeom prst="rect">
              <a:avLst/>
            </a:prstGeom>
            <a:noFill/>
            <a:ln>
              <a:noFill/>
            </a:ln>
          </p:spPr>
        </p:pic>
        <p:pic>
          <p:nvPicPr>
            <p:cNvPr id="25" name="Picture 24">
              <a:extLst>
                <a:ext uri="{FF2B5EF4-FFF2-40B4-BE49-F238E27FC236}">
                  <a16:creationId xmlns:a16="http://schemas.microsoft.com/office/drawing/2014/main" id="{B1931ABF-650E-C474-E6E4-562B28DF278E}"/>
                </a:ext>
              </a:extLst>
            </p:cNvPr>
            <p:cNvPicPr>
              <a:picLocks/>
            </p:cNvPicPr>
            <p:nvPr userDrawn="1"/>
          </p:nvPicPr>
          <p:blipFill>
            <a:blip r:embed="rId12" cstate="email">
              <a:extLst>
                <a:ext uri="{28A0092B-C50C-407E-A947-70E740481C1C}">
                  <a14:useLocalDpi xmlns:a14="http://schemas.microsoft.com/office/drawing/2010/main"/>
                </a:ext>
              </a:extLst>
            </a:blip>
            <a:stretch>
              <a:fillRect/>
            </a:stretch>
          </p:blipFill>
          <p:spPr bwMode="ltGray">
            <a:xfrm>
              <a:off x="9982200" y="6279859"/>
              <a:ext cx="421342" cy="397630"/>
            </a:xfrm>
            <a:prstGeom prst="rect">
              <a:avLst/>
            </a:prstGeom>
          </p:spPr>
        </p:pic>
      </p:grpSp>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35661538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FFE7E7"/>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US">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384721"/>
          </a:xfrm>
        </p:spPr>
        <p:txBody>
          <a:bodyPr vert="horz">
            <a:spAutoFit/>
          </a:bodyPr>
          <a:lstStyle>
            <a:lvl1pPr rtl="0">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5" y="637721"/>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2" name="Google Shape;64;p16">
            <a:extLst>
              <a:ext uri="{FF2B5EF4-FFF2-40B4-BE49-F238E27FC236}">
                <a16:creationId xmlns:a16="http://schemas.microsoft.com/office/drawing/2014/main" id="{71269C8A-39A9-72C2-028F-7914E6CA6E33}"/>
              </a:ext>
            </a:extLst>
          </p:cNvPr>
          <p:cNvPicPr preferRelativeResize="0"/>
          <p:nvPr userDrawn="1"/>
        </p:nvPicPr>
        <p:blipFill rotWithShape="1">
          <a:blip r:embed="rId12" cstate="email">
            <a:alphaModFix/>
            <a:extLst>
              <a:ext uri="{28A0092B-C50C-407E-A947-70E740481C1C}">
                <a14:useLocalDpi xmlns:a14="http://schemas.microsoft.com/office/drawing/2010/main"/>
              </a:ext>
            </a:extLst>
          </a:blip>
          <a:srcRect/>
          <a:stretch/>
        </p:blipFill>
        <p:spPr bwMode="ltGray">
          <a:xfrm>
            <a:off x="10128282" y="-14875"/>
            <a:ext cx="2063718" cy="1950355"/>
          </a:xfrm>
          <a:prstGeom prst="rect">
            <a:avLst/>
          </a:prstGeom>
          <a:noFill/>
          <a:ln>
            <a:noFill/>
          </a:ln>
        </p:spPr>
      </p:pic>
      <p:grpSp>
        <p:nvGrpSpPr>
          <p:cNvPr id="9" name="Group 8">
            <a:extLst>
              <a:ext uri="{FF2B5EF4-FFF2-40B4-BE49-F238E27FC236}">
                <a16:creationId xmlns:a16="http://schemas.microsoft.com/office/drawing/2014/main" id="{67793FFE-FB87-412D-C143-59A06F4871BC}"/>
              </a:ext>
            </a:extLst>
          </p:cNvPr>
          <p:cNvGrpSpPr/>
          <p:nvPr userDrawn="1"/>
        </p:nvGrpSpPr>
        <p:grpSpPr>
          <a:xfrm>
            <a:off x="10644663" y="172212"/>
            <a:ext cx="1269969" cy="353548"/>
            <a:chOff x="-770028" y="-2797529"/>
            <a:chExt cx="9308599" cy="2591427"/>
          </a:xfrm>
        </p:grpSpPr>
        <p:sp>
          <p:nvSpPr>
            <p:cNvPr id="11" name="Freeform: Shape 10">
              <a:extLst>
                <a:ext uri="{FF2B5EF4-FFF2-40B4-BE49-F238E27FC236}">
                  <a16:creationId xmlns:a16="http://schemas.microsoft.com/office/drawing/2014/main" id="{B96F1C2E-EA85-9F9D-2A38-5C555A46EE89}"/>
                </a:ext>
              </a:extLst>
            </p:cNvPr>
            <p:cNvSpPr/>
            <p:nvPr/>
          </p:nvSpPr>
          <p:spPr>
            <a:xfrm>
              <a:off x="2457429" y="-1765355"/>
              <a:ext cx="687427" cy="1091288"/>
            </a:xfrm>
            <a:custGeom>
              <a:avLst/>
              <a:gdLst>
                <a:gd name="connsiteX0" fmla="*/ 687811 w 687427"/>
                <a:gd name="connsiteY0" fmla="*/ 1091442 h 1091288"/>
                <a:gd name="connsiteX1" fmla="*/ 569781 w 687427"/>
                <a:gd name="connsiteY1" fmla="*/ 1091442 h 1091288"/>
                <a:gd name="connsiteX2" fmla="*/ 430557 w 687427"/>
                <a:gd name="connsiteY2" fmla="*/ 1045722 h 1091288"/>
                <a:gd name="connsiteX3" fmla="*/ 370271 w 687427"/>
                <a:gd name="connsiteY3" fmla="*/ 931739 h 1091288"/>
                <a:gd name="connsiteX4" fmla="*/ 370271 w 687427"/>
                <a:gd name="connsiteY4" fmla="*/ 714490 h 1091288"/>
                <a:gd name="connsiteX5" fmla="*/ 346538 w 687427"/>
                <a:gd name="connsiteY5" fmla="*/ 612414 h 1091288"/>
                <a:gd name="connsiteX6" fmla="*/ 257043 w 687427"/>
                <a:gd name="connsiteY6" fmla="*/ 585029 h 1091288"/>
                <a:gd name="connsiteX7" fmla="*/ 218030 w 687427"/>
                <a:gd name="connsiteY7" fmla="*/ 585029 h 1091288"/>
                <a:gd name="connsiteX8" fmla="*/ 218030 w 687427"/>
                <a:gd name="connsiteY8" fmla="*/ 1091442 h 1091288"/>
                <a:gd name="connsiteX9" fmla="*/ 384 w 687427"/>
                <a:gd name="connsiteY9" fmla="*/ 1091442 h 1091288"/>
                <a:gd name="connsiteX10" fmla="*/ 384 w 687427"/>
                <a:gd name="connsiteY10" fmla="*/ 154 h 1091288"/>
                <a:gd name="connsiteX11" fmla="*/ 218030 w 687427"/>
                <a:gd name="connsiteY11" fmla="*/ 154 h 1091288"/>
                <a:gd name="connsiteX12" fmla="*/ 218030 w 687427"/>
                <a:gd name="connsiteY12" fmla="*/ 462911 h 1091288"/>
                <a:gd name="connsiteX13" fmla="*/ 272997 w 687427"/>
                <a:gd name="connsiteY13" fmla="*/ 464260 h 1091288"/>
                <a:gd name="connsiteX14" fmla="*/ 317368 w 687427"/>
                <a:gd name="connsiteY14" fmla="*/ 447710 h 1091288"/>
                <a:gd name="connsiteX15" fmla="*/ 338164 w 687427"/>
                <a:gd name="connsiteY15" fmla="*/ 356191 h 1091288"/>
                <a:gd name="connsiteX16" fmla="*/ 353563 w 687427"/>
                <a:gd name="connsiteY16" fmla="*/ 154 h 1091288"/>
                <a:gd name="connsiteX17" fmla="*/ 557874 w 687427"/>
                <a:gd name="connsiteY17" fmla="*/ 154 h 1091288"/>
                <a:gd name="connsiteX18" fmla="*/ 542436 w 687427"/>
                <a:gd name="connsiteY18" fmla="*/ 324441 h 1091288"/>
                <a:gd name="connsiteX19" fmla="*/ 506042 w 687427"/>
                <a:gd name="connsiteY19" fmla="*/ 437709 h 1091288"/>
                <a:gd name="connsiteX20" fmla="*/ 410118 w 687427"/>
                <a:gd name="connsiteY20" fmla="*/ 486207 h 1091288"/>
                <a:gd name="connsiteX21" fmla="*/ 536165 w 687427"/>
                <a:gd name="connsiteY21" fmla="*/ 544270 h 1091288"/>
                <a:gd name="connsiteX22" fmla="*/ 578988 w 687427"/>
                <a:gd name="connsiteY22" fmla="*/ 668175 h 1091288"/>
                <a:gd name="connsiteX23" fmla="*/ 578988 w 687427"/>
                <a:gd name="connsiteY23" fmla="*/ 829425 h 1091288"/>
                <a:gd name="connsiteX24" fmla="*/ 602364 w 687427"/>
                <a:gd name="connsiteY24" fmla="*/ 947575 h 1091288"/>
                <a:gd name="connsiteX25" fmla="*/ 687811 w 687427"/>
                <a:gd name="connsiteY25" fmla="*/ 968252 h 1091288"/>
                <a:gd name="connsiteX26" fmla="*/ 687811 w 687427"/>
                <a:gd name="connsiteY26" fmla="*/ 1091442 h 1091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87427" h="1091288">
                  <a:moveTo>
                    <a:pt x="687811" y="1091442"/>
                  </a:moveTo>
                  <a:lnTo>
                    <a:pt x="569781" y="1091442"/>
                  </a:lnTo>
                  <a:cubicBezTo>
                    <a:pt x="517115" y="1091442"/>
                    <a:pt x="470760" y="1076202"/>
                    <a:pt x="430557" y="1045722"/>
                  </a:cubicBezTo>
                  <a:cubicBezTo>
                    <a:pt x="390314" y="1015242"/>
                    <a:pt x="370271" y="977182"/>
                    <a:pt x="370271" y="931739"/>
                  </a:cubicBezTo>
                  <a:lnTo>
                    <a:pt x="370271" y="714490"/>
                  </a:lnTo>
                  <a:cubicBezTo>
                    <a:pt x="370271" y="664761"/>
                    <a:pt x="362294" y="630709"/>
                    <a:pt x="346538" y="612414"/>
                  </a:cubicBezTo>
                  <a:cubicBezTo>
                    <a:pt x="330743" y="594157"/>
                    <a:pt x="300898" y="585029"/>
                    <a:pt x="257043" y="585029"/>
                  </a:cubicBezTo>
                  <a:lnTo>
                    <a:pt x="218030" y="585029"/>
                  </a:lnTo>
                  <a:lnTo>
                    <a:pt x="218030" y="1091442"/>
                  </a:lnTo>
                  <a:lnTo>
                    <a:pt x="384" y="1091442"/>
                  </a:lnTo>
                  <a:lnTo>
                    <a:pt x="384" y="154"/>
                  </a:lnTo>
                  <a:lnTo>
                    <a:pt x="218030" y="154"/>
                  </a:lnTo>
                  <a:lnTo>
                    <a:pt x="218030" y="462911"/>
                  </a:lnTo>
                  <a:lnTo>
                    <a:pt x="272997" y="464260"/>
                  </a:lnTo>
                  <a:cubicBezTo>
                    <a:pt x="291293" y="464697"/>
                    <a:pt x="306057" y="459140"/>
                    <a:pt x="317368" y="447710"/>
                  </a:cubicBezTo>
                  <a:cubicBezTo>
                    <a:pt x="328639" y="436320"/>
                    <a:pt x="335584" y="405800"/>
                    <a:pt x="338164" y="356191"/>
                  </a:cubicBezTo>
                  <a:lnTo>
                    <a:pt x="353563" y="154"/>
                  </a:lnTo>
                  <a:lnTo>
                    <a:pt x="557874" y="154"/>
                  </a:lnTo>
                  <a:lnTo>
                    <a:pt x="542436" y="324441"/>
                  </a:lnTo>
                  <a:cubicBezTo>
                    <a:pt x="539539" y="377543"/>
                    <a:pt x="527355" y="415167"/>
                    <a:pt x="506042" y="437709"/>
                  </a:cubicBezTo>
                  <a:cubicBezTo>
                    <a:pt x="484770" y="460172"/>
                    <a:pt x="452782" y="476285"/>
                    <a:pt x="410118" y="486207"/>
                  </a:cubicBezTo>
                  <a:cubicBezTo>
                    <a:pt x="465561" y="493549"/>
                    <a:pt x="507551" y="512838"/>
                    <a:pt x="536165" y="544270"/>
                  </a:cubicBezTo>
                  <a:cubicBezTo>
                    <a:pt x="564740" y="575703"/>
                    <a:pt x="578988" y="617017"/>
                    <a:pt x="578988" y="668175"/>
                  </a:cubicBezTo>
                  <a:lnTo>
                    <a:pt x="578988" y="829425"/>
                  </a:lnTo>
                  <a:cubicBezTo>
                    <a:pt x="578988" y="894433"/>
                    <a:pt x="586807" y="933803"/>
                    <a:pt x="602364" y="947575"/>
                  </a:cubicBezTo>
                  <a:cubicBezTo>
                    <a:pt x="617922" y="961346"/>
                    <a:pt x="646417" y="968252"/>
                    <a:pt x="687811" y="968252"/>
                  </a:cubicBezTo>
                  <a:lnTo>
                    <a:pt x="687811" y="1091442"/>
                  </a:lnTo>
                  <a:close/>
                </a:path>
              </a:pathLst>
            </a:custGeom>
            <a:solidFill>
              <a:srgbClr val="007236"/>
            </a:solidFill>
            <a:ln w="39688" cap="flat">
              <a:noFill/>
              <a:prstDash val="solid"/>
              <a:round/>
            </a:ln>
          </p:spPr>
          <p:txBody>
            <a:bodyPr rtlCol="0" anchor="ctr"/>
            <a:lstStyle/>
            <a:p>
              <a:pPr rtl="0"/>
              <a:endParaRPr lang="en-US"/>
            </a:p>
          </p:txBody>
        </p:sp>
        <p:sp>
          <p:nvSpPr>
            <p:cNvPr id="12" name="Freeform: Shape 11">
              <a:extLst>
                <a:ext uri="{FF2B5EF4-FFF2-40B4-BE49-F238E27FC236}">
                  <a16:creationId xmlns:a16="http://schemas.microsoft.com/office/drawing/2014/main" id="{23500B1C-27B8-BB41-8EB8-CE71659F06D1}"/>
                </a:ext>
              </a:extLst>
            </p:cNvPr>
            <p:cNvSpPr/>
            <p:nvPr/>
          </p:nvSpPr>
          <p:spPr>
            <a:xfrm>
              <a:off x="3171844" y="-1521035"/>
              <a:ext cx="509826" cy="854829"/>
            </a:xfrm>
            <a:custGeom>
              <a:avLst/>
              <a:gdLst>
                <a:gd name="connsiteX0" fmla="*/ 341398 w 509826"/>
                <a:gd name="connsiteY0" fmla="*/ 319510 h 854829"/>
                <a:gd name="connsiteX1" fmla="*/ 329810 w 509826"/>
                <a:gd name="connsiteY1" fmla="*/ 169530 h 854829"/>
                <a:gd name="connsiteX2" fmla="*/ 276470 w 509826"/>
                <a:gd name="connsiteY2" fmla="*/ 129049 h 854829"/>
                <a:gd name="connsiteX3" fmla="*/ 224360 w 509826"/>
                <a:gd name="connsiteY3" fmla="*/ 164927 h 854829"/>
                <a:gd name="connsiteX4" fmla="*/ 212136 w 509826"/>
                <a:gd name="connsiteY4" fmla="*/ 319510 h 854829"/>
                <a:gd name="connsiteX5" fmla="*/ 341398 w 509826"/>
                <a:gd name="connsiteY5" fmla="*/ 319510 h 854829"/>
                <a:gd name="connsiteX6" fmla="*/ 510269 w 509826"/>
                <a:gd name="connsiteY6" fmla="*/ 439366 h 854829"/>
                <a:gd name="connsiteX7" fmla="*/ 211501 w 509826"/>
                <a:gd name="connsiteY7" fmla="*/ 439366 h 854829"/>
                <a:gd name="connsiteX8" fmla="*/ 225511 w 509826"/>
                <a:gd name="connsiteY8" fmla="*/ 675427 h 854829"/>
                <a:gd name="connsiteX9" fmla="*/ 284248 w 509826"/>
                <a:gd name="connsiteY9" fmla="*/ 726148 h 854829"/>
                <a:gd name="connsiteX10" fmla="*/ 328976 w 509826"/>
                <a:gd name="connsiteY10" fmla="*/ 706979 h 854829"/>
                <a:gd name="connsiteX11" fmla="*/ 343661 w 509826"/>
                <a:gd name="connsiteY11" fmla="*/ 639907 h 854829"/>
                <a:gd name="connsiteX12" fmla="*/ 490227 w 509826"/>
                <a:gd name="connsiteY12" fmla="*/ 639907 h 854829"/>
                <a:gd name="connsiteX13" fmla="*/ 434545 w 509826"/>
                <a:gd name="connsiteY13" fmla="*/ 802705 h 854829"/>
                <a:gd name="connsiteX14" fmla="*/ 262301 w 509826"/>
                <a:gd name="connsiteY14" fmla="*/ 855013 h 854829"/>
                <a:gd name="connsiteX15" fmla="*/ 67038 w 509826"/>
                <a:gd name="connsiteY15" fmla="*/ 747301 h 854829"/>
                <a:gd name="connsiteX16" fmla="*/ 443 w 509826"/>
                <a:gd name="connsiteY16" fmla="*/ 426904 h 854829"/>
                <a:gd name="connsiteX17" fmla="*/ 69618 w 509826"/>
                <a:gd name="connsiteY17" fmla="*/ 107856 h 854829"/>
                <a:gd name="connsiteX18" fmla="*/ 277819 w 509826"/>
                <a:gd name="connsiteY18" fmla="*/ 184 h 854829"/>
                <a:gd name="connsiteX19" fmla="*/ 453833 w 509826"/>
                <a:gd name="connsiteY19" fmla="*/ 86425 h 854829"/>
                <a:gd name="connsiteX20" fmla="*/ 510269 w 509826"/>
                <a:gd name="connsiteY20" fmla="*/ 345068 h 854829"/>
                <a:gd name="connsiteX21" fmla="*/ 510269 w 509826"/>
                <a:gd name="connsiteY21" fmla="*/ 439366 h 854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09826" h="854829">
                  <a:moveTo>
                    <a:pt x="341398" y="319510"/>
                  </a:moveTo>
                  <a:cubicBezTo>
                    <a:pt x="341398" y="246485"/>
                    <a:pt x="337588" y="196478"/>
                    <a:pt x="329810" y="169530"/>
                  </a:cubicBezTo>
                  <a:cubicBezTo>
                    <a:pt x="322071" y="142503"/>
                    <a:pt x="304330" y="129049"/>
                    <a:pt x="276470" y="129049"/>
                  </a:cubicBezTo>
                  <a:cubicBezTo>
                    <a:pt x="249879" y="129049"/>
                    <a:pt x="232496" y="140955"/>
                    <a:pt x="224360" y="164927"/>
                  </a:cubicBezTo>
                  <a:cubicBezTo>
                    <a:pt x="216224" y="188938"/>
                    <a:pt x="212136" y="240412"/>
                    <a:pt x="212136" y="319510"/>
                  </a:cubicBezTo>
                  <a:lnTo>
                    <a:pt x="341398" y="319510"/>
                  </a:lnTo>
                  <a:close/>
                  <a:moveTo>
                    <a:pt x="510269" y="439366"/>
                  </a:moveTo>
                  <a:lnTo>
                    <a:pt x="211501" y="439366"/>
                  </a:lnTo>
                  <a:cubicBezTo>
                    <a:pt x="211501" y="562953"/>
                    <a:pt x="216145" y="641574"/>
                    <a:pt x="225511" y="675427"/>
                  </a:cubicBezTo>
                  <a:cubicBezTo>
                    <a:pt x="234877" y="709241"/>
                    <a:pt x="254483" y="726148"/>
                    <a:pt x="284248" y="726148"/>
                  </a:cubicBezTo>
                  <a:cubicBezTo>
                    <a:pt x="304291" y="726148"/>
                    <a:pt x="319213" y="719719"/>
                    <a:pt x="328976" y="706979"/>
                  </a:cubicBezTo>
                  <a:cubicBezTo>
                    <a:pt x="338779" y="694081"/>
                    <a:pt x="343661" y="671697"/>
                    <a:pt x="343661" y="639907"/>
                  </a:cubicBezTo>
                  <a:lnTo>
                    <a:pt x="490227" y="639907"/>
                  </a:lnTo>
                  <a:cubicBezTo>
                    <a:pt x="490227" y="713567"/>
                    <a:pt x="471772" y="767820"/>
                    <a:pt x="434545" y="802705"/>
                  </a:cubicBezTo>
                  <a:cubicBezTo>
                    <a:pt x="397397" y="837551"/>
                    <a:pt x="340009" y="855013"/>
                    <a:pt x="262301" y="855013"/>
                  </a:cubicBezTo>
                  <a:cubicBezTo>
                    <a:pt x="176536" y="855013"/>
                    <a:pt x="111449" y="819096"/>
                    <a:pt x="67038" y="747301"/>
                  </a:cubicBezTo>
                  <a:cubicBezTo>
                    <a:pt x="22668" y="675546"/>
                    <a:pt x="443" y="568747"/>
                    <a:pt x="443" y="426904"/>
                  </a:cubicBezTo>
                  <a:cubicBezTo>
                    <a:pt x="443" y="285974"/>
                    <a:pt x="23541" y="179611"/>
                    <a:pt x="69618" y="107856"/>
                  </a:cubicBezTo>
                  <a:cubicBezTo>
                    <a:pt x="115735" y="36061"/>
                    <a:pt x="185109" y="184"/>
                    <a:pt x="277819" y="184"/>
                  </a:cubicBezTo>
                  <a:cubicBezTo>
                    <a:pt x="357591" y="184"/>
                    <a:pt x="416328" y="28917"/>
                    <a:pt x="453833" y="86425"/>
                  </a:cubicBezTo>
                  <a:cubicBezTo>
                    <a:pt x="491457" y="143892"/>
                    <a:pt x="510269" y="230133"/>
                    <a:pt x="510269" y="345068"/>
                  </a:cubicBezTo>
                  <a:lnTo>
                    <a:pt x="510269" y="439366"/>
                  </a:lnTo>
                  <a:close/>
                </a:path>
              </a:pathLst>
            </a:custGeom>
            <a:solidFill>
              <a:srgbClr val="007236"/>
            </a:solidFill>
            <a:ln w="39688" cap="flat">
              <a:noFill/>
              <a:prstDash val="solid"/>
              <a:round/>
            </a:ln>
          </p:spPr>
          <p:txBody>
            <a:bodyPr rtlCol="0" anchor="ctr"/>
            <a:lstStyle/>
            <a:p>
              <a:pPr rtl="0"/>
              <a:endParaRPr lang="en-US"/>
            </a:p>
          </p:txBody>
        </p:sp>
        <p:sp>
          <p:nvSpPr>
            <p:cNvPr id="13" name="Freeform: Shape 12">
              <a:extLst>
                <a:ext uri="{FF2B5EF4-FFF2-40B4-BE49-F238E27FC236}">
                  <a16:creationId xmlns:a16="http://schemas.microsoft.com/office/drawing/2014/main" id="{3846A865-E750-4A7A-6DC7-598C26892F81}"/>
                </a:ext>
              </a:extLst>
            </p:cNvPr>
            <p:cNvSpPr/>
            <p:nvPr/>
          </p:nvSpPr>
          <p:spPr>
            <a:xfrm>
              <a:off x="3776682" y="-1521039"/>
              <a:ext cx="545267" cy="846971"/>
            </a:xfrm>
            <a:custGeom>
              <a:avLst/>
              <a:gdLst>
                <a:gd name="connsiteX0" fmla="*/ 545780 w 545267"/>
                <a:gd name="connsiteY0" fmla="*/ 847142 h 846971"/>
                <a:gd name="connsiteX1" fmla="*/ 341429 w 545267"/>
                <a:gd name="connsiteY1" fmla="*/ 847142 h 846971"/>
                <a:gd name="connsiteX2" fmla="*/ 341429 w 545267"/>
                <a:gd name="connsiteY2" fmla="*/ 208688 h 846971"/>
                <a:gd name="connsiteX3" fmla="*/ 321982 w 545267"/>
                <a:gd name="connsiteY3" fmla="*/ 154316 h 846971"/>
                <a:gd name="connsiteX4" fmla="*/ 268920 w 545267"/>
                <a:gd name="connsiteY4" fmla="*/ 136854 h 846971"/>
                <a:gd name="connsiteX5" fmla="*/ 235542 w 545267"/>
                <a:gd name="connsiteY5" fmla="*/ 139791 h 846971"/>
                <a:gd name="connsiteX6" fmla="*/ 204824 w 545267"/>
                <a:gd name="connsiteY6" fmla="*/ 147808 h 846971"/>
                <a:gd name="connsiteX7" fmla="*/ 204824 w 545267"/>
                <a:gd name="connsiteY7" fmla="*/ 847142 h 846971"/>
                <a:gd name="connsiteX8" fmla="*/ 513 w 545267"/>
                <a:gd name="connsiteY8" fmla="*/ 847142 h 846971"/>
                <a:gd name="connsiteX9" fmla="*/ 513 w 545267"/>
                <a:gd name="connsiteY9" fmla="*/ 11282 h 846971"/>
                <a:gd name="connsiteX10" fmla="*/ 168153 w 545267"/>
                <a:gd name="connsiteY10" fmla="*/ 11282 h 846971"/>
                <a:gd name="connsiteX11" fmla="*/ 180456 w 545267"/>
                <a:gd name="connsiteY11" fmla="*/ 47279 h 846971"/>
                <a:gd name="connsiteX12" fmla="*/ 261062 w 545267"/>
                <a:gd name="connsiteY12" fmla="*/ 10806 h 846971"/>
                <a:gd name="connsiteX13" fmla="*/ 347422 w 545267"/>
                <a:gd name="connsiteY13" fmla="*/ 170 h 846971"/>
                <a:gd name="connsiteX14" fmla="*/ 493472 w 545267"/>
                <a:gd name="connsiteY14" fmla="*/ 52200 h 846971"/>
                <a:gd name="connsiteX15" fmla="*/ 545780 w 545267"/>
                <a:gd name="connsiteY15" fmla="*/ 200592 h 846971"/>
                <a:gd name="connsiteX16" fmla="*/ 545780 w 545267"/>
                <a:gd name="connsiteY16" fmla="*/ 847142 h 846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45267" h="846971">
                  <a:moveTo>
                    <a:pt x="545780" y="847142"/>
                  </a:moveTo>
                  <a:lnTo>
                    <a:pt x="341429" y="847142"/>
                  </a:lnTo>
                  <a:lnTo>
                    <a:pt x="341429" y="208688"/>
                  </a:lnTo>
                  <a:cubicBezTo>
                    <a:pt x="341429" y="184042"/>
                    <a:pt x="334960" y="165945"/>
                    <a:pt x="321982" y="154316"/>
                  </a:cubicBezTo>
                  <a:cubicBezTo>
                    <a:pt x="309083" y="142648"/>
                    <a:pt x="291343" y="136854"/>
                    <a:pt x="268920" y="136854"/>
                  </a:cubicBezTo>
                  <a:cubicBezTo>
                    <a:pt x="258958" y="136854"/>
                    <a:pt x="247885" y="137767"/>
                    <a:pt x="235542" y="139791"/>
                  </a:cubicBezTo>
                  <a:cubicBezTo>
                    <a:pt x="223239" y="141656"/>
                    <a:pt x="213000" y="144355"/>
                    <a:pt x="204824" y="147808"/>
                  </a:cubicBezTo>
                  <a:lnTo>
                    <a:pt x="204824" y="847142"/>
                  </a:lnTo>
                  <a:lnTo>
                    <a:pt x="513" y="847142"/>
                  </a:lnTo>
                  <a:lnTo>
                    <a:pt x="513" y="11282"/>
                  </a:lnTo>
                  <a:lnTo>
                    <a:pt x="168153" y="11282"/>
                  </a:lnTo>
                  <a:lnTo>
                    <a:pt x="180456" y="47279"/>
                  </a:lnTo>
                  <a:cubicBezTo>
                    <a:pt x="209190" y="30134"/>
                    <a:pt x="236019" y="17910"/>
                    <a:pt x="261062" y="10806"/>
                  </a:cubicBezTo>
                  <a:cubicBezTo>
                    <a:pt x="286065" y="3662"/>
                    <a:pt x="314878" y="170"/>
                    <a:pt x="347422" y="170"/>
                  </a:cubicBezTo>
                  <a:cubicBezTo>
                    <a:pt x="409850" y="170"/>
                    <a:pt x="458547" y="17474"/>
                    <a:pt x="493472" y="52200"/>
                  </a:cubicBezTo>
                  <a:cubicBezTo>
                    <a:pt x="528357" y="86887"/>
                    <a:pt x="545780" y="136377"/>
                    <a:pt x="545780" y="200592"/>
                  </a:cubicBezTo>
                  <a:lnTo>
                    <a:pt x="545780" y="847142"/>
                  </a:lnTo>
                  <a:close/>
                </a:path>
              </a:pathLst>
            </a:custGeom>
            <a:solidFill>
              <a:srgbClr val="007236"/>
            </a:solidFill>
            <a:ln w="39688" cap="flat">
              <a:noFill/>
              <a:prstDash val="solid"/>
              <a:round/>
            </a:ln>
          </p:spPr>
          <p:txBody>
            <a:bodyPr rtlCol="0" anchor="ctr"/>
            <a:lstStyle/>
            <a:p>
              <a:pPr rtl="0"/>
              <a:endParaRPr lang="en-US"/>
            </a:p>
          </p:txBody>
        </p:sp>
        <p:sp>
          <p:nvSpPr>
            <p:cNvPr id="14" name="Freeform: Shape 13">
              <a:extLst>
                <a:ext uri="{FF2B5EF4-FFF2-40B4-BE49-F238E27FC236}">
                  <a16:creationId xmlns:a16="http://schemas.microsoft.com/office/drawing/2014/main" id="{FE965482-F2ED-DCBA-79A4-51F41C75C877}"/>
                </a:ext>
              </a:extLst>
            </p:cNvPr>
            <p:cNvSpPr/>
            <p:nvPr/>
          </p:nvSpPr>
          <p:spPr>
            <a:xfrm rot="10800000" flipV="1">
              <a:off x="4477405" y="-1765343"/>
              <a:ext cx="217686" cy="1091288"/>
            </a:xfrm>
            <a:custGeom>
              <a:avLst/>
              <a:gdLst>
                <a:gd name="connsiteX0" fmla="*/ 417 w 217686"/>
                <a:gd name="connsiteY0" fmla="*/ 129 h 1091288"/>
                <a:gd name="connsiteX1" fmla="*/ 218103 w 217686"/>
                <a:gd name="connsiteY1" fmla="*/ 129 h 1091288"/>
                <a:gd name="connsiteX2" fmla="*/ 218103 w 217686"/>
                <a:gd name="connsiteY2" fmla="*/ 1091417 h 1091288"/>
                <a:gd name="connsiteX3" fmla="*/ 417 w 217686"/>
                <a:gd name="connsiteY3" fmla="*/ 1091417 h 1091288"/>
              </a:gdLst>
              <a:ahLst/>
              <a:cxnLst>
                <a:cxn ang="0">
                  <a:pos x="connsiteX0" y="connsiteY0"/>
                </a:cxn>
                <a:cxn ang="0">
                  <a:pos x="connsiteX1" y="connsiteY1"/>
                </a:cxn>
                <a:cxn ang="0">
                  <a:pos x="connsiteX2" y="connsiteY2"/>
                </a:cxn>
                <a:cxn ang="0">
                  <a:pos x="connsiteX3" y="connsiteY3"/>
                </a:cxn>
              </a:cxnLst>
              <a:rect l="l" t="t" r="r" b="b"/>
              <a:pathLst>
                <a:path w="217686" h="1091288">
                  <a:moveTo>
                    <a:pt x="417" y="129"/>
                  </a:moveTo>
                  <a:lnTo>
                    <a:pt x="218103" y="129"/>
                  </a:lnTo>
                  <a:lnTo>
                    <a:pt x="218103" y="1091417"/>
                  </a:lnTo>
                  <a:lnTo>
                    <a:pt x="417" y="1091417"/>
                  </a:lnTo>
                  <a:close/>
                </a:path>
              </a:pathLst>
            </a:custGeom>
            <a:solidFill>
              <a:srgbClr val="DA2128"/>
            </a:solidFill>
            <a:ln w="39688" cap="flat">
              <a:noFill/>
              <a:prstDash val="solid"/>
              <a:round/>
            </a:ln>
          </p:spPr>
          <p:txBody>
            <a:bodyPr rtlCol="0" anchor="ctr"/>
            <a:lstStyle/>
            <a:p>
              <a:pPr rtl="0"/>
              <a:endParaRPr lang="en-US"/>
            </a:p>
          </p:txBody>
        </p:sp>
        <p:sp>
          <p:nvSpPr>
            <p:cNvPr id="15" name="Freeform: Shape 14">
              <a:extLst>
                <a:ext uri="{FF2B5EF4-FFF2-40B4-BE49-F238E27FC236}">
                  <a16:creationId xmlns:a16="http://schemas.microsoft.com/office/drawing/2014/main" id="{75EAE089-C32E-454C-E69A-4AE510CC0E7A}"/>
                </a:ext>
              </a:extLst>
            </p:cNvPr>
            <p:cNvSpPr/>
            <p:nvPr/>
          </p:nvSpPr>
          <p:spPr>
            <a:xfrm>
              <a:off x="4852175" y="-1521039"/>
              <a:ext cx="545306" cy="846971"/>
            </a:xfrm>
            <a:custGeom>
              <a:avLst/>
              <a:gdLst>
                <a:gd name="connsiteX0" fmla="*/ 545932 w 545306"/>
                <a:gd name="connsiteY0" fmla="*/ 847142 h 846971"/>
                <a:gd name="connsiteX1" fmla="*/ 341581 w 545306"/>
                <a:gd name="connsiteY1" fmla="*/ 847142 h 846971"/>
                <a:gd name="connsiteX2" fmla="*/ 341581 w 545306"/>
                <a:gd name="connsiteY2" fmla="*/ 208688 h 846971"/>
                <a:gd name="connsiteX3" fmla="*/ 322174 w 545306"/>
                <a:gd name="connsiteY3" fmla="*/ 154316 h 846971"/>
                <a:gd name="connsiteX4" fmla="*/ 269072 w 545306"/>
                <a:gd name="connsiteY4" fmla="*/ 136854 h 846971"/>
                <a:gd name="connsiteX5" fmla="*/ 235735 w 545306"/>
                <a:gd name="connsiteY5" fmla="*/ 139791 h 846971"/>
                <a:gd name="connsiteX6" fmla="*/ 204937 w 545306"/>
                <a:gd name="connsiteY6" fmla="*/ 147808 h 846971"/>
                <a:gd name="connsiteX7" fmla="*/ 204937 w 545306"/>
                <a:gd name="connsiteY7" fmla="*/ 847142 h 846971"/>
                <a:gd name="connsiteX8" fmla="*/ 626 w 545306"/>
                <a:gd name="connsiteY8" fmla="*/ 847142 h 846971"/>
                <a:gd name="connsiteX9" fmla="*/ 626 w 545306"/>
                <a:gd name="connsiteY9" fmla="*/ 11282 h 846971"/>
                <a:gd name="connsiteX10" fmla="*/ 168306 w 545306"/>
                <a:gd name="connsiteY10" fmla="*/ 11282 h 846971"/>
                <a:gd name="connsiteX11" fmla="*/ 180648 w 545306"/>
                <a:gd name="connsiteY11" fmla="*/ 47279 h 846971"/>
                <a:gd name="connsiteX12" fmla="*/ 261174 w 545306"/>
                <a:gd name="connsiteY12" fmla="*/ 10806 h 846971"/>
                <a:gd name="connsiteX13" fmla="*/ 347534 w 545306"/>
                <a:gd name="connsiteY13" fmla="*/ 170 h 846971"/>
                <a:gd name="connsiteX14" fmla="*/ 493624 w 545306"/>
                <a:gd name="connsiteY14" fmla="*/ 52200 h 846971"/>
                <a:gd name="connsiteX15" fmla="*/ 545932 w 545306"/>
                <a:gd name="connsiteY15" fmla="*/ 200592 h 846971"/>
                <a:gd name="connsiteX16" fmla="*/ 545932 w 545306"/>
                <a:gd name="connsiteY16" fmla="*/ 847142 h 846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45306" h="846971">
                  <a:moveTo>
                    <a:pt x="545932" y="847142"/>
                  </a:moveTo>
                  <a:lnTo>
                    <a:pt x="341581" y="847142"/>
                  </a:lnTo>
                  <a:lnTo>
                    <a:pt x="341581" y="208688"/>
                  </a:lnTo>
                  <a:cubicBezTo>
                    <a:pt x="341581" y="184042"/>
                    <a:pt x="335112" y="165945"/>
                    <a:pt x="322174" y="154316"/>
                  </a:cubicBezTo>
                  <a:cubicBezTo>
                    <a:pt x="309276" y="142648"/>
                    <a:pt x="291535" y="136854"/>
                    <a:pt x="269072" y="136854"/>
                  </a:cubicBezTo>
                  <a:cubicBezTo>
                    <a:pt x="259150" y="136854"/>
                    <a:pt x="247998" y="137767"/>
                    <a:pt x="235735" y="139791"/>
                  </a:cubicBezTo>
                  <a:cubicBezTo>
                    <a:pt x="223432" y="141656"/>
                    <a:pt x="213152" y="144355"/>
                    <a:pt x="204937" y="147808"/>
                  </a:cubicBezTo>
                  <a:lnTo>
                    <a:pt x="204937" y="847142"/>
                  </a:lnTo>
                  <a:lnTo>
                    <a:pt x="626" y="847142"/>
                  </a:lnTo>
                  <a:lnTo>
                    <a:pt x="626" y="11282"/>
                  </a:lnTo>
                  <a:lnTo>
                    <a:pt x="168306" y="11282"/>
                  </a:lnTo>
                  <a:lnTo>
                    <a:pt x="180648" y="47279"/>
                  </a:lnTo>
                  <a:cubicBezTo>
                    <a:pt x="209263" y="30134"/>
                    <a:pt x="236092" y="17910"/>
                    <a:pt x="261174" y="10806"/>
                  </a:cubicBezTo>
                  <a:cubicBezTo>
                    <a:pt x="286217" y="3662"/>
                    <a:pt x="315030" y="170"/>
                    <a:pt x="347534" y="170"/>
                  </a:cubicBezTo>
                  <a:cubicBezTo>
                    <a:pt x="410042" y="170"/>
                    <a:pt x="458739" y="17474"/>
                    <a:pt x="493624" y="52200"/>
                  </a:cubicBezTo>
                  <a:cubicBezTo>
                    <a:pt x="528510" y="86887"/>
                    <a:pt x="545932" y="136377"/>
                    <a:pt x="545932" y="200592"/>
                  </a:cubicBezTo>
                  <a:lnTo>
                    <a:pt x="545932" y="847142"/>
                  </a:lnTo>
                  <a:close/>
                </a:path>
              </a:pathLst>
            </a:custGeom>
            <a:solidFill>
              <a:srgbClr val="DA2128"/>
            </a:solidFill>
            <a:ln w="39688" cap="flat">
              <a:noFill/>
              <a:prstDash val="solid"/>
              <a:round/>
            </a:ln>
          </p:spPr>
          <p:txBody>
            <a:bodyPr rtlCol="0" anchor="ctr"/>
            <a:lstStyle/>
            <a:p>
              <a:pPr rtl="0"/>
              <a:endParaRPr lang="en-US"/>
            </a:p>
          </p:txBody>
        </p:sp>
        <p:sp>
          <p:nvSpPr>
            <p:cNvPr id="16" name="Freeform: Shape 15">
              <a:extLst>
                <a:ext uri="{FF2B5EF4-FFF2-40B4-BE49-F238E27FC236}">
                  <a16:creationId xmlns:a16="http://schemas.microsoft.com/office/drawing/2014/main" id="{6A5C91A4-53F1-E183-D31B-E8B700608437}"/>
                </a:ext>
              </a:extLst>
            </p:cNvPr>
            <p:cNvSpPr/>
            <p:nvPr/>
          </p:nvSpPr>
          <p:spPr>
            <a:xfrm>
              <a:off x="5503011" y="-1509922"/>
              <a:ext cx="545306" cy="835859"/>
            </a:xfrm>
            <a:custGeom>
              <a:avLst/>
              <a:gdLst>
                <a:gd name="connsiteX0" fmla="*/ 546001 w 545306"/>
                <a:gd name="connsiteY0" fmla="*/ 470517 h 835859"/>
                <a:gd name="connsiteX1" fmla="*/ 535801 w 545306"/>
                <a:gd name="connsiteY1" fmla="*/ 551519 h 835859"/>
                <a:gd name="connsiteX2" fmla="*/ 501709 w 545306"/>
                <a:gd name="connsiteY2" fmla="*/ 612519 h 835859"/>
                <a:gd name="connsiteX3" fmla="*/ 322719 w 545306"/>
                <a:gd name="connsiteY3" fmla="*/ 836039 h 835859"/>
                <a:gd name="connsiteX4" fmla="*/ 223976 w 545306"/>
                <a:gd name="connsiteY4" fmla="*/ 836039 h 835859"/>
                <a:gd name="connsiteX5" fmla="*/ 694 w 545306"/>
                <a:gd name="connsiteY5" fmla="*/ 571204 h 835859"/>
                <a:gd name="connsiteX6" fmla="*/ 694 w 545306"/>
                <a:gd name="connsiteY6" fmla="*/ 180 h 835859"/>
                <a:gd name="connsiteX7" fmla="*/ 205045 w 545306"/>
                <a:gd name="connsiteY7" fmla="*/ 180 h 835859"/>
                <a:gd name="connsiteX8" fmla="*/ 205045 w 545306"/>
                <a:gd name="connsiteY8" fmla="*/ 584738 h 835859"/>
                <a:gd name="connsiteX9" fmla="*/ 297200 w 545306"/>
                <a:gd name="connsiteY9" fmla="*/ 697172 h 835859"/>
                <a:gd name="connsiteX10" fmla="*/ 341689 w 545306"/>
                <a:gd name="connsiteY10" fmla="*/ 635180 h 835859"/>
                <a:gd name="connsiteX11" fmla="*/ 341689 w 545306"/>
                <a:gd name="connsiteY11" fmla="*/ 180 h 835859"/>
                <a:gd name="connsiteX12" fmla="*/ 546001 w 545306"/>
                <a:gd name="connsiteY12" fmla="*/ 180 h 835859"/>
                <a:gd name="connsiteX13" fmla="*/ 546001 w 545306"/>
                <a:gd name="connsiteY13" fmla="*/ 470517 h 835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45306" h="835859">
                  <a:moveTo>
                    <a:pt x="546001" y="470517"/>
                  </a:moveTo>
                  <a:cubicBezTo>
                    <a:pt x="546001" y="503656"/>
                    <a:pt x="542588" y="530683"/>
                    <a:pt x="535801" y="551519"/>
                  </a:cubicBezTo>
                  <a:cubicBezTo>
                    <a:pt x="528895" y="572474"/>
                    <a:pt x="517585" y="592834"/>
                    <a:pt x="501709" y="612519"/>
                  </a:cubicBezTo>
                  <a:lnTo>
                    <a:pt x="322719" y="836039"/>
                  </a:lnTo>
                  <a:lnTo>
                    <a:pt x="223976" y="836039"/>
                  </a:lnTo>
                  <a:lnTo>
                    <a:pt x="694" y="571204"/>
                  </a:lnTo>
                  <a:lnTo>
                    <a:pt x="694" y="180"/>
                  </a:lnTo>
                  <a:lnTo>
                    <a:pt x="205045" y="180"/>
                  </a:lnTo>
                  <a:lnTo>
                    <a:pt x="205045" y="584738"/>
                  </a:lnTo>
                  <a:lnTo>
                    <a:pt x="297200" y="697172"/>
                  </a:lnTo>
                  <a:lnTo>
                    <a:pt x="341689" y="635180"/>
                  </a:lnTo>
                  <a:lnTo>
                    <a:pt x="341689" y="180"/>
                  </a:lnTo>
                  <a:lnTo>
                    <a:pt x="546001" y="180"/>
                  </a:lnTo>
                  <a:lnTo>
                    <a:pt x="546001" y="470517"/>
                  </a:lnTo>
                  <a:close/>
                </a:path>
              </a:pathLst>
            </a:custGeom>
            <a:solidFill>
              <a:srgbClr val="DA2128"/>
            </a:solidFill>
            <a:ln w="39688" cap="flat">
              <a:noFill/>
              <a:prstDash val="solid"/>
              <a:round/>
            </a:ln>
          </p:spPr>
          <p:txBody>
            <a:bodyPr rtlCol="0" anchor="ctr"/>
            <a:lstStyle/>
            <a:p>
              <a:pPr rtl="0"/>
              <a:endParaRPr lang="en-US"/>
            </a:p>
          </p:txBody>
        </p:sp>
        <p:sp>
          <p:nvSpPr>
            <p:cNvPr id="17" name="Freeform: Shape 16">
              <a:extLst>
                <a:ext uri="{FF2B5EF4-FFF2-40B4-BE49-F238E27FC236}">
                  <a16:creationId xmlns:a16="http://schemas.microsoft.com/office/drawing/2014/main" id="{D6ED425C-2DEA-8112-F4EE-AA6AB731EE99}"/>
                </a:ext>
              </a:extLst>
            </p:cNvPr>
            <p:cNvSpPr/>
            <p:nvPr/>
          </p:nvSpPr>
          <p:spPr>
            <a:xfrm>
              <a:off x="6133249" y="-1521035"/>
              <a:ext cx="509706" cy="854829"/>
            </a:xfrm>
            <a:custGeom>
              <a:avLst/>
              <a:gdLst>
                <a:gd name="connsiteX0" fmla="*/ 341630 w 509706"/>
                <a:gd name="connsiteY0" fmla="*/ 319510 h 854829"/>
                <a:gd name="connsiteX1" fmla="*/ 330081 w 509706"/>
                <a:gd name="connsiteY1" fmla="*/ 169530 h 854829"/>
                <a:gd name="connsiteX2" fmla="*/ 276701 w 509706"/>
                <a:gd name="connsiteY2" fmla="*/ 129049 h 854829"/>
                <a:gd name="connsiteX3" fmla="*/ 224591 w 509706"/>
                <a:gd name="connsiteY3" fmla="*/ 164927 h 854829"/>
                <a:gd name="connsiteX4" fmla="*/ 212368 w 509706"/>
                <a:gd name="connsiteY4" fmla="*/ 319510 h 854829"/>
                <a:gd name="connsiteX5" fmla="*/ 341630 w 509706"/>
                <a:gd name="connsiteY5" fmla="*/ 319510 h 854829"/>
                <a:gd name="connsiteX6" fmla="*/ 510461 w 509706"/>
                <a:gd name="connsiteY6" fmla="*/ 439366 h 854829"/>
                <a:gd name="connsiteX7" fmla="*/ 211693 w 509706"/>
                <a:gd name="connsiteY7" fmla="*/ 439366 h 854829"/>
                <a:gd name="connsiteX8" fmla="*/ 225703 w 509706"/>
                <a:gd name="connsiteY8" fmla="*/ 675427 h 854829"/>
                <a:gd name="connsiteX9" fmla="*/ 284440 w 509706"/>
                <a:gd name="connsiteY9" fmla="*/ 726148 h 854829"/>
                <a:gd name="connsiteX10" fmla="*/ 329208 w 509706"/>
                <a:gd name="connsiteY10" fmla="*/ 706979 h 854829"/>
                <a:gd name="connsiteX11" fmla="*/ 343892 w 509706"/>
                <a:gd name="connsiteY11" fmla="*/ 639907 h 854829"/>
                <a:gd name="connsiteX12" fmla="*/ 490538 w 509706"/>
                <a:gd name="connsiteY12" fmla="*/ 639907 h 854829"/>
                <a:gd name="connsiteX13" fmla="*/ 434777 w 509706"/>
                <a:gd name="connsiteY13" fmla="*/ 802705 h 854829"/>
                <a:gd name="connsiteX14" fmla="*/ 262612 w 509706"/>
                <a:gd name="connsiteY14" fmla="*/ 855013 h 854829"/>
                <a:gd name="connsiteX15" fmla="*/ 67270 w 509706"/>
                <a:gd name="connsiteY15" fmla="*/ 747301 h 854829"/>
                <a:gd name="connsiteX16" fmla="*/ 754 w 509706"/>
                <a:gd name="connsiteY16" fmla="*/ 426904 h 854829"/>
                <a:gd name="connsiteX17" fmla="*/ 69850 w 509706"/>
                <a:gd name="connsiteY17" fmla="*/ 107856 h 854829"/>
                <a:gd name="connsiteX18" fmla="*/ 277971 w 509706"/>
                <a:gd name="connsiteY18" fmla="*/ 184 h 854829"/>
                <a:gd name="connsiteX19" fmla="*/ 454104 w 509706"/>
                <a:gd name="connsiteY19" fmla="*/ 86425 h 854829"/>
                <a:gd name="connsiteX20" fmla="*/ 510461 w 509706"/>
                <a:gd name="connsiteY20" fmla="*/ 345068 h 854829"/>
                <a:gd name="connsiteX21" fmla="*/ 510461 w 509706"/>
                <a:gd name="connsiteY21" fmla="*/ 439366 h 854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09706" h="854829">
                  <a:moveTo>
                    <a:pt x="341630" y="319510"/>
                  </a:moveTo>
                  <a:cubicBezTo>
                    <a:pt x="341630" y="246485"/>
                    <a:pt x="337780" y="196478"/>
                    <a:pt x="330081" y="169530"/>
                  </a:cubicBezTo>
                  <a:cubicBezTo>
                    <a:pt x="322342" y="142503"/>
                    <a:pt x="304482" y="129049"/>
                    <a:pt x="276701" y="129049"/>
                  </a:cubicBezTo>
                  <a:cubicBezTo>
                    <a:pt x="250110" y="129049"/>
                    <a:pt x="232727" y="140955"/>
                    <a:pt x="224591" y="164927"/>
                  </a:cubicBezTo>
                  <a:cubicBezTo>
                    <a:pt x="216416" y="188938"/>
                    <a:pt x="212368" y="240412"/>
                    <a:pt x="212368" y="319510"/>
                  </a:cubicBezTo>
                  <a:lnTo>
                    <a:pt x="341630" y="319510"/>
                  </a:lnTo>
                  <a:close/>
                  <a:moveTo>
                    <a:pt x="510461" y="439366"/>
                  </a:moveTo>
                  <a:lnTo>
                    <a:pt x="211693" y="439366"/>
                  </a:lnTo>
                  <a:cubicBezTo>
                    <a:pt x="211693" y="562953"/>
                    <a:pt x="216376" y="641574"/>
                    <a:pt x="225703" y="675427"/>
                  </a:cubicBezTo>
                  <a:cubicBezTo>
                    <a:pt x="235109" y="709241"/>
                    <a:pt x="254754" y="726148"/>
                    <a:pt x="284440" y="726148"/>
                  </a:cubicBezTo>
                  <a:cubicBezTo>
                    <a:pt x="304482" y="726148"/>
                    <a:pt x="319445" y="719719"/>
                    <a:pt x="329208" y="706979"/>
                  </a:cubicBezTo>
                  <a:cubicBezTo>
                    <a:pt x="338971" y="694081"/>
                    <a:pt x="343892" y="671697"/>
                    <a:pt x="343892" y="639907"/>
                  </a:cubicBezTo>
                  <a:lnTo>
                    <a:pt x="490538" y="639907"/>
                  </a:lnTo>
                  <a:cubicBezTo>
                    <a:pt x="490538" y="713567"/>
                    <a:pt x="471884" y="767820"/>
                    <a:pt x="434777" y="802705"/>
                  </a:cubicBezTo>
                  <a:cubicBezTo>
                    <a:pt x="397669" y="837551"/>
                    <a:pt x="340201" y="855013"/>
                    <a:pt x="262612" y="855013"/>
                  </a:cubicBezTo>
                  <a:cubicBezTo>
                    <a:pt x="176808" y="855013"/>
                    <a:pt x="111641" y="819096"/>
                    <a:pt x="67270" y="747301"/>
                  </a:cubicBezTo>
                  <a:cubicBezTo>
                    <a:pt x="22939" y="675546"/>
                    <a:pt x="754" y="568747"/>
                    <a:pt x="754" y="426904"/>
                  </a:cubicBezTo>
                  <a:cubicBezTo>
                    <a:pt x="754" y="285974"/>
                    <a:pt x="23772" y="179611"/>
                    <a:pt x="69850" y="107856"/>
                  </a:cubicBezTo>
                  <a:cubicBezTo>
                    <a:pt x="115927" y="36061"/>
                    <a:pt x="185340" y="184"/>
                    <a:pt x="277971" y="184"/>
                  </a:cubicBezTo>
                  <a:cubicBezTo>
                    <a:pt x="357822" y="184"/>
                    <a:pt x="416520" y="28917"/>
                    <a:pt x="454104" y="86425"/>
                  </a:cubicBezTo>
                  <a:cubicBezTo>
                    <a:pt x="491649" y="143892"/>
                    <a:pt x="510461" y="230133"/>
                    <a:pt x="510461" y="345068"/>
                  </a:cubicBezTo>
                  <a:lnTo>
                    <a:pt x="510461" y="439366"/>
                  </a:lnTo>
                  <a:close/>
                </a:path>
              </a:pathLst>
            </a:custGeom>
            <a:solidFill>
              <a:srgbClr val="DA2128"/>
            </a:solidFill>
            <a:ln w="39688" cap="flat">
              <a:noFill/>
              <a:prstDash val="solid"/>
              <a:round/>
            </a:ln>
          </p:spPr>
          <p:txBody>
            <a:bodyPr rtlCol="0" anchor="ctr"/>
            <a:lstStyle/>
            <a:p>
              <a:pPr rtl="0"/>
              <a:endParaRPr lang="en-US"/>
            </a:p>
          </p:txBody>
        </p:sp>
        <p:sp>
          <p:nvSpPr>
            <p:cNvPr id="21" name="Freeform: Shape 20">
              <a:extLst>
                <a:ext uri="{FF2B5EF4-FFF2-40B4-BE49-F238E27FC236}">
                  <a16:creationId xmlns:a16="http://schemas.microsoft.com/office/drawing/2014/main" id="{1A3A466A-8C21-31C3-93C8-7267F402690A}"/>
                </a:ext>
              </a:extLst>
            </p:cNvPr>
            <p:cNvSpPr/>
            <p:nvPr/>
          </p:nvSpPr>
          <p:spPr>
            <a:xfrm>
              <a:off x="6713480" y="-1521035"/>
              <a:ext cx="469781" cy="854829"/>
            </a:xfrm>
            <a:custGeom>
              <a:avLst/>
              <a:gdLst>
                <a:gd name="connsiteX0" fmla="*/ 470598 w 469781"/>
                <a:gd name="connsiteY0" fmla="*/ 630493 h 854829"/>
                <a:gd name="connsiteX1" fmla="*/ 408050 w 469781"/>
                <a:gd name="connsiteY1" fmla="*/ 795752 h 854829"/>
                <a:gd name="connsiteX2" fmla="*/ 236640 w 469781"/>
                <a:gd name="connsiteY2" fmla="*/ 855006 h 854829"/>
                <a:gd name="connsiteX3" fmla="*/ 60030 w 469781"/>
                <a:gd name="connsiteY3" fmla="*/ 799800 h 854829"/>
                <a:gd name="connsiteX4" fmla="*/ 816 w 469781"/>
                <a:gd name="connsiteY4" fmla="*/ 634264 h 854829"/>
                <a:gd name="connsiteX5" fmla="*/ 166234 w 469781"/>
                <a:gd name="connsiteY5" fmla="*/ 634264 h 854829"/>
                <a:gd name="connsiteX6" fmla="*/ 182665 w 469781"/>
                <a:gd name="connsiteY6" fmla="*/ 699946 h 854829"/>
                <a:gd name="connsiteX7" fmla="*/ 231242 w 469781"/>
                <a:gd name="connsiteY7" fmla="*/ 720584 h 854829"/>
                <a:gd name="connsiteX8" fmla="*/ 277478 w 469781"/>
                <a:gd name="connsiteY8" fmla="*/ 704352 h 854829"/>
                <a:gd name="connsiteX9" fmla="*/ 292956 w 469781"/>
                <a:gd name="connsiteY9" fmla="*/ 655695 h 854829"/>
                <a:gd name="connsiteX10" fmla="*/ 260531 w 469781"/>
                <a:gd name="connsiteY10" fmla="*/ 591004 h 854829"/>
                <a:gd name="connsiteX11" fmla="*/ 154407 w 469781"/>
                <a:gd name="connsiteY11" fmla="*/ 491984 h 854829"/>
                <a:gd name="connsiteX12" fmla="*/ 35781 w 469781"/>
                <a:gd name="connsiteY12" fmla="*/ 350220 h 854829"/>
                <a:gd name="connsiteX13" fmla="*/ 10778 w 469781"/>
                <a:gd name="connsiteY13" fmla="*/ 201352 h 854829"/>
                <a:gd name="connsiteX14" fmla="*/ 73960 w 469781"/>
                <a:gd name="connsiteY14" fmla="*/ 54826 h 854829"/>
                <a:gd name="connsiteX15" fmla="*/ 240331 w 469781"/>
                <a:gd name="connsiteY15" fmla="*/ 176 h 854829"/>
                <a:gd name="connsiteX16" fmla="*/ 408923 w 469781"/>
                <a:gd name="connsiteY16" fmla="*/ 56453 h 854829"/>
                <a:gd name="connsiteX17" fmla="*/ 467264 w 469781"/>
                <a:gd name="connsiteY17" fmla="*/ 216433 h 854829"/>
                <a:gd name="connsiteX18" fmla="*/ 303989 w 469781"/>
                <a:gd name="connsiteY18" fmla="*/ 216433 h 854829"/>
                <a:gd name="connsiteX19" fmla="*/ 287400 w 469781"/>
                <a:gd name="connsiteY19" fmla="*/ 155632 h 854829"/>
                <a:gd name="connsiteX20" fmla="*/ 241521 w 469781"/>
                <a:gd name="connsiteY20" fmla="*/ 132375 h 854829"/>
                <a:gd name="connsiteX21" fmla="*/ 200365 w 469781"/>
                <a:gd name="connsiteY21" fmla="*/ 147536 h 854829"/>
                <a:gd name="connsiteX22" fmla="*/ 184014 w 469781"/>
                <a:gd name="connsiteY22" fmla="*/ 191033 h 854829"/>
                <a:gd name="connsiteX23" fmla="*/ 202945 w 469781"/>
                <a:gd name="connsiteY23" fmla="*/ 257391 h 854829"/>
                <a:gd name="connsiteX24" fmla="*/ 319071 w 469781"/>
                <a:gd name="connsiteY24" fmla="*/ 375501 h 854829"/>
                <a:gd name="connsiteX25" fmla="*/ 437736 w 469781"/>
                <a:gd name="connsiteY25" fmla="*/ 506549 h 854829"/>
                <a:gd name="connsiteX26" fmla="*/ 470598 w 469781"/>
                <a:gd name="connsiteY26" fmla="*/ 630493 h 854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69781" h="854829">
                  <a:moveTo>
                    <a:pt x="470598" y="630493"/>
                  </a:moveTo>
                  <a:cubicBezTo>
                    <a:pt x="470598" y="701177"/>
                    <a:pt x="449762" y="756342"/>
                    <a:pt x="408050" y="795752"/>
                  </a:cubicBezTo>
                  <a:cubicBezTo>
                    <a:pt x="366418" y="835281"/>
                    <a:pt x="309347" y="855006"/>
                    <a:pt x="236640" y="855006"/>
                  </a:cubicBezTo>
                  <a:cubicBezTo>
                    <a:pt x="158455" y="855006"/>
                    <a:pt x="99559" y="836630"/>
                    <a:pt x="60030" y="799800"/>
                  </a:cubicBezTo>
                  <a:cubicBezTo>
                    <a:pt x="20501" y="763050"/>
                    <a:pt x="816" y="707884"/>
                    <a:pt x="816" y="634264"/>
                  </a:cubicBezTo>
                  <a:lnTo>
                    <a:pt x="166234" y="634264"/>
                  </a:lnTo>
                  <a:cubicBezTo>
                    <a:pt x="166234" y="664347"/>
                    <a:pt x="171790" y="686254"/>
                    <a:pt x="182665" y="699946"/>
                  </a:cubicBezTo>
                  <a:cubicBezTo>
                    <a:pt x="193618" y="713718"/>
                    <a:pt x="209731" y="720584"/>
                    <a:pt x="231242" y="720584"/>
                  </a:cubicBezTo>
                  <a:cubicBezTo>
                    <a:pt x="251721" y="720584"/>
                    <a:pt x="267159" y="715226"/>
                    <a:pt x="277478" y="704352"/>
                  </a:cubicBezTo>
                  <a:cubicBezTo>
                    <a:pt x="287797" y="693517"/>
                    <a:pt x="292956" y="677325"/>
                    <a:pt x="292956" y="655695"/>
                  </a:cubicBezTo>
                  <a:cubicBezTo>
                    <a:pt x="292956" y="635851"/>
                    <a:pt x="282082" y="614261"/>
                    <a:pt x="260531" y="591004"/>
                  </a:cubicBezTo>
                  <a:cubicBezTo>
                    <a:pt x="238902" y="567668"/>
                    <a:pt x="203540" y="534727"/>
                    <a:pt x="154407" y="491984"/>
                  </a:cubicBezTo>
                  <a:cubicBezTo>
                    <a:pt x="92058" y="437652"/>
                    <a:pt x="52450" y="390344"/>
                    <a:pt x="35781" y="350220"/>
                  </a:cubicBezTo>
                  <a:cubicBezTo>
                    <a:pt x="19152" y="310135"/>
                    <a:pt x="10778" y="260486"/>
                    <a:pt x="10778" y="201352"/>
                  </a:cubicBezTo>
                  <a:cubicBezTo>
                    <a:pt x="10778" y="140074"/>
                    <a:pt x="31852" y="91298"/>
                    <a:pt x="73960" y="54826"/>
                  </a:cubicBezTo>
                  <a:cubicBezTo>
                    <a:pt x="116029" y="18392"/>
                    <a:pt x="171512" y="176"/>
                    <a:pt x="240331" y="176"/>
                  </a:cubicBezTo>
                  <a:cubicBezTo>
                    <a:pt x="313792" y="176"/>
                    <a:pt x="370029" y="18948"/>
                    <a:pt x="408923" y="56453"/>
                  </a:cubicBezTo>
                  <a:cubicBezTo>
                    <a:pt x="447857" y="94077"/>
                    <a:pt x="467264" y="147258"/>
                    <a:pt x="467264" y="216433"/>
                  </a:cubicBezTo>
                  <a:lnTo>
                    <a:pt x="303989" y="216433"/>
                  </a:lnTo>
                  <a:cubicBezTo>
                    <a:pt x="303989" y="191430"/>
                    <a:pt x="298473" y="171150"/>
                    <a:pt x="287400" y="155632"/>
                  </a:cubicBezTo>
                  <a:cubicBezTo>
                    <a:pt x="276287" y="140074"/>
                    <a:pt x="261047" y="132375"/>
                    <a:pt x="241521" y="132375"/>
                  </a:cubicBezTo>
                  <a:cubicBezTo>
                    <a:pt x="224892" y="132375"/>
                    <a:pt x="211120" y="137455"/>
                    <a:pt x="200365" y="147536"/>
                  </a:cubicBezTo>
                  <a:cubicBezTo>
                    <a:pt x="189491" y="157656"/>
                    <a:pt x="184014" y="172221"/>
                    <a:pt x="184014" y="191033"/>
                  </a:cubicBezTo>
                  <a:cubicBezTo>
                    <a:pt x="184014" y="213933"/>
                    <a:pt x="190324" y="236039"/>
                    <a:pt x="202945" y="257391"/>
                  </a:cubicBezTo>
                  <a:cubicBezTo>
                    <a:pt x="215526" y="278703"/>
                    <a:pt x="254221" y="318113"/>
                    <a:pt x="319071" y="375501"/>
                  </a:cubicBezTo>
                  <a:cubicBezTo>
                    <a:pt x="376141" y="425944"/>
                    <a:pt x="415710" y="469640"/>
                    <a:pt x="437736" y="506549"/>
                  </a:cubicBezTo>
                  <a:cubicBezTo>
                    <a:pt x="459644" y="543419"/>
                    <a:pt x="470598" y="584773"/>
                    <a:pt x="470598" y="630493"/>
                  </a:cubicBezTo>
                </a:path>
              </a:pathLst>
            </a:custGeom>
            <a:solidFill>
              <a:srgbClr val="DA2128"/>
            </a:solidFill>
            <a:ln w="39688" cap="flat">
              <a:noFill/>
              <a:prstDash val="solid"/>
              <a:round/>
            </a:ln>
          </p:spPr>
          <p:txBody>
            <a:bodyPr rtlCol="0" anchor="ctr"/>
            <a:lstStyle/>
            <a:p>
              <a:pPr rtl="0"/>
              <a:endParaRPr lang="en-US"/>
            </a:p>
          </p:txBody>
        </p:sp>
        <p:sp>
          <p:nvSpPr>
            <p:cNvPr id="23" name="Freeform: Shape 22">
              <a:extLst>
                <a:ext uri="{FF2B5EF4-FFF2-40B4-BE49-F238E27FC236}">
                  <a16:creationId xmlns:a16="http://schemas.microsoft.com/office/drawing/2014/main" id="{50EE1FB5-99ED-E405-E212-AD38F77D11BC}"/>
                </a:ext>
              </a:extLst>
            </p:cNvPr>
            <p:cNvSpPr/>
            <p:nvPr/>
          </p:nvSpPr>
          <p:spPr>
            <a:xfrm>
              <a:off x="7211916" y="-1765332"/>
              <a:ext cx="410924" cy="1091248"/>
            </a:xfrm>
            <a:custGeom>
              <a:avLst/>
              <a:gdLst>
                <a:gd name="connsiteX0" fmla="*/ 411789 w 410924"/>
                <a:gd name="connsiteY0" fmla="*/ 362043 h 1091248"/>
                <a:gd name="connsiteX1" fmla="*/ 285226 w 410924"/>
                <a:gd name="connsiteY1" fmla="*/ 362043 h 1091248"/>
                <a:gd name="connsiteX2" fmla="*/ 285226 w 410924"/>
                <a:gd name="connsiteY2" fmla="*/ 882585 h 1091248"/>
                <a:gd name="connsiteX3" fmla="*/ 308007 w 410924"/>
                <a:gd name="connsiteY3" fmla="*/ 959777 h 1091248"/>
                <a:gd name="connsiteX4" fmla="*/ 395160 w 410924"/>
                <a:gd name="connsiteY4" fmla="*/ 979383 h 1091248"/>
                <a:gd name="connsiteX5" fmla="*/ 395160 w 410924"/>
                <a:gd name="connsiteY5" fmla="*/ 1091421 h 1091248"/>
                <a:gd name="connsiteX6" fmla="*/ 278558 w 410924"/>
                <a:gd name="connsiteY6" fmla="*/ 1091421 h 1091248"/>
                <a:gd name="connsiteX7" fmla="*/ 129254 w 410924"/>
                <a:gd name="connsiteY7" fmla="*/ 1042049 h 1091248"/>
                <a:gd name="connsiteX8" fmla="*/ 78573 w 410924"/>
                <a:gd name="connsiteY8" fmla="*/ 890761 h 1091248"/>
                <a:gd name="connsiteX9" fmla="*/ 78573 w 410924"/>
                <a:gd name="connsiteY9" fmla="*/ 360932 h 1091248"/>
                <a:gd name="connsiteX10" fmla="*/ 865 w 410924"/>
                <a:gd name="connsiteY10" fmla="*/ 360932 h 1091248"/>
                <a:gd name="connsiteX11" fmla="*/ 865 w 410924"/>
                <a:gd name="connsiteY11" fmla="*/ 255601 h 1091248"/>
                <a:gd name="connsiteX12" fmla="*/ 78573 w 410924"/>
                <a:gd name="connsiteY12" fmla="*/ 255601 h 1091248"/>
                <a:gd name="connsiteX13" fmla="*/ 78573 w 410924"/>
                <a:gd name="connsiteY13" fmla="*/ 172 h 1091248"/>
                <a:gd name="connsiteX14" fmla="*/ 285226 w 410924"/>
                <a:gd name="connsiteY14" fmla="*/ 172 h 1091248"/>
                <a:gd name="connsiteX15" fmla="*/ 285226 w 410924"/>
                <a:gd name="connsiteY15" fmla="*/ 255601 h 1091248"/>
                <a:gd name="connsiteX16" fmla="*/ 411789 w 410924"/>
                <a:gd name="connsiteY16" fmla="*/ 255601 h 1091248"/>
                <a:gd name="connsiteX17" fmla="*/ 411789 w 410924"/>
                <a:gd name="connsiteY17" fmla="*/ 362043 h 1091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10924" h="1091248">
                  <a:moveTo>
                    <a:pt x="411789" y="362043"/>
                  </a:moveTo>
                  <a:lnTo>
                    <a:pt x="285226" y="362043"/>
                  </a:lnTo>
                  <a:lnTo>
                    <a:pt x="285226" y="882585"/>
                  </a:lnTo>
                  <a:cubicBezTo>
                    <a:pt x="285226" y="920804"/>
                    <a:pt x="292846" y="946601"/>
                    <a:pt x="308007" y="959777"/>
                  </a:cubicBezTo>
                  <a:cubicBezTo>
                    <a:pt x="323286" y="972834"/>
                    <a:pt x="352258" y="979383"/>
                    <a:pt x="395160" y="979383"/>
                  </a:cubicBezTo>
                  <a:lnTo>
                    <a:pt x="395160" y="1091421"/>
                  </a:lnTo>
                  <a:lnTo>
                    <a:pt x="278558" y="1091421"/>
                  </a:lnTo>
                  <a:cubicBezTo>
                    <a:pt x="212717" y="1091421"/>
                    <a:pt x="162949" y="1074990"/>
                    <a:pt x="129254" y="1042049"/>
                  </a:cubicBezTo>
                  <a:cubicBezTo>
                    <a:pt x="95480" y="1009188"/>
                    <a:pt x="78573" y="958785"/>
                    <a:pt x="78573" y="890761"/>
                  </a:cubicBezTo>
                  <a:lnTo>
                    <a:pt x="78573" y="360932"/>
                  </a:lnTo>
                  <a:lnTo>
                    <a:pt x="865" y="360932"/>
                  </a:lnTo>
                  <a:lnTo>
                    <a:pt x="865" y="255601"/>
                  </a:lnTo>
                  <a:lnTo>
                    <a:pt x="78573" y="255601"/>
                  </a:lnTo>
                  <a:lnTo>
                    <a:pt x="78573" y="172"/>
                  </a:lnTo>
                  <a:lnTo>
                    <a:pt x="285226" y="172"/>
                  </a:lnTo>
                  <a:lnTo>
                    <a:pt x="285226" y="255601"/>
                  </a:lnTo>
                  <a:lnTo>
                    <a:pt x="411789" y="255601"/>
                  </a:lnTo>
                  <a:lnTo>
                    <a:pt x="411789" y="362043"/>
                  </a:lnTo>
                  <a:close/>
                </a:path>
              </a:pathLst>
            </a:custGeom>
            <a:solidFill>
              <a:srgbClr val="DA2128"/>
            </a:solidFill>
            <a:ln w="39688" cap="flat">
              <a:noFill/>
              <a:prstDash val="solid"/>
              <a:round/>
            </a:ln>
          </p:spPr>
          <p:txBody>
            <a:bodyPr rtlCol="0" anchor="ctr"/>
            <a:lstStyle/>
            <a:p>
              <a:pPr rtl="0"/>
              <a:endParaRPr lang="en-US"/>
            </a:p>
          </p:txBody>
        </p:sp>
        <p:sp>
          <p:nvSpPr>
            <p:cNvPr id="24" name="Freeform: Shape 23">
              <a:extLst>
                <a:ext uri="{FF2B5EF4-FFF2-40B4-BE49-F238E27FC236}">
                  <a16:creationId xmlns:a16="http://schemas.microsoft.com/office/drawing/2014/main" id="{3ED50D9E-9572-6FA0-4461-26673E9EF2E7}"/>
                </a:ext>
              </a:extLst>
            </p:cNvPr>
            <p:cNvSpPr/>
            <p:nvPr/>
          </p:nvSpPr>
          <p:spPr>
            <a:xfrm>
              <a:off x="7095830" y="-2797529"/>
              <a:ext cx="1383824" cy="1566070"/>
            </a:xfrm>
            <a:custGeom>
              <a:avLst/>
              <a:gdLst>
                <a:gd name="connsiteX0" fmla="*/ 1311793 w 1383824"/>
                <a:gd name="connsiteY0" fmla="*/ 1354685 h 1566070"/>
                <a:gd name="connsiteX1" fmla="*/ 1287584 w 1383824"/>
                <a:gd name="connsiteY1" fmla="*/ 1566140 h 1566070"/>
                <a:gd name="connsiteX2" fmla="*/ 1384739 w 1383824"/>
                <a:gd name="connsiteY2" fmla="*/ 1148508 h 1566070"/>
                <a:gd name="connsiteX3" fmla="*/ 914 w 1383824"/>
                <a:gd name="connsiteY3" fmla="*/ 70 h 1566070"/>
                <a:gd name="connsiteX4" fmla="*/ 34410 w 1383824"/>
                <a:gd name="connsiteY4" fmla="*/ 211962 h 1566070"/>
                <a:gd name="connsiteX5" fmla="*/ 1311793 w 1383824"/>
                <a:gd name="connsiteY5" fmla="*/ 1354685 h 1566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3824" h="1566070">
                  <a:moveTo>
                    <a:pt x="1311793" y="1354685"/>
                  </a:moveTo>
                  <a:cubicBezTo>
                    <a:pt x="1311793" y="1426876"/>
                    <a:pt x="1303459" y="1497600"/>
                    <a:pt x="1287584" y="1566140"/>
                  </a:cubicBezTo>
                  <a:cubicBezTo>
                    <a:pt x="1350330" y="1436679"/>
                    <a:pt x="1384739" y="1295868"/>
                    <a:pt x="1384739" y="1148508"/>
                  </a:cubicBezTo>
                  <a:cubicBezTo>
                    <a:pt x="1384739" y="525374"/>
                    <a:pt x="768987" y="18167"/>
                    <a:pt x="914" y="70"/>
                  </a:cubicBezTo>
                  <a:cubicBezTo>
                    <a:pt x="18694" y="68452"/>
                    <a:pt x="29807" y="139413"/>
                    <a:pt x="34410" y="211962"/>
                  </a:cubicBezTo>
                  <a:cubicBezTo>
                    <a:pt x="752159" y="271929"/>
                    <a:pt x="1311793" y="760642"/>
                    <a:pt x="1311793" y="1354685"/>
                  </a:cubicBezTo>
                </a:path>
              </a:pathLst>
            </a:custGeom>
            <a:solidFill>
              <a:srgbClr val="231F20"/>
            </a:solidFill>
            <a:ln w="39688" cap="flat">
              <a:noFill/>
              <a:prstDash val="solid"/>
              <a:round/>
            </a:ln>
          </p:spPr>
          <p:txBody>
            <a:bodyPr rtlCol="0" anchor="ctr"/>
            <a:lstStyle/>
            <a:p>
              <a:pPr rtl="0"/>
              <a:endParaRPr lang="en-US"/>
            </a:p>
          </p:txBody>
        </p:sp>
        <p:sp>
          <p:nvSpPr>
            <p:cNvPr id="25" name="Freeform: Shape 24">
              <a:extLst>
                <a:ext uri="{FF2B5EF4-FFF2-40B4-BE49-F238E27FC236}">
                  <a16:creationId xmlns:a16="http://schemas.microsoft.com/office/drawing/2014/main" id="{2340370F-B8B1-F2C5-459A-8A2C06C6DE7A}"/>
                </a:ext>
              </a:extLst>
            </p:cNvPr>
            <p:cNvSpPr/>
            <p:nvPr/>
          </p:nvSpPr>
          <p:spPr>
            <a:xfrm>
              <a:off x="5596475" y="-2319807"/>
              <a:ext cx="2625568" cy="1121519"/>
            </a:xfrm>
            <a:custGeom>
              <a:avLst/>
              <a:gdLst>
                <a:gd name="connsiteX0" fmla="*/ 1494808 w 2625568"/>
                <a:gd name="connsiteY0" fmla="*/ 270416 h 1121519"/>
                <a:gd name="connsiteX1" fmla="*/ 2424132 w 2625568"/>
                <a:gd name="connsiteY1" fmla="*/ 1091988 h 1121519"/>
                <a:gd name="connsiteX2" fmla="*/ 2626379 w 2625568"/>
                <a:gd name="connsiteY2" fmla="*/ 1121634 h 1121519"/>
                <a:gd name="connsiteX3" fmla="*/ 1631294 w 2625568"/>
                <a:gd name="connsiteY3" fmla="*/ 100156 h 1121519"/>
                <a:gd name="connsiteX4" fmla="*/ 811 w 2625568"/>
                <a:gd name="connsiteY4" fmla="*/ 517352 h 1121519"/>
                <a:gd name="connsiteX5" fmla="*/ 1494808 w 2625568"/>
                <a:gd name="connsiteY5" fmla="*/ 270416 h 1121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25568" h="1121519">
                  <a:moveTo>
                    <a:pt x="1494808" y="270416"/>
                  </a:moveTo>
                  <a:cubicBezTo>
                    <a:pt x="1938158" y="427102"/>
                    <a:pt x="2271414" y="738848"/>
                    <a:pt x="2424132" y="1091988"/>
                  </a:cubicBezTo>
                  <a:cubicBezTo>
                    <a:pt x="2493347" y="1097147"/>
                    <a:pt x="2561054" y="1106950"/>
                    <a:pt x="2626379" y="1121634"/>
                  </a:cubicBezTo>
                  <a:cubicBezTo>
                    <a:pt x="2527676" y="689437"/>
                    <a:pt x="2156757" y="285934"/>
                    <a:pt x="1631294" y="100156"/>
                  </a:cubicBezTo>
                  <a:cubicBezTo>
                    <a:pt x="972560" y="-132651"/>
                    <a:pt x="291998" y="54873"/>
                    <a:pt x="811" y="517352"/>
                  </a:cubicBezTo>
                  <a:cubicBezTo>
                    <a:pt x="336925" y="182587"/>
                    <a:pt x="924022" y="68684"/>
                    <a:pt x="1494808" y="270416"/>
                  </a:cubicBezTo>
                </a:path>
              </a:pathLst>
            </a:custGeom>
            <a:solidFill>
              <a:srgbClr val="007236"/>
            </a:solidFill>
            <a:ln w="39688" cap="flat">
              <a:noFill/>
              <a:prstDash val="solid"/>
              <a:round/>
            </a:ln>
          </p:spPr>
          <p:txBody>
            <a:bodyPr rtlCol="0" anchor="ctr"/>
            <a:lstStyle/>
            <a:p>
              <a:pPr rtl="0"/>
              <a:endParaRPr lang="en-US"/>
            </a:p>
          </p:txBody>
        </p:sp>
        <p:sp>
          <p:nvSpPr>
            <p:cNvPr id="26" name="Freeform: Shape 25">
              <a:extLst>
                <a:ext uri="{FF2B5EF4-FFF2-40B4-BE49-F238E27FC236}">
                  <a16:creationId xmlns:a16="http://schemas.microsoft.com/office/drawing/2014/main" id="{876DEA47-2FE4-F026-BCE6-2165A6C881DE}"/>
                </a:ext>
              </a:extLst>
            </p:cNvPr>
            <p:cNvSpPr/>
            <p:nvPr/>
          </p:nvSpPr>
          <p:spPr>
            <a:xfrm>
              <a:off x="6313073" y="-2555244"/>
              <a:ext cx="1683029" cy="679481"/>
            </a:xfrm>
            <a:custGeom>
              <a:avLst/>
              <a:gdLst>
                <a:gd name="connsiteX0" fmla="*/ 811 w 1683029"/>
                <a:gd name="connsiteY0" fmla="*/ 160513 h 679481"/>
                <a:gd name="connsiteX1" fmla="*/ 1459089 w 1683029"/>
                <a:gd name="connsiteY1" fmla="*/ 570445 h 679481"/>
                <a:gd name="connsiteX2" fmla="*/ 1561523 w 1683029"/>
                <a:gd name="connsiteY2" fmla="*/ 679546 h 679481"/>
                <a:gd name="connsiteX3" fmla="*/ 1683840 w 1683029"/>
                <a:gd name="connsiteY3" fmla="*/ 504048 h 679481"/>
                <a:gd name="connsiteX4" fmla="*/ 1653916 w 1683029"/>
                <a:gd name="connsiteY4" fmla="*/ 473885 h 679481"/>
                <a:gd name="connsiteX5" fmla="*/ 811 w 1683029"/>
                <a:gd name="connsiteY5" fmla="*/ 160513 h 679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83029" h="679481">
                  <a:moveTo>
                    <a:pt x="811" y="160513"/>
                  </a:moveTo>
                  <a:cubicBezTo>
                    <a:pt x="445271" y="-539"/>
                    <a:pt x="1025424" y="145273"/>
                    <a:pt x="1459089" y="570445"/>
                  </a:cubicBezTo>
                  <a:cubicBezTo>
                    <a:pt x="1495165" y="605727"/>
                    <a:pt x="1529297" y="642200"/>
                    <a:pt x="1561523" y="679546"/>
                  </a:cubicBezTo>
                  <a:cubicBezTo>
                    <a:pt x="1608354" y="624222"/>
                    <a:pt x="1649391" y="565603"/>
                    <a:pt x="1683840" y="504048"/>
                  </a:cubicBezTo>
                  <a:cubicBezTo>
                    <a:pt x="1674037" y="493888"/>
                    <a:pt x="1664115" y="483847"/>
                    <a:pt x="1653916" y="473885"/>
                  </a:cubicBezTo>
                  <a:cubicBezTo>
                    <a:pt x="1153496" y="-16851"/>
                    <a:pt x="457813" y="-135437"/>
                    <a:pt x="811" y="160513"/>
                  </a:cubicBezTo>
                </a:path>
              </a:pathLst>
            </a:custGeom>
            <a:solidFill>
              <a:srgbClr val="DA2128"/>
            </a:solidFill>
            <a:ln w="39688" cap="flat">
              <a:noFill/>
              <a:prstDash val="solid"/>
              <a:round/>
            </a:ln>
          </p:spPr>
          <p:txBody>
            <a:bodyPr rtlCol="0" anchor="ctr"/>
            <a:lstStyle/>
            <a:p>
              <a:pPr rtl="0"/>
              <a:endParaRPr lang="en-US"/>
            </a:p>
          </p:txBody>
        </p:sp>
        <p:pic>
          <p:nvPicPr>
            <p:cNvPr id="27" name="Picture 26">
              <a:extLst>
                <a:ext uri="{FF2B5EF4-FFF2-40B4-BE49-F238E27FC236}">
                  <a16:creationId xmlns:a16="http://schemas.microsoft.com/office/drawing/2014/main" id="{CAC94AAD-E83C-656B-C6D3-116A089A8B95}"/>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770028" y="-2460582"/>
              <a:ext cx="2368021" cy="2229311"/>
            </a:xfrm>
            <a:custGeom>
              <a:avLst/>
              <a:gdLst>
                <a:gd name="connsiteX0" fmla="*/ 0 w 2368021"/>
                <a:gd name="connsiteY0" fmla="*/ 37 h 2229311"/>
                <a:gd name="connsiteX1" fmla="*/ 2368021 w 2368021"/>
                <a:gd name="connsiteY1" fmla="*/ 37 h 2229311"/>
                <a:gd name="connsiteX2" fmla="*/ 2368021 w 2368021"/>
                <a:gd name="connsiteY2" fmla="*/ 2229348 h 2229311"/>
                <a:gd name="connsiteX3" fmla="*/ 0 w 2368021"/>
                <a:gd name="connsiteY3" fmla="*/ 2229348 h 2229311"/>
              </a:gdLst>
              <a:ahLst/>
              <a:cxnLst>
                <a:cxn ang="0">
                  <a:pos x="connsiteX0" y="connsiteY0"/>
                </a:cxn>
                <a:cxn ang="0">
                  <a:pos x="connsiteX1" y="connsiteY1"/>
                </a:cxn>
                <a:cxn ang="0">
                  <a:pos x="connsiteX2" y="connsiteY2"/>
                </a:cxn>
                <a:cxn ang="0">
                  <a:pos x="connsiteX3" y="connsiteY3"/>
                </a:cxn>
              </a:cxnLst>
              <a:rect l="l" t="t" r="r" b="b"/>
              <a:pathLst>
                <a:path w="2368021" h="2229311">
                  <a:moveTo>
                    <a:pt x="0" y="37"/>
                  </a:moveTo>
                  <a:lnTo>
                    <a:pt x="2368021" y="37"/>
                  </a:lnTo>
                  <a:lnTo>
                    <a:pt x="2368021" y="2229348"/>
                  </a:lnTo>
                  <a:lnTo>
                    <a:pt x="0" y="2229348"/>
                  </a:lnTo>
                  <a:close/>
                </a:path>
              </a:pathLst>
            </a:custGeom>
          </p:spPr>
        </p:pic>
        <p:grpSp>
          <p:nvGrpSpPr>
            <p:cNvPr id="28" name="Group 27">
              <a:extLst>
                <a:ext uri="{FF2B5EF4-FFF2-40B4-BE49-F238E27FC236}">
                  <a16:creationId xmlns:a16="http://schemas.microsoft.com/office/drawing/2014/main" id="{546FB50B-3727-B3E4-9180-9A14DB603294}"/>
                </a:ext>
              </a:extLst>
            </p:cNvPr>
            <p:cNvGrpSpPr/>
            <p:nvPr/>
          </p:nvGrpSpPr>
          <p:grpSpPr>
            <a:xfrm>
              <a:off x="1960283" y="-2545858"/>
              <a:ext cx="88879" cy="2339756"/>
              <a:chOff x="19825373" y="2859152"/>
              <a:chExt cx="88879" cy="2339756"/>
            </a:xfrm>
          </p:grpSpPr>
          <p:sp>
            <p:nvSpPr>
              <p:cNvPr id="55" name="Rectangle 54">
                <a:extLst>
                  <a:ext uri="{FF2B5EF4-FFF2-40B4-BE49-F238E27FC236}">
                    <a16:creationId xmlns:a16="http://schemas.microsoft.com/office/drawing/2014/main" id="{4B7DACC6-48E0-9519-162F-B236515A7DA8}"/>
                  </a:ext>
                </a:extLst>
              </p:cNvPr>
              <p:cNvSpPr/>
              <p:nvPr/>
            </p:nvSpPr>
            <p:spPr>
              <a:xfrm>
                <a:off x="19827693" y="2859152"/>
                <a:ext cx="86559" cy="737328"/>
              </a:xfrm>
              <a:prstGeom prst="rect">
                <a:avLst/>
              </a:prstGeom>
              <a:solidFill>
                <a:srgbClr val="00000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US" sz="1600">
                  <a:solidFill>
                    <a:schemeClr val="bg1"/>
                  </a:solidFill>
                </a:endParaRPr>
              </a:p>
            </p:txBody>
          </p:sp>
          <p:sp>
            <p:nvSpPr>
              <p:cNvPr id="56" name="Rectangle 55">
                <a:extLst>
                  <a:ext uri="{FF2B5EF4-FFF2-40B4-BE49-F238E27FC236}">
                    <a16:creationId xmlns:a16="http://schemas.microsoft.com/office/drawing/2014/main" id="{25E9E137-D3B5-0E6D-2750-31B156BA7DCE}"/>
                  </a:ext>
                </a:extLst>
              </p:cNvPr>
              <p:cNvSpPr/>
              <p:nvPr/>
            </p:nvSpPr>
            <p:spPr>
              <a:xfrm>
                <a:off x="19825373" y="3671369"/>
                <a:ext cx="86559" cy="737328"/>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US" sz="1600">
                  <a:solidFill>
                    <a:schemeClr val="bg1"/>
                  </a:solidFill>
                </a:endParaRPr>
              </a:p>
            </p:txBody>
          </p:sp>
          <p:sp>
            <p:nvSpPr>
              <p:cNvPr id="57" name="Rectangle 56">
                <a:extLst>
                  <a:ext uri="{FF2B5EF4-FFF2-40B4-BE49-F238E27FC236}">
                    <a16:creationId xmlns:a16="http://schemas.microsoft.com/office/drawing/2014/main" id="{01575936-469F-E118-1A57-928AC25AEED2}"/>
                  </a:ext>
                </a:extLst>
              </p:cNvPr>
              <p:cNvSpPr/>
              <p:nvPr/>
            </p:nvSpPr>
            <p:spPr>
              <a:xfrm>
                <a:off x="19825373" y="4461580"/>
                <a:ext cx="86559" cy="737328"/>
              </a:xfrm>
              <a:prstGeom prst="rect">
                <a:avLst/>
              </a:prstGeom>
              <a:solidFill>
                <a:srgbClr val="00723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US" sz="1600">
                  <a:solidFill>
                    <a:schemeClr val="bg1"/>
                  </a:solidFill>
                </a:endParaRPr>
              </a:p>
            </p:txBody>
          </p:sp>
        </p:grpSp>
        <p:sp>
          <p:nvSpPr>
            <p:cNvPr id="29" name="TextBox 28">
              <a:extLst>
                <a:ext uri="{FF2B5EF4-FFF2-40B4-BE49-F238E27FC236}">
                  <a16:creationId xmlns:a16="http://schemas.microsoft.com/office/drawing/2014/main" id="{F3DC3860-5E6E-800D-B4AC-04EDBEA8F3DE}"/>
                </a:ext>
              </a:extLst>
            </p:cNvPr>
            <p:cNvSpPr txBox="1"/>
            <p:nvPr/>
          </p:nvSpPr>
          <p:spPr>
            <a:xfrm>
              <a:off x="7405086" y="-517694"/>
              <a:ext cx="241260" cy="261049"/>
            </a:xfrm>
            <a:custGeom>
              <a:avLst/>
              <a:gdLst/>
              <a:ahLst/>
              <a:cxnLst/>
              <a:rect l="l" t="t" r="r" b="b"/>
              <a:pathLst>
                <a:path w="241260" h="261049">
                  <a:moveTo>
                    <a:pt x="120802" y="0"/>
                  </a:moveTo>
                  <a:cubicBezTo>
                    <a:pt x="144091" y="0"/>
                    <a:pt x="165085" y="5564"/>
                    <a:pt x="183785" y="16692"/>
                  </a:cubicBezTo>
                  <a:cubicBezTo>
                    <a:pt x="202484" y="27820"/>
                    <a:pt x="216738" y="43336"/>
                    <a:pt x="226547" y="63240"/>
                  </a:cubicBezTo>
                  <a:cubicBezTo>
                    <a:pt x="236356" y="83144"/>
                    <a:pt x="241260" y="105716"/>
                    <a:pt x="241260" y="130955"/>
                  </a:cubicBezTo>
                  <a:cubicBezTo>
                    <a:pt x="241260" y="156538"/>
                    <a:pt x="236098" y="179425"/>
                    <a:pt x="225773" y="199616"/>
                  </a:cubicBezTo>
                  <a:cubicBezTo>
                    <a:pt x="215448" y="219807"/>
                    <a:pt x="200821" y="235093"/>
                    <a:pt x="181892" y="245476"/>
                  </a:cubicBezTo>
                  <a:cubicBezTo>
                    <a:pt x="162963" y="255858"/>
                    <a:pt x="142542" y="261049"/>
                    <a:pt x="120630" y="261049"/>
                  </a:cubicBezTo>
                  <a:cubicBezTo>
                    <a:pt x="96883" y="261049"/>
                    <a:pt x="75659" y="255313"/>
                    <a:pt x="56960" y="243841"/>
                  </a:cubicBezTo>
                  <a:cubicBezTo>
                    <a:pt x="38260" y="232369"/>
                    <a:pt x="24092" y="216709"/>
                    <a:pt x="14455" y="196862"/>
                  </a:cubicBezTo>
                  <a:cubicBezTo>
                    <a:pt x="4819" y="177015"/>
                    <a:pt x="0" y="156021"/>
                    <a:pt x="0" y="133880"/>
                  </a:cubicBezTo>
                  <a:cubicBezTo>
                    <a:pt x="0" y="92007"/>
                    <a:pt x="11243" y="59225"/>
                    <a:pt x="33729" y="35535"/>
                  </a:cubicBezTo>
                  <a:cubicBezTo>
                    <a:pt x="56214" y="11845"/>
                    <a:pt x="85239" y="0"/>
                    <a:pt x="120802" y="0"/>
                  </a:cubicBezTo>
                  <a:close/>
                  <a:moveTo>
                    <a:pt x="120974" y="28738"/>
                  </a:moveTo>
                  <a:cubicBezTo>
                    <a:pt x="97342" y="28738"/>
                    <a:pt x="77007" y="36854"/>
                    <a:pt x="59971" y="53087"/>
                  </a:cubicBezTo>
                  <a:cubicBezTo>
                    <a:pt x="42935" y="69320"/>
                    <a:pt x="34417" y="96423"/>
                    <a:pt x="34417" y="134396"/>
                  </a:cubicBezTo>
                  <a:cubicBezTo>
                    <a:pt x="34417" y="164798"/>
                    <a:pt x="42591" y="188746"/>
                    <a:pt x="58939" y="206241"/>
                  </a:cubicBezTo>
                  <a:cubicBezTo>
                    <a:pt x="75287" y="223736"/>
                    <a:pt x="95793" y="232483"/>
                    <a:pt x="120458" y="232483"/>
                  </a:cubicBezTo>
                  <a:cubicBezTo>
                    <a:pt x="145582" y="232483"/>
                    <a:pt x="166261" y="223650"/>
                    <a:pt x="182494" y="205983"/>
                  </a:cubicBezTo>
                  <a:cubicBezTo>
                    <a:pt x="198727" y="188316"/>
                    <a:pt x="206844" y="163249"/>
                    <a:pt x="206844" y="130783"/>
                  </a:cubicBezTo>
                  <a:cubicBezTo>
                    <a:pt x="206844" y="110247"/>
                    <a:pt x="203373" y="92322"/>
                    <a:pt x="196433" y="77007"/>
                  </a:cubicBezTo>
                  <a:cubicBezTo>
                    <a:pt x="189492" y="61691"/>
                    <a:pt x="179339" y="49818"/>
                    <a:pt x="165974" y="41386"/>
                  </a:cubicBezTo>
                  <a:cubicBezTo>
                    <a:pt x="152609" y="32954"/>
                    <a:pt x="137609" y="28738"/>
                    <a:pt x="120974" y="28738"/>
                  </a:cubicBez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30" name="TextBox 29">
              <a:extLst>
                <a:ext uri="{FF2B5EF4-FFF2-40B4-BE49-F238E27FC236}">
                  <a16:creationId xmlns:a16="http://schemas.microsoft.com/office/drawing/2014/main" id="{93DAE106-DAD1-4296-23F0-6BEE0A80DD48}"/>
                </a:ext>
              </a:extLst>
            </p:cNvPr>
            <p:cNvSpPr txBox="1"/>
            <p:nvPr/>
          </p:nvSpPr>
          <p:spPr>
            <a:xfrm>
              <a:off x="4723902" y="-517522"/>
              <a:ext cx="200820" cy="260877"/>
            </a:xfrm>
            <a:custGeom>
              <a:avLst/>
              <a:gdLst/>
              <a:ahLst/>
              <a:cxnLst/>
              <a:rect l="l" t="t" r="r" b="b"/>
              <a:pathLst>
                <a:path w="200820" h="260877">
                  <a:moveTo>
                    <a:pt x="98431" y="0"/>
                  </a:moveTo>
                  <a:cubicBezTo>
                    <a:pt x="117131" y="0"/>
                    <a:pt x="133622" y="3011"/>
                    <a:pt x="147905" y="9034"/>
                  </a:cubicBezTo>
                  <a:cubicBezTo>
                    <a:pt x="162188" y="15057"/>
                    <a:pt x="173172" y="23919"/>
                    <a:pt x="180859" y="35621"/>
                  </a:cubicBezTo>
                  <a:cubicBezTo>
                    <a:pt x="188545" y="47323"/>
                    <a:pt x="192675" y="60573"/>
                    <a:pt x="193249" y="75372"/>
                  </a:cubicBezTo>
                  <a:lnTo>
                    <a:pt x="161241" y="77781"/>
                  </a:lnTo>
                  <a:cubicBezTo>
                    <a:pt x="159520" y="61835"/>
                    <a:pt x="153698" y="49789"/>
                    <a:pt x="143775" y="41644"/>
                  </a:cubicBezTo>
                  <a:cubicBezTo>
                    <a:pt x="133851" y="33499"/>
                    <a:pt x="119196" y="29426"/>
                    <a:pt x="99808" y="29426"/>
                  </a:cubicBezTo>
                  <a:cubicBezTo>
                    <a:pt x="79617" y="29426"/>
                    <a:pt x="64904" y="33126"/>
                    <a:pt x="55669" y="40525"/>
                  </a:cubicBezTo>
                  <a:cubicBezTo>
                    <a:pt x="46433" y="47925"/>
                    <a:pt x="41816" y="56845"/>
                    <a:pt x="41816" y="67284"/>
                  </a:cubicBezTo>
                  <a:cubicBezTo>
                    <a:pt x="41816" y="76347"/>
                    <a:pt x="45085" y="83804"/>
                    <a:pt x="51625" y="89655"/>
                  </a:cubicBezTo>
                  <a:cubicBezTo>
                    <a:pt x="58049" y="95506"/>
                    <a:pt x="74827" y="101500"/>
                    <a:pt x="101959" y="107638"/>
                  </a:cubicBezTo>
                  <a:cubicBezTo>
                    <a:pt x="129090" y="113775"/>
                    <a:pt x="147704" y="119138"/>
                    <a:pt x="157800" y="123727"/>
                  </a:cubicBezTo>
                  <a:cubicBezTo>
                    <a:pt x="172484" y="130496"/>
                    <a:pt x="183325" y="139071"/>
                    <a:pt x="190323" y="149454"/>
                  </a:cubicBezTo>
                  <a:cubicBezTo>
                    <a:pt x="197321" y="159836"/>
                    <a:pt x="200820" y="171796"/>
                    <a:pt x="200820" y="185333"/>
                  </a:cubicBezTo>
                  <a:cubicBezTo>
                    <a:pt x="200820" y="198755"/>
                    <a:pt x="196977" y="211403"/>
                    <a:pt x="189291" y="223277"/>
                  </a:cubicBezTo>
                  <a:cubicBezTo>
                    <a:pt x="181604" y="235151"/>
                    <a:pt x="170562" y="244386"/>
                    <a:pt x="156165" y="250982"/>
                  </a:cubicBezTo>
                  <a:cubicBezTo>
                    <a:pt x="141767" y="257579"/>
                    <a:pt x="125563" y="260877"/>
                    <a:pt x="107551" y="260877"/>
                  </a:cubicBezTo>
                  <a:cubicBezTo>
                    <a:pt x="84722" y="260877"/>
                    <a:pt x="65592" y="257550"/>
                    <a:pt x="50162" y="250896"/>
                  </a:cubicBezTo>
                  <a:cubicBezTo>
                    <a:pt x="34732" y="244242"/>
                    <a:pt x="22629" y="234233"/>
                    <a:pt x="13852" y="220868"/>
                  </a:cubicBezTo>
                  <a:cubicBezTo>
                    <a:pt x="5076" y="207503"/>
                    <a:pt x="459" y="192388"/>
                    <a:pt x="0" y="175524"/>
                  </a:cubicBezTo>
                  <a:lnTo>
                    <a:pt x="31491" y="172771"/>
                  </a:lnTo>
                  <a:cubicBezTo>
                    <a:pt x="32982" y="185390"/>
                    <a:pt x="36453" y="195744"/>
                    <a:pt x="41902" y="203832"/>
                  </a:cubicBezTo>
                  <a:cubicBezTo>
                    <a:pt x="47351" y="211920"/>
                    <a:pt x="55812" y="218459"/>
                    <a:pt x="67284" y="223449"/>
                  </a:cubicBezTo>
                  <a:cubicBezTo>
                    <a:pt x="78756" y="228439"/>
                    <a:pt x="91662" y="230935"/>
                    <a:pt x="106003" y="230935"/>
                  </a:cubicBezTo>
                  <a:cubicBezTo>
                    <a:pt x="118737" y="230935"/>
                    <a:pt x="129979" y="229042"/>
                    <a:pt x="139731" y="225256"/>
                  </a:cubicBezTo>
                  <a:cubicBezTo>
                    <a:pt x="149482" y="221470"/>
                    <a:pt x="156738" y="216279"/>
                    <a:pt x="161499" y="209682"/>
                  </a:cubicBezTo>
                  <a:cubicBezTo>
                    <a:pt x="166260" y="203086"/>
                    <a:pt x="168641" y="195887"/>
                    <a:pt x="168641" y="188086"/>
                  </a:cubicBezTo>
                  <a:cubicBezTo>
                    <a:pt x="168641" y="180170"/>
                    <a:pt x="166346" y="173258"/>
                    <a:pt x="161757" y="167350"/>
                  </a:cubicBezTo>
                  <a:cubicBezTo>
                    <a:pt x="157169" y="161442"/>
                    <a:pt x="149597" y="156480"/>
                    <a:pt x="139043" y="152465"/>
                  </a:cubicBezTo>
                  <a:cubicBezTo>
                    <a:pt x="132274" y="149826"/>
                    <a:pt x="117303" y="145725"/>
                    <a:pt x="94129" y="140161"/>
                  </a:cubicBezTo>
                  <a:cubicBezTo>
                    <a:pt x="70955" y="134597"/>
                    <a:pt x="54722" y="129349"/>
                    <a:pt x="45430" y="124416"/>
                  </a:cubicBezTo>
                  <a:cubicBezTo>
                    <a:pt x="33384" y="118106"/>
                    <a:pt x="24407" y="110276"/>
                    <a:pt x="18499" y="100926"/>
                  </a:cubicBezTo>
                  <a:cubicBezTo>
                    <a:pt x="12591" y="91577"/>
                    <a:pt x="9636" y="81108"/>
                    <a:pt x="9636" y="69521"/>
                  </a:cubicBezTo>
                  <a:cubicBezTo>
                    <a:pt x="9636" y="56787"/>
                    <a:pt x="13250" y="44885"/>
                    <a:pt x="20478" y="33814"/>
                  </a:cubicBezTo>
                  <a:cubicBezTo>
                    <a:pt x="27705" y="22744"/>
                    <a:pt x="38260" y="14340"/>
                    <a:pt x="52141" y="8604"/>
                  </a:cubicBezTo>
                  <a:cubicBezTo>
                    <a:pt x="66022" y="2868"/>
                    <a:pt x="81452" y="0"/>
                    <a:pt x="98431" y="0"/>
                  </a:cubicBez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31" name="TextBox 30">
              <a:extLst>
                <a:ext uri="{FF2B5EF4-FFF2-40B4-BE49-F238E27FC236}">
                  <a16:creationId xmlns:a16="http://schemas.microsoft.com/office/drawing/2014/main" id="{5AFDE251-E826-79B6-C4FD-DC3E3332AF5F}"/>
                </a:ext>
              </a:extLst>
            </p:cNvPr>
            <p:cNvSpPr txBox="1"/>
            <p:nvPr/>
          </p:nvSpPr>
          <p:spPr>
            <a:xfrm>
              <a:off x="2451810" y="-513220"/>
              <a:ext cx="208564" cy="252273"/>
            </a:xfrm>
            <a:custGeom>
              <a:avLst/>
              <a:gdLst/>
              <a:ahLst/>
              <a:cxnLst/>
              <a:rect l="l" t="t" r="r" b="b"/>
              <a:pathLst>
                <a:path w="208564" h="252273">
                  <a:moveTo>
                    <a:pt x="0" y="0"/>
                  </a:moveTo>
                  <a:lnTo>
                    <a:pt x="33384" y="0"/>
                  </a:lnTo>
                  <a:lnTo>
                    <a:pt x="33384" y="125104"/>
                  </a:lnTo>
                  <a:lnTo>
                    <a:pt x="158660" y="0"/>
                  </a:lnTo>
                  <a:lnTo>
                    <a:pt x="203917" y="0"/>
                  </a:lnTo>
                  <a:lnTo>
                    <a:pt x="98087" y="102217"/>
                  </a:lnTo>
                  <a:lnTo>
                    <a:pt x="208564" y="252273"/>
                  </a:lnTo>
                  <a:lnTo>
                    <a:pt x="164510" y="252273"/>
                  </a:lnTo>
                  <a:lnTo>
                    <a:pt x="74683" y="124588"/>
                  </a:lnTo>
                  <a:lnTo>
                    <a:pt x="33384" y="164855"/>
                  </a:lnTo>
                  <a:lnTo>
                    <a:pt x="33384" y="252273"/>
                  </a:lnTo>
                  <a:lnTo>
                    <a:pt x="0" y="252273"/>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32" name="TextBox 31">
              <a:extLst>
                <a:ext uri="{FF2B5EF4-FFF2-40B4-BE49-F238E27FC236}">
                  <a16:creationId xmlns:a16="http://schemas.microsoft.com/office/drawing/2014/main" id="{806D04AB-432F-804C-7500-D13CFEB541F5}"/>
                </a:ext>
              </a:extLst>
            </p:cNvPr>
            <p:cNvSpPr txBox="1"/>
            <p:nvPr/>
          </p:nvSpPr>
          <p:spPr>
            <a:xfrm>
              <a:off x="2708351" y="-513220"/>
              <a:ext cx="188259" cy="252273"/>
            </a:xfrm>
            <a:custGeom>
              <a:avLst/>
              <a:gdLst/>
              <a:ahLst/>
              <a:cxnLst/>
              <a:rect l="l" t="t" r="r" b="b"/>
              <a:pathLst>
                <a:path w="188259" h="252273">
                  <a:moveTo>
                    <a:pt x="0" y="0"/>
                  </a:moveTo>
                  <a:lnTo>
                    <a:pt x="182408" y="0"/>
                  </a:lnTo>
                  <a:lnTo>
                    <a:pt x="182408" y="29770"/>
                  </a:lnTo>
                  <a:lnTo>
                    <a:pt x="33385" y="29770"/>
                  </a:lnTo>
                  <a:lnTo>
                    <a:pt x="33385" y="107035"/>
                  </a:lnTo>
                  <a:lnTo>
                    <a:pt x="172943" y="107035"/>
                  </a:lnTo>
                  <a:lnTo>
                    <a:pt x="172943" y="136634"/>
                  </a:lnTo>
                  <a:lnTo>
                    <a:pt x="33385" y="136634"/>
                  </a:lnTo>
                  <a:lnTo>
                    <a:pt x="33385" y="222503"/>
                  </a:lnTo>
                  <a:lnTo>
                    <a:pt x="188259" y="222503"/>
                  </a:lnTo>
                  <a:lnTo>
                    <a:pt x="188259" y="252273"/>
                  </a:lnTo>
                  <a:lnTo>
                    <a:pt x="0" y="252273"/>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33" name="TextBox 32">
              <a:extLst>
                <a:ext uri="{FF2B5EF4-FFF2-40B4-BE49-F238E27FC236}">
                  <a16:creationId xmlns:a16="http://schemas.microsoft.com/office/drawing/2014/main" id="{3F6BC7AE-81AB-9E3C-40D4-D03A1C0C3FEF}"/>
                </a:ext>
              </a:extLst>
            </p:cNvPr>
            <p:cNvSpPr txBox="1"/>
            <p:nvPr/>
          </p:nvSpPr>
          <p:spPr>
            <a:xfrm>
              <a:off x="2961835" y="-513220"/>
              <a:ext cx="198755" cy="252273"/>
            </a:xfrm>
            <a:custGeom>
              <a:avLst/>
              <a:gdLst/>
              <a:ahLst/>
              <a:cxnLst/>
              <a:rect l="l" t="t" r="r" b="b"/>
              <a:pathLst>
                <a:path w="198755" h="252273">
                  <a:moveTo>
                    <a:pt x="0" y="0"/>
                  </a:moveTo>
                  <a:lnTo>
                    <a:pt x="34244" y="0"/>
                  </a:lnTo>
                  <a:lnTo>
                    <a:pt x="166748" y="198067"/>
                  </a:lnTo>
                  <a:lnTo>
                    <a:pt x="166748" y="0"/>
                  </a:lnTo>
                  <a:lnTo>
                    <a:pt x="198755" y="0"/>
                  </a:lnTo>
                  <a:lnTo>
                    <a:pt x="198755" y="252273"/>
                  </a:lnTo>
                  <a:lnTo>
                    <a:pt x="164511" y="252273"/>
                  </a:lnTo>
                  <a:lnTo>
                    <a:pt x="32007" y="54034"/>
                  </a:lnTo>
                  <a:lnTo>
                    <a:pt x="32007" y="252273"/>
                  </a:lnTo>
                  <a:lnTo>
                    <a:pt x="0" y="252273"/>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34" name="TextBox 33">
              <a:extLst>
                <a:ext uri="{FF2B5EF4-FFF2-40B4-BE49-F238E27FC236}">
                  <a16:creationId xmlns:a16="http://schemas.microsoft.com/office/drawing/2014/main" id="{6DFF94FE-7CBA-7179-C317-81E8EB177FAA}"/>
                </a:ext>
              </a:extLst>
            </p:cNvPr>
            <p:cNvSpPr txBox="1"/>
            <p:nvPr/>
          </p:nvSpPr>
          <p:spPr>
            <a:xfrm>
              <a:off x="3210225" y="-513220"/>
              <a:ext cx="231279" cy="252273"/>
            </a:xfrm>
            <a:custGeom>
              <a:avLst/>
              <a:gdLst/>
              <a:ahLst/>
              <a:cxnLst/>
              <a:rect l="l" t="t" r="r" b="b"/>
              <a:pathLst>
                <a:path w="231279" h="252273">
                  <a:moveTo>
                    <a:pt x="0" y="0"/>
                  </a:moveTo>
                  <a:lnTo>
                    <a:pt x="40611" y="0"/>
                  </a:lnTo>
                  <a:lnTo>
                    <a:pt x="90343" y="76060"/>
                  </a:lnTo>
                  <a:cubicBezTo>
                    <a:pt x="99521" y="90286"/>
                    <a:pt x="108067" y="104511"/>
                    <a:pt x="115983" y="118737"/>
                  </a:cubicBezTo>
                  <a:cubicBezTo>
                    <a:pt x="123555" y="105544"/>
                    <a:pt x="132733" y="90687"/>
                    <a:pt x="143516" y="74168"/>
                  </a:cubicBezTo>
                  <a:lnTo>
                    <a:pt x="192388" y="0"/>
                  </a:lnTo>
                  <a:lnTo>
                    <a:pt x="231279" y="0"/>
                  </a:lnTo>
                  <a:lnTo>
                    <a:pt x="130610" y="145410"/>
                  </a:lnTo>
                  <a:lnTo>
                    <a:pt x="130610" y="252273"/>
                  </a:lnTo>
                  <a:lnTo>
                    <a:pt x="97226" y="252273"/>
                  </a:lnTo>
                  <a:lnTo>
                    <a:pt x="97226" y="145410"/>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35" name="TextBox 34">
              <a:extLst>
                <a:ext uri="{FF2B5EF4-FFF2-40B4-BE49-F238E27FC236}">
                  <a16:creationId xmlns:a16="http://schemas.microsoft.com/office/drawing/2014/main" id="{931C8796-2124-4C40-F4E6-81592D3341AA}"/>
                </a:ext>
              </a:extLst>
            </p:cNvPr>
            <p:cNvSpPr txBox="1"/>
            <p:nvPr/>
          </p:nvSpPr>
          <p:spPr>
            <a:xfrm>
              <a:off x="3436679" y="-513220"/>
              <a:ext cx="235268" cy="252273"/>
            </a:xfrm>
            <a:custGeom>
              <a:avLst/>
              <a:gdLst/>
              <a:ahLst/>
              <a:cxnLst/>
              <a:rect l="l" t="t" r="r" b="b"/>
              <a:pathLst>
                <a:path w="235268" h="252273">
                  <a:moveTo>
                    <a:pt x="96882" y="0"/>
                  </a:moveTo>
                  <a:lnTo>
                    <a:pt x="132848" y="0"/>
                  </a:lnTo>
                  <a:lnTo>
                    <a:pt x="235268" y="250247"/>
                  </a:lnTo>
                  <a:lnTo>
                    <a:pt x="235268" y="252273"/>
                  </a:lnTo>
                  <a:lnTo>
                    <a:pt x="198067" y="252273"/>
                  </a:lnTo>
                  <a:lnTo>
                    <a:pt x="168641" y="175868"/>
                  </a:lnTo>
                  <a:lnTo>
                    <a:pt x="63154" y="175868"/>
                  </a:lnTo>
                  <a:lnTo>
                    <a:pt x="35449" y="252273"/>
                  </a:lnTo>
                  <a:lnTo>
                    <a:pt x="0" y="252273"/>
                  </a:lnTo>
                  <a:lnTo>
                    <a:pt x="96882" y="0"/>
                  </a:lnTo>
                  <a:close/>
                  <a:moveTo>
                    <a:pt x="114091" y="26501"/>
                  </a:moveTo>
                  <a:cubicBezTo>
                    <a:pt x="110878" y="42676"/>
                    <a:pt x="106347" y="58738"/>
                    <a:pt x="100496" y="74684"/>
                  </a:cubicBezTo>
                  <a:lnTo>
                    <a:pt x="72791" y="148679"/>
                  </a:lnTo>
                  <a:lnTo>
                    <a:pt x="158316" y="148679"/>
                  </a:lnTo>
                  <a:lnTo>
                    <a:pt x="131987" y="78814"/>
                  </a:lnTo>
                  <a:cubicBezTo>
                    <a:pt x="123957" y="57590"/>
                    <a:pt x="117991" y="40153"/>
                    <a:pt x="114091" y="26501"/>
                  </a:cubicBez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36" name="TextBox 35">
              <a:extLst>
                <a:ext uri="{FF2B5EF4-FFF2-40B4-BE49-F238E27FC236}">
                  <a16:creationId xmlns:a16="http://schemas.microsoft.com/office/drawing/2014/main" id="{D2D42478-EFDD-7405-9C2B-1BAF9D67980A}"/>
                </a:ext>
              </a:extLst>
            </p:cNvPr>
            <p:cNvSpPr txBox="1"/>
            <p:nvPr/>
          </p:nvSpPr>
          <p:spPr>
            <a:xfrm>
              <a:off x="3842253" y="-513220"/>
              <a:ext cx="33384" cy="252273"/>
            </a:xfrm>
            <a:custGeom>
              <a:avLst/>
              <a:gdLst/>
              <a:ahLst/>
              <a:cxnLst/>
              <a:rect l="l" t="t" r="r" b="b"/>
              <a:pathLst>
                <a:path w="33384" h="252273">
                  <a:moveTo>
                    <a:pt x="0" y="0"/>
                  </a:moveTo>
                  <a:lnTo>
                    <a:pt x="33384" y="0"/>
                  </a:lnTo>
                  <a:lnTo>
                    <a:pt x="33384" y="252273"/>
                  </a:lnTo>
                  <a:lnTo>
                    <a:pt x="0" y="252273"/>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37" name="TextBox 36">
              <a:extLst>
                <a:ext uri="{FF2B5EF4-FFF2-40B4-BE49-F238E27FC236}">
                  <a16:creationId xmlns:a16="http://schemas.microsoft.com/office/drawing/2014/main" id="{4040C71A-5DFC-0C82-3841-DA4E60E6D3DD}"/>
                </a:ext>
              </a:extLst>
            </p:cNvPr>
            <p:cNvSpPr txBox="1"/>
            <p:nvPr/>
          </p:nvSpPr>
          <p:spPr>
            <a:xfrm>
              <a:off x="3951722" y="-513220"/>
              <a:ext cx="198755" cy="252273"/>
            </a:xfrm>
            <a:custGeom>
              <a:avLst/>
              <a:gdLst/>
              <a:ahLst/>
              <a:cxnLst/>
              <a:rect l="l" t="t" r="r" b="b"/>
              <a:pathLst>
                <a:path w="198755" h="252273">
                  <a:moveTo>
                    <a:pt x="0" y="0"/>
                  </a:moveTo>
                  <a:lnTo>
                    <a:pt x="34244" y="0"/>
                  </a:lnTo>
                  <a:lnTo>
                    <a:pt x="166748" y="198067"/>
                  </a:lnTo>
                  <a:lnTo>
                    <a:pt x="166748" y="0"/>
                  </a:lnTo>
                  <a:lnTo>
                    <a:pt x="198755" y="0"/>
                  </a:lnTo>
                  <a:lnTo>
                    <a:pt x="198755" y="252273"/>
                  </a:lnTo>
                  <a:lnTo>
                    <a:pt x="164511" y="252273"/>
                  </a:lnTo>
                  <a:lnTo>
                    <a:pt x="32007" y="54034"/>
                  </a:lnTo>
                  <a:lnTo>
                    <a:pt x="32007" y="252273"/>
                  </a:lnTo>
                  <a:lnTo>
                    <a:pt x="0" y="252273"/>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38" name="TextBox 37">
              <a:extLst>
                <a:ext uri="{FF2B5EF4-FFF2-40B4-BE49-F238E27FC236}">
                  <a16:creationId xmlns:a16="http://schemas.microsoft.com/office/drawing/2014/main" id="{BEBA42EF-9281-D457-9386-8324BD950C67}"/>
                </a:ext>
              </a:extLst>
            </p:cNvPr>
            <p:cNvSpPr txBox="1"/>
            <p:nvPr/>
          </p:nvSpPr>
          <p:spPr>
            <a:xfrm>
              <a:off x="4200627" y="-513220"/>
              <a:ext cx="230763" cy="252273"/>
            </a:xfrm>
            <a:custGeom>
              <a:avLst/>
              <a:gdLst/>
              <a:ahLst/>
              <a:cxnLst/>
              <a:rect l="l" t="t" r="r" b="b"/>
              <a:pathLst>
                <a:path w="230763" h="252273">
                  <a:moveTo>
                    <a:pt x="0" y="0"/>
                  </a:moveTo>
                  <a:lnTo>
                    <a:pt x="36137" y="0"/>
                  </a:lnTo>
                  <a:lnTo>
                    <a:pt x="101701" y="183268"/>
                  </a:lnTo>
                  <a:cubicBezTo>
                    <a:pt x="106978" y="197952"/>
                    <a:pt x="111395" y="211719"/>
                    <a:pt x="114951" y="224568"/>
                  </a:cubicBezTo>
                  <a:cubicBezTo>
                    <a:pt x="118852" y="210801"/>
                    <a:pt x="123383" y="197034"/>
                    <a:pt x="128546" y="183268"/>
                  </a:cubicBezTo>
                  <a:lnTo>
                    <a:pt x="196690" y="0"/>
                  </a:lnTo>
                  <a:lnTo>
                    <a:pt x="230763" y="0"/>
                  </a:lnTo>
                  <a:lnTo>
                    <a:pt x="131987" y="252273"/>
                  </a:lnTo>
                  <a:lnTo>
                    <a:pt x="97743" y="252273"/>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39" name="TextBox 38">
              <a:extLst>
                <a:ext uri="{FF2B5EF4-FFF2-40B4-BE49-F238E27FC236}">
                  <a16:creationId xmlns:a16="http://schemas.microsoft.com/office/drawing/2014/main" id="{646685BF-9FFC-6FB5-0383-7655280C0B52}"/>
                </a:ext>
              </a:extLst>
            </p:cNvPr>
            <p:cNvSpPr txBox="1"/>
            <p:nvPr/>
          </p:nvSpPr>
          <p:spPr>
            <a:xfrm>
              <a:off x="4481471" y="-513220"/>
              <a:ext cx="188258" cy="252273"/>
            </a:xfrm>
            <a:custGeom>
              <a:avLst/>
              <a:gdLst/>
              <a:ahLst/>
              <a:cxnLst/>
              <a:rect l="l" t="t" r="r" b="b"/>
              <a:pathLst>
                <a:path w="188258" h="252273">
                  <a:moveTo>
                    <a:pt x="0" y="0"/>
                  </a:moveTo>
                  <a:lnTo>
                    <a:pt x="182407" y="0"/>
                  </a:lnTo>
                  <a:lnTo>
                    <a:pt x="182407" y="29770"/>
                  </a:lnTo>
                  <a:lnTo>
                    <a:pt x="33384" y="29770"/>
                  </a:lnTo>
                  <a:lnTo>
                    <a:pt x="33384" y="107035"/>
                  </a:lnTo>
                  <a:lnTo>
                    <a:pt x="172943" y="107035"/>
                  </a:lnTo>
                  <a:lnTo>
                    <a:pt x="172943" y="136634"/>
                  </a:lnTo>
                  <a:lnTo>
                    <a:pt x="33384" y="136634"/>
                  </a:lnTo>
                  <a:lnTo>
                    <a:pt x="33384" y="222503"/>
                  </a:lnTo>
                  <a:lnTo>
                    <a:pt x="188258" y="222503"/>
                  </a:lnTo>
                  <a:lnTo>
                    <a:pt x="188258" y="252273"/>
                  </a:lnTo>
                  <a:lnTo>
                    <a:pt x="0" y="252273"/>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40" name="TextBox 39">
              <a:extLst>
                <a:ext uri="{FF2B5EF4-FFF2-40B4-BE49-F238E27FC236}">
                  <a16:creationId xmlns:a16="http://schemas.microsoft.com/office/drawing/2014/main" id="{286D8E72-DBB1-3AAB-928A-4007DDFF231B}"/>
                </a:ext>
              </a:extLst>
            </p:cNvPr>
            <p:cNvSpPr txBox="1"/>
            <p:nvPr/>
          </p:nvSpPr>
          <p:spPr>
            <a:xfrm>
              <a:off x="4970846" y="-513220"/>
              <a:ext cx="199960" cy="252273"/>
            </a:xfrm>
            <a:custGeom>
              <a:avLst/>
              <a:gdLst/>
              <a:ahLst/>
              <a:cxnLst/>
              <a:rect l="l" t="t" r="r" b="b"/>
              <a:pathLst>
                <a:path w="199960" h="252273">
                  <a:moveTo>
                    <a:pt x="0" y="0"/>
                  </a:moveTo>
                  <a:lnTo>
                    <a:pt x="199960" y="0"/>
                  </a:lnTo>
                  <a:lnTo>
                    <a:pt x="199960" y="29770"/>
                  </a:lnTo>
                  <a:lnTo>
                    <a:pt x="116500" y="29770"/>
                  </a:lnTo>
                  <a:lnTo>
                    <a:pt x="116500" y="252273"/>
                  </a:lnTo>
                  <a:lnTo>
                    <a:pt x="83116" y="252273"/>
                  </a:lnTo>
                  <a:lnTo>
                    <a:pt x="83116" y="29770"/>
                  </a:lnTo>
                  <a:lnTo>
                    <a:pt x="0" y="29770"/>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41" name="TextBox 40">
              <a:extLst>
                <a:ext uri="{FF2B5EF4-FFF2-40B4-BE49-F238E27FC236}">
                  <a16:creationId xmlns:a16="http://schemas.microsoft.com/office/drawing/2014/main" id="{FE9370CF-A432-98C9-3E94-1BF127B8D576}"/>
                </a:ext>
              </a:extLst>
            </p:cNvPr>
            <p:cNvSpPr txBox="1"/>
            <p:nvPr/>
          </p:nvSpPr>
          <p:spPr>
            <a:xfrm>
              <a:off x="5223177" y="-513220"/>
              <a:ext cx="240743" cy="252273"/>
            </a:xfrm>
            <a:custGeom>
              <a:avLst/>
              <a:gdLst/>
              <a:ahLst/>
              <a:cxnLst/>
              <a:rect l="l" t="t" r="r" b="b"/>
              <a:pathLst>
                <a:path w="240743" h="252273">
                  <a:moveTo>
                    <a:pt x="0" y="0"/>
                  </a:moveTo>
                  <a:lnTo>
                    <a:pt x="50248" y="0"/>
                  </a:lnTo>
                  <a:lnTo>
                    <a:pt x="109961" y="178622"/>
                  </a:lnTo>
                  <a:cubicBezTo>
                    <a:pt x="115467" y="195256"/>
                    <a:pt x="119482" y="207704"/>
                    <a:pt x="122006" y="215964"/>
                  </a:cubicBezTo>
                  <a:cubicBezTo>
                    <a:pt x="124874" y="206786"/>
                    <a:pt x="129348" y="193306"/>
                    <a:pt x="135429" y="175524"/>
                  </a:cubicBezTo>
                  <a:lnTo>
                    <a:pt x="195830" y="0"/>
                  </a:lnTo>
                  <a:lnTo>
                    <a:pt x="240743" y="0"/>
                  </a:lnTo>
                  <a:lnTo>
                    <a:pt x="240743" y="252273"/>
                  </a:lnTo>
                  <a:lnTo>
                    <a:pt x="208564" y="252273"/>
                  </a:lnTo>
                  <a:lnTo>
                    <a:pt x="208564" y="41128"/>
                  </a:lnTo>
                  <a:lnTo>
                    <a:pt x="135257" y="252273"/>
                  </a:lnTo>
                  <a:lnTo>
                    <a:pt x="105142" y="252273"/>
                  </a:lnTo>
                  <a:lnTo>
                    <a:pt x="32179" y="37514"/>
                  </a:lnTo>
                  <a:lnTo>
                    <a:pt x="32179" y="252273"/>
                  </a:lnTo>
                  <a:lnTo>
                    <a:pt x="0" y="252273"/>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42" name="TextBox 41">
              <a:extLst>
                <a:ext uri="{FF2B5EF4-FFF2-40B4-BE49-F238E27FC236}">
                  <a16:creationId xmlns:a16="http://schemas.microsoft.com/office/drawing/2014/main" id="{AFBB574B-1B84-FE3B-6069-1C89D6856105}"/>
                </a:ext>
              </a:extLst>
            </p:cNvPr>
            <p:cNvSpPr txBox="1"/>
            <p:nvPr/>
          </p:nvSpPr>
          <p:spPr>
            <a:xfrm>
              <a:off x="5538668" y="-513220"/>
              <a:ext cx="188258" cy="252273"/>
            </a:xfrm>
            <a:custGeom>
              <a:avLst/>
              <a:gdLst/>
              <a:ahLst/>
              <a:cxnLst/>
              <a:rect l="l" t="t" r="r" b="b"/>
              <a:pathLst>
                <a:path w="188258" h="252273">
                  <a:moveTo>
                    <a:pt x="0" y="0"/>
                  </a:moveTo>
                  <a:lnTo>
                    <a:pt x="182407" y="0"/>
                  </a:lnTo>
                  <a:lnTo>
                    <a:pt x="182407" y="29770"/>
                  </a:lnTo>
                  <a:lnTo>
                    <a:pt x="33384" y="29770"/>
                  </a:lnTo>
                  <a:lnTo>
                    <a:pt x="33384" y="107035"/>
                  </a:lnTo>
                  <a:lnTo>
                    <a:pt x="172943" y="107035"/>
                  </a:lnTo>
                  <a:lnTo>
                    <a:pt x="172943" y="136634"/>
                  </a:lnTo>
                  <a:lnTo>
                    <a:pt x="33384" y="136634"/>
                  </a:lnTo>
                  <a:lnTo>
                    <a:pt x="33384" y="222503"/>
                  </a:lnTo>
                  <a:lnTo>
                    <a:pt x="188258" y="222503"/>
                  </a:lnTo>
                  <a:lnTo>
                    <a:pt x="188258" y="252273"/>
                  </a:lnTo>
                  <a:lnTo>
                    <a:pt x="0" y="252273"/>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43" name="TextBox 42">
              <a:extLst>
                <a:ext uri="{FF2B5EF4-FFF2-40B4-BE49-F238E27FC236}">
                  <a16:creationId xmlns:a16="http://schemas.microsoft.com/office/drawing/2014/main" id="{71916A44-7CFD-A8F1-2E07-D22E319F5F45}"/>
                </a:ext>
              </a:extLst>
            </p:cNvPr>
            <p:cNvSpPr txBox="1"/>
            <p:nvPr/>
          </p:nvSpPr>
          <p:spPr>
            <a:xfrm>
              <a:off x="5792152" y="-513220"/>
              <a:ext cx="198755" cy="252273"/>
            </a:xfrm>
            <a:custGeom>
              <a:avLst/>
              <a:gdLst/>
              <a:ahLst/>
              <a:cxnLst/>
              <a:rect l="l" t="t" r="r" b="b"/>
              <a:pathLst>
                <a:path w="198755" h="252273">
                  <a:moveTo>
                    <a:pt x="0" y="0"/>
                  </a:moveTo>
                  <a:lnTo>
                    <a:pt x="34245" y="0"/>
                  </a:lnTo>
                  <a:lnTo>
                    <a:pt x="166748" y="198067"/>
                  </a:lnTo>
                  <a:lnTo>
                    <a:pt x="166748" y="0"/>
                  </a:lnTo>
                  <a:lnTo>
                    <a:pt x="198755" y="0"/>
                  </a:lnTo>
                  <a:lnTo>
                    <a:pt x="198755" y="252273"/>
                  </a:lnTo>
                  <a:lnTo>
                    <a:pt x="164511" y="252273"/>
                  </a:lnTo>
                  <a:lnTo>
                    <a:pt x="32007" y="54034"/>
                  </a:lnTo>
                  <a:lnTo>
                    <a:pt x="32007" y="252273"/>
                  </a:lnTo>
                  <a:lnTo>
                    <a:pt x="0" y="252273"/>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44" name="TextBox 43">
              <a:extLst>
                <a:ext uri="{FF2B5EF4-FFF2-40B4-BE49-F238E27FC236}">
                  <a16:creationId xmlns:a16="http://schemas.microsoft.com/office/drawing/2014/main" id="{8A18999C-293B-3391-2193-BB012F3BAB64}"/>
                </a:ext>
              </a:extLst>
            </p:cNvPr>
            <p:cNvSpPr txBox="1"/>
            <p:nvPr/>
          </p:nvSpPr>
          <p:spPr>
            <a:xfrm>
              <a:off x="6047767" y="-513220"/>
              <a:ext cx="199960" cy="252273"/>
            </a:xfrm>
            <a:custGeom>
              <a:avLst/>
              <a:gdLst/>
              <a:ahLst/>
              <a:cxnLst/>
              <a:rect l="l" t="t" r="r" b="b"/>
              <a:pathLst>
                <a:path w="199960" h="252273">
                  <a:moveTo>
                    <a:pt x="0" y="0"/>
                  </a:moveTo>
                  <a:lnTo>
                    <a:pt x="199960" y="0"/>
                  </a:lnTo>
                  <a:lnTo>
                    <a:pt x="199960" y="29770"/>
                  </a:lnTo>
                  <a:lnTo>
                    <a:pt x="116500" y="29770"/>
                  </a:lnTo>
                  <a:lnTo>
                    <a:pt x="116500" y="252273"/>
                  </a:lnTo>
                  <a:lnTo>
                    <a:pt x="83116" y="252273"/>
                  </a:lnTo>
                  <a:lnTo>
                    <a:pt x="83116" y="29770"/>
                  </a:lnTo>
                  <a:lnTo>
                    <a:pt x="0" y="29770"/>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45" name="TextBox 44">
              <a:extLst>
                <a:ext uri="{FF2B5EF4-FFF2-40B4-BE49-F238E27FC236}">
                  <a16:creationId xmlns:a16="http://schemas.microsoft.com/office/drawing/2014/main" id="{351773E8-F218-27D7-E4F4-7E829E686DAC}"/>
                </a:ext>
              </a:extLst>
            </p:cNvPr>
            <p:cNvSpPr txBox="1"/>
            <p:nvPr/>
          </p:nvSpPr>
          <p:spPr>
            <a:xfrm>
              <a:off x="6366898" y="-513220"/>
              <a:ext cx="219380" cy="252273"/>
            </a:xfrm>
            <a:custGeom>
              <a:avLst/>
              <a:gdLst/>
              <a:ahLst/>
              <a:cxnLst/>
              <a:rect l="l" t="t" r="r" b="b"/>
              <a:pathLst>
                <a:path w="219380" h="252273">
                  <a:moveTo>
                    <a:pt x="80165" y="0"/>
                  </a:moveTo>
                  <a:lnTo>
                    <a:pt x="116131" y="0"/>
                  </a:lnTo>
                  <a:lnTo>
                    <a:pt x="219380" y="252273"/>
                  </a:lnTo>
                  <a:lnTo>
                    <a:pt x="181350" y="252273"/>
                  </a:lnTo>
                  <a:lnTo>
                    <a:pt x="151924" y="175868"/>
                  </a:lnTo>
                  <a:lnTo>
                    <a:pt x="46437" y="175868"/>
                  </a:lnTo>
                  <a:lnTo>
                    <a:pt x="18732" y="252273"/>
                  </a:lnTo>
                  <a:lnTo>
                    <a:pt x="0" y="252273"/>
                  </a:lnTo>
                  <a:lnTo>
                    <a:pt x="0" y="208743"/>
                  </a:lnTo>
                  <a:lnTo>
                    <a:pt x="80165" y="0"/>
                  </a:lnTo>
                  <a:close/>
                  <a:moveTo>
                    <a:pt x="97374" y="26501"/>
                  </a:moveTo>
                  <a:cubicBezTo>
                    <a:pt x="94161" y="42676"/>
                    <a:pt x="89630" y="58738"/>
                    <a:pt x="83779" y="74684"/>
                  </a:cubicBezTo>
                  <a:lnTo>
                    <a:pt x="56074" y="148679"/>
                  </a:lnTo>
                  <a:lnTo>
                    <a:pt x="141599" y="148679"/>
                  </a:lnTo>
                  <a:lnTo>
                    <a:pt x="115270" y="78814"/>
                  </a:lnTo>
                  <a:cubicBezTo>
                    <a:pt x="107240" y="57590"/>
                    <a:pt x="101274" y="40153"/>
                    <a:pt x="97374" y="26501"/>
                  </a:cubicBez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46" name="TextBox 45">
              <a:extLst>
                <a:ext uri="{FF2B5EF4-FFF2-40B4-BE49-F238E27FC236}">
                  <a16:creationId xmlns:a16="http://schemas.microsoft.com/office/drawing/2014/main" id="{DC6451BD-4D44-E3F3-5A50-A0019F3F1EA2}"/>
                </a:ext>
              </a:extLst>
            </p:cNvPr>
            <p:cNvSpPr txBox="1"/>
            <p:nvPr/>
          </p:nvSpPr>
          <p:spPr>
            <a:xfrm>
              <a:off x="6632880" y="-513220"/>
              <a:ext cx="198411" cy="256575"/>
            </a:xfrm>
            <a:custGeom>
              <a:avLst/>
              <a:gdLst/>
              <a:ahLst/>
              <a:cxnLst/>
              <a:rect l="l" t="t" r="r" b="b"/>
              <a:pathLst>
                <a:path w="198411" h="256575">
                  <a:moveTo>
                    <a:pt x="0" y="0"/>
                  </a:moveTo>
                  <a:lnTo>
                    <a:pt x="33384" y="0"/>
                  </a:lnTo>
                  <a:lnTo>
                    <a:pt x="33384" y="145582"/>
                  </a:lnTo>
                  <a:cubicBezTo>
                    <a:pt x="33384" y="167494"/>
                    <a:pt x="35420" y="183641"/>
                    <a:pt x="39492" y="194023"/>
                  </a:cubicBezTo>
                  <a:cubicBezTo>
                    <a:pt x="43565" y="204405"/>
                    <a:pt x="50563" y="212407"/>
                    <a:pt x="60487" y="218029"/>
                  </a:cubicBezTo>
                  <a:cubicBezTo>
                    <a:pt x="70410" y="223650"/>
                    <a:pt x="82542" y="226461"/>
                    <a:pt x="96882" y="226461"/>
                  </a:cubicBezTo>
                  <a:cubicBezTo>
                    <a:pt x="121432" y="226461"/>
                    <a:pt x="138927" y="220897"/>
                    <a:pt x="149367" y="209769"/>
                  </a:cubicBezTo>
                  <a:cubicBezTo>
                    <a:pt x="159807" y="198641"/>
                    <a:pt x="165027" y="177245"/>
                    <a:pt x="165027" y="145582"/>
                  </a:cubicBezTo>
                  <a:lnTo>
                    <a:pt x="165027" y="0"/>
                  </a:lnTo>
                  <a:lnTo>
                    <a:pt x="198411" y="0"/>
                  </a:lnTo>
                  <a:lnTo>
                    <a:pt x="198411" y="145754"/>
                  </a:lnTo>
                  <a:cubicBezTo>
                    <a:pt x="198411" y="171107"/>
                    <a:pt x="195543" y="191241"/>
                    <a:pt x="189807" y="206155"/>
                  </a:cubicBezTo>
                  <a:cubicBezTo>
                    <a:pt x="184070" y="221069"/>
                    <a:pt x="173717" y="233200"/>
                    <a:pt x="158746" y="242550"/>
                  </a:cubicBezTo>
                  <a:cubicBezTo>
                    <a:pt x="143774" y="251900"/>
                    <a:pt x="124128" y="256575"/>
                    <a:pt x="99807" y="256575"/>
                  </a:cubicBezTo>
                  <a:cubicBezTo>
                    <a:pt x="76175" y="256575"/>
                    <a:pt x="56844" y="252502"/>
                    <a:pt x="41816" y="244357"/>
                  </a:cubicBezTo>
                  <a:cubicBezTo>
                    <a:pt x="26787" y="236212"/>
                    <a:pt x="16061" y="224424"/>
                    <a:pt x="9636" y="208994"/>
                  </a:cubicBezTo>
                  <a:cubicBezTo>
                    <a:pt x="3212" y="193564"/>
                    <a:pt x="0" y="172484"/>
                    <a:pt x="0" y="145754"/>
                  </a:cubicBez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47" name="TextBox 46">
              <a:extLst>
                <a:ext uri="{FF2B5EF4-FFF2-40B4-BE49-F238E27FC236}">
                  <a16:creationId xmlns:a16="http://schemas.microsoft.com/office/drawing/2014/main" id="{CC32CE97-8FA7-B9AC-1028-162E4DD35347}"/>
                </a:ext>
              </a:extLst>
            </p:cNvPr>
            <p:cNvSpPr txBox="1"/>
            <p:nvPr/>
          </p:nvSpPr>
          <p:spPr>
            <a:xfrm>
              <a:off x="6887634" y="-513220"/>
              <a:ext cx="199960" cy="252273"/>
            </a:xfrm>
            <a:custGeom>
              <a:avLst/>
              <a:gdLst/>
              <a:ahLst/>
              <a:cxnLst/>
              <a:rect l="l" t="t" r="r" b="b"/>
              <a:pathLst>
                <a:path w="199960" h="252273">
                  <a:moveTo>
                    <a:pt x="0" y="0"/>
                  </a:moveTo>
                  <a:lnTo>
                    <a:pt x="199960" y="0"/>
                  </a:lnTo>
                  <a:lnTo>
                    <a:pt x="199960" y="29770"/>
                  </a:lnTo>
                  <a:lnTo>
                    <a:pt x="116500" y="29770"/>
                  </a:lnTo>
                  <a:lnTo>
                    <a:pt x="116500" y="252273"/>
                  </a:lnTo>
                  <a:lnTo>
                    <a:pt x="83116" y="252273"/>
                  </a:lnTo>
                  <a:lnTo>
                    <a:pt x="83116" y="29770"/>
                  </a:lnTo>
                  <a:lnTo>
                    <a:pt x="0" y="29770"/>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48" name="TextBox 47">
              <a:extLst>
                <a:ext uri="{FF2B5EF4-FFF2-40B4-BE49-F238E27FC236}">
                  <a16:creationId xmlns:a16="http://schemas.microsoft.com/office/drawing/2014/main" id="{AC31B42A-2110-82F0-02D5-F7A0A5EAE670}"/>
                </a:ext>
              </a:extLst>
            </p:cNvPr>
            <p:cNvSpPr txBox="1"/>
            <p:nvPr/>
          </p:nvSpPr>
          <p:spPr>
            <a:xfrm>
              <a:off x="7142032" y="-513220"/>
              <a:ext cx="197895" cy="252273"/>
            </a:xfrm>
            <a:custGeom>
              <a:avLst/>
              <a:gdLst/>
              <a:ahLst/>
              <a:cxnLst/>
              <a:rect l="l" t="t" r="r" b="b"/>
              <a:pathLst>
                <a:path w="197895" h="252273">
                  <a:moveTo>
                    <a:pt x="0" y="0"/>
                  </a:moveTo>
                  <a:lnTo>
                    <a:pt x="33384" y="0"/>
                  </a:lnTo>
                  <a:lnTo>
                    <a:pt x="33384" y="103594"/>
                  </a:lnTo>
                  <a:lnTo>
                    <a:pt x="164511" y="103594"/>
                  </a:lnTo>
                  <a:lnTo>
                    <a:pt x="164511" y="0"/>
                  </a:lnTo>
                  <a:lnTo>
                    <a:pt x="197895" y="0"/>
                  </a:lnTo>
                  <a:lnTo>
                    <a:pt x="197895" y="252273"/>
                  </a:lnTo>
                  <a:lnTo>
                    <a:pt x="164511" y="252273"/>
                  </a:lnTo>
                  <a:lnTo>
                    <a:pt x="164511" y="133364"/>
                  </a:lnTo>
                  <a:lnTo>
                    <a:pt x="33384" y="133364"/>
                  </a:lnTo>
                  <a:lnTo>
                    <a:pt x="33384" y="252273"/>
                  </a:lnTo>
                  <a:lnTo>
                    <a:pt x="0" y="252273"/>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49" name="TextBox 48">
              <a:extLst>
                <a:ext uri="{FF2B5EF4-FFF2-40B4-BE49-F238E27FC236}">
                  <a16:creationId xmlns:a16="http://schemas.microsoft.com/office/drawing/2014/main" id="{988EBD26-658A-E13A-38ED-225A9C5D187A}"/>
                </a:ext>
              </a:extLst>
            </p:cNvPr>
            <p:cNvSpPr txBox="1"/>
            <p:nvPr/>
          </p:nvSpPr>
          <p:spPr>
            <a:xfrm>
              <a:off x="7709840" y="-513220"/>
              <a:ext cx="222330" cy="252273"/>
            </a:xfrm>
            <a:custGeom>
              <a:avLst/>
              <a:gdLst/>
              <a:ahLst/>
              <a:cxnLst/>
              <a:rect l="l" t="t" r="r" b="b"/>
              <a:pathLst>
                <a:path w="222330" h="252273">
                  <a:moveTo>
                    <a:pt x="0" y="0"/>
                  </a:moveTo>
                  <a:lnTo>
                    <a:pt x="111853" y="0"/>
                  </a:lnTo>
                  <a:cubicBezTo>
                    <a:pt x="134339" y="0"/>
                    <a:pt x="151432" y="2266"/>
                    <a:pt x="163134" y="6797"/>
                  </a:cubicBezTo>
                  <a:cubicBezTo>
                    <a:pt x="174835" y="11329"/>
                    <a:pt x="184185" y="19331"/>
                    <a:pt x="191183" y="30803"/>
                  </a:cubicBezTo>
                  <a:cubicBezTo>
                    <a:pt x="198181" y="42275"/>
                    <a:pt x="201680" y="54952"/>
                    <a:pt x="201680" y="68833"/>
                  </a:cubicBezTo>
                  <a:cubicBezTo>
                    <a:pt x="201680" y="86730"/>
                    <a:pt x="195887" y="101816"/>
                    <a:pt x="184300" y="114091"/>
                  </a:cubicBezTo>
                  <a:cubicBezTo>
                    <a:pt x="172713" y="126366"/>
                    <a:pt x="154816" y="134167"/>
                    <a:pt x="130610" y="137494"/>
                  </a:cubicBezTo>
                  <a:cubicBezTo>
                    <a:pt x="139444" y="141739"/>
                    <a:pt x="146155" y="145926"/>
                    <a:pt x="150744" y="150056"/>
                  </a:cubicBezTo>
                  <a:cubicBezTo>
                    <a:pt x="160495" y="159004"/>
                    <a:pt x="169730" y="170190"/>
                    <a:pt x="178449" y="183612"/>
                  </a:cubicBezTo>
                  <a:lnTo>
                    <a:pt x="222330" y="252273"/>
                  </a:lnTo>
                  <a:lnTo>
                    <a:pt x="180342" y="252273"/>
                  </a:lnTo>
                  <a:lnTo>
                    <a:pt x="146958" y="199788"/>
                  </a:lnTo>
                  <a:cubicBezTo>
                    <a:pt x="137207" y="184645"/>
                    <a:pt x="129176" y="173058"/>
                    <a:pt x="122866" y="165027"/>
                  </a:cubicBezTo>
                  <a:cubicBezTo>
                    <a:pt x="116557" y="156997"/>
                    <a:pt x="110907" y="151375"/>
                    <a:pt x="105916" y="148163"/>
                  </a:cubicBezTo>
                  <a:cubicBezTo>
                    <a:pt x="100926" y="144951"/>
                    <a:pt x="95849" y="142714"/>
                    <a:pt x="90687" y="141452"/>
                  </a:cubicBezTo>
                  <a:cubicBezTo>
                    <a:pt x="86901" y="140649"/>
                    <a:pt x="80706" y="140247"/>
                    <a:pt x="72102" y="140247"/>
                  </a:cubicBezTo>
                  <a:lnTo>
                    <a:pt x="33384" y="140247"/>
                  </a:lnTo>
                  <a:lnTo>
                    <a:pt x="33384" y="252273"/>
                  </a:lnTo>
                  <a:lnTo>
                    <a:pt x="0" y="252273"/>
                  </a:lnTo>
                  <a:lnTo>
                    <a:pt x="0" y="0"/>
                  </a:lnTo>
                  <a:close/>
                  <a:moveTo>
                    <a:pt x="33384" y="27877"/>
                  </a:moveTo>
                  <a:lnTo>
                    <a:pt x="33384" y="111337"/>
                  </a:lnTo>
                  <a:lnTo>
                    <a:pt x="105142" y="111337"/>
                  </a:lnTo>
                  <a:cubicBezTo>
                    <a:pt x="120400" y="111337"/>
                    <a:pt x="132331" y="109760"/>
                    <a:pt x="140935" y="106605"/>
                  </a:cubicBezTo>
                  <a:cubicBezTo>
                    <a:pt x="149539" y="103450"/>
                    <a:pt x="156078" y="98403"/>
                    <a:pt x="160553" y="91462"/>
                  </a:cubicBezTo>
                  <a:cubicBezTo>
                    <a:pt x="165027" y="84521"/>
                    <a:pt x="167264" y="76978"/>
                    <a:pt x="167264" y="68833"/>
                  </a:cubicBezTo>
                  <a:cubicBezTo>
                    <a:pt x="167264" y="56902"/>
                    <a:pt x="162933" y="47093"/>
                    <a:pt x="154272" y="39407"/>
                  </a:cubicBezTo>
                  <a:cubicBezTo>
                    <a:pt x="145610" y="31721"/>
                    <a:pt x="131929" y="27877"/>
                    <a:pt x="113230" y="27877"/>
                  </a:cubicBezTo>
                  <a:lnTo>
                    <a:pt x="33384" y="27877"/>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50" name="TextBox 49">
              <a:extLst>
                <a:ext uri="{FF2B5EF4-FFF2-40B4-BE49-F238E27FC236}">
                  <a16:creationId xmlns:a16="http://schemas.microsoft.com/office/drawing/2014/main" id="{FCEE6E0D-390D-B733-7F16-1B53C99D63CB}"/>
                </a:ext>
              </a:extLst>
            </p:cNvPr>
            <p:cNvSpPr txBox="1"/>
            <p:nvPr/>
          </p:nvSpPr>
          <p:spPr>
            <a:xfrm>
              <a:off x="7989203" y="-513220"/>
              <a:ext cx="33384" cy="252273"/>
            </a:xfrm>
            <a:custGeom>
              <a:avLst/>
              <a:gdLst/>
              <a:ahLst/>
              <a:cxnLst/>
              <a:rect l="l" t="t" r="r" b="b"/>
              <a:pathLst>
                <a:path w="33384" h="252273">
                  <a:moveTo>
                    <a:pt x="0" y="0"/>
                  </a:moveTo>
                  <a:lnTo>
                    <a:pt x="33384" y="0"/>
                  </a:lnTo>
                  <a:lnTo>
                    <a:pt x="33384" y="252273"/>
                  </a:lnTo>
                  <a:lnTo>
                    <a:pt x="0" y="252273"/>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51" name="TextBox 50">
              <a:extLst>
                <a:ext uri="{FF2B5EF4-FFF2-40B4-BE49-F238E27FC236}">
                  <a16:creationId xmlns:a16="http://schemas.microsoft.com/office/drawing/2014/main" id="{110593F8-10B9-42A5-143F-0BC0BB04EB99}"/>
                </a:ext>
              </a:extLst>
            </p:cNvPr>
            <p:cNvSpPr txBox="1"/>
            <p:nvPr/>
          </p:nvSpPr>
          <p:spPr>
            <a:xfrm>
              <a:off x="8080086" y="-513220"/>
              <a:ext cx="199960" cy="252273"/>
            </a:xfrm>
            <a:custGeom>
              <a:avLst/>
              <a:gdLst/>
              <a:ahLst/>
              <a:cxnLst/>
              <a:rect l="l" t="t" r="r" b="b"/>
              <a:pathLst>
                <a:path w="199960" h="252273">
                  <a:moveTo>
                    <a:pt x="0" y="0"/>
                  </a:moveTo>
                  <a:lnTo>
                    <a:pt x="199960" y="0"/>
                  </a:lnTo>
                  <a:lnTo>
                    <a:pt x="199960" y="29770"/>
                  </a:lnTo>
                  <a:lnTo>
                    <a:pt x="116500" y="29770"/>
                  </a:lnTo>
                  <a:lnTo>
                    <a:pt x="116500" y="252273"/>
                  </a:lnTo>
                  <a:lnTo>
                    <a:pt x="83116" y="252273"/>
                  </a:lnTo>
                  <a:lnTo>
                    <a:pt x="83116" y="29770"/>
                  </a:lnTo>
                  <a:lnTo>
                    <a:pt x="0" y="29770"/>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52" name="TextBox 51">
              <a:extLst>
                <a:ext uri="{FF2B5EF4-FFF2-40B4-BE49-F238E27FC236}">
                  <a16:creationId xmlns:a16="http://schemas.microsoft.com/office/drawing/2014/main" id="{0E17D2D5-4621-FA30-E00E-2087EC55FA5D}"/>
                </a:ext>
              </a:extLst>
            </p:cNvPr>
            <p:cNvSpPr txBox="1"/>
            <p:nvPr/>
          </p:nvSpPr>
          <p:spPr>
            <a:xfrm>
              <a:off x="8307293" y="-513220"/>
              <a:ext cx="231278" cy="252273"/>
            </a:xfrm>
            <a:custGeom>
              <a:avLst/>
              <a:gdLst/>
              <a:ahLst/>
              <a:cxnLst/>
              <a:rect l="l" t="t" r="r" b="b"/>
              <a:pathLst>
                <a:path w="231278" h="252273">
                  <a:moveTo>
                    <a:pt x="0" y="0"/>
                  </a:moveTo>
                  <a:lnTo>
                    <a:pt x="40611" y="0"/>
                  </a:lnTo>
                  <a:lnTo>
                    <a:pt x="90343" y="76060"/>
                  </a:lnTo>
                  <a:cubicBezTo>
                    <a:pt x="99521" y="90286"/>
                    <a:pt x="108067" y="104511"/>
                    <a:pt x="115983" y="118737"/>
                  </a:cubicBezTo>
                  <a:cubicBezTo>
                    <a:pt x="123555" y="105544"/>
                    <a:pt x="132732" y="90687"/>
                    <a:pt x="143516" y="74168"/>
                  </a:cubicBezTo>
                  <a:lnTo>
                    <a:pt x="192388" y="0"/>
                  </a:lnTo>
                  <a:lnTo>
                    <a:pt x="231278" y="0"/>
                  </a:lnTo>
                  <a:lnTo>
                    <a:pt x="130610" y="145410"/>
                  </a:lnTo>
                  <a:lnTo>
                    <a:pt x="130610" y="252273"/>
                  </a:lnTo>
                  <a:lnTo>
                    <a:pt x="97226" y="252273"/>
                  </a:lnTo>
                  <a:lnTo>
                    <a:pt x="97226" y="145410"/>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53" name="TextBox 52">
              <a:extLst>
                <a:ext uri="{FF2B5EF4-FFF2-40B4-BE49-F238E27FC236}">
                  <a16:creationId xmlns:a16="http://schemas.microsoft.com/office/drawing/2014/main" id="{CD9863CD-3E75-D7E8-FF32-8CC5286A5925}"/>
                </a:ext>
              </a:extLst>
            </p:cNvPr>
            <p:cNvSpPr txBox="1"/>
            <p:nvPr/>
          </p:nvSpPr>
          <p:spPr>
            <a:xfrm>
              <a:off x="6350182" y="-304477"/>
              <a:ext cx="16717" cy="43530"/>
            </a:xfrm>
            <a:custGeom>
              <a:avLst/>
              <a:gdLst/>
              <a:ahLst/>
              <a:cxnLst/>
              <a:rect l="l" t="t" r="r" b="b"/>
              <a:pathLst>
                <a:path w="16717" h="43530">
                  <a:moveTo>
                    <a:pt x="16717" y="0"/>
                  </a:moveTo>
                  <a:lnTo>
                    <a:pt x="16717" y="43530"/>
                  </a:lnTo>
                  <a:lnTo>
                    <a:pt x="0" y="43530"/>
                  </a:lnTo>
                  <a:lnTo>
                    <a:pt x="16717"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54" name="TextBox 53">
              <a:extLst>
                <a:ext uri="{FF2B5EF4-FFF2-40B4-BE49-F238E27FC236}">
                  <a16:creationId xmlns:a16="http://schemas.microsoft.com/office/drawing/2014/main" id="{9EFFBC4F-E165-FCBC-83C9-74247090455C}"/>
                </a:ext>
              </a:extLst>
            </p:cNvPr>
            <p:cNvSpPr txBox="1"/>
            <p:nvPr/>
          </p:nvSpPr>
          <p:spPr>
            <a:xfrm>
              <a:off x="3671948" y="-262973"/>
              <a:ext cx="829" cy="2026"/>
            </a:xfrm>
            <a:custGeom>
              <a:avLst/>
              <a:gdLst/>
              <a:ahLst/>
              <a:cxnLst/>
              <a:rect l="l" t="t" r="r" b="b"/>
              <a:pathLst>
                <a:path w="829" h="2026">
                  <a:moveTo>
                    <a:pt x="0" y="0"/>
                  </a:moveTo>
                  <a:lnTo>
                    <a:pt x="829" y="2026"/>
                  </a:lnTo>
                  <a:lnTo>
                    <a:pt x="0" y="2026"/>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grpSp>
    </p:spTree>
    <p:extLst>
      <p:ext uri="{BB962C8B-B14F-4D97-AF65-F5344CB8AC3E}">
        <p14:creationId xmlns:p14="http://schemas.microsoft.com/office/powerpoint/2010/main" val="354096167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35672264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72212"/>
            <a:ext cx="6967728" cy="384721"/>
          </a:xfrm>
        </p:spPr>
        <p:txBody>
          <a:bodyPr vert="horz">
            <a:spAutoFit/>
          </a:bodyPr>
          <a:lstStyle>
            <a:lvl1pPr rtl="0">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FFE7E7"/>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5" y="637721"/>
            <a:ext cx="69677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8" name="Google Shape;64;p16">
            <a:extLst>
              <a:ext uri="{FF2B5EF4-FFF2-40B4-BE49-F238E27FC236}">
                <a16:creationId xmlns:a16="http://schemas.microsoft.com/office/drawing/2014/main" id="{CEFBBDFA-4D5B-75EB-1392-9F5B8F633198}"/>
              </a:ext>
            </a:extLst>
          </p:cNvPr>
          <p:cNvPicPr preferRelativeResize="0"/>
          <p:nvPr userDrawn="1"/>
        </p:nvPicPr>
        <p:blipFill rotWithShape="1">
          <a:blip r:embed="rId12" cstate="email">
            <a:alphaModFix/>
            <a:extLst>
              <a:ext uri="{28A0092B-C50C-407E-A947-70E740481C1C}">
                <a14:useLocalDpi xmlns:a14="http://schemas.microsoft.com/office/drawing/2010/main"/>
              </a:ext>
            </a:extLst>
          </a:blip>
          <a:srcRect/>
          <a:stretch/>
        </p:blipFill>
        <p:spPr bwMode="ltGray">
          <a:xfrm>
            <a:off x="10128282" y="-14875"/>
            <a:ext cx="2063718" cy="1950355"/>
          </a:xfrm>
          <a:prstGeom prst="rect">
            <a:avLst/>
          </a:prstGeom>
          <a:noFill/>
          <a:ln>
            <a:noFill/>
          </a:ln>
        </p:spPr>
      </p:pic>
      <p:grpSp>
        <p:nvGrpSpPr>
          <p:cNvPr id="2" name="Group 1">
            <a:extLst>
              <a:ext uri="{FF2B5EF4-FFF2-40B4-BE49-F238E27FC236}">
                <a16:creationId xmlns:a16="http://schemas.microsoft.com/office/drawing/2014/main" id="{B8C04E37-31CA-B3F1-DEF3-F6A9B8F36AA0}"/>
              </a:ext>
            </a:extLst>
          </p:cNvPr>
          <p:cNvGrpSpPr/>
          <p:nvPr userDrawn="1"/>
        </p:nvGrpSpPr>
        <p:grpSpPr>
          <a:xfrm>
            <a:off x="10644663" y="172212"/>
            <a:ext cx="1269969" cy="353548"/>
            <a:chOff x="-770028" y="-2797529"/>
            <a:chExt cx="9308599" cy="2591427"/>
          </a:xfrm>
        </p:grpSpPr>
        <p:sp>
          <p:nvSpPr>
            <p:cNvPr id="5" name="Freeform: Shape 4">
              <a:extLst>
                <a:ext uri="{FF2B5EF4-FFF2-40B4-BE49-F238E27FC236}">
                  <a16:creationId xmlns:a16="http://schemas.microsoft.com/office/drawing/2014/main" id="{5BA86B0E-7668-9A35-6978-079AB21313D8}"/>
                </a:ext>
              </a:extLst>
            </p:cNvPr>
            <p:cNvSpPr/>
            <p:nvPr/>
          </p:nvSpPr>
          <p:spPr>
            <a:xfrm>
              <a:off x="2457429" y="-1765355"/>
              <a:ext cx="687427" cy="1091288"/>
            </a:xfrm>
            <a:custGeom>
              <a:avLst/>
              <a:gdLst>
                <a:gd name="connsiteX0" fmla="*/ 687811 w 687427"/>
                <a:gd name="connsiteY0" fmla="*/ 1091442 h 1091288"/>
                <a:gd name="connsiteX1" fmla="*/ 569781 w 687427"/>
                <a:gd name="connsiteY1" fmla="*/ 1091442 h 1091288"/>
                <a:gd name="connsiteX2" fmla="*/ 430557 w 687427"/>
                <a:gd name="connsiteY2" fmla="*/ 1045722 h 1091288"/>
                <a:gd name="connsiteX3" fmla="*/ 370271 w 687427"/>
                <a:gd name="connsiteY3" fmla="*/ 931739 h 1091288"/>
                <a:gd name="connsiteX4" fmla="*/ 370271 w 687427"/>
                <a:gd name="connsiteY4" fmla="*/ 714490 h 1091288"/>
                <a:gd name="connsiteX5" fmla="*/ 346538 w 687427"/>
                <a:gd name="connsiteY5" fmla="*/ 612414 h 1091288"/>
                <a:gd name="connsiteX6" fmla="*/ 257043 w 687427"/>
                <a:gd name="connsiteY6" fmla="*/ 585029 h 1091288"/>
                <a:gd name="connsiteX7" fmla="*/ 218030 w 687427"/>
                <a:gd name="connsiteY7" fmla="*/ 585029 h 1091288"/>
                <a:gd name="connsiteX8" fmla="*/ 218030 w 687427"/>
                <a:gd name="connsiteY8" fmla="*/ 1091442 h 1091288"/>
                <a:gd name="connsiteX9" fmla="*/ 384 w 687427"/>
                <a:gd name="connsiteY9" fmla="*/ 1091442 h 1091288"/>
                <a:gd name="connsiteX10" fmla="*/ 384 w 687427"/>
                <a:gd name="connsiteY10" fmla="*/ 154 h 1091288"/>
                <a:gd name="connsiteX11" fmla="*/ 218030 w 687427"/>
                <a:gd name="connsiteY11" fmla="*/ 154 h 1091288"/>
                <a:gd name="connsiteX12" fmla="*/ 218030 w 687427"/>
                <a:gd name="connsiteY12" fmla="*/ 462911 h 1091288"/>
                <a:gd name="connsiteX13" fmla="*/ 272997 w 687427"/>
                <a:gd name="connsiteY13" fmla="*/ 464260 h 1091288"/>
                <a:gd name="connsiteX14" fmla="*/ 317368 w 687427"/>
                <a:gd name="connsiteY14" fmla="*/ 447710 h 1091288"/>
                <a:gd name="connsiteX15" fmla="*/ 338164 w 687427"/>
                <a:gd name="connsiteY15" fmla="*/ 356191 h 1091288"/>
                <a:gd name="connsiteX16" fmla="*/ 353563 w 687427"/>
                <a:gd name="connsiteY16" fmla="*/ 154 h 1091288"/>
                <a:gd name="connsiteX17" fmla="*/ 557874 w 687427"/>
                <a:gd name="connsiteY17" fmla="*/ 154 h 1091288"/>
                <a:gd name="connsiteX18" fmla="*/ 542436 w 687427"/>
                <a:gd name="connsiteY18" fmla="*/ 324441 h 1091288"/>
                <a:gd name="connsiteX19" fmla="*/ 506042 w 687427"/>
                <a:gd name="connsiteY19" fmla="*/ 437709 h 1091288"/>
                <a:gd name="connsiteX20" fmla="*/ 410118 w 687427"/>
                <a:gd name="connsiteY20" fmla="*/ 486207 h 1091288"/>
                <a:gd name="connsiteX21" fmla="*/ 536165 w 687427"/>
                <a:gd name="connsiteY21" fmla="*/ 544270 h 1091288"/>
                <a:gd name="connsiteX22" fmla="*/ 578988 w 687427"/>
                <a:gd name="connsiteY22" fmla="*/ 668175 h 1091288"/>
                <a:gd name="connsiteX23" fmla="*/ 578988 w 687427"/>
                <a:gd name="connsiteY23" fmla="*/ 829425 h 1091288"/>
                <a:gd name="connsiteX24" fmla="*/ 602364 w 687427"/>
                <a:gd name="connsiteY24" fmla="*/ 947575 h 1091288"/>
                <a:gd name="connsiteX25" fmla="*/ 687811 w 687427"/>
                <a:gd name="connsiteY25" fmla="*/ 968252 h 1091288"/>
                <a:gd name="connsiteX26" fmla="*/ 687811 w 687427"/>
                <a:gd name="connsiteY26" fmla="*/ 1091442 h 1091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87427" h="1091288">
                  <a:moveTo>
                    <a:pt x="687811" y="1091442"/>
                  </a:moveTo>
                  <a:lnTo>
                    <a:pt x="569781" y="1091442"/>
                  </a:lnTo>
                  <a:cubicBezTo>
                    <a:pt x="517115" y="1091442"/>
                    <a:pt x="470760" y="1076202"/>
                    <a:pt x="430557" y="1045722"/>
                  </a:cubicBezTo>
                  <a:cubicBezTo>
                    <a:pt x="390314" y="1015242"/>
                    <a:pt x="370271" y="977182"/>
                    <a:pt x="370271" y="931739"/>
                  </a:cubicBezTo>
                  <a:lnTo>
                    <a:pt x="370271" y="714490"/>
                  </a:lnTo>
                  <a:cubicBezTo>
                    <a:pt x="370271" y="664761"/>
                    <a:pt x="362294" y="630709"/>
                    <a:pt x="346538" y="612414"/>
                  </a:cubicBezTo>
                  <a:cubicBezTo>
                    <a:pt x="330743" y="594157"/>
                    <a:pt x="300898" y="585029"/>
                    <a:pt x="257043" y="585029"/>
                  </a:cubicBezTo>
                  <a:lnTo>
                    <a:pt x="218030" y="585029"/>
                  </a:lnTo>
                  <a:lnTo>
                    <a:pt x="218030" y="1091442"/>
                  </a:lnTo>
                  <a:lnTo>
                    <a:pt x="384" y="1091442"/>
                  </a:lnTo>
                  <a:lnTo>
                    <a:pt x="384" y="154"/>
                  </a:lnTo>
                  <a:lnTo>
                    <a:pt x="218030" y="154"/>
                  </a:lnTo>
                  <a:lnTo>
                    <a:pt x="218030" y="462911"/>
                  </a:lnTo>
                  <a:lnTo>
                    <a:pt x="272997" y="464260"/>
                  </a:lnTo>
                  <a:cubicBezTo>
                    <a:pt x="291293" y="464697"/>
                    <a:pt x="306057" y="459140"/>
                    <a:pt x="317368" y="447710"/>
                  </a:cubicBezTo>
                  <a:cubicBezTo>
                    <a:pt x="328639" y="436320"/>
                    <a:pt x="335584" y="405800"/>
                    <a:pt x="338164" y="356191"/>
                  </a:cubicBezTo>
                  <a:lnTo>
                    <a:pt x="353563" y="154"/>
                  </a:lnTo>
                  <a:lnTo>
                    <a:pt x="557874" y="154"/>
                  </a:lnTo>
                  <a:lnTo>
                    <a:pt x="542436" y="324441"/>
                  </a:lnTo>
                  <a:cubicBezTo>
                    <a:pt x="539539" y="377543"/>
                    <a:pt x="527355" y="415167"/>
                    <a:pt x="506042" y="437709"/>
                  </a:cubicBezTo>
                  <a:cubicBezTo>
                    <a:pt x="484770" y="460172"/>
                    <a:pt x="452782" y="476285"/>
                    <a:pt x="410118" y="486207"/>
                  </a:cubicBezTo>
                  <a:cubicBezTo>
                    <a:pt x="465561" y="493549"/>
                    <a:pt x="507551" y="512838"/>
                    <a:pt x="536165" y="544270"/>
                  </a:cubicBezTo>
                  <a:cubicBezTo>
                    <a:pt x="564740" y="575703"/>
                    <a:pt x="578988" y="617017"/>
                    <a:pt x="578988" y="668175"/>
                  </a:cubicBezTo>
                  <a:lnTo>
                    <a:pt x="578988" y="829425"/>
                  </a:lnTo>
                  <a:cubicBezTo>
                    <a:pt x="578988" y="894433"/>
                    <a:pt x="586807" y="933803"/>
                    <a:pt x="602364" y="947575"/>
                  </a:cubicBezTo>
                  <a:cubicBezTo>
                    <a:pt x="617922" y="961346"/>
                    <a:pt x="646417" y="968252"/>
                    <a:pt x="687811" y="968252"/>
                  </a:cubicBezTo>
                  <a:lnTo>
                    <a:pt x="687811" y="1091442"/>
                  </a:lnTo>
                  <a:close/>
                </a:path>
              </a:pathLst>
            </a:custGeom>
            <a:solidFill>
              <a:srgbClr val="007236"/>
            </a:solidFill>
            <a:ln w="39688" cap="flat">
              <a:noFill/>
              <a:prstDash val="solid"/>
              <a:round/>
            </a:ln>
          </p:spPr>
          <p:txBody>
            <a:bodyPr rtlCol="0" anchor="ctr"/>
            <a:lstStyle/>
            <a:p>
              <a:pPr rtl="0"/>
              <a:endParaRPr lang="en-US"/>
            </a:p>
          </p:txBody>
        </p:sp>
        <p:sp>
          <p:nvSpPr>
            <p:cNvPr id="6" name="Freeform: Shape 5">
              <a:extLst>
                <a:ext uri="{FF2B5EF4-FFF2-40B4-BE49-F238E27FC236}">
                  <a16:creationId xmlns:a16="http://schemas.microsoft.com/office/drawing/2014/main" id="{1A873206-DEC8-CA6C-620B-915EA4A14BD3}"/>
                </a:ext>
              </a:extLst>
            </p:cNvPr>
            <p:cNvSpPr/>
            <p:nvPr/>
          </p:nvSpPr>
          <p:spPr>
            <a:xfrm>
              <a:off x="3171844" y="-1521035"/>
              <a:ext cx="509826" cy="854829"/>
            </a:xfrm>
            <a:custGeom>
              <a:avLst/>
              <a:gdLst>
                <a:gd name="connsiteX0" fmla="*/ 341398 w 509826"/>
                <a:gd name="connsiteY0" fmla="*/ 319510 h 854829"/>
                <a:gd name="connsiteX1" fmla="*/ 329810 w 509826"/>
                <a:gd name="connsiteY1" fmla="*/ 169530 h 854829"/>
                <a:gd name="connsiteX2" fmla="*/ 276470 w 509826"/>
                <a:gd name="connsiteY2" fmla="*/ 129049 h 854829"/>
                <a:gd name="connsiteX3" fmla="*/ 224360 w 509826"/>
                <a:gd name="connsiteY3" fmla="*/ 164927 h 854829"/>
                <a:gd name="connsiteX4" fmla="*/ 212136 w 509826"/>
                <a:gd name="connsiteY4" fmla="*/ 319510 h 854829"/>
                <a:gd name="connsiteX5" fmla="*/ 341398 w 509826"/>
                <a:gd name="connsiteY5" fmla="*/ 319510 h 854829"/>
                <a:gd name="connsiteX6" fmla="*/ 510269 w 509826"/>
                <a:gd name="connsiteY6" fmla="*/ 439366 h 854829"/>
                <a:gd name="connsiteX7" fmla="*/ 211501 w 509826"/>
                <a:gd name="connsiteY7" fmla="*/ 439366 h 854829"/>
                <a:gd name="connsiteX8" fmla="*/ 225511 w 509826"/>
                <a:gd name="connsiteY8" fmla="*/ 675427 h 854829"/>
                <a:gd name="connsiteX9" fmla="*/ 284248 w 509826"/>
                <a:gd name="connsiteY9" fmla="*/ 726148 h 854829"/>
                <a:gd name="connsiteX10" fmla="*/ 328976 w 509826"/>
                <a:gd name="connsiteY10" fmla="*/ 706979 h 854829"/>
                <a:gd name="connsiteX11" fmla="*/ 343661 w 509826"/>
                <a:gd name="connsiteY11" fmla="*/ 639907 h 854829"/>
                <a:gd name="connsiteX12" fmla="*/ 490227 w 509826"/>
                <a:gd name="connsiteY12" fmla="*/ 639907 h 854829"/>
                <a:gd name="connsiteX13" fmla="*/ 434545 w 509826"/>
                <a:gd name="connsiteY13" fmla="*/ 802705 h 854829"/>
                <a:gd name="connsiteX14" fmla="*/ 262301 w 509826"/>
                <a:gd name="connsiteY14" fmla="*/ 855013 h 854829"/>
                <a:gd name="connsiteX15" fmla="*/ 67038 w 509826"/>
                <a:gd name="connsiteY15" fmla="*/ 747301 h 854829"/>
                <a:gd name="connsiteX16" fmla="*/ 443 w 509826"/>
                <a:gd name="connsiteY16" fmla="*/ 426904 h 854829"/>
                <a:gd name="connsiteX17" fmla="*/ 69618 w 509826"/>
                <a:gd name="connsiteY17" fmla="*/ 107856 h 854829"/>
                <a:gd name="connsiteX18" fmla="*/ 277819 w 509826"/>
                <a:gd name="connsiteY18" fmla="*/ 184 h 854829"/>
                <a:gd name="connsiteX19" fmla="*/ 453833 w 509826"/>
                <a:gd name="connsiteY19" fmla="*/ 86425 h 854829"/>
                <a:gd name="connsiteX20" fmla="*/ 510269 w 509826"/>
                <a:gd name="connsiteY20" fmla="*/ 345068 h 854829"/>
                <a:gd name="connsiteX21" fmla="*/ 510269 w 509826"/>
                <a:gd name="connsiteY21" fmla="*/ 439366 h 854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09826" h="854829">
                  <a:moveTo>
                    <a:pt x="341398" y="319510"/>
                  </a:moveTo>
                  <a:cubicBezTo>
                    <a:pt x="341398" y="246485"/>
                    <a:pt x="337588" y="196478"/>
                    <a:pt x="329810" y="169530"/>
                  </a:cubicBezTo>
                  <a:cubicBezTo>
                    <a:pt x="322071" y="142503"/>
                    <a:pt x="304330" y="129049"/>
                    <a:pt x="276470" y="129049"/>
                  </a:cubicBezTo>
                  <a:cubicBezTo>
                    <a:pt x="249879" y="129049"/>
                    <a:pt x="232496" y="140955"/>
                    <a:pt x="224360" y="164927"/>
                  </a:cubicBezTo>
                  <a:cubicBezTo>
                    <a:pt x="216224" y="188938"/>
                    <a:pt x="212136" y="240412"/>
                    <a:pt x="212136" y="319510"/>
                  </a:cubicBezTo>
                  <a:lnTo>
                    <a:pt x="341398" y="319510"/>
                  </a:lnTo>
                  <a:close/>
                  <a:moveTo>
                    <a:pt x="510269" y="439366"/>
                  </a:moveTo>
                  <a:lnTo>
                    <a:pt x="211501" y="439366"/>
                  </a:lnTo>
                  <a:cubicBezTo>
                    <a:pt x="211501" y="562953"/>
                    <a:pt x="216145" y="641574"/>
                    <a:pt x="225511" y="675427"/>
                  </a:cubicBezTo>
                  <a:cubicBezTo>
                    <a:pt x="234877" y="709241"/>
                    <a:pt x="254483" y="726148"/>
                    <a:pt x="284248" y="726148"/>
                  </a:cubicBezTo>
                  <a:cubicBezTo>
                    <a:pt x="304291" y="726148"/>
                    <a:pt x="319213" y="719719"/>
                    <a:pt x="328976" y="706979"/>
                  </a:cubicBezTo>
                  <a:cubicBezTo>
                    <a:pt x="338779" y="694081"/>
                    <a:pt x="343661" y="671697"/>
                    <a:pt x="343661" y="639907"/>
                  </a:cubicBezTo>
                  <a:lnTo>
                    <a:pt x="490227" y="639907"/>
                  </a:lnTo>
                  <a:cubicBezTo>
                    <a:pt x="490227" y="713567"/>
                    <a:pt x="471772" y="767820"/>
                    <a:pt x="434545" y="802705"/>
                  </a:cubicBezTo>
                  <a:cubicBezTo>
                    <a:pt x="397397" y="837551"/>
                    <a:pt x="340009" y="855013"/>
                    <a:pt x="262301" y="855013"/>
                  </a:cubicBezTo>
                  <a:cubicBezTo>
                    <a:pt x="176536" y="855013"/>
                    <a:pt x="111449" y="819096"/>
                    <a:pt x="67038" y="747301"/>
                  </a:cubicBezTo>
                  <a:cubicBezTo>
                    <a:pt x="22668" y="675546"/>
                    <a:pt x="443" y="568747"/>
                    <a:pt x="443" y="426904"/>
                  </a:cubicBezTo>
                  <a:cubicBezTo>
                    <a:pt x="443" y="285974"/>
                    <a:pt x="23541" y="179611"/>
                    <a:pt x="69618" y="107856"/>
                  </a:cubicBezTo>
                  <a:cubicBezTo>
                    <a:pt x="115735" y="36061"/>
                    <a:pt x="185109" y="184"/>
                    <a:pt x="277819" y="184"/>
                  </a:cubicBezTo>
                  <a:cubicBezTo>
                    <a:pt x="357591" y="184"/>
                    <a:pt x="416328" y="28917"/>
                    <a:pt x="453833" y="86425"/>
                  </a:cubicBezTo>
                  <a:cubicBezTo>
                    <a:pt x="491457" y="143892"/>
                    <a:pt x="510269" y="230133"/>
                    <a:pt x="510269" y="345068"/>
                  </a:cubicBezTo>
                  <a:lnTo>
                    <a:pt x="510269" y="439366"/>
                  </a:lnTo>
                  <a:close/>
                </a:path>
              </a:pathLst>
            </a:custGeom>
            <a:solidFill>
              <a:srgbClr val="007236"/>
            </a:solidFill>
            <a:ln w="39688" cap="flat">
              <a:noFill/>
              <a:prstDash val="solid"/>
              <a:round/>
            </a:ln>
          </p:spPr>
          <p:txBody>
            <a:bodyPr rtlCol="0" anchor="ctr"/>
            <a:lstStyle/>
            <a:p>
              <a:pPr rtl="0"/>
              <a:endParaRPr lang="en-US"/>
            </a:p>
          </p:txBody>
        </p:sp>
        <p:sp>
          <p:nvSpPr>
            <p:cNvPr id="13" name="Freeform: Shape 12">
              <a:extLst>
                <a:ext uri="{FF2B5EF4-FFF2-40B4-BE49-F238E27FC236}">
                  <a16:creationId xmlns:a16="http://schemas.microsoft.com/office/drawing/2014/main" id="{6998F818-8D82-6A85-A7D2-C0DA2F773D9C}"/>
                </a:ext>
              </a:extLst>
            </p:cNvPr>
            <p:cNvSpPr/>
            <p:nvPr/>
          </p:nvSpPr>
          <p:spPr>
            <a:xfrm>
              <a:off x="3776682" y="-1521039"/>
              <a:ext cx="545267" cy="846971"/>
            </a:xfrm>
            <a:custGeom>
              <a:avLst/>
              <a:gdLst>
                <a:gd name="connsiteX0" fmla="*/ 545780 w 545267"/>
                <a:gd name="connsiteY0" fmla="*/ 847142 h 846971"/>
                <a:gd name="connsiteX1" fmla="*/ 341429 w 545267"/>
                <a:gd name="connsiteY1" fmla="*/ 847142 h 846971"/>
                <a:gd name="connsiteX2" fmla="*/ 341429 w 545267"/>
                <a:gd name="connsiteY2" fmla="*/ 208688 h 846971"/>
                <a:gd name="connsiteX3" fmla="*/ 321982 w 545267"/>
                <a:gd name="connsiteY3" fmla="*/ 154316 h 846971"/>
                <a:gd name="connsiteX4" fmla="*/ 268920 w 545267"/>
                <a:gd name="connsiteY4" fmla="*/ 136854 h 846971"/>
                <a:gd name="connsiteX5" fmla="*/ 235542 w 545267"/>
                <a:gd name="connsiteY5" fmla="*/ 139791 h 846971"/>
                <a:gd name="connsiteX6" fmla="*/ 204824 w 545267"/>
                <a:gd name="connsiteY6" fmla="*/ 147808 h 846971"/>
                <a:gd name="connsiteX7" fmla="*/ 204824 w 545267"/>
                <a:gd name="connsiteY7" fmla="*/ 847142 h 846971"/>
                <a:gd name="connsiteX8" fmla="*/ 513 w 545267"/>
                <a:gd name="connsiteY8" fmla="*/ 847142 h 846971"/>
                <a:gd name="connsiteX9" fmla="*/ 513 w 545267"/>
                <a:gd name="connsiteY9" fmla="*/ 11282 h 846971"/>
                <a:gd name="connsiteX10" fmla="*/ 168153 w 545267"/>
                <a:gd name="connsiteY10" fmla="*/ 11282 h 846971"/>
                <a:gd name="connsiteX11" fmla="*/ 180456 w 545267"/>
                <a:gd name="connsiteY11" fmla="*/ 47279 h 846971"/>
                <a:gd name="connsiteX12" fmla="*/ 261062 w 545267"/>
                <a:gd name="connsiteY12" fmla="*/ 10806 h 846971"/>
                <a:gd name="connsiteX13" fmla="*/ 347422 w 545267"/>
                <a:gd name="connsiteY13" fmla="*/ 170 h 846971"/>
                <a:gd name="connsiteX14" fmla="*/ 493472 w 545267"/>
                <a:gd name="connsiteY14" fmla="*/ 52200 h 846971"/>
                <a:gd name="connsiteX15" fmla="*/ 545780 w 545267"/>
                <a:gd name="connsiteY15" fmla="*/ 200592 h 846971"/>
                <a:gd name="connsiteX16" fmla="*/ 545780 w 545267"/>
                <a:gd name="connsiteY16" fmla="*/ 847142 h 846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45267" h="846971">
                  <a:moveTo>
                    <a:pt x="545780" y="847142"/>
                  </a:moveTo>
                  <a:lnTo>
                    <a:pt x="341429" y="847142"/>
                  </a:lnTo>
                  <a:lnTo>
                    <a:pt x="341429" y="208688"/>
                  </a:lnTo>
                  <a:cubicBezTo>
                    <a:pt x="341429" y="184042"/>
                    <a:pt x="334960" y="165945"/>
                    <a:pt x="321982" y="154316"/>
                  </a:cubicBezTo>
                  <a:cubicBezTo>
                    <a:pt x="309083" y="142648"/>
                    <a:pt x="291343" y="136854"/>
                    <a:pt x="268920" y="136854"/>
                  </a:cubicBezTo>
                  <a:cubicBezTo>
                    <a:pt x="258958" y="136854"/>
                    <a:pt x="247885" y="137767"/>
                    <a:pt x="235542" y="139791"/>
                  </a:cubicBezTo>
                  <a:cubicBezTo>
                    <a:pt x="223239" y="141656"/>
                    <a:pt x="213000" y="144355"/>
                    <a:pt x="204824" y="147808"/>
                  </a:cubicBezTo>
                  <a:lnTo>
                    <a:pt x="204824" y="847142"/>
                  </a:lnTo>
                  <a:lnTo>
                    <a:pt x="513" y="847142"/>
                  </a:lnTo>
                  <a:lnTo>
                    <a:pt x="513" y="11282"/>
                  </a:lnTo>
                  <a:lnTo>
                    <a:pt x="168153" y="11282"/>
                  </a:lnTo>
                  <a:lnTo>
                    <a:pt x="180456" y="47279"/>
                  </a:lnTo>
                  <a:cubicBezTo>
                    <a:pt x="209190" y="30134"/>
                    <a:pt x="236019" y="17910"/>
                    <a:pt x="261062" y="10806"/>
                  </a:cubicBezTo>
                  <a:cubicBezTo>
                    <a:pt x="286065" y="3662"/>
                    <a:pt x="314878" y="170"/>
                    <a:pt x="347422" y="170"/>
                  </a:cubicBezTo>
                  <a:cubicBezTo>
                    <a:pt x="409850" y="170"/>
                    <a:pt x="458547" y="17474"/>
                    <a:pt x="493472" y="52200"/>
                  </a:cubicBezTo>
                  <a:cubicBezTo>
                    <a:pt x="528357" y="86887"/>
                    <a:pt x="545780" y="136377"/>
                    <a:pt x="545780" y="200592"/>
                  </a:cubicBezTo>
                  <a:lnTo>
                    <a:pt x="545780" y="847142"/>
                  </a:lnTo>
                  <a:close/>
                </a:path>
              </a:pathLst>
            </a:custGeom>
            <a:solidFill>
              <a:srgbClr val="007236"/>
            </a:solidFill>
            <a:ln w="39688" cap="flat">
              <a:noFill/>
              <a:prstDash val="solid"/>
              <a:round/>
            </a:ln>
          </p:spPr>
          <p:txBody>
            <a:bodyPr rtlCol="0" anchor="ctr"/>
            <a:lstStyle/>
            <a:p>
              <a:pPr rtl="0"/>
              <a:endParaRPr lang="en-US"/>
            </a:p>
          </p:txBody>
        </p:sp>
        <p:sp>
          <p:nvSpPr>
            <p:cNvPr id="14" name="Freeform: Shape 13">
              <a:extLst>
                <a:ext uri="{FF2B5EF4-FFF2-40B4-BE49-F238E27FC236}">
                  <a16:creationId xmlns:a16="http://schemas.microsoft.com/office/drawing/2014/main" id="{04C0874E-5ABA-34B4-7050-E73A471E034C}"/>
                </a:ext>
              </a:extLst>
            </p:cNvPr>
            <p:cNvSpPr/>
            <p:nvPr/>
          </p:nvSpPr>
          <p:spPr>
            <a:xfrm rot="10800000" flipV="1">
              <a:off x="4477405" y="-1765343"/>
              <a:ext cx="217686" cy="1091288"/>
            </a:xfrm>
            <a:custGeom>
              <a:avLst/>
              <a:gdLst>
                <a:gd name="connsiteX0" fmla="*/ 417 w 217686"/>
                <a:gd name="connsiteY0" fmla="*/ 129 h 1091288"/>
                <a:gd name="connsiteX1" fmla="*/ 218103 w 217686"/>
                <a:gd name="connsiteY1" fmla="*/ 129 h 1091288"/>
                <a:gd name="connsiteX2" fmla="*/ 218103 w 217686"/>
                <a:gd name="connsiteY2" fmla="*/ 1091417 h 1091288"/>
                <a:gd name="connsiteX3" fmla="*/ 417 w 217686"/>
                <a:gd name="connsiteY3" fmla="*/ 1091417 h 1091288"/>
              </a:gdLst>
              <a:ahLst/>
              <a:cxnLst>
                <a:cxn ang="0">
                  <a:pos x="connsiteX0" y="connsiteY0"/>
                </a:cxn>
                <a:cxn ang="0">
                  <a:pos x="connsiteX1" y="connsiteY1"/>
                </a:cxn>
                <a:cxn ang="0">
                  <a:pos x="connsiteX2" y="connsiteY2"/>
                </a:cxn>
                <a:cxn ang="0">
                  <a:pos x="connsiteX3" y="connsiteY3"/>
                </a:cxn>
              </a:cxnLst>
              <a:rect l="l" t="t" r="r" b="b"/>
              <a:pathLst>
                <a:path w="217686" h="1091288">
                  <a:moveTo>
                    <a:pt x="417" y="129"/>
                  </a:moveTo>
                  <a:lnTo>
                    <a:pt x="218103" y="129"/>
                  </a:lnTo>
                  <a:lnTo>
                    <a:pt x="218103" y="1091417"/>
                  </a:lnTo>
                  <a:lnTo>
                    <a:pt x="417" y="1091417"/>
                  </a:lnTo>
                  <a:close/>
                </a:path>
              </a:pathLst>
            </a:custGeom>
            <a:solidFill>
              <a:srgbClr val="DA2128"/>
            </a:solidFill>
            <a:ln w="39688" cap="flat">
              <a:noFill/>
              <a:prstDash val="solid"/>
              <a:round/>
            </a:ln>
          </p:spPr>
          <p:txBody>
            <a:bodyPr rtlCol="0" anchor="ctr"/>
            <a:lstStyle/>
            <a:p>
              <a:pPr rtl="0"/>
              <a:endParaRPr lang="en-US"/>
            </a:p>
          </p:txBody>
        </p:sp>
        <p:sp>
          <p:nvSpPr>
            <p:cNvPr id="15" name="Freeform: Shape 14">
              <a:extLst>
                <a:ext uri="{FF2B5EF4-FFF2-40B4-BE49-F238E27FC236}">
                  <a16:creationId xmlns:a16="http://schemas.microsoft.com/office/drawing/2014/main" id="{B057DFF8-C62A-6CB1-96D2-3467D5A882C5}"/>
                </a:ext>
              </a:extLst>
            </p:cNvPr>
            <p:cNvSpPr/>
            <p:nvPr/>
          </p:nvSpPr>
          <p:spPr>
            <a:xfrm>
              <a:off x="4852175" y="-1521039"/>
              <a:ext cx="545306" cy="846971"/>
            </a:xfrm>
            <a:custGeom>
              <a:avLst/>
              <a:gdLst>
                <a:gd name="connsiteX0" fmla="*/ 545932 w 545306"/>
                <a:gd name="connsiteY0" fmla="*/ 847142 h 846971"/>
                <a:gd name="connsiteX1" fmla="*/ 341581 w 545306"/>
                <a:gd name="connsiteY1" fmla="*/ 847142 h 846971"/>
                <a:gd name="connsiteX2" fmla="*/ 341581 w 545306"/>
                <a:gd name="connsiteY2" fmla="*/ 208688 h 846971"/>
                <a:gd name="connsiteX3" fmla="*/ 322174 w 545306"/>
                <a:gd name="connsiteY3" fmla="*/ 154316 h 846971"/>
                <a:gd name="connsiteX4" fmla="*/ 269072 w 545306"/>
                <a:gd name="connsiteY4" fmla="*/ 136854 h 846971"/>
                <a:gd name="connsiteX5" fmla="*/ 235735 w 545306"/>
                <a:gd name="connsiteY5" fmla="*/ 139791 h 846971"/>
                <a:gd name="connsiteX6" fmla="*/ 204937 w 545306"/>
                <a:gd name="connsiteY6" fmla="*/ 147808 h 846971"/>
                <a:gd name="connsiteX7" fmla="*/ 204937 w 545306"/>
                <a:gd name="connsiteY7" fmla="*/ 847142 h 846971"/>
                <a:gd name="connsiteX8" fmla="*/ 626 w 545306"/>
                <a:gd name="connsiteY8" fmla="*/ 847142 h 846971"/>
                <a:gd name="connsiteX9" fmla="*/ 626 w 545306"/>
                <a:gd name="connsiteY9" fmla="*/ 11282 h 846971"/>
                <a:gd name="connsiteX10" fmla="*/ 168306 w 545306"/>
                <a:gd name="connsiteY10" fmla="*/ 11282 h 846971"/>
                <a:gd name="connsiteX11" fmla="*/ 180648 w 545306"/>
                <a:gd name="connsiteY11" fmla="*/ 47279 h 846971"/>
                <a:gd name="connsiteX12" fmla="*/ 261174 w 545306"/>
                <a:gd name="connsiteY12" fmla="*/ 10806 h 846971"/>
                <a:gd name="connsiteX13" fmla="*/ 347534 w 545306"/>
                <a:gd name="connsiteY13" fmla="*/ 170 h 846971"/>
                <a:gd name="connsiteX14" fmla="*/ 493624 w 545306"/>
                <a:gd name="connsiteY14" fmla="*/ 52200 h 846971"/>
                <a:gd name="connsiteX15" fmla="*/ 545932 w 545306"/>
                <a:gd name="connsiteY15" fmla="*/ 200592 h 846971"/>
                <a:gd name="connsiteX16" fmla="*/ 545932 w 545306"/>
                <a:gd name="connsiteY16" fmla="*/ 847142 h 846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45306" h="846971">
                  <a:moveTo>
                    <a:pt x="545932" y="847142"/>
                  </a:moveTo>
                  <a:lnTo>
                    <a:pt x="341581" y="847142"/>
                  </a:lnTo>
                  <a:lnTo>
                    <a:pt x="341581" y="208688"/>
                  </a:lnTo>
                  <a:cubicBezTo>
                    <a:pt x="341581" y="184042"/>
                    <a:pt x="335112" y="165945"/>
                    <a:pt x="322174" y="154316"/>
                  </a:cubicBezTo>
                  <a:cubicBezTo>
                    <a:pt x="309276" y="142648"/>
                    <a:pt x="291535" y="136854"/>
                    <a:pt x="269072" y="136854"/>
                  </a:cubicBezTo>
                  <a:cubicBezTo>
                    <a:pt x="259150" y="136854"/>
                    <a:pt x="247998" y="137767"/>
                    <a:pt x="235735" y="139791"/>
                  </a:cubicBezTo>
                  <a:cubicBezTo>
                    <a:pt x="223432" y="141656"/>
                    <a:pt x="213152" y="144355"/>
                    <a:pt x="204937" y="147808"/>
                  </a:cubicBezTo>
                  <a:lnTo>
                    <a:pt x="204937" y="847142"/>
                  </a:lnTo>
                  <a:lnTo>
                    <a:pt x="626" y="847142"/>
                  </a:lnTo>
                  <a:lnTo>
                    <a:pt x="626" y="11282"/>
                  </a:lnTo>
                  <a:lnTo>
                    <a:pt x="168306" y="11282"/>
                  </a:lnTo>
                  <a:lnTo>
                    <a:pt x="180648" y="47279"/>
                  </a:lnTo>
                  <a:cubicBezTo>
                    <a:pt x="209263" y="30134"/>
                    <a:pt x="236092" y="17910"/>
                    <a:pt x="261174" y="10806"/>
                  </a:cubicBezTo>
                  <a:cubicBezTo>
                    <a:pt x="286217" y="3662"/>
                    <a:pt x="315030" y="170"/>
                    <a:pt x="347534" y="170"/>
                  </a:cubicBezTo>
                  <a:cubicBezTo>
                    <a:pt x="410042" y="170"/>
                    <a:pt x="458739" y="17474"/>
                    <a:pt x="493624" y="52200"/>
                  </a:cubicBezTo>
                  <a:cubicBezTo>
                    <a:pt x="528510" y="86887"/>
                    <a:pt x="545932" y="136377"/>
                    <a:pt x="545932" y="200592"/>
                  </a:cubicBezTo>
                  <a:lnTo>
                    <a:pt x="545932" y="847142"/>
                  </a:lnTo>
                  <a:close/>
                </a:path>
              </a:pathLst>
            </a:custGeom>
            <a:solidFill>
              <a:srgbClr val="DA2128"/>
            </a:solidFill>
            <a:ln w="39688" cap="flat">
              <a:noFill/>
              <a:prstDash val="solid"/>
              <a:round/>
            </a:ln>
          </p:spPr>
          <p:txBody>
            <a:bodyPr rtlCol="0" anchor="ctr"/>
            <a:lstStyle/>
            <a:p>
              <a:pPr rtl="0"/>
              <a:endParaRPr lang="en-US"/>
            </a:p>
          </p:txBody>
        </p:sp>
        <p:sp>
          <p:nvSpPr>
            <p:cNvPr id="16" name="Freeform: Shape 15">
              <a:extLst>
                <a:ext uri="{FF2B5EF4-FFF2-40B4-BE49-F238E27FC236}">
                  <a16:creationId xmlns:a16="http://schemas.microsoft.com/office/drawing/2014/main" id="{B1DB4DF1-000F-0759-2901-A3B9BBC89101}"/>
                </a:ext>
              </a:extLst>
            </p:cNvPr>
            <p:cNvSpPr/>
            <p:nvPr/>
          </p:nvSpPr>
          <p:spPr>
            <a:xfrm>
              <a:off x="5503011" y="-1509922"/>
              <a:ext cx="545306" cy="835859"/>
            </a:xfrm>
            <a:custGeom>
              <a:avLst/>
              <a:gdLst>
                <a:gd name="connsiteX0" fmla="*/ 546001 w 545306"/>
                <a:gd name="connsiteY0" fmla="*/ 470517 h 835859"/>
                <a:gd name="connsiteX1" fmla="*/ 535801 w 545306"/>
                <a:gd name="connsiteY1" fmla="*/ 551519 h 835859"/>
                <a:gd name="connsiteX2" fmla="*/ 501709 w 545306"/>
                <a:gd name="connsiteY2" fmla="*/ 612519 h 835859"/>
                <a:gd name="connsiteX3" fmla="*/ 322719 w 545306"/>
                <a:gd name="connsiteY3" fmla="*/ 836039 h 835859"/>
                <a:gd name="connsiteX4" fmla="*/ 223976 w 545306"/>
                <a:gd name="connsiteY4" fmla="*/ 836039 h 835859"/>
                <a:gd name="connsiteX5" fmla="*/ 694 w 545306"/>
                <a:gd name="connsiteY5" fmla="*/ 571204 h 835859"/>
                <a:gd name="connsiteX6" fmla="*/ 694 w 545306"/>
                <a:gd name="connsiteY6" fmla="*/ 180 h 835859"/>
                <a:gd name="connsiteX7" fmla="*/ 205045 w 545306"/>
                <a:gd name="connsiteY7" fmla="*/ 180 h 835859"/>
                <a:gd name="connsiteX8" fmla="*/ 205045 w 545306"/>
                <a:gd name="connsiteY8" fmla="*/ 584738 h 835859"/>
                <a:gd name="connsiteX9" fmla="*/ 297200 w 545306"/>
                <a:gd name="connsiteY9" fmla="*/ 697172 h 835859"/>
                <a:gd name="connsiteX10" fmla="*/ 341689 w 545306"/>
                <a:gd name="connsiteY10" fmla="*/ 635180 h 835859"/>
                <a:gd name="connsiteX11" fmla="*/ 341689 w 545306"/>
                <a:gd name="connsiteY11" fmla="*/ 180 h 835859"/>
                <a:gd name="connsiteX12" fmla="*/ 546001 w 545306"/>
                <a:gd name="connsiteY12" fmla="*/ 180 h 835859"/>
                <a:gd name="connsiteX13" fmla="*/ 546001 w 545306"/>
                <a:gd name="connsiteY13" fmla="*/ 470517 h 835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45306" h="835859">
                  <a:moveTo>
                    <a:pt x="546001" y="470517"/>
                  </a:moveTo>
                  <a:cubicBezTo>
                    <a:pt x="546001" y="503656"/>
                    <a:pt x="542588" y="530683"/>
                    <a:pt x="535801" y="551519"/>
                  </a:cubicBezTo>
                  <a:cubicBezTo>
                    <a:pt x="528895" y="572474"/>
                    <a:pt x="517585" y="592834"/>
                    <a:pt x="501709" y="612519"/>
                  </a:cubicBezTo>
                  <a:lnTo>
                    <a:pt x="322719" y="836039"/>
                  </a:lnTo>
                  <a:lnTo>
                    <a:pt x="223976" y="836039"/>
                  </a:lnTo>
                  <a:lnTo>
                    <a:pt x="694" y="571204"/>
                  </a:lnTo>
                  <a:lnTo>
                    <a:pt x="694" y="180"/>
                  </a:lnTo>
                  <a:lnTo>
                    <a:pt x="205045" y="180"/>
                  </a:lnTo>
                  <a:lnTo>
                    <a:pt x="205045" y="584738"/>
                  </a:lnTo>
                  <a:lnTo>
                    <a:pt x="297200" y="697172"/>
                  </a:lnTo>
                  <a:lnTo>
                    <a:pt x="341689" y="635180"/>
                  </a:lnTo>
                  <a:lnTo>
                    <a:pt x="341689" y="180"/>
                  </a:lnTo>
                  <a:lnTo>
                    <a:pt x="546001" y="180"/>
                  </a:lnTo>
                  <a:lnTo>
                    <a:pt x="546001" y="470517"/>
                  </a:lnTo>
                  <a:close/>
                </a:path>
              </a:pathLst>
            </a:custGeom>
            <a:solidFill>
              <a:srgbClr val="DA2128"/>
            </a:solidFill>
            <a:ln w="39688" cap="flat">
              <a:noFill/>
              <a:prstDash val="solid"/>
              <a:round/>
            </a:ln>
          </p:spPr>
          <p:txBody>
            <a:bodyPr rtlCol="0" anchor="ctr"/>
            <a:lstStyle/>
            <a:p>
              <a:pPr rtl="0"/>
              <a:endParaRPr lang="en-US"/>
            </a:p>
          </p:txBody>
        </p:sp>
        <p:sp>
          <p:nvSpPr>
            <p:cNvPr id="18" name="Freeform: Shape 17">
              <a:extLst>
                <a:ext uri="{FF2B5EF4-FFF2-40B4-BE49-F238E27FC236}">
                  <a16:creationId xmlns:a16="http://schemas.microsoft.com/office/drawing/2014/main" id="{2435B57B-D60F-1426-ECF3-AC87BF950C84}"/>
                </a:ext>
              </a:extLst>
            </p:cNvPr>
            <p:cNvSpPr/>
            <p:nvPr/>
          </p:nvSpPr>
          <p:spPr>
            <a:xfrm>
              <a:off x="6133249" y="-1521035"/>
              <a:ext cx="509706" cy="854829"/>
            </a:xfrm>
            <a:custGeom>
              <a:avLst/>
              <a:gdLst>
                <a:gd name="connsiteX0" fmla="*/ 341630 w 509706"/>
                <a:gd name="connsiteY0" fmla="*/ 319510 h 854829"/>
                <a:gd name="connsiteX1" fmla="*/ 330081 w 509706"/>
                <a:gd name="connsiteY1" fmla="*/ 169530 h 854829"/>
                <a:gd name="connsiteX2" fmla="*/ 276701 w 509706"/>
                <a:gd name="connsiteY2" fmla="*/ 129049 h 854829"/>
                <a:gd name="connsiteX3" fmla="*/ 224591 w 509706"/>
                <a:gd name="connsiteY3" fmla="*/ 164927 h 854829"/>
                <a:gd name="connsiteX4" fmla="*/ 212368 w 509706"/>
                <a:gd name="connsiteY4" fmla="*/ 319510 h 854829"/>
                <a:gd name="connsiteX5" fmla="*/ 341630 w 509706"/>
                <a:gd name="connsiteY5" fmla="*/ 319510 h 854829"/>
                <a:gd name="connsiteX6" fmla="*/ 510461 w 509706"/>
                <a:gd name="connsiteY6" fmla="*/ 439366 h 854829"/>
                <a:gd name="connsiteX7" fmla="*/ 211693 w 509706"/>
                <a:gd name="connsiteY7" fmla="*/ 439366 h 854829"/>
                <a:gd name="connsiteX8" fmla="*/ 225703 w 509706"/>
                <a:gd name="connsiteY8" fmla="*/ 675427 h 854829"/>
                <a:gd name="connsiteX9" fmla="*/ 284440 w 509706"/>
                <a:gd name="connsiteY9" fmla="*/ 726148 h 854829"/>
                <a:gd name="connsiteX10" fmla="*/ 329208 w 509706"/>
                <a:gd name="connsiteY10" fmla="*/ 706979 h 854829"/>
                <a:gd name="connsiteX11" fmla="*/ 343892 w 509706"/>
                <a:gd name="connsiteY11" fmla="*/ 639907 h 854829"/>
                <a:gd name="connsiteX12" fmla="*/ 490538 w 509706"/>
                <a:gd name="connsiteY12" fmla="*/ 639907 h 854829"/>
                <a:gd name="connsiteX13" fmla="*/ 434777 w 509706"/>
                <a:gd name="connsiteY13" fmla="*/ 802705 h 854829"/>
                <a:gd name="connsiteX14" fmla="*/ 262612 w 509706"/>
                <a:gd name="connsiteY14" fmla="*/ 855013 h 854829"/>
                <a:gd name="connsiteX15" fmla="*/ 67270 w 509706"/>
                <a:gd name="connsiteY15" fmla="*/ 747301 h 854829"/>
                <a:gd name="connsiteX16" fmla="*/ 754 w 509706"/>
                <a:gd name="connsiteY16" fmla="*/ 426904 h 854829"/>
                <a:gd name="connsiteX17" fmla="*/ 69850 w 509706"/>
                <a:gd name="connsiteY17" fmla="*/ 107856 h 854829"/>
                <a:gd name="connsiteX18" fmla="*/ 277971 w 509706"/>
                <a:gd name="connsiteY18" fmla="*/ 184 h 854829"/>
                <a:gd name="connsiteX19" fmla="*/ 454104 w 509706"/>
                <a:gd name="connsiteY19" fmla="*/ 86425 h 854829"/>
                <a:gd name="connsiteX20" fmla="*/ 510461 w 509706"/>
                <a:gd name="connsiteY20" fmla="*/ 345068 h 854829"/>
                <a:gd name="connsiteX21" fmla="*/ 510461 w 509706"/>
                <a:gd name="connsiteY21" fmla="*/ 439366 h 854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09706" h="854829">
                  <a:moveTo>
                    <a:pt x="341630" y="319510"/>
                  </a:moveTo>
                  <a:cubicBezTo>
                    <a:pt x="341630" y="246485"/>
                    <a:pt x="337780" y="196478"/>
                    <a:pt x="330081" y="169530"/>
                  </a:cubicBezTo>
                  <a:cubicBezTo>
                    <a:pt x="322342" y="142503"/>
                    <a:pt x="304482" y="129049"/>
                    <a:pt x="276701" y="129049"/>
                  </a:cubicBezTo>
                  <a:cubicBezTo>
                    <a:pt x="250110" y="129049"/>
                    <a:pt x="232727" y="140955"/>
                    <a:pt x="224591" y="164927"/>
                  </a:cubicBezTo>
                  <a:cubicBezTo>
                    <a:pt x="216416" y="188938"/>
                    <a:pt x="212368" y="240412"/>
                    <a:pt x="212368" y="319510"/>
                  </a:cubicBezTo>
                  <a:lnTo>
                    <a:pt x="341630" y="319510"/>
                  </a:lnTo>
                  <a:close/>
                  <a:moveTo>
                    <a:pt x="510461" y="439366"/>
                  </a:moveTo>
                  <a:lnTo>
                    <a:pt x="211693" y="439366"/>
                  </a:lnTo>
                  <a:cubicBezTo>
                    <a:pt x="211693" y="562953"/>
                    <a:pt x="216376" y="641574"/>
                    <a:pt x="225703" y="675427"/>
                  </a:cubicBezTo>
                  <a:cubicBezTo>
                    <a:pt x="235109" y="709241"/>
                    <a:pt x="254754" y="726148"/>
                    <a:pt x="284440" y="726148"/>
                  </a:cubicBezTo>
                  <a:cubicBezTo>
                    <a:pt x="304482" y="726148"/>
                    <a:pt x="319445" y="719719"/>
                    <a:pt x="329208" y="706979"/>
                  </a:cubicBezTo>
                  <a:cubicBezTo>
                    <a:pt x="338971" y="694081"/>
                    <a:pt x="343892" y="671697"/>
                    <a:pt x="343892" y="639907"/>
                  </a:cubicBezTo>
                  <a:lnTo>
                    <a:pt x="490538" y="639907"/>
                  </a:lnTo>
                  <a:cubicBezTo>
                    <a:pt x="490538" y="713567"/>
                    <a:pt x="471884" y="767820"/>
                    <a:pt x="434777" y="802705"/>
                  </a:cubicBezTo>
                  <a:cubicBezTo>
                    <a:pt x="397669" y="837551"/>
                    <a:pt x="340201" y="855013"/>
                    <a:pt x="262612" y="855013"/>
                  </a:cubicBezTo>
                  <a:cubicBezTo>
                    <a:pt x="176808" y="855013"/>
                    <a:pt x="111641" y="819096"/>
                    <a:pt x="67270" y="747301"/>
                  </a:cubicBezTo>
                  <a:cubicBezTo>
                    <a:pt x="22939" y="675546"/>
                    <a:pt x="754" y="568747"/>
                    <a:pt x="754" y="426904"/>
                  </a:cubicBezTo>
                  <a:cubicBezTo>
                    <a:pt x="754" y="285974"/>
                    <a:pt x="23772" y="179611"/>
                    <a:pt x="69850" y="107856"/>
                  </a:cubicBezTo>
                  <a:cubicBezTo>
                    <a:pt x="115927" y="36061"/>
                    <a:pt x="185340" y="184"/>
                    <a:pt x="277971" y="184"/>
                  </a:cubicBezTo>
                  <a:cubicBezTo>
                    <a:pt x="357822" y="184"/>
                    <a:pt x="416520" y="28917"/>
                    <a:pt x="454104" y="86425"/>
                  </a:cubicBezTo>
                  <a:cubicBezTo>
                    <a:pt x="491649" y="143892"/>
                    <a:pt x="510461" y="230133"/>
                    <a:pt x="510461" y="345068"/>
                  </a:cubicBezTo>
                  <a:lnTo>
                    <a:pt x="510461" y="439366"/>
                  </a:lnTo>
                  <a:close/>
                </a:path>
              </a:pathLst>
            </a:custGeom>
            <a:solidFill>
              <a:srgbClr val="DA2128"/>
            </a:solidFill>
            <a:ln w="39688" cap="flat">
              <a:noFill/>
              <a:prstDash val="solid"/>
              <a:round/>
            </a:ln>
          </p:spPr>
          <p:txBody>
            <a:bodyPr rtlCol="0" anchor="ctr"/>
            <a:lstStyle/>
            <a:p>
              <a:pPr rtl="0"/>
              <a:endParaRPr lang="en-US"/>
            </a:p>
          </p:txBody>
        </p:sp>
        <p:sp>
          <p:nvSpPr>
            <p:cNvPr id="22" name="Freeform: Shape 21">
              <a:extLst>
                <a:ext uri="{FF2B5EF4-FFF2-40B4-BE49-F238E27FC236}">
                  <a16:creationId xmlns:a16="http://schemas.microsoft.com/office/drawing/2014/main" id="{4FB98C99-6928-7760-D608-6344CDCBA9F7}"/>
                </a:ext>
              </a:extLst>
            </p:cNvPr>
            <p:cNvSpPr/>
            <p:nvPr/>
          </p:nvSpPr>
          <p:spPr>
            <a:xfrm>
              <a:off x="6713480" y="-1521035"/>
              <a:ext cx="469781" cy="854829"/>
            </a:xfrm>
            <a:custGeom>
              <a:avLst/>
              <a:gdLst>
                <a:gd name="connsiteX0" fmla="*/ 470598 w 469781"/>
                <a:gd name="connsiteY0" fmla="*/ 630493 h 854829"/>
                <a:gd name="connsiteX1" fmla="*/ 408050 w 469781"/>
                <a:gd name="connsiteY1" fmla="*/ 795752 h 854829"/>
                <a:gd name="connsiteX2" fmla="*/ 236640 w 469781"/>
                <a:gd name="connsiteY2" fmla="*/ 855006 h 854829"/>
                <a:gd name="connsiteX3" fmla="*/ 60030 w 469781"/>
                <a:gd name="connsiteY3" fmla="*/ 799800 h 854829"/>
                <a:gd name="connsiteX4" fmla="*/ 816 w 469781"/>
                <a:gd name="connsiteY4" fmla="*/ 634264 h 854829"/>
                <a:gd name="connsiteX5" fmla="*/ 166234 w 469781"/>
                <a:gd name="connsiteY5" fmla="*/ 634264 h 854829"/>
                <a:gd name="connsiteX6" fmla="*/ 182665 w 469781"/>
                <a:gd name="connsiteY6" fmla="*/ 699946 h 854829"/>
                <a:gd name="connsiteX7" fmla="*/ 231242 w 469781"/>
                <a:gd name="connsiteY7" fmla="*/ 720584 h 854829"/>
                <a:gd name="connsiteX8" fmla="*/ 277478 w 469781"/>
                <a:gd name="connsiteY8" fmla="*/ 704352 h 854829"/>
                <a:gd name="connsiteX9" fmla="*/ 292956 w 469781"/>
                <a:gd name="connsiteY9" fmla="*/ 655695 h 854829"/>
                <a:gd name="connsiteX10" fmla="*/ 260531 w 469781"/>
                <a:gd name="connsiteY10" fmla="*/ 591004 h 854829"/>
                <a:gd name="connsiteX11" fmla="*/ 154407 w 469781"/>
                <a:gd name="connsiteY11" fmla="*/ 491984 h 854829"/>
                <a:gd name="connsiteX12" fmla="*/ 35781 w 469781"/>
                <a:gd name="connsiteY12" fmla="*/ 350220 h 854829"/>
                <a:gd name="connsiteX13" fmla="*/ 10778 w 469781"/>
                <a:gd name="connsiteY13" fmla="*/ 201352 h 854829"/>
                <a:gd name="connsiteX14" fmla="*/ 73960 w 469781"/>
                <a:gd name="connsiteY14" fmla="*/ 54826 h 854829"/>
                <a:gd name="connsiteX15" fmla="*/ 240331 w 469781"/>
                <a:gd name="connsiteY15" fmla="*/ 176 h 854829"/>
                <a:gd name="connsiteX16" fmla="*/ 408923 w 469781"/>
                <a:gd name="connsiteY16" fmla="*/ 56453 h 854829"/>
                <a:gd name="connsiteX17" fmla="*/ 467264 w 469781"/>
                <a:gd name="connsiteY17" fmla="*/ 216433 h 854829"/>
                <a:gd name="connsiteX18" fmla="*/ 303989 w 469781"/>
                <a:gd name="connsiteY18" fmla="*/ 216433 h 854829"/>
                <a:gd name="connsiteX19" fmla="*/ 287400 w 469781"/>
                <a:gd name="connsiteY19" fmla="*/ 155632 h 854829"/>
                <a:gd name="connsiteX20" fmla="*/ 241521 w 469781"/>
                <a:gd name="connsiteY20" fmla="*/ 132375 h 854829"/>
                <a:gd name="connsiteX21" fmla="*/ 200365 w 469781"/>
                <a:gd name="connsiteY21" fmla="*/ 147536 h 854829"/>
                <a:gd name="connsiteX22" fmla="*/ 184014 w 469781"/>
                <a:gd name="connsiteY22" fmla="*/ 191033 h 854829"/>
                <a:gd name="connsiteX23" fmla="*/ 202945 w 469781"/>
                <a:gd name="connsiteY23" fmla="*/ 257391 h 854829"/>
                <a:gd name="connsiteX24" fmla="*/ 319071 w 469781"/>
                <a:gd name="connsiteY24" fmla="*/ 375501 h 854829"/>
                <a:gd name="connsiteX25" fmla="*/ 437736 w 469781"/>
                <a:gd name="connsiteY25" fmla="*/ 506549 h 854829"/>
                <a:gd name="connsiteX26" fmla="*/ 470598 w 469781"/>
                <a:gd name="connsiteY26" fmla="*/ 630493 h 854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69781" h="854829">
                  <a:moveTo>
                    <a:pt x="470598" y="630493"/>
                  </a:moveTo>
                  <a:cubicBezTo>
                    <a:pt x="470598" y="701177"/>
                    <a:pt x="449762" y="756342"/>
                    <a:pt x="408050" y="795752"/>
                  </a:cubicBezTo>
                  <a:cubicBezTo>
                    <a:pt x="366418" y="835281"/>
                    <a:pt x="309347" y="855006"/>
                    <a:pt x="236640" y="855006"/>
                  </a:cubicBezTo>
                  <a:cubicBezTo>
                    <a:pt x="158455" y="855006"/>
                    <a:pt x="99559" y="836630"/>
                    <a:pt x="60030" y="799800"/>
                  </a:cubicBezTo>
                  <a:cubicBezTo>
                    <a:pt x="20501" y="763050"/>
                    <a:pt x="816" y="707884"/>
                    <a:pt x="816" y="634264"/>
                  </a:cubicBezTo>
                  <a:lnTo>
                    <a:pt x="166234" y="634264"/>
                  </a:lnTo>
                  <a:cubicBezTo>
                    <a:pt x="166234" y="664347"/>
                    <a:pt x="171790" y="686254"/>
                    <a:pt x="182665" y="699946"/>
                  </a:cubicBezTo>
                  <a:cubicBezTo>
                    <a:pt x="193618" y="713718"/>
                    <a:pt x="209731" y="720584"/>
                    <a:pt x="231242" y="720584"/>
                  </a:cubicBezTo>
                  <a:cubicBezTo>
                    <a:pt x="251721" y="720584"/>
                    <a:pt x="267159" y="715226"/>
                    <a:pt x="277478" y="704352"/>
                  </a:cubicBezTo>
                  <a:cubicBezTo>
                    <a:pt x="287797" y="693517"/>
                    <a:pt x="292956" y="677325"/>
                    <a:pt x="292956" y="655695"/>
                  </a:cubicBezTo>
                  <a:cubicBezTo>
                    <a:pt x="292956" y="635851"/>
                    <a:pt x="282082" y="614261"/>
                    <a:pt x="260531" y="591004"/>
                  </a:cubicBezTo>
                  <a:cubicBezTo>
                    <a:pt x="238902" y="567668"/>
                    <a:pt x="203540" y="534727"/>
                    <a:pt x="154407" y="491984"/>
                  </a:cubicBezTo>
                  <a:cubicBezTo>
                    <a:pt x="92058" y="437652"/>
                    <a:pt x="52450" y="390344"/>
                    <a:pt x="35781" y="350220"/>
                  </a:cubicBezTo>
                  <a:cubicBezTo>
                    <a:pt x="19152" y="310135"/>
                    <a:pt x="10778" y="260486"/>
                    <a:pt x="10778" y="201352"/>
                  </a:cubicBezTo>
                  <a:cubicBezTo>
                    <a:pt x="10778" y="140074"/>
                    <a:pt x="31852" y="91298"/>
                    <a:pt x="73960" y="54826"/>
                  </a:cubicBezTo>
                  <a:cubicBezTo>
                    <a:pt x="116029" y="18392"/>
                    <a:pt x="171512" y="176"/>
                    <a:pt x="240331" y="176"/>
                  </a:cubicBezTo>
                  <a:cubicBezTo>
                    <a:pt x="313792" y="176"/>
                    <a:pt x="370029" y="18948"/>
                    <a:pt x="408923" y="56453"/>
                  </a:cubicBezTo>
                  <a:cubicBezTo>
                    <a:pt x="447857" y="94077"/>
                    <a:pt x="467264" y="147258"/>
                    <a:pt x="467264" y="216433"/>
                  </a:cubicBezTo>
                  <a:lnTo>
                    <a:pt x="303989" y="216433"/>
                  </a:lnTo>
                  <a:cubicBezTo>
                    <a:pt x="303989" y="191430"/>
                    <a:pt x="298473" y="171150"/>
                    <a:pt x="287400" y="155632"/>
                  </a:cubicBezTo>
                  <a:cubicBezTo>
                    <a:pt x="276287" y="140074"/>
                    <a:pt x="261047" y="132375"/>
                    <a:pt x="241521" y="132375"/>
                  </a:cubicBezTo>
                  <a:cubicBezTo>
                    <a:pt x="224892" y="132375"/>
                    <a:pt x="211120" y="137455"/>
                    <a:pt x="200365" y="147536"/>
                  </a:cubicBezTo>
                  <a:cubicBezTo>
                    <a:pt x="189491" y="157656"/>
                    <a:pt x="184014" y="172221"/>
                    <a:pt x="184014" y="191033"/>
                  </a:cubicBezTo>
                  <a:cubicBezTo>
                    <a:pt x="184014" y="213933"/>
                    <a:pt x="190324" y="236039"/>
                    <a:pt x="202945" y="257391"/>
                  </a:cubicBezTo>
                  <a:cubicBezTo>
                    <a:pt x="215526" y="278703"/>
                    <a:pt x="254221" y="318113"/>
                    <a:pt x="319071" y="375501"/>
                  </a:cubicBezTo>
                  <a:cubicBezTo>
                    <a:pt x="376141" y="425944"/>
                    <a:pt x="415710" y="469640"/>
                    <a:pt x="437736" y="506549"/>
                  </a:cubicBezTo>
                  <a:cubicBezTo>
                    <a:pt x="459644" y="543419"/>
                    <a:pt x="470598" y="584773"/>
                    <a:pt x="470598" y="630493"/>
                  </a:cubicBezTo>
                </a:path>
              </a:pathLst>
            </a:custGeom>
            <a:solidFill>
              <a:srgbClr val="DA2128"/>
            </a:solidFill>
            <a:ln w="39688" cap="flat">
              <a:noFill/>
              <a:prstDash val="solid"/>
              <a:round/>
            </a:ln>
          </p:spPr>
          <p:txBody>
            <a:bodyPr rtlCol="0" anchor="ctr"/>
            <a:lstStyle/>
            <a:p>
              <a:pPr rtl="0"/>
              <a:endParaRPr lang="en-US"/>
            </a:p>
          </p:txBody>
        </p:sp>
        <p:sp>
          <p:nvSpPr>
            <p:cNvPr id="23" name="Freeform: Shape 22">
              <a:extLst>
                <a:ext uri="{FF2B5EF4-FFF2-40B4-BE49-F238E27FC236}">
                  <a16:creationId xmlns:a16="http://schemas.microsoft.com/office/drawing/2014/main" id="{CAFA34F3-B2A7-780B-B5DB-E4B9D1683A19}"/>
                </a:ext>
              </a:extLst>
            </p:cNvPr>
            <p:cNvSpPr/>
            <p:nvPr/>
          </p:nvSpPr>
          <p:spPr>
            <a:xfrm>
              <a:off x="7211916" y="-1765332"/>
              <a:ext cx="410924" cy="1091248"/>
            </a:xfrm>
            <a:custGeom>
              <a:avLst/>
              <a:gdLst>
                <a:gd name="connsiteX0" fmla="*/ 411789 w 410924"/>
                <a:gd name="connsiteY0" fmla="*/ 362043 h 1091248"/>
                <a:gd name="connsiteX1" fmla="*/ 285226 w 410924"/>
                <a:gd name="connsiteY1" fmla="*/ 362043 h 1091248"/>
                <a:gd name="connsiteX2" fmla="*/ 285226 w 410924"/>
                <a:gd name="connsiteY2" fmla="*/ 882585 h 1091248"/>
                <a:gd name="connsiteX3" fmla="*/ 308007 w 410924"/>
                <a:gd name="connsiteY3" fmla="*/ 959777 h 1091248"/>
                <a:gd name="connsiteX4" fmla="*/ 395160 w 410924"/>
                <a:gd name="connsiteY4" fmla="*/ 979383 h 1091248"/>
                <a:gd name="connsiteX5" fmla="*/ 395160 w 410924"/>
                <a:gd name="connsiteY5" fmla="*/ 1091421 h 1091248"/>
                <a:gd name="connsiteX6" fmla="*/ 278558 w 410924"/>
                <a:gd name="connsiteY6" fmla="*/ 1091421 h 1091248"/>
                <a:gd name="connsiteX7" fmla="*/ 129254 w 410924"/>
                <a:gd name="connsiteY7" fmla="*/ 1042049 h 1091248"/>
                <a:gd name="connsiteX8" fmla="*/ 78573 w 410924"/>
                <a:gd name="connsiteY8" fmla="*/ 890761 h 1091248"/>
                <a:gd name="connsiteX9" fmla="*/ 78573 w 410924"/>
                <a:gd name="connsiteY9" fmla="*/ 360932 h 1091248"/>
                <a:gd name="connsiteX10" fmla="*/ 865 w 410924"/>
                <a:gd name="connsiteY10" fmla="*/ 360932 h 1091248"/>
                <a:gd name="connsiteX11" fmla="*/ 865 w 410924"/>
                <a:gd name="connsiteY11" fmla="*/ 255601 h 1091248"/>
                <a:gd name="connsiteX12" fmla="*/ 78573 w 410924"/>
                <a:gd name="connsiteY12" fmla="*/ 255601 h 1091248"/>
                <a:gd name="connsiteX13" fmla="*/ 78573 w 410924"/>
                <a:gd name="connsiteY13" fmla="*/ 172 h 1091248"/>
                <a:gd name="connsiteX14" fmla="*/ 285226 w 410924"/>
                <a:gd name="connsiteY14" fmla="*/ 172 h 1091248"/>
                <a:gd name="connsiteX15" fmla="*/ 285226 w 410924"/>
                <a:gd name="connsiteY15" fmla="*/ 255601 h 1091248"/>
                <a:gd name="connsiteX16" fmla="*/ 411789 w 410924"/>
                <a:gd name="connsiteY16" fmla="*/ 255601 h 1091248"/>
                <a:gd name="connsiteX17" fmla="*/ 411789 w 410924"/>
                <a:gd name="connsiteY17" fmla="*/ 362043 h 1091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10924" h="1091248">
                  <a:moveTo>
                    <a:pt x="411789" y="362043"/>
                  </a:moveTo>
                  <a:lnTo>
                    <a:pt x="285226" y="362043"/>
                  </a:lnTo>
                  <a:lnTo>
                    <a:pt x="285226" y="882585"/>
                  </a:lnTo>
                  <a:cubicBezTo>
                    <a:pt x="285226" y="920804"/>
                    <a:pt x="292846" y="946601"/>
                    <a:pt x="308007" y="959777"/>
                  </a:cubicBezTo>
                  <a:cubicBezTo>
                    <a:pt x="323286" y="972834"/>
                    <a:pt x="352258" y="979383"/>
                    <a:pt x="395160" y="979383"/>
                  </a:cubicBezTo>
                  <a:lnTo>
                    <a:pt x="395160" y="1091421"/>
                  </a:lnTo>
                  <a:lnTo>
                    <a:pt x="278558" y="1091421"/>
                  </a:lnTo>
                  <a:cubicBezTo>
                    <a:pt x="212717" y="1091421"/>
                    <a:pt x="162949" y="1074990"/>
                    <a:pt x="129254" y="1042049"/>
                  </a:cubicBezTo>
                  <a:cubicBezTo>
                    <a:pt x="95480" y="1009188"/>
                    <a:pt x="78573" y="958785"/>
                    <a:pt x="78573" y="890761"/>
                  </a:cubicBezTo>
                  <a:lnTo>
                    <a:pt x="78573" y="360932"/>
                  </a:lnTo>
                  <a:lnTo>
                    <a:pt x="865" y="360932"/>
                  </a:lnTo>
                  <a:lnTo>
                    <a:pt x="865" y="255601"/>
                  </a:lnTo>
                  <a:lnTo>
                    <a:pt x="78573" y="255601"/>
                  </a:lnTo>
                  <a:lnTo>
                    <a:pt x="78573" y="172"/>
                  </a:lnTo>
                  <a:lnTo>
                    <a:pt x="285226" y="172"/>
                  </a:lnTo>
                  <a:lnTo>
                    <a:pt x="285226" y="255601"/>
                  </a:lnTo>
                  <a:lnTo>
                    <a:pt x="411789" y="255601"/>
                  </a:lnTo>
                  <a:lnTo>
                    <a:pt x="411789" y="362043"/>
                  </a:lnTo>
                  <a:close/>
                </a:path>
              </a:pathLst>
            </a:custGeom>
            <a:solidFill>
              <a:srgbClr val="DA2128"/>
            </a:solidFill>
            <a:ln w="39688" cap="flat">
              <a:noFill/>
              <a:prstDash val="solid"/>
              <a:round/>
            </a:ln>
          </p:spPr>
          <p:txBody>
            <a:bodyPr rtlCol="0" anchor="ctr"/>
            <a:lstStyle/>
            <a:p>
              <a:pPr rtl="0"/>
              <a:endParaRPr lang="en-US"/>
            </a:p>
          </p:txBody>
        </p:sp>
        <p:sp>
          <p:nvSpPr>
            <p:cNvPr id="24" name="Freeform: Shape 23">
              <a:extLst>
                <a:ext uri="{FF2B5EF4-FFF2-40B4-BE49-F238E27FC236}">
                  <a16:creationId xmlns:a16="http://schemas.microsoft.com/office/drawing/2014/main" id="{5A8D604C-BA7B-EBF2-4F27-006F3505477E}"/>
                </a:ext>
              </a:extLst>
            </p:cNvPr>
            <p:cNvSpPr/>
            <p:nvPr/>
          </p:nvSpPr>
          <p:spPr>
            <a:xfrm>
              <a:off x="7095830" y="-2797529"/>
              <a:ext cx="1383824" cy="1566070"/>
            </a:xfrm>
            <a:custGeom>
              <a:avLst/>
              <a:gdLst>
                <a:gd name="connsiteX0" fmla="*/ 1311793 w 1383824"/>
                <a:gd name="connsiteY0" fmla="*/ 1354685 h 1566070"/>
                <a:gd name="connsiteX1" fmla="*/ 1287584 w 1383824"/>
                <a:gd name="connsiteY1" fmla="*/ 1566140 h 1566070"/>
                <a:gd name="connsiteX2" fmla="*/ 1384739 w 1383824"/>
                <a:gd name="connsiteY2" fmla="*/ 1148508 h 1566070"/>
                <a:gd name="connsiteX3" fmla="*/ 914 w 1383824"/>
                <a:gd name="connsiteY3" fmla="*/ 70 h 1566070"/>
                <a:gd name="connsiteX4" fmla="*/ 34410 w 1383824"/>
                <a:gd name="connsiteY4" fmla="*/ 211962 h 1566070"/>
                <a:gd name="connsiteX5" fmla="*/ 1311793 w 1383824"/>
                <a:gd name="connsiteY5" fmla="*/ 1354685 h 1566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3824" h="1566070">
                  <a:moveTo>
                    <a:pt x="1311793" y="1354685"/>
                  </a:moveTo>
                  <a:cubicBezTo>
                    <a:pt x="1311793" y="1426876"/>
                    <a:pt x="1303459" y="1497600"/>
                    <a:pt x="1287584" y="1566140"/>
                  </a:cubicBezTo>
                  <a:cubicBezTo>
                    <a:pt x="1350330" y="1436679"/>
                    <a:pt x="1384739" y="1295868"/>
                    <a:pt x="1384739" y="1148508"/>
                  </a:cubicBezTo>
                  <a:cubicBezTo>
                    <a:pt x="1384739" y="525374"/>
                    <a:pt x="768987" y="18167"/>
                    <a:pt x="914" y="70"/>
                  </a:cubicBezTo>
                  <a:cubicBezTo>
                    <a:pt x="18694" y="68452"/>
                    <a:pt x="29807" y="139413"/>
                    <a:pt x="34410" y="211962"/>
                  </a:cubicBezTo>
                  <a:cubicBezTo>
                    <a:pt x="752159" y="271929"/>
                    <a:pt x="1311793" y="760642"/>
                    <a:pt x="1311793" y="1354685"/>
                  </a:cubicBezTo>
                </a:path>
              </a:pathLst>
            </a:custGeom>
            <a:solidFill>
              <a:srgbClr val="231F20"/>
            </a:solidFill>
            <a:ln w="39688" cap="flat">
              <a:noFill/>
              <a:prstDash val="solid"/>
              <a:round/>
            </a:ln>
          </p:spPr>
          <p:txBody>
            <a:bodyPr rtlCol="0" anchor="ctr"/>
            <a:lstStyle/>
            <a:p>
              <a:pPr rtl="0"/>
              <a:endParaRPr lang="en-US"/>
            </a:p>
          </p:txBody>
        </p:sp>
        <p:sp>
          <p:nvSpPr>
            <p:cNvPr id="25" name="Freeform: Shape 24">
              <a:extLst>
                <a:ext uri="{FF2B5EF4-FFF2-40B4-BE49-F238E27FC236}">
                  <a16:creationId xmlns:a16="http://schemas.microsoft.com/office/drawing/2014/main" id="{D6F419F1-C50D-6B4F-C1C5-8F7458A18E4B}"/>
                </a:ext>
              </a:extLst>
            </p:cNvPr>
            <p:cNvSpPr/>
            <p:nvPr/>
          </p:nvSpPr>
          <p:spPr>
            <a:xfrm>
              <a:off x="5596475" y="-2319807"/>
              <a:ext cx="2625568" cy="1121519"/>
            </a:xfrm>
            <a:custGeom>
              <a:avLst/>
              <a:gdLst>
                <a:gd name="connsiteX0" fmla="*/ 1494808 w 2625568"/>
                <a:gd name="connsiteY0" fmla="*/ 270416 h 1121519"/>
                <a:gd name="connsiteX1" fmla="*/ 2424132 w 2625568"/>
                <a:gd name="connsiteY1" fmla="*/ 1091988 h 1121519"/>
                <a:gd name="connsiteX2" fmla="*/ 2626379 w 2625568"/>
                <a:gd name="connsiteY2" fmla="*/ 1121634 h 1121519"/>
                <a:gd name="connsiteX3" fmla="*/ 1631294 w 2625568"/>
                <a:gd name="connsiteY3" fmla="*/ 100156 h 1121519"/>
                <a:gd name="connsiteX4" fmla="*/ 811 w 2625568"/>
                <a:gd name="connsiteY4" fmla="*/ 517352 h 1121519"/>
                <a:gd name="connsiteX5" fmla="*/ 1494808 w 2625568"/>
                <a:gd name="connsiteY5" fmla="*/ 270416 h 1121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25568" h="1121519">
                  <a:moveTo>
                    <a:pt x="1494808" y="270416"/>
                  </a:moveTo>
                  <a:cubicBezTo>
                    <a:pt x="1938158" y="427102"/>
                    <a:pt x="2271414" y="738848"/>
                    <a:pt x="2424132" y="1091988"/>
                  </a:cubicBezTo>
                  <a:cubicBezTo>
                    <a:pt x="2493347" y="1097147"/>
                    <a:pt x="2561054" y="1106950"/>
                    <a:pt x="2626379" y="1121634"/>
                  </a:cubicBezTo>
                  <a:cubicBezTo>
                    <a:pt x="2527676" y="689437"/>
                    <a:pt x="2156757" y="285934"/>
                    <a:pt x="1631294" y="100156"/>
                  </a:cubicBezTo>
                  <a:cubicBezTo>
                    <a:pt x="972560" y="-132651"/>
                    <a:pt x="291998" y="54873"/>
                    <a:pt x="811" y="517352"/>
                  </a:cubicBezTo>
                  <a:cubicBezTo>
                    <a:pt x="336925" y="182587"/>
                    <a:pt x="924022" y="68684"/>
                    <a:pt x="1494808" y="270416"/>
                  </a:cubicBezTo>
                </a:path>
              </a:pathLst>
            </a:custGeom>
            <a:solidFill>
              <a:srgbClr val="007236"/>
            </a:solidFill>
            <a:ln w="39688" cap="flat">
              <a:noFill/>
              <a:prstDash val="solid"/>
              <a:round/>
            </a:ln>
          </p:spPr>
          <p:txBody>
            <a:bodyPr rtlCol="0" anchor="ctr"/>
            <a:lstStyle/>
            <a:p>
              <a:pPr rtl="0"/>
              <a:endParaRPr lang="en-US"/>
            </a:p>
          </p:txBody>
        </p:sp>
        <p:sp>
          <p:nvSpPr>
            <p:cNvPr id="26" name="Freeform: Shape 25">
              <a:extLst>
                <a:ext uri="{FF2B5EF4-FFF2-40B4-BE49-F238E27FC236}">
                  <a16:creationId xmlns:a16="http://schemas.microsoft.com/office/drawing/2014/main" id="{0E8B37E0-802D-EC8D-D77D-06D8509B1943}"/>
                </a:ext>
              </a:extLst>
            </p:cNvPr>
            <p:cNvSpPr/>
            <p:nvPr/>
          </p:nvSpPr>
          <p:spPr>
            <a:xfrm>
              <a:off x="6313073" y="-2555244"/>
              <a:ext cx="1683029" cy="679481"/>
            </a:xfrm>
            <a:custGeom>
              <a:avLst/>
              <a:gdLst>
                <a:gd name="connsiteX0" fmla="*/ 811 w 1683029"/>
                <a:gd name="connsiteY0" fmla="*/ 160513 h 679481"/>
                <a:gd name="connsiteX1" fmla="*/ 1459089 w 1683029"/>
                <a:gd name="connsiteY1" fmla="*/ 570445 h 679481"/>
                <a:gd name="connsiteX2" fmla="*/ 1561523 w 1683029"/>
                <a:gd name="connsiteY2" fmla="*/ 679546 h 679481"/>
                <a:gd name="connsiteX3" fmla="*/ 1683840 w 1683029"/>
                <a:gd name="connsiteY3" fmla="*/ 504048 h 679481"/>
                <a:gd name="connsiteX4" fmla="*/ 1653916 w 1683029"/>
                <a:gd name="connsiteY4" fmla="*/ 473885 h 679481"/>
                <a:gd name="connsiteX5" fmla="*/ 811 w 1683029"/>
                <a:gd name="connsiteY5" fmla="*/ 160513 h 679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83029" h="679481">
                  <a:moveTo>
                    <a:pt x="811" y="160513"/>
                  </a:moveTo>
                  <a:cubicBezTo>
                    <a:pt x="445271" y="-539"/>
                    <a:pt x="1025424" y="145273"/>
                    <a:pt x="1459089" y="570445"/>
                  </a:cubicBezTo>
                  <a:cubicBezTo>
                    <a:pt x="1495165" y="605727"/>
                    <a:pt x="1529297" y="642200"/>
                    <a:pt x="1561523" y="679546"/>
                  </a:cubicBezTo>
                  <a:cubicBezTo>
                    <a:pt x="1608354" y="624222"/>
                    <a:pt x="1649391" y="565603"/>
                    <a:pt x="1683840" y="504048"/>
                  </a:cubicBezTo>
                  <a:cubicBezTo>
                    <a:pt x="1674037" y="493888"/>
                    <a:pt x="1664115" y="483847"/>
                    <a:pt x="1653916" y="473885"/>
                  </a:cubicBezTo>
                  <a:cubicBezTo>
                    <a:pt x="1153496" y="-16851"/>
                    <a:pt x="457813" y="-135437"/>
                    <a:pt x="811" y="160513"/>
                  </a:cubicBezTo>
                </a:path>
              </a:pathLst>
            </a:custGeom>
            <a:solidFill>
              <a:srgbClr val="DA2128"/>
            </a:solidFill>
            <a:ln w="39688" cap="flat">
              <a:noFill/>
              <a:prstDash val="solid"/>
              <a:round/>
            </a:ln>
          </p:spPr>
          <p:txBody>
            <a:bodyPr rtlCol="0" anchor="ctr"/>
            <a:lstStyle/>
            <a:p>
              <a:pPr rtl="0"/>
              <a:endParaRPr lang="en-US"/>
            </a:p>
          </p:txBody>
        </p:sp>
        <p:pic>
          <p:nvPicPr>
            <p:cNvPr id="27" name="Picture 26">
              <a:extLst>
                <a:ext uri="{FF2B5EF4-FFF2-40B4-BE49-F238E27FC236}">
                  <a16:creationId xmlns:a16="http://schemas.microsoft.com/office/drawing/2014/main" id="{43C91EBE-137F-1429-D8CB-2FE0042CB050}"/>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770028" y="-2460582"/>
              <a:ext cx="2368021" cy="2229311"/>
            </a:xfrm>
            <a:custGeom>
              <a:avLst/>
              <a:gdLst>
                <a:gd name="connsiteX0" fmla="*/ 0 w 2368021"/>
                <a:gd name="connsiteY0" fmla="*/ 37 h 2229311"/>
                <a:gd name="connsiteX1" fmla="*/ 2368021 w 2368021"/>
                <a:gd name="connsiteY1" fmla="*/ 37 h 2229311"/>
                <a:gd name="connsiteX2" fmla="*/ 2368021 w 2368021"/>
                <a:gd name="connsiteY2" fmla="*/ 2229348 h 2229311"/>
                <a:gd name="connsiteX3" fmla="*/ 0 w 2368021"/>
                <a:gd name="connsiteY3" fmla="*/ 2229348 h 2229311"/>
              </a:gdLst>
              <a:ahLst/>
              <a:cxnLst>
                <a:cxn ang="0">
                  <a:pos x="connsiteX0" y="connsiteY0"/>
                </a:cxn>
                <a:cxn ang="0">
                  <a:pos x="connsiteX1" y="connsiteY1"/>
                </a:cxn>
                <a:cxn ang="0">
                  <a:pos x="connsiteX2" y="connsiteY2"/>
                </a:cxn>
                <a:cxn ang="0">
                  <a:pos x="connsiteX3" y="connsiteY3"/>
                </a:cxn>
              </a:cxnLst>
              <a:rect l="l" t="t" r="r" b="b"/>
              <a:pathLst>
                <a:path w="2368021" h="2229311">
                  <a:moveTo>
                    <a:pt x="0" y="37"/>
                  </a:moveTo>
                  <a:lnTo>
                    <a:pt x="2368021" y="37"/>
                  </a:lnTo>
                  <a:lnTo>
                    <a:pt x="2368021" y="2229348"/>
                  </a:lnTo>
                  <a:lnTo>
                    <a:pt x="0" y="2229348"/>
                  </a:lnTo>
                  <a:close/>
                </a:path>
              </a:pathLst>
            </a:custGeom>
          </p:spPr>
        </p:pic>
        <p:grpSp>
          <p:nvGrpSpPr>
            <p:cNvPr id="28" name="Group 27">
              <a:extLst>
                <a:ext uri="{FF2B5EF4-FFF2-40B4-BE49-F238E27FC236}">
                  <a16:creationId xmlns:a16="http://schemas.microsoft.com/office/drawing/2014/main" id="{31904A00-CBA8-1635-8304-05F5E935A639}"/>
                </a:ext>
              </a:extLst>
            </p:cNvPr>
            <p:cNvGrpSpPr/>
            <p:nvPr/>
          </p:nvGrpSpPr>
          <p:grpSpPr>
            <a:xfrm>
              <a:off x="1960283" y="-2545858"/>
              <a:ext cx="88879" cy="2339756"/>
              <a:chOff x="19825373" y="2859152"/>
              <a:chExt cx="88879" cy="2339756"/>
            </a:xfrm>
          </p:grpSpPr>
          <p:sp>
            <p:nvSpPr>
              <p:cNvPr id="55" name="Rectangle 54">
                <a:extLst>
                  <a:ext uri="{FF2B5EF4-FFF2-40B4-BE49-F238E27FC236}">
                    <a16:creationId xmlns:a16="http://schemas.microsoft.com/office/drawing/2014/main" id="{7FB9DD5E-1B5D-AED6-C3D5-14FBE9018AF0}"/>
                  </a:ext>
                </a:extLst>
              </p:cNvPr>
              <p:cNvSpPr/>
              <p:nvPr/>
            </p:nvSpPr>
            <p:spPr>
              <a:xfrm>
                <a:off x="19827693" y="2859152"/>
                <a:ext cx="86559" cy="737328"/>
              </a:xfrm>
              <a:prstGeom prst="rect">
                <a:avLst/>
              </a:prstGeom>
              <a:solidFill>
                <a:srgbClr val="00000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US" sz="1600">
                  <a:solidFill>
                    <a:schemeClr val="bg1"/>
                  </a:solidFill>
                </a:endParaRPr>
              </a:p>
            </p:txBody>
          </p:sp>
          <p:sp>
            <p:nvSpPr>
              <p:cNvPr id="56" name="Rectangle 55">
                <a:extLst>
                  <a:ext uri="{FF2B5EF4-FFF2-40B4-BE49-F238E27FC236}">
                    <a16:creationId xmlns:a16="http://schemas.microsoft.com/office/drawing/2014/main" id="{C005F52A-0333-BA54-04FB-9F15DE740271}"/>
                  </a:ext>
                </a:extLst>
              </p:cNvPr>
              <p:cNvSpPr/>
              <p:nvPr/>
            </p:nvSpPr>
            <p:spPr>
              <a:xfrm>
                <a:off x="19825373" y="3671369"/>
                <a:ext cx="86559" cy="737328"/>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US" sz="1600">
                  <a:solidFill>
                    <a:schemeClr val="bg1"/>
                  </a:solidFill>
                </a:endParaRPr>
              </a:p>
            </p:txBody>
          </p:sp>
          <p:sp>
            <p:nvSpPr>
              <p:cNvPr id="57" name="Rectangle 56">
                <a:extLst>
                  <a:ext uri="{FF2B5EF4-FFF2-40B4-BE49-F238E27FC236}">
                    <a16:creationId xmlns:a16="http://schemas.microsoft.com/office/drawing/2014/main" id="{145637E8-0F9E-2EFB-7849-6A180C4ECD22}"/>
                  </a:ext>
                </a:extLst>
              </p:cNvPr>
              <p:cNvSpPr/>
              <p:nvPr/>
            </p:nvSpPr>
            <p:spPr>
              <a:xfrm>
                <a:off x="19825373" y="4461580"/>
                <a:ext cx="86559" cy="737328"/>
              </a:xfrm>
              <a:prstGeom prst="rect">
                <a:avLst/>
              </a:prstGeom>
              <a:solidFill>
                <a:srgbClr val="00723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US" sz="1600">
                  <a:solidFill>
                    <a:schemeClr val="bg1"/>
                  </a:solidFill>
                </a:endParaRPr>
              </a:p>
            </p:txBody>
          </p:sp>
        </p:grpSp>
        <p:sp>
          <p:nvSpPr>
            <p:cNvPr id="29" name="TextBox 28">
              <a:extLst>
                <a:ext uri="{FF2B5EF4-FFF2-40B4-BE49-F238E27FC236}">
                  <a16:creationId xmlns:a16="http://schemas.microsoft.com/office/drawing/2014/main" id="{C755E69C-B7DC-F30A-BDD2-F85555FD6D62}"/>
                </a:ext>
              </a:extLst>
            </p:cNvPr>
            <p:cNvSpPr txBox="1"/>
            <p:nvPr/>
          </p:nvSpPr>
          <p:spPr>
            <a:xfrm>
              <a:off x="7405086" y="-517694"/>
              <a:ext cx="241260" cy="261049"/>
            </a:xfrm>
            <a:custGeom>
              <a:avLst/>
              <a:gdLst/>
              <a:ahLst/>
              <a:cxnLst/>
              <a:rect l="l" t="t" r="r" b="b"/>
              <a:pathLst>
                <a:path w="241260" h="261049">
                  <a:moveTo>
                    <a:pt x="120802" y="0"/>
                  </a:moveTo>
                  <a:cubicBezTo>
                    <a:pt x="144091" y="0"/>
                    <a:pt x="165085" y="5564"/>
                    <a:pt x="183785" y="16692"/>
                  </a:cubicBezTo>
                  <a:cubicBezTo>
                    <a:pt x="202484" y="27820"/>
                    <a:pt x="216738" y="43336"/>
                    <a:pt x="226547" y="63240"/>
                  </a:cubicBezTo>
                  <a:cubicBezTo>
                    <a:pt x="236356" y="83144"/>
                    <a:pt x="241260" y="105716"/>
                    <a:pt x="241260" y="130955"/>
                  </a:cubicBezTo>
                  <a:cubicBezTo>
                    <a:pt x="241260" y="156538"/>
                    <a:pt x="236098" y="179425"/>
                    <a:pt x="225773" y="199616"/>
                  </a:cubicBezTo>
                  <a:cubicBezTo>
                    <a:pt x="215448" y="219807"/>
                    <a:pt x="200821" y="235093"/>
                    <a:pt x="181892" y="245476"/>
                  </a:cubicBezTo>
                  <a:cubicBezTo>
                    <a:pt x="162963" y="255858"/>
                    <a:pt x="142542" y="261049"/>
                    <a:pt x="120630" y="261049"/>
                  </a:cubicBezTo>
                  <a:cubicBezTo>
                    <a:pt x="96883" y="261049"/>
                    <a:pt x="75659" y="255313"/>
                    <a:pt x="56960" y="243841"/>
                  </a:cubicBezTo>
                  <a:cubicBezTo>
                    <a:pt x="38260" y="232369"/>
                    <a:pt x="24092" y="216709"/>
                    <a:pt x="14455" y="196862"/>
                  </a:cubicBezTo>
                  <a:cubicBezTo>
                    <a:pt x="4819" y="177015"/>
                    <a:pt x="0" y="156021"/>
                    <a:pt x="0" y="133880"/>
                  </a:cubicBezTo>
                  <a:cubicBezTo>
                    <a:pt x="0" y="92007"/>
                    <a:pt x="11243" y="59225"/>
                    <a:pt x="33729" y="35535"/>
                  </a:cubicBezTo>
                  <a:cubicBezTo>
                    <a:pt x="56214" y="11845"/>
                    <a:pt x="85239" y="0"/>
                    <a:pt x="120802" y="0"/>
                  </a:cubicBezTo>
                  <a:close/>
                  <a:moveTo>
                    <a:pt x="120974" y="28738"/>
                  </a:moveTo>
                  <a:cubicBezTo>
                    <a:pt x="97342" y="28738"/>
                    <a:pt x="77007" y="36854"/>
                    <a:pt x="59971" y="53087"/>
                  </a:cubicBezTo>
                  <a:cubicBezTo>
                    <a:pt x="42935" y="69320"/>
                    <a:pt x="34417" y="96423"/>
                    <a:pt x="34417" y="134396"/>
                  </a:cubicBezTo>
                  <a:cubicBezTo>
                    <a:pt x="34417" y="164798"/>
                    <a:pt x="42591" y="188746"/>
                    <a:pt x="58939" y="206241"/>
                  </a:cubicBezTo>
                  <a:cubicBezTo>
                    <a:pt x="75287" y="223736"/>
                    <a:pt x="95793" y="232483"/>
                    <a:pt x="120458" y="232483"/>
                  </a:cubicBezTo>
                  <a:cubicBezTo>
                    <a:pt x="145582" y="232483"/>
                    <a:pt x="166261" y="223650"/>
                    <a:pt x="182494" y="205983"/>
                  </a:cubicBezTo>
                  <a:cubicBezTo>
                    <a:pt x="198727" y="188316"/>
                    <a:pt x="206844" y="163249"/>
                    <a:pt x="206844" y="130783"/>
                  </a:cubicBezTo>
                  <a:cubicBezTo>
                    <a:pt x="206844" y="110247"/>
                    <a:pt x="203373" y="92322"/>
                    <a:pt x="196433" y="77007"/>
                  </a:cubicBezTo>
                  <a:cubicBezTo>
                    <a:pt x="189492" y="61691"/>
                    <a:pt x="179339" y="49818"/>
                    <a:pt x="165974" y="41386"/>
                  </a:cubicBezTo>
                  <a:cubicBezTo>
                    <a:pt x="152609" y="32954"/>
                    <a:pt x="137609" y="28738"/>
                    <a:pt x="120974" y="28738"/>
                  </a:cubicBez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30" name="TextBox 29">
              <a:extLst>
                <a:ext uri="{FF2B5EF4-FFF2-40B4-BE49-F238E27FC236}">
                  <a16:creationId xmlns:a16="http://schemas.microsoft.com/office/drawing/2014/main" id="{BF48F1E0-C667-C3D3-417D-4C08251CCA76}"/>
                </a:ext>
              </a:extLst>
            </p:cNvPr>
            <p:cNvSpPr txBox="1"/>
            <p:nvPr/>
          </p:nvSpPr>
          <p:spPr>
            <a:xfrm>
              <a:off x="4723902" y="-517522"/>
              <a:ext cx="200820" cy="260877"/>
            </a:xfrm>
            <a:custGeom>
              <a:avLst/>
              <a:gdLst/>
              <a:ahLst/>
              <a:cxnLst/>
              <a:rect l="l" t="t" r="r" b="b"/>
              <a:pathLst>
                <a:path w="200820" h="260877">
                  <a:moveTo>
                    <a:pt x="98431" y="0"/>
                  </a:moveTo>
                  <a:cubicBezTo>
                    <a:pt x="117131" y="0"/>
                    <a:pt x="133622" y="3011"/>
                    <a:pt x="147905" y="9034"/>
                  </a:cubicBezTo>
                  <a:cubicBezTo>
                    <a:pt x="162188" y="15057"/>
                    <a:pt x="173172" y="23919"/>
                    <a:pt x="180859" y="35621"/>
                  </a:cubicBezTo>
                  <a:cubicBezTo>
                    <a:pt x="188545" y="47323"/>
                    <a:pt x="192675" y="60573"/>
                    <a:pt x="193249" y="75372"/>
                  </a:cubicBezTo>
                  <a:lnTo>
                    <a:pt x="161241" y="77781"/>
                  </a:lnTo>
                  <a:cubicBezTo>
                    <a:pt x="159520" y="61835"/>
                    <a:pt x="153698" y="49789"/>
                    <a:pt x="143775" y="41644"/>
                  </a:cubicBezTo>
                  <a:cubicBezTo>
                    <a:pt x="133851" y="33499"/>
                    <a:pt x="119196" y="29426"/>
                    <a:pt x="99808" y="29426"/>
                  </a:cubicBezTo>
                  <a:cubicBezTo>
                    <a:pt x="79617" y="29426"/>
                    <a:pt x="64904" y="33126"/>
                    <a:pt x="55669" y="40525"/>
                  </a:cubicBezTo>
                  <a:cubicBezTo>
                    <a:pt x="46433" y="47925"/>
                    <a:pt x="41816" y="56845"/>
                    <a:pt x="41816" y="67284"/>
                  </a:cubicBezTo>
                  <a:cubicBezTo>
                    <a:pt x="41816" y="76347"/>
                    <a:pt x="45085" y="83804"/>
                    <a:pt x="51625" y="89655"/>
                  </a:cubicBezTo>
                  <a:cubicBezTo>
                    <a:pt x="58049" y="95506"/>
                    <a:pt x="74827" y="101500"/>
                    <a:pt x="101959" y="107638"/>
                  </a:cubicBezTo>
                  <a:cubicBezTo>
                    <a:pt x="129090" y="113775"/>
                    <a:pt x="147704" y="119138"/>
                    <a:pt x="157800" y="123727"/>
                  </a:cubicBezTo>
                  <a:cubicBezTo>
                    <a:pt x="172484" y="130496"/>
                    <a:pt x="183325" y="139071"/>
                    <a:pt x="190323" y="149454"/>
                  </a:cubicBezTo>
                  <a:cubicBezTo>
                    <a:pt x="197321" y="159836"/>
                    <a:pt x="200820" y="171796"/>
                    <a:pt x="200820" y="185333"/>
                  </a:cubicBezTo>
                  <a:cubicBezTo>
                    <a:pt x="200820" y="198755"/>
                    <a:pt x="196977" y="211403"/>
                    <a:pt x="189291" y="223277"/>
                  </a:cubicBezTo>
                  <a:cubicBezTo>
                    <a:pt x="181604" y="235151"/>
                    <a:pt x="170562" y="244386"/>
                    <a:pt x="156165" y="250982"/>
                  </a:cubicBezTo>
                  <a:cubicBezTo>
                    <a:pt x="141767" y="257579"/>
                    <a:pt x="125563" y="260877"/>
                    <a:pt x="107551" y="260877"/>
                  </a:cubicBezTo>
                  <a:cubicBezTo>
                    <a:pt x="84722" y="260877"/>
                    <a:pt x="65592" y="257550"/>
                    <a:pt x="50162" y="250896"/>
                  </a:cubicBezTo>
                  <a:cubicBezTo>
                    <a:pt x="34732" y="244242"/>
                    <a:pt x="22629" y="234233"/>
                    <a:pt x="13852" y="220868"/>
                  </a:cubicBezTo>
                  <a:cubicBezTo>
                    <a:pt x="5076" y="207503"/>
                    <a:pt x="459" y="192388"/>
                    <a:pt x="0" y="175524"/>
                  </a:cubicBezTo>
                  <a:lnTo>
                    <a:pt x="31491" y="172771"/>
                  </a:lnTo>
                  <a:cubicBezTo>
                    <a:pt x="32982" y="185390"/>
                    <a:pt x="36453" y="195744"/>
                    <a:pt x="41902" y="203832"/>
                  </a:cubicBezTo>
                  <a:cubicBezTo>
                    <a:pt x="47351" y="211920"/>
                    <a:pt x="55812" y="218459"/>
                    <a:pt x="67284" y="223449"/>
                  </a:cubicBezTo>
                  <a:cubicBezTo>
                    <a:pt x="78756" y="228439"/>
                    <a:pt x="91662" y="230935"/>
                    <a:pt x="106003" y="230935"/>
                  </a:cubicBezTo>
                  <a:cubicBezTo>
                    <a:pt x="118737" y="230935"/>
                    <a:pt x="129979" y="229042"/>
                    <a:pt x="139731" y="225256"/>
                  </a:cubicBezTo>
                  <a:cubicBezTo>
                    <a:pt x="149482" y="221470"/>
                    <a:pt x="156738" y="216279"/>
                    <a:pt x="161499" y="209682"/>
                  </a:cubicBezTo>
                  <a:cubicBezTo>
                    <a:pt x="166260" y="203086"/>
                    <a:pt x="168641" y="195887"/>
                    <a:pt x="168641" y="188086"/>
                  </a:cubicBezTo>
                  <a:cubicBezTo>
                    <a:pt x="168641" y="180170"/>
                    <a:pt x="166346" y="173258"/>
                    <a:pt x="161757" y="167350"/>
                  </a:cubicBezTo>
                  <a:cubicBezTo>
                    <a:pt x="157169" y="161442"/>
                    <a:pt x="149597" y="156480"/>
                    <a:pt x="139043" y="152465"/>
                  </a:cubicBezTo>
                  <a:cubicBezTo>
                    <a:pt x="132274" y="149826"/>
                    <a:pt x="117303" y="145725"/>
                    <a:pt x="94129" y="140161"/>
                  </a:cubicBezTo>
                  <a:cubicBezTo>
                    <a:pt x="70955" y="134597"/>
                    <a:pt x="54722" y="129349"/>
                    <a:pt x="45430" y="124416"/>
                  </a:cubicBezTo>
                  <a:cubicBezTo>
                    <a:pt x="33384" y="118106"/>
                    <a:pt x="24407" y="110276"/>
                    <a:pt x="18499" y="100926"/>
                  </a:cubicBezTo>
                  <a:cubicBezTo>
                    <a:pt x="12591" y="91577"/>
                    <a:pt x="9636" y="81108"/>
                    <a:pt x="9636" y="69521"/>
                  </a:cubicBezTo>
                  <a:cubicBezTo>
                    <a:pt x="9636" y="56787"/>
                    <a:pt x="13250" y="44885"/>
                    <a:pt x="20478" y="33814"/>
                  </a:cubicBezTo>
                  <a:cubicBezTo>
                    <a:pt x="27705" y="22744"/>
                    <a:pt x="38260" y="14340"/>
                    <a:pt x="52141" y="8604"/>
                  </a:cubicBezTo>
                  <a:cubicBezTo>
                    <a:pt x="66022" y="2868"/>
                    <a:pt x="81452" y="0"/>
                    <a:pt x="98431" y="0"/>
                  </a:cubicBez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31" name="TextBox 30">
              <a:extLst>
                <a:ext uri="{FF2B5EF4-FFF2-40B4-BE49-F238E27FC236}">
                  <a16:creationId xmlns:a16="http://schemas.microsoft.com/office/drawing/2014/main" id="{77E1991C-0FF9-7CC5-FE29-4A52D3FF35BC}"/>
                </a:ext>
              </a:extLst>
            </p:cNvPr>
            <p:cNvSpPr txBox="1"/>
            <p:nvPr/>
          </p:nvSpPr>
          <p:spPr>
            <a:xfrm>
              <a:off x="2451810" y="-513220"/>
              <a:ext cx="208564" cy="252273"/>
            </a:xfrm>
            <a:custGeom>
              <a:avLst/>
              <a:gdLst/>
              <a:ahLst/>
              <a:cxnLst/>
              <a:rect l="l" t="t" r="r" b="b"/>
              <a:pathLst>
                <a:path w="208564" h="252273">
                  <a:moveTo>
                    <a:pt x="0" y="0"/>
                  </a:moveTo>
                  <a:lnTo>
                    <a:pt x="33384" y="0"/>
                  </a:lnTo>
                  <a:lnTo>
                    <a:pt x="33384" y="125104"/>
                  </a:lnTo>
                  <a:lnTo>
                    <a:pt x="158660" y="0"/>
                  </a:lnTo>
                  <a:lnTo>
                    <a:pt x="203917" y="0"/>
                  </a:lnTo>
                  <a:lnTo>
                    <a:pt x="98087" y="102217"/>
                  </a:lnTo>
                  <a:lnTo>
                    <a:pt x="208564" y="252273"/>
                  </a:lnTo>
                  <a:lnTo>
                    <a:pt x="164510" y="252273"/>
                  </a:lnTo>
                  <a:lnTo>
                    <a:pt x="74683" y="124588"/>
                  </a:lnTo>
                  <a:lnTo>
                    <a:pt x="33384" y="164855"/>
                  </a:lnTo>
                  <a:lnTo>
                    <a:pt x="33384" y="252273"/>
                  </a:lnTo>
                  <a:lnTo>
                    <a:pt x="0" y="252273"/>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32" name="TextBox 31">
              <a:extLst>
                <a:ext uri="{FF2B5EF4-FFF2-40B4-BE49-F238E27FC236}">
                  <a16:creationId xmlns:a16="http://schemas.microsoft.com/office/drawing/2014/main" id="{8EA64F79-826A-BA87-D95F-DF895DE562FD}"/>
                </a:ext>
              </a:extLst>
            </p:cNvPr>
            <p:cNvSpPr txBox="1"/>
            <p:nvPr/>
          </p:nvSpPr>
          <p:spPr>
            <a:xfrm>
              <a:off x="2708351" y="-513220"/>
              <a:ext cx="188259" cy="252273"/>
            </a:xfrm>
            <a:custGeom>
              <a:avLst/>
              <a:gdLst/>
              <a:ahLst/>
              <a:cxnLst/>
              <a:rect l="l" t="t" r="r" b="b"/>
              <a:pathLst>
                <a:path w="188259" h="252273">
                  <a:moveTo>
                    <a:pt x="0" y="0"/>
                  </a:moveTo>
                  <a:lnTo>
                    <a:pt x="182408" y="0"/>
                  </a:lnTo>
                  <a:lnTo>
                    <a:pt x="182408" y="29770"/>
                  </a:lnTo>
                  <a:lnTo>
                    <a:pt x="33385" y="29770"/>
                  </a:lnTo>
                  <a:lnTo>
                    <a:pt x="33385" y="107035"/>
                  </a:lnTo>
                  <a:lnTo>
                    <a:pt x="172943" y="107035"/>
                  </a:lnTo>
                  <a:lnTo>
                    <a:pt x="172943" y="136634"/>
                  </a:lnTo>
                  <a:lnTo>
                    <a:pt x="33385" y="136634"/>
                  </a:lnTo>
                  <a:lnTo>
                    <a:pt x="33385" y="222503"/>
                  </a:lnTo>
                  <a:lnTo>
                    <a:pt x="188259" y="222503"/>
                  </a:lnTo>
                  <a:lnTo>
                    <a:pt x="188259" y="252273"/>
                  </a:lnTo>
                  <a:lnTo>
                    <a:pt x="0" y="252273"/>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33" name="TextBox 32">
              <a:extLst>
                <a:ext uri="{FF2B5EF4-FFF2-40B4-BE49-F238E27FC236}">
                  <a16:creationId xmlns:a16="http://schemas.microsoft.com/office/drawing/2014/main" id="{E40E0963-D770-78A8-EC25-32636B699509}"/>
                </a:ext>
              </a:extLst>
            </p:cNvPr>
            <p:cNvSpPr txBox="1"/>
            <p:nvPr/>
          </p:nvSpPr>
          <p:spPr>
            <a:xfrm>
              <a:off x="2961835" y="-513220"/>
              <a:ext cx="198755" cy="252273"/>
            </a:xfrm>
            <a:custGeom>
              <a:avLst/>
              <a:gdLst/>
              <a:ahLst/>
              <a:cxnLst/>
              <a:rect l="l" t="t" r="r" b="b"/>
              <a:pathLst>
                <a:path w="198755" h="252273">
                  <a:moveTo>
                    <a:pt x="0" y="0"/>
                  </a:moveTo>
                  <a:lnTo>
                    <a:pt x="34244" y="0"/>
                  </a:lnTo>
                  <a:lnTo>
                    <a:pt x="166748" y="198067"/>
                  </a:lnTo>
                  <a:lnTo>
                    <a:pt x="166748" y="0"/>
                  </a:lnTo>
                  <a:lnTo>
                    <a:pt x="198755" y="0"/>
                  </a:lnTo>
                  <a:lnTo>
                    <a:pt x="198755" y="252273"/>
                  </a:lnTo>
                  <a:lnTo>
                    <a:pt x="164511" y="252273"/>
                  </a:lnTo>
                  <a:lnTo>
                    <a:pt x="32007" y="54034"/>
                  </a:lnTo>
                  <a:lnTo>
                    <a:pt x="32007" y="252273"/>
                  </a:lnTo>
                  <a:lnTo>
                    <a:pt x="0" y="252273"/>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34" name="TextBox 33">
              <a:extLst>
                <a:ext uri="{FF2B5EF4-FFF2-40B4-BE49-F238E27FC236}">
                  <a16:creationId xmlns:a16="http://schemas.microsoft.com/office/drawing/2014/main" id="{2C0ACF8C-890B-0716-33D0-C3CE181C887D}"/>
                </a:ext>
              </a:extLst>
            </p:cNvPr>
            <p:cNvSpPr txBox="1"/>
            <p:nvPr/>
          </p:nvSpPr>
          <p:spPr>
            <a:xfrm>
              <a:off x="3210225" y="-513220"/>
              <a:ext cx="231279" cy="252273"/>
            </a:xfrm>
            <a:custGeom>
              <a:avLst/>
              <a:gdLst/>
              <a:ahLst/>
              <a:cxnLst/>
              <a:rect l="l" t="t" r="r" b="b"/>
              <a:pathLst>
                <a:path w="231279" h="252273">
                  <a:moveTo>
                    <a:pt x="0" y="0"/>
                  </a:moveTo>
                  <a:lnTo>
                    <a:pt x="40611" y="0"/>
                  </a:lnTo>
                  <a:lnTo>
                    <a:pt x="90343" y="76060"/>
                  </a:lnTo>
                  <a:cubicBezTo>
                    <a:pt x="99521" y="90286"/>
                    <a:pt x="108067" y="104511"/>
                    <a:pt x="115983" y="118737"/>
                  </a:cubicBezTo>
                  <a:cubicBezTo>
                    <a:pt x="123555" y="105544"/>
                    <a:pt x="132733" y="90687"/>
                    <a:pt x="143516" y="74168"/>
                  </a:cubicBezTo>
                  <a:lnTo>
                    <a:pt x="192388" y="0"/>
                  </a:lnTo>
                  <a:lnTo>
                    <a:pt x="231279" y="0"/>
                  </a:lnTo>
                  <a:lnTo>
                    <a:pt x="130610" y="145410"/>
                  </a:lnTo>
                  <a:lnTo>
                    <a:pt x="130610" y="252273"/>
                  </a:lnTo>
                  <a:lnTo>
                    <a:pt x="97226" y="252273"/>
                  </a:lnTo>
                  <a:lnTo>
                    <a:pt x="97226" y="145410"/>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35" name="TextBox 34">
              <a:extLst>
                <a:ext uri="{FF2B5EF4-FFF2-40B4-BE49-F238E27FC236}">
                  <a16:creationId xmlns:a16="http://schemas.microsoft.com/office/drawing/2014/main" id="{8F0B56E4-6024-1F4D-9DBF-3B75DAB5F1FD}"/>
                </a:ext>
              </a:extLst>
            </p:cNvPr>
            <p:cNvSpPr txBox="1"/>
            <p:nvPr/>
          </p:nvSpPr>
          <p:spPr>
            <a:xfrm>
              <a:off x="3436679" y="-513220"/>
              <a:ext cx="235268" cy="252273"/>
            </a:xfrm>
            <a:custGeom>
              <a:avLst/>
              <a:gdLst/>
              <a:ahLst/>
              <a:cxnLst/>
              <a:rect l="l" t="t" r="r" b="b"/>
              <a:pathLst>
                <a:path w="235268" h="252273">
                  <a:moveTo>
                    <a:pt x="96882" y="0"/>
                  </a:moveTo>
                  <a:lnTo>
                    <a:pt x="132848" y="0"/>
                  </a:lnTo>
                  <a:lnTo>
                    <a:pt x="235268" y="250247"/>
                  </a:lnTo>
                  <a:lnTo>
                    <a:pt x="235268" y="252273"/>
                  </a:lnTo>
                  <a:lnTo>
                    <a:pt x="198067" y="252273"/>
                  </a:lnTo>
                  <a:lnTo>
                    <a:pt x="168641" y="175868"/>
                  </a:lnTo>
                  <a:lnTo>
                    <a:pt x="63154" y="175868"/>
                  </a:lnTo>
                  <a:lnTo>
                    <a:pt x="35449" y="252273"/>
                  </a:lnTo>
                  <a:lnTo>
                    <a:pt x="0" y="252273"/>
                  </a:lnTo>
                  <a:lnTo>
                    <a:pt x="96882" y="0"/>
                  </a:lnTo>
                  <a:close/>
                  <a:moveTo>
                    <a:pt x="114091" y="26501"/>
                  </a:moveTo>
                  <a:cubicBezTo>
                    <a:pt x="110878" y="42676"/>
                    <a:pt x="106347" y="58738"/>
                    <a:pt x="100496" y="74684"/>
                  </a:cubicBezTo>
                  <a:lnTo>
                    <a:pt x="72791" y="148679"/>
                  </a:lnTo>
                  <a:lnTo>
                    <a:pt x="158316" y="148679"/>
                  </a:lnTo>
                  <a:lnTo>
                    <a:pt x="131987" y="78814"/>
                  </a:lnTo>
                  <a:cubicBezTo>
                    <a:pt x="123957" y="57590"/>
                    <a:pt x="117991" y="40153"/>
                    <a:pt x="114091" y="26501"/>
                  </a:cubicBez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36" name="TextBox 35">
              <a:extLst>
                <a:ext uri="{FF2B5EF4-FFF2-40B4-BE49-F238E27FC236}">
                  <a16:creationId xmlns:a16="http://schemas.microsoft.com/office/drawing/2014/main" id="{2633406F-78DF-4B95-FAC3-78B02B554995}"/>
                </a:ext>
              </a:extLst>
            </p:cNvPr>
            <p:cNvSpPr txBox="1"/>
            <p:nvPr/>
          </p:nvSpPr>
          <p:spPr>
            <a:xfrm>
              <a:off x="3842253" y="-513220"/>
              <a:ext cx="33384" cy="252273"/>
            </a:xfrm>
            <a:custGeom>
              <a:avLst/>
              <a:gdLst/>
              <a:ahLst/>
              <a:cxnLst/>
              <a:rect l="l" t="t" r="r" b="b"/>
              <a:pathLst>
                <a:path w="33384" h="252273">
                  <a:moveTo>
                    <a:pt x="0" y="0"/>
                  </a:moveTo>
                  <a:lnTo>
                    <a:pt x="33384" y="0"/>
                  </a:lnTo>
                  <a:lnTo>
                    <a:pt x="33384" y="252273"/>
                  </a:lnTo>
                  <a:lnTo>
                    <a:pt x="0" y="252273"/>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37" name="TextBox 36">
              <a:extLst>
                <a:ext uri="{FF2B5EF4-FFF2-40B4-BE49-F238E27FC236}">
                  <a16:creationId xmlns:a16="http://schemas.microsoft.com/office/drawing/2014/main" id="{E0A23086-D0C9-1392-CEE9-6FEC83611D70}"/>
                </a:ext>
              </a:extLst>
            </p:cNvPr>
            <p:cNvSpPr txBox="1"/>
            <p:nvPr/>
          </p:nvSpPr>
          <p:spPr>
            <a:xfrm>
              <a:off x="3951722" y="-513220"/>
              <a:ext cx="198755" cy="252273"/>
            </a:xfrm>
            <a:custGeom>
              <a:avLst/>
              <a:gdLst/>
              <a:ahLst/>
              <a:cxnLst/>
              <a:rect l="l" t="t" r="r" b="b"/>
              <a:pathLst>
                <a:path w="198755" h="252273">
                  <a:moveTo>
                    <a:pt x="0" y="0"/>
                  </a:moveTo>
                  <a:lnTo>
                    <a:pt x="34244" y="0"/>
                  </a:lnTo>
                  <a:lnTo>
                    <a:pt x="166748" y="198067"/>
                  </a:lnTo>
                  <a:lnTo>
                    <a:pt x="166748" y="0"/>
                  </a:lnTo>
                  <a:lnTo>
                    <a:pt x="198755" y="0"/>
                  </a:lnTo>
                  <a:lnTo>
                    <a:pt x="198755" y="252273"/>
                  </a:lnTo>
                  <a:lnTo>
                    <a:pt x="164511" y="252273"/>
                  </a:lnTo>
                  <a:lnTo>
                    <a:pt x="32007" y="54034"/>
                  </a:lnTo>
                  <a:lnTo>
                    <a:pt x="32007" y="252273"/>
                  </a:lnTo>
                  <a:lnTo>
                    <a:pt x="0" y="252273"/>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38" name="TextBox 37">
              <a:extLst>
                <a:ext uri="{FF2B5EF4-FFF2-40B4-BE49-F238E27FC236}">
                  <a16:creationId xmlns:a16="http://schemas.microsoft.com/office/drawing/2014/main" id="{41022FDC-D4E2-EE0C-2F5A-9BBA74F2C4F8}"/>
                </a:ext>
              </a:extLst>
            </p:cNvPr>
            <p:cNvSpPr txBox="1"/>
            <p:nvPr/>
          </p:nvSpPr>
          <p:spPr>
            <a:xfrm>
              <a:off x="4200627" y="-513220"/>
              <a:ext cx="230763" cy="252273"/>
            </a:xfrm>
            <a:custGeom>
              <a:avLst/>
              <a:gdLst/>
              <a:ahLst/>
              <a:cxnLst/>
              <a:rect l="l" t="t" r="r" b="b"/>
              <a:pathLst>
                <a:path w="230763" h="252273">
                  <a:moveTo>
                    <a:pt x="0" y="0"/>
                  </a:moveTo>
                  <a:lnTo>
                    <a:pt x="36137" y="0"/>
                  </a:lnTo>
                  <a:lnTo>
                    <a:pt x="101701" y="183268"/>
                  </a:lnTo>
                  <a:cubicBezTo>
                    <a:pt x="106978" y="197952"/>
                    <a:pt x="111395" y="211719"/>
                    <a:pt x="114951" y="224568"/>
                  </a:cubicBezTo>
                  <a:cubicBezTo>
                    <a:pt x="118852" y="210801"/>
                    <a:pt x="123383" y="197034"/>
                    <a:pt x="128546" y="183268"/>
                  </a:cubicBezTo>
                  <a:lnTo>
                    <a:pt x="196690" y="0"/>
                  </a:lnTo>
                  <a:lnTo>
                    <a:pt x="230763" y="0"/>
                  </a:lnTo>
                  <a:lnTo>
                    <a:pt x="131987" y="252273"/>
                  </a:lnTo>
                  <a:lnTo>
                    <a:pt x="97743" y="252273"/>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39" name="TextBox 38">
              <a:extLst>
                <a:ext uri="{FF2B5EF4-FFF2-40B4-BE49-F238E27FC236}">
                  <a16:creationId xmlns:a16="http://schemas.microsoft.com/office/drawing/2014/main" id="{1858F448-99A2-A151-1CED-CE4E6C275111}"/>
                </a:ext>
              </a:extLst>
            </p:cNvPr>
            <p:cNvSpPr txBox="1"/>
            <p:nvPr/>
          </p:nvSpPr>
          <p:spPr>
            <a:xfrm>
              <a:off x="4481471" y="-513220"/>
              <a:ext cx="188258" cy="252273"/>
            </a:xfrm>
            <a:custGeom>
              <a:avLst/>
              <a:gdLst/>
              <a:ahLst/>
              <a:cxnLst/>
              <a:rect l="l" t="t" r="r" b="b"/>
              <a:pathLst>
                <a:path w="188258" h="252273">
                  <a:moveTo>
                    <a:pt x="0" y="0"/>
                  </a:moveTo>
                  <a:lnTo>
                    <a:pt x="182407" y="0"/>
                  </a:lnTo>
                  <a:lnTo>
                    <a:pt x="182407" y="29770"/>
                  </a:lnTo>
                  <a:lnTo>
                    <a:pt x="33384" y="29770"/>
                  </a:lnTo>
                  <a:lnTo>
                    <a:pt x="33384" y="107035"/>
                  </a:lnTo>
                  <a:lnTo>
                    <a:pt x="172943" y="107035"/>
                  </a:lnTo>
                  <a:lnTo>
                    <a:pt x="172943" y="136634"/>
                  </a:lnTo>
                  <a:lnTo>
                    <a:pt x="33384" y="136634"/>
                  </a:lnTo>
                  <a:lnTo>
                    <a:pt x="33384" y="222503"/>
                  </a:lnTo>
                  <a:lnTo>
                    <a:pt x="188258" y="222503"/>
                  </a:lnTo>
                  <a:lnTo>
                    <a:pt x="188258" y="252273"/>
                  </a:lnTo>
                  <a:lnTo>
                    <a:pt x="0" y="252273"/>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40" name="TextBox 39">
              <a:extLst>
                <a:ext uri="{FF2B5EF4-FFF2-40B4-BE49-F238E27FC236}">
                  <a16:creationId xmlns:a16="http://schemas.microsoft.com/office/drawing/2014/main" id="{A712CABE-F7DB-92E4-4D02-0A8C15A1EB52}"/>
                </a:ext>
              </a:extLst>
            </p:cNvPr>
            <p:cNvSpPr txBox="1"/>
            <p:nvPr/>
          </p:nvSpPr>
          <p:spPr>
            <a:xfrm>
              <a:off x="4970846" y="-513220"/>
              <a:ext cx="199960" cy="252273"/>
            </a:xfrm>
            <a:custGeom>
              <a:avLst/>
              <a:gdLst/>
              <a:ahLst/>
              <a:cxnLst/>
              <a:rect l="l" t="t" r="r" b="b"/>
              <a:pathLst>
                <a:path w="199960" h="252273">
                  <a:moveTo>
                    <a:pt x="0" y="0"/>
                  </a:moveTo>
                  <a:lnTo>
                    <a:pt x="199960" y="0"/>
                  </a:lnTo>
                  <a:lnTo>
                    <a:pt x="199960" y="29770"/>
                  </a:lnTo>
                  <a:lnTo>
                    <a:pt x="116500" y="29770"/>
                  </a:lnTo>
                  <a:lnTo>
                    <a:pt x="116500" y="252273"/>
                  </a:lnTo>
                  <a:lnTo>
                    <a:pt x="83116" y="252273"/>
                  </a:lnTo>
                  <a:lnTo>
                    <a:pt x="83116" y="29770"/>
                  </a:lnTo>
                  <a:lnTo>
                    <a:pt x="0" y="29770"/>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41" name="TextBox 40">
              <a:extLst>
                <a:ext uri="{FF2B5EF4-FFF2-40B4-BE49-F238E27FC236}">
                  <a16:creationId xmlns:a16="http://schemas.microsoft.com/office/drawing/2014/main" id="{2FE4E61E-0F31-A10F-E7CD-679C07A562D5}"/>
                </a:ext>
              </a:extLst>
            </p:cNvPr>
            <p:cNvSpPr txBox="1"/>
            <p:nvPr/>
          </p:nvSpPr>
          <p:spPr>
            <a:xfrm>
              <a:off x="5223177" y="-513220"/>
              <a:ext cx="240743" cy="252273"/>
            </a:xfrm>
            <a:custGeom>
              <a:avLst/>
              <a:gdLst/>
              <a:ahLst/>
              <a:cxnLst/>
              <a:rect l="l" t="t" r="r" b="b"/>
              <a:pathLst>
                <a:path w="240743" h="252273">
                  <a:moveTo>
                    <a:pt x="0" y="0"/>
                  </a:moveTo>
                  <a:lnTo>
                    <a:pt x="50248" y="0"/>
                  </a:lnTo>
                  <a:lnTo>
                    <a:pt x="109961" y="178622"/>
                  </a:lnTo>
                  <a:cubicBezTo>
                    <a:pt x="115467" y="195256"/>
                    <a:pt x="119482" y="207704"/>
                    <a:pt x="122006" y="215964"/>
                  </a:cubicBezTo>
                  <a:cubicBezTo>
                    <a:pt x="124874" y="206786"/>
                    <a:pt x="129348" y="193306"/>
                    <a:pt x="135429" y="175524"/>
                  </a:cubicBezTo>
                  <a:lnTo>
                    <a:pt x="195830" y="0"/>
                  </a:lnTo>
                  <a:lnTo>
                    <a:pt x="240743" y="0"/>
                  </a:lnTo>
                  <a:lnTo>
                    <a:pt x="240743" y="252273"/>
                  </a:lnTo>
                  <a:lnTo>
                    <a:pt x="208564" y="252273"/>
                  </a:lnTo>
                  <a:lnTo>
                    <a:pt x="208564" y="41128"/>
                  </a:lnTo>
                  <a:lnTo>
                    <a:pt x="135257" y="252273"/>
                  </a:lnTo>
                  <a:lnTo>
                    <a:pt x="105142" y="252273"/>
                  </a:lnTo>
                  <a:lnTo>
                    <a:pt x="32179" y="37514"/>
                  </a:lnTo>
                  <a:lnTo>
                    <a:pt x="32179" y="252273"/>
                  </a:lnTo>
                  <a:lnTo>
                    <a:pt x="0" y="252273"/>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42" name="TextBox 41">
              <a:extLst>
                <a:ext uri="{FF2B5EF4-FFF2-40B4-BE49-F238E27FC236}">
                  <a16:creationId xmlns:a16="http://schemas.microsoft.com/office/drawing/2014/main" id="{B455BC97-CDCF-3E0F-22CF-81FB0DB230A2}"/>
                </a:ext>
              </a:extLst>
            </p:cNvPr>
            <p:cNvSpPr txBox="1"/>
            <p:nvPr/>
          </p:nvSpPr>
          <p:spPr>
            <a:xfrm>
              <a:off x="5538668" y="-513220"/>
              <a:ext cx="188258" cy="252273"/>
            </a:xfrm>
            <a:custGeom>
              <a:avLst/>
              <a:gdLst/>
              <a:ahLst/>
              <a:cxnLst/>
              <a:rect l="l" t="t" r="r" b="b"/>
              <a:pathLst>
                <a:path w="188258" h="252273">
                  <a:moveTo>
                    <a:pt x="0" y="0"/>
                  </a:moveTo>
                  <a:lnTo>
                    <a:pt x="182407" y="0"/>
                  </a:lnTo>
                  <a:lnTo>
                    <a:pt x="182407" y="29770"/>
                  </a:lnTo>
                  <a:lnTo>
                    <a:pt x="33384" y="29770"/>
                  </a:lnTo>
                  <a:lnTo>
                    <a:pt x="33384" y="107035"/>
                  </a:lnTo>
                  <a:lnTo>
                    <a:pt x="172943" y="107035"/>
                  </a:lnTo>
                  <a:lnTo>
                    <a:pt x="172943" y="136634"/>
                  </a:lnTo>
                  <a:lnTo>
                    <a:pt x="33384" y="136634"/>
                  </a:lnTo>
                  <a:lnTo>
                    <a:pt x="33384" y="222503"/>
                  </a:lnTo>
                  <a:lnTo>
                    <a:pt x="188258" y="222503"/>
                  </a:lnTo>
                  <a:lnTo>
                    <a:pt x="188258" y="252273"/>
                  </a:lnTo>
                  <a:lnTo>
                    <a:pt x="0" y="252273"/>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43" name="TextBox 42">
              <a:extLst>
                <a:ext uri="{FF2B5EF4-FFF2-40B4-BE49-F238E27FC236}">
                  <a16:creationId xmlns:a16="http://schemas.microsoft.com/office/drawing/2014/main" id="{64BE26F1-EF02-8191-3AD6-9B4FEAECE883}"/>
                </a:ext>
              </a:extLst>
            </p:cNvPr>
            <p:cNvSpPr txBox="1"/>
            <p:nvPr/>
          </p:nvSpPr>
          <p:spPr>
            <a:xfrm>
              <a:off x="5792152" y="-513220"/>
              <a:ext cx="198755" cy="252273"/>
            </a:xfrm>
            <a:custGeom>
              <a:avLst/>
              <a:gdLst/>
              <a:ahLst/>
              <a:cxnLst/>
              <a:rect l="l" t="t" r="r" b="b"/>
              <a:pathLst>
                <a:path w="198755" h="252273">
                  <a:moveTo>
                    <a:pt x="0" y="0"/>
                  </a:moveTo>
                  <a:lnTo>
                    <a:pt x="34245" y="0"/>
                  </a:lnTo>
                  <a:lnTo>
                    <a:pt x="166748" y="198067"/>
                  </a:lnTo>
                  <a:lnTo>
                    <a:pt x="166748" y="0"/>
                  </a:lnTo>
                  <a:lnTo>
                    <a:pt x="198755" y="0"/>
                  </a:lnTo>
                  <a:lnTo>
                    <a:pt x="198755" y="252273"/>
                  </a:lnTo>
                  <a:lnTo>
                    <a:pt x="164511" y="252273"/>
                  </a:lnTo>
                  <a:lnTo>
                    <a:pt x="32007" y="54034"/>
                  </a:lnTo>
                  <a:lnTo>
                    <a:pt x="32007" y="252273"/>
                  </a:lnTo>
                  <a:lnTo>
                    <a:pt x="0" y="252273"/>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44" name="TextBox 43">
              <a:extLst>
                <a:ext uri="{FF2B5EF4-FFF2-40B4-BE49-F238E27FC236}">
                  <a16:creationId xmlns:a16="http://schemas.microsoft.com/office/drawing/2014/main" id="{731C1C50-681E-942A-B97B-7B866C2F6F94}"/>
                </a:ext>
              </a:extLst>
            </p:cNvPr>
            <p:cNvSpPr txBox="1"/>
            <p:nvPr/>
          </p:nvSpPr>
          <p:spPr>
            <a:xfrm>
              <a:off x="6047767" y="-513220"/>
              <a:ext cx="199960" cy="252273"/>
            </a:xfrm>
            <a:custGeom>
              <a:avLst/>
              <a:gdLst/>
              <a:ahLst/>
              <a:cxnLst/>
              <a:rect l="l" t="t" r="r" b="b"/>
              <a:pathLst>
                <a:path w="199960" h="252273">
                  <a:moveTo>
                    <a:pt x="0" y="0"/>
                  </a:moveTo>
                  <a:lnTo>
                    <a:pt x="199960" y="0"/>
                  </a:lnTo>
                  <a:lnTo>
                    <a:pt x="199960" y="29770"/>
                  </a:lnTo>
                  <a:lnTo>
                    <a:pt x="116500" y="29770"/>
                  </a:lnTo>
                  <a:lnTo>
                    <a:pt x="116500" y="252273"/>
                  </a:lnTo>
                  <a:lnTo>
                    <a:pt x="83116" y="252273"/>
                  </a:lnTo>
                  <a:lnTo>
                    <a:pt x="83116" y="29770"/>
                  </a:lnTo>
                  <a:lnTo>
                    <a:pt x="0" y="29770"/>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45" name="TextBox 44">
              <a:extLst>
                <a:ext uri="{FF2B5EF4-FFF2-40B4-BE49-F238E27FC236}">
                  <a16:creationId xmlns:a16="http://schemas.microsoft.com/office/drawing/2014/main" id="{3DDF63C1-A55F-4D15-5F14-24A91C927B89}"/>
                </a:ext>
              </a:extLst>
            </p:cNvPr>
            <p:cNvSpPr txBox="1"/>
            <p:nvPr/>
          </p:nvSpPr>
          <p:spPr>
            <a:xfrm>
              <a:off x="6366898" y="-513220"/>
              <a:ext cx="219380" cy="252273"/>
            </a:xfrm>
            <a:custGeom>
              <a:avLst/>
              <a:gdLst/>
              <a:ahLst/>
              <a:cxnLst/>
              <a:rect l="l" t="t" r="r" b="b"/>
              <a:pathLst>
                <a:path w="219380" h="252273">
                  <a:moveTo>
                    <a:pt x="80165" y="0"/>
                  </a:moveTo>
                  <a:lnTo>
                    <a:pt x="116131" y="0"/>
                  </a:lnTo>
                  <a:lnTo>
                    <a:pt x="219380" y="252273"/>
                  </a:lnTo>
                  <a:lnTo>
                    <a:pt x="181350" y="252273"/>
                  </a:lnTo>
                  <a:lnTo>
                    <a:pt x="151924" y="175868"/>
                  </a:lnTo>
                  <a:lnTo>
                    <a:pt x="46437" y="175868"/>
                  </a:lnTo>
                  <a:lnTo>
                    <a:pt x="18732" y="252273"/>
                  </a:lnTo>
                  <a:lnTo>
                    <a:pt x="0" y="252273"/>
                  </a:lnTo>
                  <a:lnTo>
                    <a:pt x="0" y="208743"/>
                  </a:lnTo>
                  <a:lnTo>
                    <a:pt x="80165" y="0"/>
                  </a:lnTo>
                  <a:close/>
                  <a:moveTo>
                    <a:pt x="97374" y="26501"/>
                  </a:moveTo>
                  <a:cubicBezTo>
                    <a:pt x="94161" y="42676"/>
                    <a:pt x="89630" y="58738"/>
                    <a:pt x="83779" y="74684"/>
                  </a:cubicBezTo>
                  <a:lnTo>
                    <a:pt x="56074" y="148679"/>
                  </a:lnTo>
                  <a:lnTo>
                    <a:pt x="141599" y="148679"/>
                  </a:lnTo>
                  <a:lnTo>
                    <a:pt x="115270" y="78814"/>
                  </a:lnTo>
                  <a:cubicBezTo>
                    <a:pt x="107240" y="57590"/>
                    <a:pt x="101274" y="40153"/>
                    <a:pt x="97374" y="26501"/>
                  </a:cubicBez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46" name="TextBox 45">
              <a:extLst>
                <a:ext uri="{FF2B5EF4-FFF2-40B4-BE49-F238E27FC236}">
                  <a16:creationId xmlns:a16="http://schemas.microsoft.com/office/drawing/2014/main" id="{DEFACFD3-9CDE-8A39-13D9-9BBEAD21A6BC}"/>
                </a:ext>
              </a:extLst>
            </p:cNvPr>
            <p:cNvSpPr txBox="1"/>
            <p:nvPr/>
          </p:nvSpPr>
          <p:spPr>
            <a:xfrm>
              <a:off x="6632880" y="-513220"/>
              <a:ext cx="198411" cy="256575"/>
            </a:xfrm>
            <a:custGeom>
              <a:avLst/>
              <a:gdLst/>
              <a:ahLst/>
              <a:cxnLst/>
              <a:rect l="l" t="t" r="r" b="b"/>
              <a:pathLst>
                <a:path w="198411" h="256575">
                  <a:moveTo>
                    <a:pt x="0" y="0"/>
                  </a:moveTo>
                  <a:lnTo>
                    <a:pt x="33384" y="0"/>
                  </a:lnTo>
                  <a:lnTo>
                    <a:pt x="33384" y="145582"/>
                  </a:lnTo>
                  <a:cubicBezTo>
                    <a:pt x="33384" y="167494"/>
                    <a:pt x="35420" y="183641"/>
                    <a:pt x="39492" y="194023"/>
                  </a:cubicBezTo>
                  <a:cubicBezTo>
                    <a:pt x="43565" y="204405"/>
                    <a:pt x="50563" y="212407"/>
                    <a:pt x="60487" y="218029"/>
                  </a:cubicBezTo>
                  <a:cubicBezTo>
                    <a:pt x="70410" y="223650"/>
                    <a:pt x="82542" y="226461"/>
                    <a:pt x="96882" y="226461"/>
                  </a:cubicBezTo>
                  <a:cubicBezTo>
                    <a:pt x="121432" y="226461"/>
                    <a:pt x="138927" y="220897"/>
                    <a:pt x="149367" y="209769"/>
                  </a:cubicBezTo>
                  <a:cubicBezTo>
                    <a:pt x="159807" y="198641"/>
                    <a:pt x="165027" y="177245"/>
                    <a:pt x="165027" y="145582"/>
                  </a:cubicBezTo>
                  <a:lnTo>
                    <a:pt x="165027" y="0"/>
                  </a:lnTo>
                  <a:lnTo>
                    <a:pt x="198411" y="0"/>
                  </a:lnTo>
                  <a:lnTo>
                    <a:pt x="198411" y="145754"/>
                  </a:lnTo>
                  <a:cubicBezTo>
                    <a:pt x="198411" y="171107"/>
                    <a:pt x="195543" y="191241"/>
                    <a:pt x="189807" y="206155"/>
                  </a:cubicBezTo>
                  <a:cubicBezTo>
                    <a:pt x="184070" y="221069"/>
                    <a:pt x="173717" y="233200"/>
                    <a:pt x="158746" y="242550"/>
                  </a:cubicBezTo>
                  <a:cubicBezTo>
                    <a:pt x="143774" y="251900"/>
                    <a:pt x="124128" y="256575"/>
                    <a:pt x="99807" y="256575"/>
                  </a:cubicBezTo>
                  <a:cubicBezTo>
                    <a:pt x="76175" y="256575"/>
                    <a:pt x="56844" y="252502"/>
                    <a:pt x="41816" y="244357"/>
                  </a:cubicBezTo>
                  <a:cubicBezTo>
                    <a:pt x="26787" y="236212"/>
                    <a:pt x="16061" y="224424"/>
                    <a:pt x="9636" y="208994"/>
                  </a:cubicBezTo>
                  <a:cubicBezTo>
                    <a:pt x="3212" y="193564"/>
                    <a:pt x="0" y="172484"/>
                    <a:pt x="0" y="145754"/>
                  </a:cubicBez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47" name="TextBox 46">
              <a:extLst>
                <a:ext uri="{FF2B5EF4-FFF2-40B4-BE49-F238E27FC236}">
                  <a16:creationId xmlns:a16="http://schemas.microsoft.com/office/drawing/2014/main" id="{B9B42A1E-AE1E-12F6-BD06-5E2109A302B0}"/>
                </a:ext>
              </a:extLst>
            </p:cNvPr>
            <p:cNvSpPr txBox="1"/>
            <p:nvPr/>
          </p:nvSpPr>
          <p:spPr>
            <a:xfrm>
              <a:off x="6887634" y="-513220"/>
              <a:ext cx="199960" cy="252273"/>
            </a:xfrm>
            <a:custGeom>
              <a:avLst/>
              <a:gdLst/>
              <a:ahLst/>
              <a:cxnLst/>
              <a:rect l="l" t="t" r="r" b="b"/>
              <a:pathLst>
                <a:path w="199960" h="252273">
                  <a:moveTo>
                    <a:pt x="0" y="0"/>
                  </a:moveTo>
                  <a:lnTo>
                    <a:pt x="199960" y="0"/>
                  </a:lnTo>
                  <a:lnTo>
                    <a:pt x="199960" y="29770"/>
                  </a:lnTo>
                  <a:lnTo>
                    <a:pt x="116500" y="29770"/>
                  </a:lnTo>
                  <a:lnTo>
                    <a:pt x="116500" y="252273"/>
                  </a:lnTo>
                  <a:lnTo>
                    <a:pt x="83116" y="252273"/>
                  </a:lnTo>
                  <a:lnTo>
                    <a:pt x="83116" y="29770"/>
                  </a:lnTo>
                  <a:lnTo>
                    <a:pt x="0" y="29770"/>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48" name="TextBox 47">
              <a:extLst>
                <a:ext uri="{FF2B5EF4-FFF2-40B4-BE49-F238E27FC236}">
                  <a16:creationId xmlns:a16="http://schemas.microsoft.com/office/drawing/2014/main" id="{4D15E0C8-0298-615D-113C-5CFC190CFA1D}"/>
                </a:ext>
              </a:extLst>
            </p:cNvPr>
            <p:cNvSpPr txBox="1"/>
            <p:nvPr/>
          </p:nvSpPr>
          <p:spPr>
            <a:xfrm>
              <a:off x="7142032" y="-513220"/>
              <a:ext cx="197895" cy="252273"/>
            </a:xfrm>
            <a:custGeom>
              <a:avLst/>
              <a:gdLst/>
              <a:ahLst/>
              <a:cxnLst/>
              <a:rect l="l" t="t" r="r" b="b"/>
              <a:pathLst>
                <a:path w="197895" h="252273">
                  <a:moveTo>
                    <a:pt x="0" y="0"/>
                  </a:moveTo>
                  <a:lnTo>
                    <a:pt x="33384" y="0"/>
                  </a:lnTo>
                  <a:lnTo>
                    <a:pt x="33384" y="103594"/>
                  </a:lnTo>
                  <a:lnTo>
                    <a:pt x="164511" y="103594"/>
                  </a:lnTo>
                  <a:lnTo>
                    <a:pt x="164511" y="0"/>
                  </a:lnTo>
                  <a:lnTo>
                    <a:pt x="197895" y="0"/>
                  </a:lnTo>
                  <a:lnTo>
                    <a:pt x="197895" y="252273"/>
                  </a:lnTo>
                  <a:lnTo>
                    <a:pt x="164511" y="252273"/>
                  </a:lnTo>
                  <a:lnTo>
                    <a:pt x="164511" y="133364"/>
                  </a:lnTo>
                  <a:lnTo>
                    <a:pt x="33384" y="133364"/>
                  </a:lnTo>
                  <a:lnTo>
                    <a:pt x="33384" y="252273"/>
                  </a:lnTo>
                  <a:lnTo>
                    <a:pt x="0" y="252273"/>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49" name="TextBox 48">
              <a:extLst>
                <a:ext uri="{FF2B5EF4-FFF2-40B4-BE49-F238E27FC236}">
                  <a16:creationId xmlns:a16="http://schemas.microsoft.com/office/drawing/2014/main" id="{C0DC0B3F-FBCB-A387-6B6A-C7ACEA260704}"/>
                </a:ext>
              </a:extLst>
            </p:cNvPr>
            <p:cNvSpPr txBox="1"/>
            <p:nvPr/>
          </p:nvSpPr>
          <p:spPr>
            <a:xfrm>
              <a:off x="7709840" y="-513220"/>
              <a:ext cx="222330" cy="252273"/>
            </a:xfrm>
            <a:custGeom>
              <a:avLst/>
              <a:gdLst/>
              <a:ahLst/>
              <a:cxnLst/>
              <a:rect l="l" t="t" r="r" b="b"/>
              <a:pathLst>
                <a:path w="222330" h="252273">
                  <a:moveTo>
                    <a:pt x="0" y="0"/>
                  </a:moveTo>
                  <a:lnTo>
                    <a:pt x="111853" y="0"/>
                  </a:lnTo>
                  <a:cubicBezTo>
                    <a:pt x="134339" y="0"/>
                    <a:pt x="151432" y="2266"/>
                    <a:pt x="163134" y="6797"/>
                  </a:cubicBezTo>
                  <a:cubicBezTo>
                    <a:pt x="174835" y="11329"/>
                    <a:pt x="184185" y="19331"/>
                    <a:pt x="191183" y="30803"/>
                  </a:cubicBezTo>
                  <a:cubicBezTo>
                    <a:pt x="198181" y="42275"/>
                    <a:pt x="201680" y="54952"/>
                    <a:pt x="201680" y="68833"/>
                  </a:cubicBezTo>
                  <a:cubicBezTo>
                    <a:pt x="201680" y="86730"/>
                    <a:pt x="195887" y="101816"/>
                    <a:pt x="184300" y="114091"/>
                  </a:cubicBezTo>
                  <a:cubicBezTo>
                    <a:pt x="172713" y="126366"/>
                    <a:pt x="154816" y="134167"/>
                    <a:pt x="130610" y="137494"/>
                  </a:cubicBezTo>
                  <a:cubicBezTo>
                    <a:pt x="139444" y="141739"/>
                    <a:pt x="146155" y="145926"/>
                    <a:pt x="150744" y="150056"/>
                  </a:cubicBezTo>
                  <a:cubicBezTo>
                    <a:pt x="160495" y="159004"/>
                    <a:pt x="169730" y="170190"/>
                    <a:pt x="178449" y="183612"/>
                  </a:cubicBezTo>
                  <a:lnTo>
                    <a:pt x="222330" y="252273"/>
                  </a:lnTo>
                  <a:lnTo>
                    <a:pt x="180342" y="252273"/>
                  </a:lnTo>
                  <a:lnTo>
                    <a:pt x="146958" y="199788"/>
                  </a:lnTo>
                  <a:cubicBezTo>
                    <a:pt x="137207" y="184645"/>
                    <a:pt x="129176" y="173058"/>
                    <a:pt x="122866" y="165027"/>
                  </a:cubicBezTo>
                  <a:cubicBezTo>
                    <a:pt x="116557" y="156997"/>
                    <a:pt x="110907" y="151375"/>
                    <a:pt x="105916" y="148163"/>
                  </a:cubicBezTo>
                  <a:cubicBezTo>
                    <a:pt x="100926" y="144951"/>
                    <a:pt x="95849" y="142714"/>
                    <a:pt x="90687" y="141452"/>
                  </a:cubicBezTo>
                  <a:cubicBezTo>
                    <a:pt x="86901" y="140649"/>
                    <a:pt x="80706" y="140247"/>
                    <a:pt x="72102" y="140247"/>
                  </a:cubicBezTo>
                  <a:lnTo>
                    <a:pt x="33384" y="140247"/>
                  </a:lnTo>
                  <a:lnTo>
                    <a:pt x="33384" y="252273"/>
                  </a:lnTo>
                  <a:lnTo>
                    <a:pt x="0" y="252273"/>
                  </a:lnTo>
                  <a:lnTo>
                    <a:pt x="0" y="0"/>
                  </a:lnTo>
                  <a:close/>
                  <a:moveTo>
                    <a:pt x="33384" y="27877"/>
                  </a:moveTo>
                  <a:lnTo>
                    <a:pt x="33384" y="111337"/>
                  </a:lnTo>
                  <a:lnTo>
                    <a:pt x="105142" y="111337"/>
                  </a:lnTo>
                  <a:cubicBezTo>
                    <a:pt x="120400" y="111337"/>
                    <a:pt x="132331" y="109760"/>
                    <a:pt x="140935" y="106605"/>
                  </a:cubicBezTo>
                  <a:cubicBezTo>
                    <a:pt x="149539" y="103450"/>
                    <a:pt x="156078" y="98403"/>
                    <a:pt x="160553" y="91462"/>
                  </a:cubicBezTo>
                  <a:cubicBezTo>
                    <a:pt x="165027" y="84521"/>
                    <a:pt x="167264" y="76978"/>
                    <a:pt x="167264" y="68833"/>
                  </a:cubicBezTo>
                  <a:cubicBezTo>
                    <a:pt x="167264" y="56902"/>
                    <a:pt x="162933" y="47093"/>
                    <a:pt x="154272" y="39407"/>
                  </a:cubicBezTo>
                  <a:cubicBezTo>
                    <a:pt x="145610" y="31721"/>
                    <a:pt x="131929" y="27877"/>
                    <a:pt x="113230" y="27877"/>
                  </a:cubicBezTo>
                  <a:lnTo>
                    <a:pt x="33384" y="27877"/>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50" name="TextBox 49">
              <a:extLst>
                <a:ext uri="{FF2B5EF4-FFF2-40B4-BE49-F238E27FC236}">
                  <a16:creationId xmlns:a16="http://schemas.microsoft.com/office/drawing/2014/main" id="{4C66912A-4ACB-0EA1-971F-54E49BFC2894}"/>
                </a:ext>
              </a:extLst>
            </p:cNvPr>
            <p:cNvSpPr txBox="1"/>
            <p:nvPr/>
          </p:nvSpPr>
          <p:spPr>
            <a:xfrm>
              <a:off x="7989203" y="-513220"/>
              <a:ext cx="33384" cy="252273"/>
            </a:xfrm>
            <a:custGeom>
              <a:avLst/>
              <a:gdLst/>
              <a:ahLst/>
              <a:cxnLst/>
              <a:rect l="l" t="t" r="r" b="b"/>
              <a:pathLst>
                <a:path w="33384" h="252273">
                  <a:moveTo>
                    <a:pt x="0" y="0"/>
                  </a:moveTo>
                  <a:lnTo>
                    <a:pt x="33384" y="0"/>
                  </a:lnTo>
                  <a:lnTo>
                    <a:pt x="33384" y="252273"/>
                  </a:lnTo>
                  <a:lnTo>
                    <a:pt x="0" y="252273"/>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51" name="TextBox 50">
              <a:extLst>
                <a:ext uri="{FF2B5EF4-FFF2-40B4-BE49-F238E27FC236}">
                  <a16:creationId xmlns:a16="http://schemas.microsoft.com/office/drawing/2014/main" id="{A92B9DA5-FFD8-CAAD-EAB9-2DABCAD15376}"/>
                </a:ext>
              </a:extLst>
            </p:cNvPr>
            <p:cNvSpPr txBox="1"/>
            <p:nvPr/>
          </p:nvSpPr>
          <p:spPr>
            <a:xfrm>
              <a:off x="8080086" y="-513220"/>
              <a:ext cx="199960" cy="252273"/>
            </a:xfrm>
            <a:custGeom>
              <a:avLst/>
              <a:gdLst/>
              <a:ahLst/>
              <a:cxnLst/>
              <a:rect l="l" t="t" r="r" b="b"/>
              <a:pathLst>
                <a:path w="199960" h="252273">
                  <a:moveTo>
                    <a:pt x="0" y="0"/>
                  </a:moveTo>
                  <a:lnTo>
                    <a:pt x="199960" y="0"/>
                  </a:lnTo>
                  <a:lnTo>
                    <a:pt x="199960" y="29770"/>
                  </a:lnTo>
                  <a:lnTo>
                    <a:pt x="116500" y="29770"/>
                  </a:lnTo>
                  <a:lnTo>
                    <a:pt x="116500" y="252273"/>
                  </a:lnTo>
                  <a:lnTo>
                    <a:pt x="83116" y="252273"/>
                  </a:lnTo>
                  <a:lnTo>
                    <a:pt x="83116" y="29770"/>
                  </a:lnTo>
                  <a:lnTo>
                    <a:pt x="0" y="29770"/>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52" name="TextBox 51">
              <a:extLst>
                <a:ext uri="{FF2B5EF4-FFF2-40B4-BE49-F238E27FC236}">
                  <a16:creationId xmlns:a16="http://schemas.microsoft.com/office/drawing/2014/main" id="{67ACDF00-9389-B972-16A1-74CB24CDEF46}"/>
                </a:ext>
              </a:extLst>
            </p:cNvPr>
            <p:cNvSpPr txBox="1"/>
            <p:nvPr/>
          </p:nvSpPr>
          <p:spPr>
            <a:xfrm>
              <a:off x="8307293" y="-513220"/>
              <a:ext cx="231278" cy="252273"/>
            </a:xfrm>
            <a:custGeom>
              <a:avLst/>
              <a:gdLst/>
              <a:ahLst/>
              <a:cxnLst/>
              <a:rect l="l" t="t" r="r" b="b"/>
              <a:pathLst>
                <a:path w="231278" h="252273">
                  <a:moveTo>
                    <a:pt x="0" y="0"/>
                  </a:moveTo>
                  <a:lnTo>
                    <a:pt x="40611" y="0"/>
                  </a:lnTo>
                  <a:lnTo>
                    <a:pt x="90343" y="76060"/>
                  </a:lnTo>
                  <a:cubicBezTo>
                    <a:pt x="99521" y="90286"/>
                    <a:pt x="108067" y="104511"/>
                    <a:pt x="115983" y="118737"/>
                  </a:cubicBezTo>
                  <a:cubicBezTo>
                    <a:pt x="123555" y="105544"/>
                    <a:pt x="132732" y="90687"/>
                    <a:pt x="143516" y="74168"/>
                  </a:cubicBezTo>
                  <a:lnTo>
                    <a:pt x="192388" y="0"/>
                  </a:lnTo>
                  <a:lnTo>
                    <a:pt x="231278" y="0"/>
                  </a:lnTo>
                  <a:lnTo>
                    <a:pt x="130610" y="145410"/>
                  </a:lnTo>
                  <a:lnTo>
                    <a:pt x="130610" y="252273"/>
                  </a:lnTo>
                  <a:lnTo>
                    <a:pt x="97226" y="252273"/>
                  </a:lnTo>
                  <a:lnTo>
                    <a:pt x="97226" y="145410"/>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53" name="TextBox 52">
              <a:extLst>
                <a:ext uri="{FF2B5EF4-FFF2-40B4-BE49-F238E27FC236}">
                  <a16:creationId xmlns:a16="http://schemas.microsoft.com/office/drawing/2014/main" id="{61A4266A-D93F-0206-1820-F43F27418946}"/>
                </a:ext>
              </a:extLst>
            </p:cNvPr>
            <p:cNvSpPr txBox="1"/>
            <p:nvPr/>
          </p:nvSpPr>
          <p:spPr>
            <a:xfrm>
              <a:off x="6350182" y="-304477"/>
              <a:ext cx="16717" cy="43530"/>
            </a:xfrm>
            <a:custGeom>
              <a:avLst/>
              <a:gdLst/>
              <a:ahLst/>
              <a:cxnLst/>
              <a:rect l="l" t="t" r="r" b="b"/>
              <a:pathLst>
                <a:path w="16717" h="43530">
                  <a:moveTo>
                    <a:pt x="16717" y="0"/>
                  </a:moveTo>
                  <a:lnTo>
                    <a:pt x="16717" y="43530"/>
                  </a:lnTo>
                  <a:lnTo>
                    <a:pt x="0" y="43530"/>
                  </a:lnTo>
                  <a:lnTo>
                    <a:pt x="16717"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54" name="TextBox 53">
              <a:extLst>
                <a:ext uri="{FF2B5EF4-FFF2-40B4-BE49-F238E27FC236}">
                  <a16:creationId xmlns:a16="http://schemas.microsoft.com/office/drawing/2014/main" id="{61E7DA60-C21E-B93B-1CC6-DBA277C2C3A8}"/>
                </a:ext>
              </a:extLst>
            </p:cNvPr>
            <p:cNvSpPr txBox="1"/>
            <p:nvPr/>
          </p:nvSpPr>
          <p:spPr>
            <a:xfrm>
              <a:off x="3671948" y="-262973"/>
              <a:ext cx="829" cy="2026"/>
            </a:xfrm>
            <a:custGeom>
              <a:avLst/>
              <a:gdLst/>
              <a:ahLst/>
              <a:cxnLst/>
              <a:rect l="l" t="t" r="r" b="b"/>
              <a:pathLst>
                <a:path w="829" h="2026">
                  <a:moveTo>
                    <a:pt x="0" y="0"/>
                  </a:moveTo>
                  <a:lnTo>
                    <a:pt x="829" y="2026"/>
                  </a:lnTo>
                  <a:lnTo>
                    <a:pt x="0" y="2026"/>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grpSp>
    </p:spTree>
    <p:extLst>
      <p:ext uri="{BB962C8B-B14F-4D97-AF65-F5344CB8AC3E}">
        <p14:creationId xmlns:p14="http://schemas.microsoft.com/office/powerpoint/2010/main" val="305518371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380604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FFE7E7"/>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US" noProof="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384721"/>
          </a:xfrm>
        </p:spPr>
        <p:txBody>
          <a:bodyPr vert="horz">
            <a:spAutoFit/>
          </a:bodyPr>
          <a:lstStyle>
            <a:lvl1pPr rtl="0">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5" y="637721"/>
            <a:ext cx="7918704" cy="246221"/>
          </a:xfrm>
          <a:prstGeom prst="rect">
            <a:avLst/>
          </a:prstGeom>
        </p:spPr>
        <p:txBody>
          <a:bodyPr wrap="square">
            <a:spAutoFit/>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7" name="Google Shape;64;p16">
            <a:extLst>
              <a:ext uri="{FF2B5EF4-FFF2-40B4-BE49-F238E27FC236}">
                <a16:creationId xmlns:a16="http://schemas.microsoft.com/office/drawing/2014/main" id="{9165E6EB-B919-C0BA-206A-301A69C56A16}"/>
              </a:ext>
            </a:extLst>
          </p:cNvPr>
          <p:cNvPicPr preferRelativeResize="0"/>
          <p:nvPr userDrawn="1"/>
        </p:nvPicPr>
        <p:blipFill rotWithShape="1">
          <a:blip r:embed="rId12" cstate="email">
            <a:alphaModFix/>
            <a:extLst>
              <a:ext uri="{28A0092B-C50C-407E-A947-70E740481C1C}">
                <a14:useLocalDpi xmlns:a14="http://schemas.microsoft.com/office/drawing/2010/main"/>
              </a:ext>
            </a:extLst>
          </a:blip>
          <a:srcRect/>
          <a:stretch/>
        </p:blipFill>
        <p:spPr bwMode="ltGray">
          <a:xfrm>
            <a:off x="10128282" y="-14875"/>
            <a:ext cx="2063718" cy="1950355"/>
          </a:xfrm>
          <a:prstGeom prst="rect">
            <a:avLst/>
          </a:prstGeom>
          <a:noFill/>
          <a:ln>
            <a:noFill/>
          </a:ln>
        </p:spPr>
      </p:pic>
      <p:grpSp>
        <p:nvGrpSpPr>
          <p:cNvPr id="2" name="Group 1">
            <a:extLst>
              <a:ext uri="{FF2B5EF4-FFF2-40B4-BE49-F238E27FC236}">
                <a16:creationId xmlns:a16="http://schemas.microsoft.com/office/drawing/2014/main" id="{A9A4F8AD-DDB5-81DB-7CFF-C17AC9D2DF39}"/>
              </a:ext>
            </a:extLst>
          </p:cNvPr>
          <p:cNvGrpSpPr/>
          <p:nvPr userDrawn="1"/>
        </p:nvGrpSpPr>
        <p:grpSpPr>
          <a:xfrm>
            <a:off x="10644663" y="172212"/>
            <a:ext cx="1269969" cy="353548"/>
            <a:chOff x="-770028" y="-2797529"/>
            <a:chExt cx="9308599" cy="2591427"/>
          </a:xfrm>
        </p:grpSpPr>
        <p:sp>
          <p:nvSpPr>
            <p:cNvPr id="5" name="Freeform: Shape 4">
              <a:extLst>
                <a:ext uri="{FF2B5EF4-FFF2-40B4-BE49-F238E27FC236}">
                  <a16:creationId xmlns:a16="http://schemas.microsoft.com/office/drawing/2014/main" id="{01679C03-7404-A13C-0A95-DF8E0BB1F012}"/>
                </a:ext>
              </a:extLst>
            </p:cNvPr>
            <p:cNvSpPr/>
            <p:nvPr/>
          </p:nvSpPr>
          <p:spPr>
            <a:xfrm>
              <a:off x="2457429" y="-1765355"/>
              <a:ext cx="687427" cy="1091288"/>
            </a:xfrm>
            <a:custGeom>
              <a:avLst/>
              <a:gdLst>
                <a:gd name="connsiteX0" fmla="*/ 687811 w 687427"/>
                <a:gd name="connsiteY0" fmla="*/ 1091442 h 1091288"/>
                <a:gd name="connsiteX1" fmla="*/ 569781 w 687427"/>
                <a:gd name="connsiteY1" fmla="*/ 1091442 h 1091288"/>
                <a:gd name="connsiteX2" fmla="*/ 430557 w 687427"/>
                <a:gd name="connsiteY2" fmla="*/ 1045722 h 1091288"/>
                <a:gd name="connsiteX3" fmla="*/ 370271 w 687427"/>
                <a:gd name="connsiteY3" fmla="*/ 931739 h 1091288"/>
                <a:gd name="connsiteX4" fmla="*/ 370271 w 687427"/>
                <a:gd name="connsiteY4" fmla="*/ 714490 h 1091288"/>
                <a:gd name="connsiteX5" fmla="*/ 346538 w 687427"/>
                <a:gd name="connsiteY5" fmla="*/ 612414 h 1091288"/>
                <a:gd name="connsiteX6" fmla="*/ 257043 w 687427"/>
                <a:gd name="connsiteY6" fmla="*/ 585029 h 1091288"/>
                <a:gd name="connsiteX7" fmla="*/ 218030 w 687427"/>
                <a:gd name="connsiteY7" fmla="*/ 585029 h 1091288"/>
                <a:gd name="connsiteX8" fmla="*/ 218030 w 687427"/>
                <a:gd name="connsiteY8" fmla="*/ 1091442 h 1091288"/>
                <a:gd name="connsiteX9" fmla="*/ 384 w 687427"/>
                <a:gd name="connsiteY9" fmla="*/ 1091442 h 1091288"/>
                <a:gd name="connsiteX10" fmla="*/ 384 w 687427"/>
                <a:gd name="connsiteY10" fmla="*/ 154 h 1091288"/>
                <a:gd name="connsiteX11" fmla="*/ 218030 w 687427"/>
                <a:gd name="connsiteY11" fmla="*/ 154 h 1091288"/>
                <a:gd name="connsiteX12" fmla="*/ 218030 w 687427"/>
                <a:gd name="connsiteY12" fmla="*/ 462911 h 1091288"/>
                <a:gd name="connsiteX13" fmla="*/ 272997 w 687427"/>
                <a:gd name="connsiteY13" fmla="*/ 464260 h 1091288"/>
                <a:gd name="connsiteX14" fmla="*/ 317368 w 687427"/>
                <a:gd name="connsiteY14" fmla="*/ 447710 h 1091288"/>
                <a:gd name="connsiteX15" fmla="*/ 338164 w 687427"/>
                <a:gd name="connsiteY15" fmla="*/ 356191 h 1091288"/>
                <a:gd name="connsiteX16" fmla="*/ 353563 w 687427"/>
                <a:gd name="connsiteY16" fmla="*/ 154 h 1091288"/>
                <a:gd name="connsiteX17" fmla="*/ 557874 w 687427"/>
                <a:gd name="connsiteY17" fmla="*/ 154 h 1091288"/>
                <a:gd name="connsiteX18" fmla="*/ 542436 w 687427"/>
                <a:gd name="connsiteY18" fmla="*/ 324441 h 1091288"/>
                <a:gd name="connsiteX19" fmla="*/ 506042 w 687427"/>
                <a:gd name="connsiteY19" fmla="*/ 437709 h 1091288"/>
                <a:gd name="connsiteX20" fmla="*/ 410118 w 687427"/>
                <a:gd name="connsiteY20" fmla="*/ 486207 h 1091288"/>
                <a:gd name="connsiteX21" fmla="*/ 536165 w 687427"/>
                <a:gd name="connsiteY21" fmla="*/ 544270 h 1091288"/>
                <a:gd name="connsiteX22" fmla="*/ 578988 w 687427"/>
                <a:gd name="connsiteY22" fmla="*/ 668175 h 1091288"/>
                <a:gd name="connsiteX23" fmla="*/ 578988 w 687427"/>
                <a:gd name="connsiteY23" fmla="*/ 829425 h 1091288"/>
                <a:gd name="connsiteX24" fmla="*/ 602364 w 687427"/>
                <a:gd name="connsiteY24" fmla="*/ 947575 h 1091288"/>
                <a:gd name="connsiteX25" fmla="*/ 687811 w 687427"/>
                <a:gd name="connsiteY25" fmla="*/ 968252 h 1091288"/>
                <a:gd name="connsiteX26" fmla="*/ 687811 w 687427"/>
                <a:gd name="connsiteY26" fmla="*/ 1091442 h 1091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87427" h="1091288">
                  <a:moveTo>
                    <a:pt x="687811" y="1091442"/>
                  </a:moveTo>
                  <a:lnTo>
                    <a:pt x="569781" y="1091442"/>
                  </a:lnTo>
                  <a:cubicBezTo>
                    <a:pt x="517115" y="1091442"/>
                    <a:pt x="470760" y="1076202"/>
                    <a:pt x="430557" y="1045722"/>
                  </a:cubicBezTo>
                  <a:cubicBezTo>
                    <a:pt x="390314" y="1015242"/>
                    <a:pt x="370271" y="977182"/>
                    <a:pt x="370271" y="931739"/>
                  </a:cubicBezTo>
                  <a:lnTo>
                    <a:pt x="370271" y="714490"/>
                  </a:lnTo>
                  <a:cubicBezTo>
                    <a:pt x="370271" y="664761"/>
                    <a:pt x="362294" y="630709"/>
                    <a:pt x="346538" y="612414"/>
                  </a:cubicBezTo>
                  <a:cubicBezTo>
                    <a:pt x="330743" y="594157"/>
                    <a:pt x="300898" y="585029"/>
                    <a:pt x="257043" y="585029"/>
                  </a:cubicBezTo>
                  <a:lnTo>
                    <a:pt x="218030" y="585029"/>
                  </a:lnTo>
                  <a:lnTo>
                    <a:pt x="218030" y="1091442"/>
                  </a:lnTo>
                  <a:lnTo>
                    <a:pt x="384" y="1091442"/>
                  </a:lnTo>
                  <a:lnTo>
                    <a:pt x="384" y="154"/>
                  </a:lnTo>
                  <a:lnTo>
                    <a:pt x="218030" y="154"/>
                  </a:lnTo>
                  <a:lnTo>
                    <a:pt x="218030" y="462911"/>
                  </a:lnTo>
                  <a:lnTo>
                    <a:pt x="272997" y="464260"/>
                  </a:lnTo>
                  <a:cubicBezTo>
                    <a:pt x="291293" y="464697"/>
                    <a:pt x="306057" y="459140"/>
                    <a:pt x="317368" y="447710"/>
                  </a:cubicBezTo>
                  <a:cubicBezTo>
                    <a:pt x="328639" y="436320"/>
                    <a:pt x="335584" y="405800"/>
                    <a:pt x="338164" y="356191"/>
                  </a:cubicBezTo>
                  <a:lnTo>
                    <a:pt x="353563" y="154"/>
                  </a:lnTo>
                  <a:lnTo>
                    <a:pt x="557874" y="154"/>
                  </a:lnTo>
                  <a:lnTo>
                    <a:pt x="542436" y="324441"/>
                  </a:lnTo>
                  <a:cubicBezTo>
                    <a:pt x="539539" y="377543"/>
                    <a:pt x="527355" y="415167"/>
                    <a:pt x="506042" y="437709"/>
                  </a:cubicBezTo>
                  <a:cubicBezTo>
                    <a:pt x="484770" y="460172"/>
                    <a:pt x="452782" y="476285"/>
                    <a:pt x="410118" y="486207"/>
                  </a:cubicBezTo>
                  <a:cubicBezTo>
                    <a:pt x="465561" y="493549"/>
                    <a:pt x="507551" y="512838"/>
                    <a:pt x="536165" y="544270"/>
                  </a:cubicBezTo>
                  <a:cubicBezTo>
                    <a:pt x="564740" y="575703"/>
                    <a:pt x="578988" y="617017"/>
                    <a:pt x="578988" y="668175"/>
                  </a:cubicBezTo>
                  <a:lnTo>
                    <a:pt x="578988" y="829425"/>
                  </a:lnTo>
                  <a:cubicBezTo>
                    <a:pt x="578988" y="894433"/>
                    <a:pt x="586807" y="933803"/>
                    <a:pt x="602364" y="947575"/>
                  </a:cubicBezTo>
                  <a:cubicBezTo>
                    <a:pt x="617922" y="961346"/>
                    <a:pt x="646417" y="968252"/>
                    <a:pt x="687811" y="968252"/>
                  </a:cubicBezTo>
                  <a:lnTo>
                    <a:pt x="687811" y="1091442"/>
                  </a:lnTo>
                  <a:close/>
                </a:path>
              </a:pathLst>
            </a:custGeom>
            <a:solidFill>
              <a:srgbClr val="007236"/>
            </a:solidFill>
            <a:ln w="39688" cap="flat">
              <a:noFill/>
              <a:prstDash val="solid"/>
              <a:round/>
            </a:ln>
          </p:spPr>
          <p:txBody>
            <a:bodyPr rtlCol="0" anchor="ctr"/>
            <a:lstStyle/>
            <a:p>
              <a:pPr rtl="0"/>
              <a:endParaRPr lang="en-US"/>
            </a:p>
          </p:txBody>
        </p:sp>
        <p:sp>
          <p:nvSpPr>
            <p:cNvPr id="6" name="Freeform: Shape 5">
              <a:extLst>
                <a:ext uri="{FF2B5EF4-FFF2-40B4-BE49-F238E27FC236}">
                  <a16:creationId xmlns:a16="http://schemas.microsoft.com/office/drawing/2014/main" id="{B9994283-5715-C01D-6626-B9E085BD108F}"/>
                </a:ext>
              </a:extLst>
            </p:cNvPr>
            <p:cNvSpPr/>
            <p:nvPr/>
          </p:nvSpPr>
          <p:spPr>
            <a:xfrm>
              <a:off x="3171844" y="-1521035"/>
              <a:ext cx="509826" cy="854829"/>
            </a:xfrm>
            <a:custGeom>
              <a:avLst/>
              <a:gdLst>
                <a:gd name="connsiteX0" fmla="*/ 341398 w 509826"/>
                <a:gd name="connsiteY0" fmla="*/ 319510 h 854829"/>
                <a:gd name="connsiteX1" fmla="*/ 329810 w 509826"/>
                <a:gd name="connsiteY1" fmla="*/ 169530 h 854829"/>
                <a:gd name="connsiteX2" fmla="*/ 276470 w 509826"/>
                <a:gd name="connsiteY2" fmla="*/ 129049 h 854829"/>
                <a:gd name="connsiteX3" fmla="*/ 224360 w 509826"/>
                <a:gd name="connsiteY3" fmla="*/ 164927 h 854829"/>
                <a:gd name="connsiteX4" fmla="*/ 212136 w 509826"/>
                <a:gd name="connsiteY4" fmla="*/ 319510 h 854829"/>
                <a:gd name="connsiteX5" fmla="*/ 341398 w 509826"/>
                <a:gd name="connsiteY5" fmla="*/ 319510 h 854829"/>
                <a:gd name="connsiteX6" fmla="*/ 510269 w 509826"/>
                <a:gd name="connsiteY6" fmla="*/ 439366 h 854829"/>
                <a:gd name="connsiteX7" fmla="*/ 211501 w 509826"/>
                <a:gd name="connsiteY7" fmla="*/ 439366 h 854829"/>
                <a:gd name="connsiteX8" fmla="*/ 225511 w 509826"/>
                <a:gd name="connsiteY8" fmla="*/ 675427 h 854829"/>
                <a:gd name="connsiteX9" fmla="*/ 284248 w 509826"/>
                <a:gd name="connsiteY9" fmla="*/ 726148 h 854829"/>
                <a:gd name="connsiteX10" fmla="*/ 328976 w 509826"/>
                <a:gd name="connsiteY10" fmla="*/ 706979 h 854829"/>
                <a:gd name="connsiteX11" fmla="*/ 343661 w 509826"/>
                <a:gd name="connsiteY11" fmla="*/ 639907 h 854829"/>
                <a:gd name="connsiteX12" fmla="*/ 490227 w 509826"/>
                <a:gd name="connsiteY12" fmla="*/ 639907 h 854829"/>
                <a:gd name="connsiteX13" fmla="*/ 434545 w 509826"/>
                <a:gd name="connsiteY13" fmla="*/ 802705 h 854829"/>
                <a:gd name="connsiteX14" fmla="*/ 262301 w 509826"/>
                <a:gd name="connsiteY14" fmla="*/ 855013 h 854829"/>
                <a:gd name="connsiteX15" fmla="*/ 67038 w 509826"/>
                <a:gd name="connsiteY15" fmla="*/ 747301 h 854829"/>
                <a:gd name="connsiteX16" fmla="*/ 443 w 509826"/>
                <a:gd name="connsiteY16" fmla="*/ 426904 h 854829"/>
                <a:gd name="connsiteX17" fmla="*/ 69618 w 509826"/>
                <a:gd name="connsiteY17" fmla="*/ 107856 h 854829"/>
                <a:gd name="connsiteX18" fmla="*/ 277819 w 509826"/>
                <a:gd name="connsiteY18" fmla="*/ 184 h 854829"/>
                <a:gd name="connsiteX19" fmla="*/ 453833 w 509826"/>
                <a:gd name="connsiteY19" fmla="*/ 86425 h 854829"/>
                <a:gd name="connsiteX20" fmla="*/ 510269 w 509826"/>
                <a:gd name="connsiteY20" fmla="*/ 345068 h 854829"/>
                <a:gd name="connsiteX21" fmla="*/ 510269 w 509826"/>
                <a:gd name="connsiteY21" fmla="*/ 439366 h 854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09826" h="854829">
                  <a:moveTo>
                    <a:pt x="341398" y="319510"/>
                  </a:moveTo>
                  <a:cubicBezTo>
                    <a:pt x="341398" y="246485"/>
                    <a:pt x="337588" y="196478"/>
                    <a:pt x="329810" y="169530"/>
                  </a:cubicBezTo>
                  <a:cubicBezTo>
                    <a:pt x="322071" y="142503"/>
                    <a:pt x="304330" y="129049"/>
                    <a:pt x="276470" y="129049"/>
                  </a:cubicBezTo>
                  <a:cubicBezTo>
                    <a:pt x="249879" y="129049"/>
                    <a:pt x="232496" y="140955"/>
                    <a:pt x="224360" y="164927"/>
                  </a:cubicBezTo>
                  <a:cubicBezTo>
                    <a:pt x="216224" y="188938"/>
                    <a:pt x="212136" y="240412"/>
                    <a:pt x="212136" y="319510"/>
                  </a:cubicBezTo>
                  <a:lnTo>
                    <a:pt x="341398" y="319510"/>
                  </a:lnTo>
                  <a:close/>
                  <a:moveTo>
                    <a:pt x="510269" y="439366"/>
                  </a:moveTo>
                  <a:lnTo>
                    <a:pt x="211501" y="439366"/>
                  </a:lnTo>
                  <a:cubicBezTo>
                    <a:pt x="211501" y="562953"/>
                    <a:pt x="216145" y="641574"/>
                    <a:pt x="225511" y="675427"/>
                  </a:cubicBezTo>
                  <a:cubicBezTo>
                    <a:pt x="234877" y="709241"/>
                    <a:pt x="254483" y="726148"/>
                    <a:pt x="284248" y="726148"/>
                  </a:cubicBezTo>
                  <a:cubicBezTo>
                    <a:pt x="304291" y="726148"/>
                    <a:pt x="319213" y="719719"/>
                    <a:pt x="328976" y="706979"/>
                  </a:cubicBezTo>
                  <a:cubicBezTo>
                    <a:pt x="338779" y="694081"/>
                    <a:pt x="343661" y="671697"/>
                    <a:pt x="343661" y="639907"/>
                  </a:cubicBezTo>
                  <a:lnTo>
                    <a:pt x="490227" y="639907"/>
                  </a:lnTo>
                  <a:cubicBezTo>
                    <a:pt x="490227" y="713567"/>
                    <a:pt x="471772" y="767820"/>
                    <a:pt x="434545" y="802705"/>
                  </a:cubicBezTo>
                  <a:cubicBezTo>
                    <a:pt x="397397" y="837551"/>
                    <a:pt x="340009" y="855013"/>
                    <a:pt x="262301" y="855013"/>
                  </a:cubicBezTo>
                  <a:cubicBezTo>
                    <a:pt x="176536" y="855013"/>
                    <a:pt x="111449" y="819096"/>
                    <a:pt x="67038" y="747301"/>
                  </a:cubicBezTo>
                  <a:cubicBezTo>
                    <a:pt x="22668" y="675546"/>
                    <a:pt x="443" y="568747"/>
                    <a:pt x="443" y="426904"/>
                  </a:cubicBezTo>
                  <a:cubicBezTo>
                    <a:pt x="443" y="285974"/>
                    <a:pt x="23541" y="179611"/>
                    <a:pt x="69618" y="107856"/>
                  </a:cubicBezTo>
                  <a:cubicBezTo>
                    <a:pt x="115735" y="36061"/>
                    <a:pt x="185109" y="184"/>
                    <a:pt x="277819" y="184"/>
                  </a:cubicBezTo>
                  <a:cubicBezTo>
                    <a:pt x="357591" y="184"/>
                    <a:pt x="416328" y="28917"/>
                    <a:pt x="453833" y="86425"/>
                  </a:cubicBezTo>
                  <a:cubicBezTo>
                    <a:pt x="491457" y="143892"/>
                    <a:pt x="510269" y="230133"/>
                    <a:pt x="510269" y="345068"/>
                  </a:cubicBezTo>
                  <a:lnTo>
                    <a:pt x="510269" y="439366"/>
                  </a:lnTo>
                  <a:close/>
                </a:path>
              </a:pathLst>
            </a:custGeom>
            <a:solidFill>
              <a:srgbClr val="007236"/>
            </a:solidFill>
            <a:ln w="39688" cap="flat">
              <a:noFill/>
              <a:prstDash val="solid"/>
              <a:round/>
            </a:ln>
          </p:spPr>
          <p:txBody>
            <a:bodyPr rtlCol="0" anchor="ctr"/>
            <a:lstStyle/>
            <a:p>
              <a:pPr rtl="0"/>
              <a:endParaRPr lang="en-US"/>
            </a:p>
          </p:txBody>
        </p:sp>
        <p:sp>
          <p:nvSpPr>
            <p:cNvPr id="12" name="Freeform: Shape 11">
              <a:extLst>
                <a:ext uri="{FF2B5EF4-FFF2-40B4-BE49-F238E27FC236}">
                  <a16:creationId xmlns:a16="http://schemas.microsoft.com/office/drawing/2014/main" id="{53CFFDCC-7E74-E751-A099-802A9EF832EB}"/>
                </a:ext>
              </a:extLst>
            </p:cNvPr>
            <p:cNvSpPr/>
            <p:nvPr/>
          </p:nvSpPr>
          <p:spPr>
            <a:xfrm>
              <a:off x="3776682" y="-1521039"/>
              <a:ext cx="545267" cy="846971"/>
            </a:xfrm>
            <a:custGeom>
              <a:avLst/>
              <a:gdLst>
                <a:gd name="connsiteX0" fmla="*/ 545780 w 545267"/>
                <a:gd name="connsiteY0" fmla="*/ 847142 h 846971"/>
                <a:gd name="connsiteX1" fmla="*/ 341429 w 545267"/>
                <a:gd name="connsiteY1" fmla="*/ 847142 h 846971"/>
                <a:gd name="connsiteX2" fmla="*/ 341429 w 545267"/>
                <a:gd name="connsiteY2" fmla="*/ 208688 h 846971"/>
                <a:gd name="connsiteX3" fmla="*/ 321982 w 545267"/>
                <a:gd name="connsiteY3" fmla="*/ 154316 h 846971"/>
                <a:gd name="connsiteX4" fmla="*/ 268920 w 545267"/>
                <a:gd name="connsiteY4" fmla="*/ 136854 h 846971"/>
                <a:gd name="connsiteX5" fmla="*/ 235542 w 545267"/>
                <a:gd name="connsiteY5" fmla="*/ 139791 h 846971"/>
                <a:gd name="connsiteX6" fmla="*/ 204824 w 545267"/>
                <a:gd name="connsiteY6" fmla="*/ 147808 h 846971"/>
                <a:gd name="connsiteX7" fmla="*/ 204824 w 545267"/>
                <a:gd name="connsiteY7" fmla="*/ 847142 h 846971"/>
                <a:gd name="connsiteX8" fmla="*/ 513 w 545267"/>
                <a:gd name="connsiteY8" fmla="*/ 847142 h 846971"/>
                <a:gd name="connsiteX9" fmla="*/ 513 w 545267"/>
                <a:gd name="connsiteY9" fmla="*/ 11282 h 846971"/>
                <a:gd name="connsiteX10" fmla="*/ 168153 w 545267"/>
                <a:gd name="connsiteY10" fmla="*/ 11282 h 846971"/>
                <a:gd name="connsiteX11" fmla="*/ 180456 w 545267"/>
                <a:gd name="connsiteY11" fmla="*/ 47279 h 846971"/>
                <a:gd name="connsiteX12" fmla="*/ 261062 w 545267"/>
                <a:gd name="connsiteY12" fmla="*/ 10806 h 846971"/>
                <a:gd name="connsiteX13" fmla="*/ 347422 w 545267"/>
                <a:gd name="connsiteY13" fmla="*/ 170 h 846971"/>
                <a:gd name="connsiteX14" fmla="*/ 493472 w 545267"/>
                <a:gd name="connsiteY14" fmla="*/ 52200 h 846971"/>
                <a:gd name="connsiteX15" fmla="*/ 545780 w 545267"/>
                <a:gd name="connsiteY15" fmla="*/ 200592 h 846971"/>
                <a:gd name="connsiteX16" fmla="*/ 545780 w 545267"/>
                <a:gd name="connsiteY16" fmla="*/ 847142 h 846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45267" h="846971">
                  <a:moveTo>
                    <a:pt x="545780" y="847142"/>
                  </a:moveTo>
                  <a:lnTo>
                    <a:pt x="341429" y="847142"/>
                  </a:lnTo>
                  <a:lnTo>
                    <a:pt x="341429" y="208688"/>
                  </a:lnTo>
                  <a:cubicBezTo>
                    <a:pt x="341429" y="184042"/>
                    <a:pt x="334960" y="165945"/>
                    <a:pt x="321982" y="154316"/>
                  </a:cubicBezTo>
                  <a:cubicBezTo>
                    <a:pt x="309083" y="142648"/>
                    <a:pt x="291343" y="136854"/>
                    <a:pt x="268920" y="136854"/>
                  </a:cubicBezTo>
                  <a:cubicBezTo>
                    <a:pt x="258958" y="136854"/>
                    <a:pt x="247885" y="137767"/>
                    <a:pt x="235542" y="139791"/>
                  </a:cubicBezTo>
                  <a:cubicBezTo>
                    <a:pt x="223239" y="141656"/>
                    <a:pt x="213000" y="144355"/>
                    <a:pt x="204824" y="147808"/>
                  </a:cubicBezTo>
                  <a:lnTo>
                    <a:pt x="204824" y="847142"/>
                  </a:lnTo>
                  <a:lnTo>
                    <a:pt x="513" y="847142"/>
                  </a:lnTo>
                  <a:lnTo>
                    <a:pt x="513" y="11282"/>
                  </a:lnTo>
                  <a:lnTo>
                    <a:pt x="168153" y="11282"/>
                  </a:lnTo>
                  <a:lnTo>
                    <a:pt x="180456" y="47279"/>
                  </a:lnTo>
                  <a:cubicBezTo>
                    <a:pt x="209190" y="30134"/>
                    <a:pt x="236019" y="17910"/>
                    <a:pt x="261062" y="10806"/>
                  </a:cubicBezTo>
                  <a:cubicBezTo>
                    <a:pt x="286065" y="3662"/>
                    <a:pt x="314878" y="170"/>
                    <a:pt x="347422" y="170"/>
                  </a:cubicBezTo>
                  <a:cubicBezTo>
                    <a:pt x="409850" y="170"/>
                    <a:pt x="458547" y="17474"/>
                    <a:pt x="493472" y="52200"/>
                  </a:cubicBezTo>
                  <a:cubicBezTo>
                    <a:pt x="528357" y="86887"/>
                    <a:pt x="545780" y="136377"/>
                    <a:pt x="545780" y="200592"/>
                  </a:cubicBezTo>
                  <a:lnTo>
                    <a:pt x="545780" y="847142"/>
                  </a:lnTo>
                  <a:close/>
                </a:path>
              </a:pathLst>
            </a:custGeom>
            <a:solidFill>
              <a:srgbClr val="007236"/>
            </a:solidFill>
            <a:ln w="39688" cap="flat">
              <a:noFill/>
              <a:prstDash val="solid"/>
              <a:round/>
            </a:ln>
          </p:spPr>
          <p:txBody>
            <a:bodyPr rtlCol="0" anchor="ctr"/>
            <a:lstStyle/>
            <a:p>
              <a:pPr rtl="0"/>
              <a:endParaRPr lang="en-US"/>
            </a:p>
          </p:txBody>
        </p:sp>
        <p:sp>
          <p:nvSpPr>
            <p:cNvPr id="13" name="Freeform: Shape 12">
              <a:extLst>
                <a:ext uri="{FF2B5EF4-FFF2-40B4-BE49-F238E27FC236}">
                  <a16:creationId xmlns:a16="http://schemas.microsoft.com/office/drawing/2014/main" id="{5D22CC50-2D00-7799-266C-9A491A64C234}"/>
                </a:ext>
              </a:extLst>
            </p:cNvPr>
            <p:cNvSpPr/>
            <p:nvPr/>
          </p:nvSpPr>
          <p:spPr>
            <a:xfrm rot="10800000" flipV="1">
              <a:off x="4477405" y="-1765343"/>
              <a:ext cx="217686" cy="1091288"/>
            </a:xfrm>
            <a:custGeom>
              <a:avLst/>
              <a:gdLst>
                <a:gd name="connsiteX0" fmla="*/ 417 w 217686"/>
                <a:gd name="connsiteY0" fmla="*/ 129 h 1091288"/>
                <a:gd name="connsiteX1" fmla="*/ 218103 w 217686"/>
                <a:gd name="connsiteY1" fmla="*/ 129 h 1091288"/>
                <a:gd name="connsiteX2" fmla="*/ 218103 w 217686"/>
                <a:gd name="connsiteY2" fmla="*/ 1091417 h 1091288"/>
                <a:gd name="connsiteX3" fmla="*/ 417 w 217686"/>
                <a:gd name="connsiteY3" fmla="*/ 1091417 h 1091288"/>
              </a:gdLst>
              <a:ahLst/>
              <a:cxnLst>
                <a:cxn ang="0">
                  <a:pos x="connsiteX0" y="connsiteY0"/>
                </a:cxn>
                <a:cxn ang="0">
                  <a:pos x="connsiteX1" y="connsiteY1"/>
                </a:cxn>
                <a:cxn ang="0">
                  <a:pos x="connsiteX2" y="connsiteY2"/>
                </a:cxn>
                <a:cxn ang="0">
                  <a:pos x="connsiteX3" y="connsiteY3"/>
                </a:cxn>
              </a:cxnLst>
              <a:rect l="l" t="t" r="r" b="b"/>
              <a:pathLst>
                <a:path w="217686" h="1091288">
                  <a:moveTo>
                    <a:pt x="417" y="129"/>
                  </a:moveTo>
                  <a:lnTo>
                    <a:pt x="218103" y="129"/>
                  </a:lnTo>
                  <a:lnTo>
                    <a:pt x="218103" y="1091417"/>
                  </a:lnTo>
                  <a:lnTo>
                    <a:pt x="417" y="1091417"/>
                  </a:lnTo>
                  <a:close/>
                </a:path>
              </a:pathLst>
            </a:custGeom>
            <a:solidFill>
              <a:srgbClr val="DA2128"/>
            </a:solidFill>
            <a:ln w="39688" cap="flat">
              <a:noFill/>
              <a:prstDash val="solid"/>
              <a:round/>
            </a:ln>
          </p:spPr>
          <p:txBody>
            <a:bodyPr rtlCol="0" anchor="ctr"/>
            <a:lstStyle/>
            <a:p>
              <a:pPr rtl="0"/>
              <a:endParaRPr lang="en-US"/>
            </a:p>
          </p:txBody>
        </p:sp>
        <p:sp>
          <p:nvSpPr>
            <p:cNvPr id="14" name="Freeform: Shape 13">
              <a:extLst>
                <a:ext uri="{FF2B5EF4-FFF2-40B4-BE49-F238E27FC236}">
                  <a16:creationId xmlns:a16="http://schemas.microsoft.com/office/drawing/2014/main" id="{3E1C1A19-6F5E-BF2E-852B-EF1815CF3F16}"/>
                </a:ext>
              </a:extLst>
            </p:cNvPr>
            <p:cNvSpPr/>
            <p:nvPr/>
          </p:nvSpPr>
          <p:spPr>
            <a:xfrm>
              <a:off x="4852175" y="-1521039"/>
              <a:ext cx="545306" cy="846971"/>
            </a:xfrm>
            <a:custGeom>
              <a:avLst/>
              <a:gdLst>
                <a:gd name="connsiteX0" fmla="*/ 545932 w 545306"/>
                <a:gd name="connsiteY0" fmla="*/ 847142 h 846971"/>
                <a:gd name="connsiteX1" fmla="*/ 341581 w 545306"/>
                <a:gd name="connsiteY1" fmla="*/ 847142 h 846971"/>
                <a:gd name="connsiteX2" fmla="*/ 341581 w 545306"/>
                <a:gd name="connsiteY2" fmla="*/ 208688 h 846971"/>
                <a:gd name="connsiteX3" fmla="*/ 322174 w 545306"/>
                <a:gd name="connsiteY3" fmla="*/ 154316 h 846971"/>
                <a:gd name="connsiteX4" fmla="*/ 269072 w 545306"/>
                <a:gd name="connsiteY4" fmla="*/ 136854 h 846971"/>
                <a:gd name="connsiteX5" fmla="*/ 235735 w 545306"/>
                <a:gd name="connsiteY5" fmla="*/ 139791 h 846971"/>
                <a:gd name="connsiteX6" fmla="*/ 204937 w 545306"/>
                <a:gd name="connsiteY6" fmla="*/ 147808 h 846971"/>
                <a:gd name="connsiteX7" fmla="*/ 204937 w 545306"/>
                <a:gd name="connsiteY7" fmla="*/ 847142 h 846971"/>
                <a:gd name="connsiteX8" fmla="*/ 626 w 545306"/>
                <a:gd name="connsiteY8" fmla="*/ 847142 h 846971"/>
                <a:gd name="connsiteX9" fmla="*/ 626 w 545306"/>
                <a:gd name="connsiteY9" fmla="*/ 11282 h 846971"/>
                <a:gd name="connsiteX10" fmla="*/ 168306 w 545306"/>
                <a:gd name="connsiteY10" fmla="*/ 11282 h 846971"/>
                <a:gd name="connsiteX11" fmla="*/ 180648 w 545306"/>
                <a:gd name="connsiteY11" fmla="*/ 47279 h 846971"/>
                <a:gd name="connsiteX12" fmla="*/ 261174 w 545306"/>
                <a:gd name="connsiteY12" fmla="*/ 10806 h 846971"/>
                <a:gd name="connsiteX13" fmla="*/ 347534 w 545306"/>
                <a:gd name="connsiteY13" fmla="*/ 170 h 846971"/>
                <a:gd name="connsiteX14" fmla="*/ 493624 w 545306"/>
                <a:gd name="connsiteY14" fmla="*/ 52200 h 846971"/>
                <a:gd name="connsiteX15" fmla="*/ 545932 w 545306"/>
                <a:gd name="connsiteY15" fmla="*/ 200592 h 846971"/>
                <a:gd name="connsiteX16" fmla="*/ 545932 w 545306"/>
                <a:gd name="connsiteY16" fmla="*/ 847142 h 846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45306" h="846971">
                  <a:moveTo>
                    <a:pt x="545932" y="847142"/>
                  </a:moveTo>
                  <a:lnTo>
                    <a:pt x="341581" y="847142"/>
                  </a:lnTo>
                  <a:lnTo>
                    <a:pt x="341581" y="208688"/>
                  </a:lnTo>
                  <a:cubicBezTo>
                    <a:pt x="341581" y="184042"/>
                    <a:pt x="335112" y="165945"/>
                    <a:pt x="322174" y="154316"/>
                  </a:cubicBezTo>
                  <a:cubicBezTo>
                    <a:pt x="309276" y="142648"/>
                    <a:pt x="291535" y="136854"/>
                    <a:pt x="269072" y="136854"/>
                  </a:cubicBezTo>
                  <a:cubicBezTo>
                    <a:pt x="259150" y="136854"/>
                    <a:pt x="247998" y="137767"/>
                    <a:pt x="235735" y="139791"/>
                  </a:cubicBezTo>
                  <a:cubicBezTo>
                    <a:pt x="223432" y="141656"/>
                    <a:pt x="213152" y="144355"/>
                    <a:pt x="204937" y="147808"/>
                  </a:cubicBezTo>
                  <a:lnTo>
                    <a:pt x="204937" y="847142"/>
                  </a:lnTo>
                  <a:lnTo>
                    <a:pt x="626" y="847142"/>
                  </a:lnTo>
                  <a:lnTo>
                    <a:pt x="626" y="11282"/>
                  </a:lnTo>
                  <a:lnTo>
                    <a:pt x="168306" y="11282"/>
                  </a:lnTo>
                  <a:lnTo>
                    <a:pt x="180648" y="47279"/>
                  </a:lnTo>
                  <a:cubicBezTo>
                    <a:pt x="209263" y="30134"/>
                    <a:pt x="236092" y="17910"/>
                    <a:pt x="261174" y="10806"/>
                  </a:cubicBezTo>
                  <a:cubicBezTo>
                    <a:pt x="286217" y="3662"/>
                    <a:pt x="315030" y="170"/>
                    <a:pt x="347534" y="170"/>
                  </a:cubicBezTo>
                  <a:cubicBezTo>
                    <a:pt x="410042" y="170"/>
                    <a:pt x="458739" y="17474"/>
                    <a:pt x="493624" y="52200"/>
                  </a:cubicBezTo>
                  <a:cubicBezTo>
                    <a:pt x="528510" y="86887"/>
                    <a:pt x="545932" y="136377"/>
                    <a:pt x="545932" y="200592"/>
                  </a:cubicBezTo>
                  <a:lnTo>
                    <a:pt x="545932" y="847142"/>
                  </a:lnTo>
                  <a:close/>
                </a:path>
              </a:pathLst>
            </a:custGeom>
            <a:solidFill>
              <a:srgbClr val="DA2128"/>
            </a:solidFill>
            <a:ln w="39688" cap="flat">
              <a:noFill/>
              <a:prstDash val="solid"/>
              <a:round/>
            </a:ln>
          </p:spPr>
          <p:txBody>
            <a:bodyPr rtlCol="0" anchor="ctr"/>
            <a:lstStyle/>
            <a:p>
              <a:pPr rtl="0"/>
              <a:endParaRPr lang="en-US"/>
            </a:p>
          </p:txBody>
        </p:sp>
        <p:sp>
          <p:nvSpPr>
            <p:cNvPr id="15" name="Freeform: Shape 14">
              <a:extLst>
                <a:ext uri="{FF2B5EF4-FFF2-40B4-BE49-F238E27FC236}">
                  <a16:creationId xmlns:a16="http://schemas.microsoft.com/office/drawing/2014/main" id="{CF115F9A-AF51-742B-EEE2-11781F5533E8}"/>
                </a:ext>
              </a:extLst>
            </p:cNvPr>
            <p:cNvSpPr/>
            <p:nvPr/>
          </p:nvSpPr>
          <p:spPr>
            <a:xfrm>
              <a:off x="5503011" y="-1509922"/>
              <a:ext cx="545306" cy="835859"/>
            </a:xfrm>
            <a:custGeom>
              <a:avLst/>
              <a:gdLst>
                <a:gd name="connsiteX0" fmla="*/ 546001 w 545306"/>
                <a:gd name="connsiteY0" fmla="*/ 470517 h 835859"/>
                <a:gd name="connsiteX1" fmla="*/ 535801 w 545306"/>
                <a:gd name="connsiteY1" fmla="*/ 551519 h 835859"/>
                <a:gd name="connsiteX2" fmla="*/ 501709 w 545306"/>
                <a:gd name="connsiteY2" fmla="*/ 612519 h 835859"/>
                <a:gd name="connsiteX3" fmla="*/ 322719 w 545306"/>
                <a:gd name="connsiteY3" fmla="*/ 836039 h 835859"/>
                <a:gd name="connsiteX4" fmla="*/ 223976 w 545306"/>
                <a:gd name="connsiteY4" fmla="*/ 836039 h 835859"/>
                <a:gd name="connsiteX5" fmla="*/ 694 w 545306"/>
                <a:gd name="connsiteY5" fmla="*/ 571204 h 835859"/>
                <a:gd name="connsiteX6" fmla="*/ 694 w 545306"/>
                <a:gd name="connsiteY6" fmla="*/ 180 h 835859"/>
                <a:gd name="connsiteX7" fmla="*/ 205045 w 545306"/>
                <a:gd name="connsiteY7" fmla="*/ 180 h 835859"/>
                <a:gd name="connsiteX8" fmla="*/ 205045 w 545306"/>
                <a:gd name="connsiteY8" fmla="*/ 584738 h 835859"/>
                <a:gd name="connsiteX9" fmla="*/ 297200 w 545306"/>
                <a:gd name="connsiteY9" fmla="*/ 697172 h 835859"/>
                <a:gd name="connsiteX10" fmla="*/ 341689 w 545306"/>
                <a:gd name="connsiteY10" fmla="*/ 635180 h 835859"/>
                <a:gd name="connsiteX11" fmla="*/ 341689 w 545306"/>
                <a:gd name="connsiteY11" fmla="*/ 180 h 835859"/>
                <a:gd name="connsiteX12" fmla="*/ 546001 w 545306"/>
                <a:gd name="connsiteY12" fmla="*/ 180 h 835859"/>
                <a:gd name="connsiteX13" fmla="*/ 546001 w 545306"/>
                <a:gd name="connsiteY13" fmla="*/ 470517 h 835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45306" h="835859">
                  <a:moveTo>
                    <a:pt x="546001" y="470517"/>
                  </a:moveTo>
                  <a:cubicBezTo>
                    <a:pt x="546001" y="503656"/>
                    <a:pt x="542588" y="530683"/>
                    <a:pt x="535801" y="551519"/>
                  </a:cubicBezTo>
                  <a:cubicBezTo>
                    <a:pt x="528895" y="572474"/>
                    <a:pt x="517585" y="592834"/>
                    <a:pt x="501709" y="612519"/>
                  </a:cubicBezTo>
                  <a:lnTo>
                    <a:pt x="322719" y="836039"/>
                  </a:lnTo>
                  <a:lnTo>
                    <a:pt x="223976" y="836039"/>
                  </a:lnTo>
                  <a:lnTo>
                    <a:pt x="694" y="571204"/>
                  </a:lnTo>
                  <a:lnTo>
                    <a:pt x="694" y="180"/>
                  </a:lnTo>
                  <a:lnTo>
                    <a:pt x="205045" y="180"/>
                  </a:lnTo>
                  <a:lnTo>
                    <a:pt x="205045" y="584738"/>
                  </a:lnTo>
                  <a:lnTo>
                    <a:pt x="297200" y="697172"/>
                  </a:lnTo>
                  <a:lnTo>
                    <a:pt x="341689" y="635180"/>
                  </a:lnTo>
                  <a:lnTo>
                    <a:pt x="341689" y="180"/>
                  </a:lnTo>
                  <a:lnTo>
                    <a:pt x="546001" y="180"/>
                  </a:lnTo>
                  <a:lnTo>
                    <a:pt x="546001" y="470517"/>
                  </a:lnTo>
                  <a:close/>
                </a:path>
              </a:pathLst>
            </a:custGeom>
            <a:solidFill>
              <a:srgbClr val="DA2128"/>
            </a:solidFill>
            <a:ln w="39688" cap="flat">
              <a:noFill/>
              <a:prstDash val="solid"/>
              <a:round/>
            </a:ln>
          </p:spPr>
          <p:txBody>
            <a:bodyPr rtlCol="0" anchor="ctr"/>
            <a:lstStyle/>
            <a:p>
              <a:pPr rtl="0"/>
              <a:endParaRPr lang="en-US"/>
            </a:p>
          </p:txBody>
        </p:sp>
        <p:sp>
          <p:nvSpPr>
            <p:cNvPr id="16" name="Freeform: Shape 15">
              <a:extLst>
                <a:ext uri="{FF2B5EF4-FFF2-40B4-BE49-F238E27FC236}">
                  <a16:creationId xmlns:a16="http://schemas.microsoft.com/office/drawing/2014/main" id="{43FD17DB-69EA-785E-A3B0-C13D08A396C7}"/>
                </a:ext>
              </a:extLst>
            </p:cNvPr>
            <p:cNvSpPr/>
            <p:nvPr/>
          </p:nvSpPr>
          <p:spPr>
            <a:xfrm>
              <a:off x="6133249" y="-1521035"/>
              <a:ext cx="509706" cy="854829"/>
            </a:xfrm>
            <a:custGeom>
              <a:avLst/>
              <a:gdLst>
                <a:gd name="connsiteX0" fmla="*/ 341630 w 509706"/>
                <a:gd name="connsiteY0" fmla="*/ 319510 h 854829"/>
                <a:gd name="connsiteX1" fmla="*/ 330081 w 509706"/>
                <a:gd name="connsiteY1" fmla="*/ 169530 h 854829"/>
                <a:gd name="connsiteX2" fmla="*/ 276701 w 509706"/>
                <a:gd name="connsiteY2" fmla="*/ 129049 h 854829"/>
                <a:gd name="connsiteX3" fmla="*/ 224591 w 509706"/>
                <a:gd name="connsiteY3" fmla="*/ 164927 h 854829"/>
                <a:gd name="connsiteX4" fmla="*/ 212368 w 509706"/>
                <a:gd name="connsiteY4" fmla="*/ 319510 h 854829"/>
                <a:gd name="connsiteX5" fmla="*/ 341630 w 509706"/>
                <a:gd name="connsiteY5" fmla="*/ 319510 h 854829"/>
                <a:gd name="connsiteX6" fmla="*/ 510461 w 509706"/>
                <a:gd name="connsiteY6" fmla="*/ 439366 h 854829"/>
                <a:gd name="connsiteX7" fmla="*/ 211693 w 509706"/>
                <a:gd name="connsiteY7" fmla="*/ 439366 h 854829"/>
                <a:gd name="connsiteX8" fmla="*/ 225703 w 509706"/>
                <a:gd name="connsiteY8" fmla="*/ 675427 h 854829"/>
                <a:gd name="connsiteX9" fmla="*/ 284440 w 509706"/>
                <a:gd name="connsiteY9" fmla="*/ 726148 h 854829"/>
                <a:gd name="connsiteX10" fmla="*/ 329208 w 509706"/>
                <a:gd name="connsiteY10" fmla="*/ 706979 h 854829"/>
                <a:gd name="connsiteX11" fmla="*/ 343892 w 509706"/>
                <a:gd name="connsiteY11" fmla="*/ 639907 h 854829"/>
                <a:gd name="connsiteX12" fmla="*/ 490538 w 509706"/>
                <a:gd name="connsiteY12" fmla="*/ 639907 h 854829"/>
                <a:gd name="connsiteX13" fmla="*/ 434777 w 509706"/>
                <a:gd name="connsiteY13" fmla="*/ 802705 h 854829"/>
                <a:gd name="connsiteX14" fmla="*/ 262612 w 509706"/>
                <a:gd name="connsiteY14" fmla="*/ 855013 h 854829"/>
                <a:gd name="connsiteX15" fmla="*/ 67270 w 509706"/>
                <a:gd name="connsiteY15" fmla="*/ 747301 h 854829"/>
                <a:gd name="connsiteX16" fmla="*/ 754 w 509706"/>
                <a:gd name="connsiteY16" fmla="*/ 426904 h 854829"/>
                <a:gd name="connsiteX17" fmla="*/ 69850 w 509706"/>
                <a:gd name="connsiteY17" fmla="*/ 107856 h 854829"/>
                <a:gd name="connsiteX18" fmla="*/ 277971 w 509706"/>
                <a:gd name="connsiteY18" fmla="*/ 184 h 854829"/>
                <a:gd name="connsiteX19" fmla="*/ 454104 w 509706"/>
                <a:gd name="connsiteY19" fmla="*/ 86425 h 854829"/>
                <a:gd name="connsiteX20" fmla="*/ 510461 w 509706"/>
                <a:gd name="connsiteY20" fmla="*/ 345068 h 854829"/>
                <a:gd name="connsiteX21" fmla="*/ 510461 w 509706"/>
                <a:gd name="connsiteY21" fmla="*/ 439366 h 854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09706" h="854829">
                  <a:moveTo>
                    <a:pt x="341630" y="319510"/>
                  </a:moveTo>
                  <a:cubicBezTo>
                    <a:pt x="341630" y="246485"/>
                    <a:pt x="337780" y="196478"/>
                    <a:pt x="330081" y="169530"/>
                  </a:cubicBezTo>
                  <a:cubicBezTo>
                    <a:pt x="322342" y="142503"/>
                    <a:pt x="304482" y="129049"/>
                    <a:pt x="276701" y="129049"/>
                  </a:cubicBezTo>
                  <a:cubicBezTo>
                    <a:pt x="250110" y="129049"/>
                    <a:pt x="232727" y="140955"/>
                    <a:pt x="224591" y="164927"/>
                  </a:cubicBezTo>
                  <a:cubicBezTo>
                    <a:pt x="216416" y="188938"/>
                    <a:pt x="212368" y="240412"/>
                    <a:pt x="212368" y="319510"/>
                  </a:cubicBezTo>
                  <a:lnTo>
                    <a:pt x="341630" y="319510"/>
                  </a:lnTo>
                  <a:close/>
                  <a:moveTo>
                    <a:pt x="510461" y="439366"/>
                  </a:moveTo>
                  <a:lnTo>
                    <a:pt x="211693" y="439366"/>
                  </a:lnTo>
                  <a:cubicBezTo>
                    <a:pt x="211693" y="562953"/>
                    <a:pt x="216376" y="641574"/>
                    <a:pt x="225703" y="675427"/>
                  </a:cubicBezTo>
                  <a:cubicBezTo>
                    <a:pt x="235109" y="709241"/>
                    <a:pt x="254754" y="726148"/>
                    <a:pt x="284440" y="726148"/>
                  </a:cubicBezTo>
                  <a:cubicBezTo>
                    <a:pt x="304482" y="726148"/>
                    <a:pt x="319445" y="719719"/>
                    <a:pt x="329208" y="706979"/>
                  </a:cubicBezTo>
                  <a:cubicBezTo>
                    <a:pt x="338971" y="694081"/>
                    <a:pt x="343892" y="671697"/>
                    <a:pt x="343892" y="639907"/>
                  </a:cubicBezTo>
                  <a:lnTo>
                    <a:pt x="490538" y="639907"/>
                  </a:lnTo>
                  <a:cubicBezTo>
                    <a:pt x="490538" y="713567"/>
                    <a:pt x="471884" y="767820"/>
                    <a:pt x="434777" y="802705"/>
                  </a:cubicBezTo>
                  <a:cubicBezTo>
                    <a:pt x="397669" y="837551"/>
                    <a:pt x="340201" y="855013"/>
                    <a:pt x="262612" y="855013"/>
                  </a:cubicBezTo>
                  <a:cubicBezTo>
                    <a:pt x="176808" y="855013"/>
                    <a:pt x="111641" y="819096"/>
                    <a:pt x="67270" y="747301"/>
                  </a:cubicBezTo>
                  <a:cubicBezTo>
                    <a:pt x="22939" y="675546"/>
                    <a:pt x="754" y="568747"/>
                    <a:pt x="754" y="426904"/>
                  </a:cubicBezTo>
                  <a:cubicBezTo>
                    <a:pt x="754" y="285974"/>
                    <a:pt x="23772" y="179611"/>
                    <a:pt x="69850" y="107856"/>
                  </a:cubicBezTo>
                  <a:cubicBezTo>
                    <a:pt x="115927" y="36061"/>
                    <a:pt x="185340" y="184"/>
                    <a:pt x="277971" y="184"/>
                  </a:cubicBezTo>
                  <a:cubicBezTo>
                    <a:pt x="357822" y="184"/>
                    <a:pt x="416520" y="28917"/>
                    <a:pt x="454104" y="86425"/>
                  </a:cubicBezTo>
                  <a:cubicBezTo>
                    <a:pt x="491649" y="143892"/>
                    <a:pt x="510461" y="230133"/>
                    <a:pt x="510461" y="345068"/>
                  </a:cubicBezTo>
                  <a:lnTo>
                    <a:pt x="510461" y="439366"/>
                  </a:lnTo>
                  <a:close/>
                </a:path>
              </a:pathLst>
            </a:custGeom>
            <a:solidFill>
              <a:srgbClr val="DA2128"/>
            </a:solidFill>
            <a:ln w="39688" cap="flat">
              <a:noFill/>
              <a:prstDash val="solid"/>
              <a:round/>
            </a:ln>
          </p:spPr>
          <p:txBody>
            <a:bodyPr rtlCol="0" anchor="ctr"/>
            <a:lstStyle/>
            <a:p>
              <a:pPr rtl="0"/>
              <a:endParaRPr lang="en-US"/>
            </a:p>
          </p:txBody>
        </p:sp>
        <p:sp>
          <p:nvSpPr>
            <p:cNvPr id="17" name="Freeform: Shape 16">
              <a:extLst>
                <a:ext uri="{FF2B5EF4-FFF2-40B4-BE49-F238E27FC236}">
                  <a16:creationId xmlns:a16="http://schemas.microsoft.com/office/drawing/2014/main" id="{6D25DBEF-2B91-E59A-86E8-3FAD1313E970}"/>
                </a:ext>
              </a:extLst>
            </p:cNvPr>
            <p:cNvSpPr/>
            <p:nvPr/>
          </p:nvSpPr>
          <p:spPr>
            <a:xfrm>
              <a:off x="6713480" y="-1521035"/>
              <a:ext cx="469781" cy="854829"/>
            </a:xfrm>
            <a:custGeom>
              <a:avLst/>
              <a:gdLst>
                <a:gd name="connsiteX0" fmla="*/ 470598 w 469781"/>
                <a:gd name="connsiteY0" fmla="*/ 630493 h 854829"/>
                <a:gd name="connsiteX1" fmla="*/ 408050 w 469781"/>
                <a:gd name="connsiteY1" fmla="*/ 795752 h 854829"/>
                <a:gd name="connsiteX2" fmla="*/ 236640 w 469781"/>
                <a:gd name="connsiteY2" fmla="*/ 855006 h 854829"/>
                <a:gd name="connsiteX3" fmla="*/ 60030 w 469781"/>
                <a:gd name="connsiteY3" fmla="*/ 799800 h 854829"/>
                <a:gd name="connsiteX4" fmla="*/ 816 w 469781"/>
                <a:gd name="connsiteY4" fmla="*/ 634264 h 854829"/>
                <a:gd name="connsiteX5" fmla="*/ 166234 w 469781"/>
                <a:gd name="connsiteY5" fmla="*/ 634264 h 854829"/>
                <a:gd name="connsiteX6" fmla="*/ 182665 w 469781"/>
                <a:gd name="connsiteY6" fmla="*/ 699946 h 854829"/>
                <a:gd name="connsiteX7" fmla="*/ 231242 w 469781"/>
                <a:gd name="connsiteY7" fmla="*/ 720584 h 854829"/>
                <a:gd name="connsiteX8" fmla="*/ 277478 w 469781"/>
                <a:gd name="connsiteY8" fmla="*/ 704352 h 854829"/>
                <a:gd name="connsiteX9" fmla="*/ 292956 w 469781"/>
                <a:gd name="connsiteY9" fmla="*/ 655695 h 854829"/>
                <a:gd name="connsiteX10" fmla="*/ 260531 w 469781"/>
                <a:gd name="connsiteY10" fmla="*/ 591004 h 854829"/>
                <a:gd name="connsiteX11" fmla="*/ 154407 w 469781"/>
                <a:gd name="connsiteY11" fmla="*/ 491984 h 854829"/>
                <a:gd name="connsiteX12" fmla="*/ 35781 w 469781"/>
                <a:gd name="connsiteY12" fmla="*/ 350220 h 854829"/>
                <a:gd name="connsiteX13" fmla="*/ 10778 w 469781"/>
                <a:gd name="connsiteY13" fmla="*/ 201352 h 854829"/>
                <a:gd name="connsiteX14" fmla="*/ 73960 w 469781"/>
                <a:gd name="connsiteY14" fmla="*/ 54826 h 854829"/>
                <a:gd name="connsiteX15" fmla="*/ 240331 w 469781"/>
                <a:gd name="connsiteY15" fmla="*/ 176 h 854829"/>
                <a:gd name="connsiteX16" fmla="*/ 408923 w 469781"/>
                <a:gd name="connsiteY16" fmla="*/ 56453 h 854829"/>
                <a:gd name="connsiteX17" fmla="*/ 467264 w 469781"/>
                <a:gd name="connsiteY17" fmla="*/ 216433 h 854829"/>
                <a:gd name="connsiteX18" fmla="*/ 303989 w 469781"/>
                <a:gd name="connsiteY18" fmla="*/ 216433 h 854829"/>
                <a:gd name="connsiteX19" fmla="*/ 287400 w 469781"/>
                <a:gd name="connsiteY19" fmla="*/ 155632 h 854829"/>
                <a:gd name="connsiteX20" fmla="*/ 241521 w 469781"/>
                <a:gd name="connsiteY20" fmla="*/ 132375 h 854829"/>
                <a:gd name="connsiteX21" fmla="*/ 200365 w 469781"/>
                <a:gd name="connsiteY21" fmla="*/ 147536 h 854829"/>
                <a:gd name="connsiteX22" fmla="*/ 184014 w 469781"/>
                <a:gd name="connsiteY22" fmla="*/ 191033 h 854829"/>
                <a:gd name="connsiteX23" fmla="*/ 202945 w 469781"/>
                <a:gd name="connsiteY23" fmla="*/ 257391 h 854829"/>
                <a:gd name="connsiteX24" fmla="*/ 319071 w 469781"/>
                <a:gd name="connsiteY24" fmla="*/ 375501 h 854829"/>
                <a:gd name="connsiteX25" fmla="*/ 437736 w 469781"/>
                <a:gd name="connsiteY25" fmla="*/ 506549 h 854829"/>
                <a:gd name="connsiteX26" fmla="*/ 470598 w 469781"/>
                <a:gd name="connsiteY26" fmla="*/ 630493 h 854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69781" h="854829">
                  <a:moveTo>
                    <a:pt x="470598" y="630493"/>
                  </a:moveTo>
                  <a:cubicBezTo>
                    <a:pt x="470598" y="701177"/>
                    <a:pt x="449762" y="756342"/>
                    <a:pt x="408050" y="795752"/>
                  </a:cubicBezTo>
                  <a:cubicBezTo>
                    <a:pt x="366418" y="835281"/>
                    <a:pt x="309347" y="855006"/>
                    <a:pt x="236640" y="855006"/>
                  </a:cubicBezTo>
                  <a:cubicBezTo>
                    <a:pt x="158455" y="855006"/>
                    <a:pt x="99559" y="836630"/>
                    <a:pt x="60030" y="799800"/>
                  </a:cubicBezTo>
                  <a:cubicBezTo>
                    <a:pt x="20501" y="763050"/>
                    <a:pt x="816" y="707884"/>
                    <a:pt x="816" y="634264"/>
                  </a:cubicBezTo>
                  <a:lnTo>
                    <a:pt x="166234" y="634264"/>
                  </a:lnTo>
                  <a:cubicBezTo>
                    <a:pt x="166234" y="664347"/>
                    <a:pt x="171790" y="686254"/>
                    <a:pt x="182665" y="699946"/>
                  </a:cubicBezTo>
                  <a:cubicBezTo>
                    <a:pt x="193618" y="713718"/>
                    <a:pt x="209731" y="720584"/>
                    <a:pt x="231242" y="720584"/>
                  </a:cubicBezTo>
                  <a:cubicBezTo>
                    <a:pt x="251721" y="720584"/>
                    <a:pt x="267159" y="715226"/>
                    <a:pt x="277478" y="704352"/>
                  </a:cubicBezTo>
                  <a:cubicBezTo>
                    <a:pt x="287797" y="693517"/>
                    <a:pt x="292956" y="677325"/>
                    <a:pt x="292956" y="655695"/>
                  </a:cubicBezTo>
                  <a:cubicBezTo>
                    <a:pt x="292956" y="635851"/>
                    <a:pt x="282082" y="614261"/>
                    <a:pt x="260531" y="591004"/>
                  </a:cubicBezTo>
                  <a:cubicBezTo>
                    <a:pt x="238902" y="567668"/>
                    <a:pt x="203540" y="534727"/>
                    <a:pt x="154407" y="491984"/>
                  </a:cubicBezTo>
                  <a:cubicBezTo>
                    <a:pt x="92058" y="437652"/>
                    <a:pt x="52450" y="390344"/>
                    <a:pt x="35781" y="350220"/>
                  </a:cubicBezTo>
                  <a:cubicBezTo>
                    <a:pt x="19152" y="310135"/>
                    <a:pt x="10778" y="260486"/>
                    <a:pt x="10778" y="201352"/>
                  </a:cubicBezTo>
                  <a:cubicBezTo>
                    <a:pt x="10778" y="140074"/>
                    <a:pt x="31852" y="91298"/>
                    <a:pt x="73960" y="54826"/>
                  </a:cubicBezTo>
                  <a:cubicBezTo>
                    <a:pt x="116029" y="18392"/>
                    <a:pt x="171512" y="176"/>
                    <a:pt x="240331" y="176"/>
                  </a:cubicBezTo>
                  <a:cubicBezTo>
                    <a:pt x="313792" y="176"/>
                    <a:pt x="370029" y="18948"/>
                    <a:pt x="408923" y="56453"/>
                  </a:cubicBezTo>
                  <a:cubicBezTo>
                    <a:pt x="447857" y="94077"/>
                    <a:pt x="467264" y="147258"/>
                    <a:pt x="467264" y="216433"/>
                  </a:cubicBezTo>
                  <a:lnTo>
                    <a:pt x="303989" y="216433"/>
                  </a:lnTo>
                  <a:cubicBezTo>
                    <a:pt x="303989" y="191430"/>
                    <a:pt x="298473" y="171150"/>
                    <a:pt x="287400" y="155632"/>
                  </a:cubicBezTo>
                  <a:cubicBezTo>
                    <a:pt x="276287" y="140074"/>
                    <a:pt x="261047" y="132375"/>
                    <a:pt x="241521" y="132375"/>
                  </a:cubicBezTo>
                  <a:cubicBezTo>
                    <a:pt x="224892" y="132375"/>
                    <a:pt x="211120" y="137455"/>
                    <a:pt x="200365" y="147536"/>
                  </a:cubicBezTo>
                  <a:cubicBezTo>
                    <a:pt x="189491" y="157656"/>
                    <a:pt x="184014" y="172221"/>
                    <a:pt x="184014" y="191033"/>
                  </a:cubicBezTo>
                  <a:cubicBezTo>
                    <a:pt x="184014" y="213933"/>
                    <a:pt x="190324" y="236039"/>
                    <a:pt x="202945" y="257391"/>
                  </a:cubicBezTo>
                  <a:cubicBezTo>
                    <a:pt x="215526" y="278703"/>
                    <a:pt x="254221" y="318113"/>
                    <a:pt x="319071" y="375501"/>
                  </a:cubicBezTo>
                  <a:cubicBezTo>
                    <a:pt x="376141" y="425944"/>
                    <a:pt x="415710" y="469640"/>
                    <a:pt x="437736" y="506549"/>
                  </a:cubicBezTo>
                  <a:cubicBezTo>
                    <a:pt x="459644" y="543419"/>
                    <a:pt x="470598" y="584773"/>
                    <a:pt x="470598" y="630493"/>
                  </a:cubicBezTo>
                </a:path>
              </a:pathLst>
            </a:custGeom>
            <a:solidFill>
              <a:srgbClr val="DA2128"/>
            </a:solidFill>
            <a:ln w="39688" cap="flat">
              <a:noFill/>
              <a:prstDash val="solid"/>
              <a:round/>
            </a:ln>
          </p:spPr>
          <p:txBody>
            <a:bodyPr rtlCol="0" anchor="ctr"/>
            <a:lstStyle/>
            <a:p>
              <a:pPr rtl="0"/>
              <a:endParaRPr lang="en-US"/>
            </a:p>
          </p:txBody>
        </p:sp>
        <p:sp>
          <p:nvSpPr>
            <p:cNvPr id="21" name="Freeform: Shape 20">
              <a:extLst>
                <a:ext uri="{FF2B5EF4-FFF2-40B4-BE49-F238E27FC236}">
                  <a16:creationId xmlns:a16="http://schemas.microsoft.com/office/drawing/2014/main" id="{3FEC6522-3B2E-C400-25B3-999C0399FCF3}"/>
                </a:ext>
              </a:extLst>
            </p:cNvPr>
            <p:cNvSpPr/>
            <p:nvPr/>
          </p:nvSpPr>
          <p:spPr>
            <a:xfrm>
              <a:off x="7211916" y="-1765332"/>
              <a:ext cx="410924" cy="1091248"/>
            </a:xfrm>
            <a:custGeom>
              <a:avLst/>
              <a:gdLst>
                <a:gd name="connsiteX0" fmla="*/ 411789 w 410924"/>
                <a:gd name="connsiteY0" fmla="*/ 362043 h 1091248"/>
                <a:gd name="connsiteX1" fmla="*/ 285226 w 410924"/>
                <a:gd name="connsiteY1" fmla="*/ 362043 h 1091248"/>
                <a:gd name="connsiteX2" fmla="*/ 285226 w 410924"/>
                <a:gd name="connsiteY2" fmla="*/ 882585 h 1091248"/>
                <a:gd name="connsiteX3" fmla="*/ 308007 w 410924"/>
                <a:gd name="connsiteY3" fmla="*/ 959777 h 1091248"/>
                <a:gd name="connsiteX4" fmla="*/ 395160 w 410924"/>
                <a:gd name="connsiteY4" fmla="*/ 979383 h 1091248"/>
                <a:gd name="connsiteX5" fmla="*/ 395160 w 410924"/>
                <a:gd name="connsiteY5" fmla="*/ 1091421 h 1091248"/>
                <a:gd name="connsiteX6" fmla="*/ 278558 w 410924"/>
                <a:gd name="connsiteY6" fmla="*/ 1091421 h 1091248"/>
                <a:gd name="connsiteX7" fmla="*/ 129254 w 410924"/>
                <a:gd name="connsiteY7" fmla="*/ 1042049 h 1091248"/>
                <a:gd name="connsiteX8" fmla="*/ 78573 w 410924"/>
                <a:gd name="connsiteY8" fmla="*/ 890761 h 1091248"/>
                <a:gd name="connsiteX9" fmla="*/ 78573 w 410924"/>
                <a:gd name="connsiteY9" fmla="*/ 360932 h 1091248"/>
                <a:gd name="connsiteX10" fmla="*/ 865 w 410924"/>
                <a:gd name="connsiteY10" fmla="*/ 360932 h 1091248"/>
                <a:gd name="connsiteX11" fmla="*/ 865 w 410924"/>
                <a:gd name="connsiteY11" fmla="*/ 255601 h 1091248"/>
                <a:gd name="connsiteX12" fmla="*/ 78573 w 410924"/>
                <a:gd name="connsiteY12" fmla="*/ 255601 h 1091248"/>
                <a:gd name="connsiteX13" fmla="*/ 78573 w 410924"/>
                <a:gd name="connsiteY13" fmla="*/ 172 h 1091248"/>
                <a:gd name="connsiteX14" fmla="*/ 285226 w 410924"/>
                <a:gd name="connsiteY14" fmla="*/ 172 h 1091248"/>
                <a:gd name="connsiteX15" fmla="*/ 285226 w 410924"/>
                <a:gd name="connsiteY15" fmla="*/ 255601 h 1091248"/>
                <a:gd name="connsiteX16" fmla="*/ 411789 w 410924"/>
                <a:gd name="connsiteY16" fmla="*/ 255601 h 1091248"/>
                <a:gd name="connsiteX17" fmla="*/ 411789 w 410924"/>
                <a:gd name="connsiteY17" fmla="*/ 362043 h 1091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10924" h="1091248">
                  <a:moveTo>
                    <a:pt x="411789" y="362043"/>
                  </a:moveTo>
                  <a:lnTo>
                    <a:pt x="285226" y="362043"/>
                  </a:lnTo>
                  <a:lnTo>
                    <a:pt x="285226" y="882585"/>
                  </a:lnTo>
                  <a:cubicBezTo>
                    <a:pt x="285226" y="920804"/>
                    <a:pt x="292846" y="946601"/>
                    <a:pt x="308007" y="959777"/>
                  </a:cubicBezTo>
                  <a:cubicBezTo>
                    <a:pt x="323286" y="972834"/>
                    <a:pt x="352258" y="979383"/>
                    <a:pt x="395160" y="979383"/>
                  </a:cubicBezTo>
                  <a:lnTo>
                    <a:pt x="395160" y="1091421"/>
                  </a:lnTo>
                  <a:lnTo>
                    <a:pt x="278558" y="1091421"/>
                  </a:lnTo>
                  <a:cubicBezTo>
                    <a:pt x="212717" y="1091421"/>
                    <a:pt x="162949" y="1074990"/>
                    <a:pt x="129254" y="1042049"/>
                  </a:cubicBezTo>
                  <a:cubicBezTo>
                    <a:pt x="95480" y="1009188"/>
                    <a:pt x="78573" y="958785"/>
                    <a:pt x="78573" y="890761"/>
                  </a:cubicBezTo>
                  <a:lnTo>
                    <a:pt x="78573" y="360932"/>
                  </a:lnTo>
                  <a:lnTo>
                    <a:pt x="865" y="360932"/>
                  </a:lnTo>
                  <a:lnTo>
                    <a:pt x="865" y="255601"/>
                  </a:lnTo>
                  <a:lnTo>
                    <a:pt x="78573" y="255601"/>
                  </a:lnTo>
                  <a:lnTo>
                    <a:pt x="78573" y="172"/>
                  </a:lnTo>
                  <a:lnTo>
                    <a:pt x="285226" y="172"/>
                  </a:lnTo>
                  <a:lnTo>
                    <a:pt x="285226" y="255601"/>
                  </a:lnTo>
                  <a:lnTo>
                    <a:pt x="411789" y="255601"/>
                  </a:lnTo>
                  <a:lnTo>
                    <a:pt x="411789" y="362043"/>
                  </a:lnTo>
                  <a:close/>
                </a:path>
              </a:pathLst>
            </a:custGeom>
            <a:solidFill>
              <a:srgbClr val="DA2128"/>
            </a:solidFill>
            <a:ln w="39688" cap="flat">
              <a:noFill/>
              <a:prstDash val="solid"/>
              <a:round/>
            </a:ln>
          </p:spPr>
          <p:txBody>
            <a:bodyPr rtlCol="0" anchor="ctr"/>
            <a:lstStyle/>
            <a:p>
              <a:pPr rtl="0"/>
              <a:endParaRPr lang="en-US"/>
            </a:p>
          </p:txBody>
        </p:sp>
        <p:sp>
          <p:nvSpPr>
            <p:cNvPr id="24" name="Freeform: Shape 23">
              <a:extLst>
                <a:ext uri="{FF2B5EF4-FFF2-40B4-BE49-F238E27FC236}">
                  <a16:creationId xmlns:a16="http://schemas.microsoft.com/office/drawing/2014/main" id="{F361FE63-1B5D-9E34-8534-9171D7F71583}"/>
                </a:ext>
              </a:extLst>
            </p:cNvPr>
            <p:cNvSpPr/>
            <p:nvPr/>
          </p:nvSpPr>
          <p:spPr>
            <a:xfrm>
              <a:off x="7095830" y="-2797529"/>
              <a:ext cx="1383824" cy="1566070"/>
            </a:xfrm>
            <a:custGeom>
              <a:avLst/>
              <a:gdLst>
                <a:gd name="connsiteX0" fmla="*/ 1311793 w 1383824"/>
                <a:gd name="connsiteY0" fmla="*/ 1354685 h 1566070"/>
                <a:gd name="connsiteX1" fmla="*/ 1287584 w 1383824"/>
                <a:gd name="connsiteY1" fmla="*/ 1566140 h 1566070"/>
                <a:gd name="connsiteX2" fmla="*/ 1384739 w 1383824"/>
                <a:gd name="connsiteY2" fmla="*/ 1148508 h 1566070"/>
                <a:gd name="connsiteX3" fmla="*/ 914 w 1383824"/>
                <a:gd name="connsiteY3" fmla="*/ 70 h 1566070"/>
                <a:gd name="connsiteX4" fmla="*/ 34410 w 1383824"/>
                <a:gd name="connsiteY4" fmla="*/ 211962 h 1566070"/>
                <a:gd name="connsiteX5" fmla="*/ 1311793 w 1383824"/>
                <a:gd name="connsiteY5" fmla="*/ 1354685 h 1566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3824" h="1566070">
                  <a:moveTo>
                    <a:pt x="1311793" y="1354685"/>
                  </a:moveTo>
                  <a:cubicBezTo>
                    <a:pt x="1311793" y="1426876"/>
                    <a:pt x="1303459" y="1497600"/>
                    <a:pt x="1287584" y="1566140"/>
                  </a:cubicBezTo>
                  <a:cubicBezTo>
                    <a:pt x="1350330" y="1436679"/>
                    <a:pt x="1384739" y="1295868"/>
                    <a:pt x="1384739" y="1148508"/>
                  </a:cubicBezTo>
                  <a:cubicBezTo>
                    <a:pt x="1384739" y="525374"/>
                    <a:pt x="768987" y="18167"/>
                    <a:pt x="914" y="70"/>
                  </a:cubicBezTo>
                  <a:cubicBezTo>
                    <a:pt x="18694" y="68452"/>
                    <a:pt x="29807" y="139413"/>
                    <a:pt x="34410" y="211962"/>
                  </a:cubicBezTo>
                  <a:cubicBezTo>
                    <a:pt x="752159" y="271929"/>
                    <a:pt x="1311793" y="760642"/>
                    <a:pt x="1311793" y="1354685"/>
                  </a:cubicBezTo>
                </a:path>
              </a:pathLst>
            </a:custGeom>
            <a:solidFill>
              <a:srgbClr val="231F20"/>
            </a:solidFill>
            <a:ln w="39688" cap="flat">
              <a:noFill/>
              <a:prstDash val="solid"/>
              <a:round/>
            </a:ln>
          </p:spPr>
          <p:txBody>
            <a:bodyPr rtlCol="0" anchor="ctr"/>
            <a:lstStyle/>
            <a:p>
              <a:pPr rtl="0"/>
              <a:endParaRPr lang="en-US"/>
            </a:p>
          </p:txBody>
        </p:sp>
        <p:sp>
          <p:nvSpPr>
            <p:cNvPr id="25" name="Freeform: Shape 24">
              <a:extLst>
                <a:ext uri="{FF2B5EF4-FFF2-40B4-BE49-F238E27FC236}">
                  <a16:creationId xmlns:a16="http://schemas.microsoft.com/office/drawing/2014/main" id="{9B4F3A34-DD94-4C27-B845-D1ADB340F7FC}"/>
                </a:ext>
              </a:extLst>
            </p:cNvPr>
            <p:cNvSpPr/>
            <p:nvPr/>
          </p:nvSpPr>
          <p:spPr>
            <a:xfrm>
              <a:off x="5596475" y="-2319807"/>
              <a:ext cx="2625568" cy="1121519"/>
            </a:xfrm>
            <a:custGeom>
              <a:avLst/>
              <a:gdLst>
                <a:gd name="connsiteX0" fmla="*/ 1494808 w 2625568"/>
                <a:gd name="connsiteY0" fmla="*/ 270416 h 1121519"/>
                <a:gd name="connsiteX1" fmla="*/ 2424132 w 2625568"/>
                <a:gd name="connsiteY1" fmla="*/ 1091988 h 1121519"/>
                <a:gd name="connsiteX2" fmla="*/ 2626379 w 2625568"/>
                <a:gd name="connsiteY2" fmla="*/ 1121634 h 1121519"/>
                <a:gd name="connsiteX3" fmla="*/ 1631294 w 2625568"/>
                <a:gd name="connsiteY3" fmla="*/ 100156 h 1121519"/>
                <a:gd name="connsiteX4" fmla="*/ 811 w 2625568"/>
                <a:gd name="connsiteY4" fmla="*/ 517352 h 1121519"/>
                <a:gd name="connsiteX5" fmla="*/ 1494808 w 2625568"/>
                <a:gd name="connsiteY5" fmla="*/ 270416 h 1121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25568" h="1121519">
                  <a:moveTo>
                    <a:pt x="1494808" y="270416"/>
                  </a:moveTo>
                  <a:cubicBezTo>
                    <a:pt x="1938158" y="427102"/>
                    <a:pt x="2271414" y="738848"/>
                    <a:pt x="2424132" y="1091988"/>
                  </a:cubicBezTo>
                  <a:cubicBezTo>
                    <a:pt x="2493347" y="1097147"/>
                    <a:pt x="2561054" y="1106950"/>
                    <a:pt x="2626379" y="1121634"/>
                  </a:cubicBezTo>
                  <a:cubicBezTo>
                    <a:pt x="2527676" y="689437"/>
                    <a:pt x="2156757" y="285934"/>
                    <a:pt x="1631294" y="100156"/>
                  </a:cubicBezTo>
                  <a:cubicBezTo>
                    <a:pt x="972560" y="-132651"/>
                    <a:pt x="291998" y="54873"/>
                    <a:pt x="811" y="517352"/>
                  </a:cubicBezTo>
                  <a:cubicBezTo>
                    <a:pt x="336925" y="182587"/>
                    <a:pt x="924022" y="68684"/>
                    <a:pt x="1494808" y="270416"/>
                  </a:cubicBezTo>
                </a:path>
              </a:pathLst>
            </a:custGeom>
            <a:solidFill>
              <a:srgbClr val="007236"/>
            </a:solidFill>
            <a:ln w="39688" cap="flat">
              <a:noFill/>
              <a:prstDash val="solid"/>
              <a:round/>
            </a:ln>
          </p:spPr>
          <p:txBody>
            <a:bodyPr rtlCol="0" anchor="ctr"/>
            <a:lstStyle/>
            <a:p>
              <a:pPr rtl="0"/>
              <a:endParaRPr lang="en-US"/>
            </a:p>
          </p:txBody>
        </p:sp>
        <p:sp>
          <p:nvSpPr>
            <p:cNvPr id="26" name="Freeform: Shape 25">
              <a:extLst>
                <a:ext uri="{FF2B5EF4-FFF2-40B4-BE49-F238E27FC236}">
                  <a16:creationId xmlns:a16="http://schemas.microsoft.com/office/drawing/2014/main" id="{F2C22F0E-82AC-7C0A-0A65-ABFC282AEEF8}"/>
                </a:ext>
              </a:extLst>
            </p:cNvPr>
            <p:cNvSpPr/>
            <p:nvPr/>
          </p:nvSpPr>
          <p:spPr>
            <a:xfrm>
              <a:off x="6313073" y="-2555244"/>
              <a:ext cx="1683029" cy="679481"/>
            </a:xfrm>
            <a:custGeom>
              <a:avLst/>
              <a:gdLst>
                <a:gd name="connsiteX0" fmla="*/ 811 w 1683029"/>
                <a:gd name="connsiteY0" fmla="*/ 160513 h 679481"/>
                <a:gd name="connsiteX1" fmla="*/ 1459089 w 1683029"/>
                <a:gd name="connsiteY1" fmla="*/ 570445 h 679481"/>
                <a:gd name="connsiteX2" fmla="*/ 1561523 w 1683029"/>
                <a:gd name="connsiteY2" fmla="*/ 679546 h 679481"/>
                <a:gd name="connsiteX3" fmla="*/ 1683840 w 1683029"/>
                <a:gd name="connsiteY3" fmla="*/ 504048 h 679481"/>
                <a:gd name="connsiteX4" fmla="*/ 1653916 w 1683029"/>
                <a:gd name="connsiteY4" fmla="*/ 473885 h 679481"/>
                <a:gd name="connsiteX5" fmla="*/ 811 w 1683029"/>
                <a:gd name="connsiteY5" fmla="*/ 160513 h 679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83029" h="679481">
                  <a:moveTo>
                    <a:pt x="811" y="160513"/>
                  </a:moveTo>
                  <a:cubicBezTo>
                    <a:pt x="445271" y="-539"/>
                    <a:pt x="1025424" y="145273"/>
                    <a:pt x="1459089" y="570445"/>
                  </a:cubicBezTo>
                  <a:cubicBezTo>
                    <a:pt x="1495165" y="605727"/>
                    <a:pt x="1529297" y="642200"/>
                    <a:pt x="1561523" y="679546"/>
                  </a:cubicBezTo>
                  <a:cubicBezTo>
                    <a:pt x="1608354" y="624222"/>
                    <a:pt x="1649391" y="565603"/>
                    <a:pt x="1683840" y="504048"/>
                  </a:cubicBezTo>
                  <a:cubicBezTo>
                    <a:pt x="1674037" y="493888"/>
                    <a:pt x="1664115" y="483847"/>
                    <a:pt x="1653916" y="473885"/>
                  </a:cubicBezTo>
                  <a:cubicBezTo>
                    <a:pt x="1153496" y="-16851"/>
                    <a:pt x="457813" y="-135437"/>
                    <a:pt x="811" y="160513"/>
                  </a:cubicBezTo>
                </a:path>
              </a:pathLst>
            </a:custGeom>
            <a:solidFill>
              <a:srgbClr val="DA2128"/>
            </a:solidFill>
            <a:ln w="39688" cap="flat">
              <a:noFill/>
              <a:prstDash val="solid"/>
              <a:round/>
            </a:ln>
          </p:spPr>
          <p:txBody>
            <a:bodyPr rtlCol="0" anchor="ctr"/>
            <a:lstStyle/>
            <a:p>
              <a:pPr rtl="0"/>
              <a:endParaRPr lang="en-US"/>
            </a:p>
          </p:txBody>
        </p:sp>
        <p:pic>
          <p:nvPicPr>
            <p:cNvPr id="27" name="Picture 26">
              <a:extLst>
                <a:ext uri="{FF2B5EF4-FFF2-40B4-BE49-F238E27FC236}">
                  <a16:creationId xmlns:a16="http://schemas.microsoft.com/office/drawing/2014/main" id="{0FF3C65D-18B3-0781-3C49-C582D297AE47}"/>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770028" y="-2460582"/>
              <a:ext cx="2368021" cy="2229311"/>
            </a:xfrm>
            <a:custGeom>
              <a:avLst/>
              <a:gdLst>
                <a:gd name="connsiteX0" fmla="*/ 0 w 2368021"/>
                <a:gd name="connsiteY0" fmla="*/ 37 h 2229311"/>
                <a:gd name="connsiteX1" fmla="*/ 2368021 w 2368021"/>
                <a:gd name="connsiteY1" fmla="*/ 37 h 2229311"/>
                <a:gd name="connsiteX2" fmla="*/ 2368021 w 2368021"/>
                <a:gd name="connsiteY2" fmla="*/ 2229348 h 2229311"/>
                <a:gd name="connsiteX3" fmla="*/ 0 w 2368021"/>
                <a:gd name="connsiteY3" fmla="*/ 2229348 h 2229311"/>
              </a:gdLst>
              <a:ahLst/>
              <a:cxnLst>
                <a:cxn ang="0">
                  <a:pos x="connsiteX0" y="connsiteY0"/>
                </a:cxn>
                <a:cxn ang="0">
                  <a:pos x="connsiteX1" y="connsiteY1"/>
                </a:cxn>
                <a:cxn ang="0">
                  <a:pos x="connsiteX2" y="connsiteY2"/>
                </a:cxn>
                <a:cxn ang="0">
                  <a:pos x="connsiteX3" y="connsiteY3"/>
                </a:cxn>
              </a:cxnLst>
              <a:rect l="l" t="t" r="r" b="b"/>
              <a:pathLst>
                <a:path w="2368021" h="2229311">
                  <a:moveTo>
                    <a:pt x="0" y="37"/>
                  </a:moveTo>
                  <a:lnTo>
                    <a:pt x="2368021" y="37"/>
                  </a:lnTo>
                  <a:lnTo>
                    <a:pt x="2368021" y="2229348"/>
                  </a:lnTo>
                  <a:lnTo>
                    <a:pt x="0" y="2229348"/>
                  </a:lnTo>
                  <a:close/>
                </a:path>
              </a:pathLst>
            </a:custGeom>
          </p:spPr>
        </p:pic>
        <p:grpSp>
          <p:nvGrpSpPr>
            <p:cNvPr id="28" name="Group 27">
              <a:extLst>
                <a:ext uri="{FF2B5EF4-FFF2-40B4-BE49-F238E27FC236}">
                  <a16:creationId xmlns:a16="http://schemas.microsoft.com/office/drawing/2014/main" id="{F7380C7C-EFD7-00A6-5F31-1287EBCD64B7}"/>
                </a:ext>
              </a:extLst>
            </p:cNvPr>
            <p:cNvGrpSpPr/>
            <p:nvPr/>
          </p:nvGrpSpPr>
          <p:grpSpPr>
            <a:xfrm>
              <a:off x="1960283" y="-2545858"/>
              <a:ext cx="88879" cy="2339756"/>
              <a:chOff x="19825373" y="2859152"/>
              <a:chExt cx="88879" cy="2339756"/>
            </a:xfrm>
          </p:grpSpPr>
          <p:sp>
            <p:nvSpPr>
              <p:cNvPr id="55" name="Rectangle 54">
                <a:extLst>
                  <a:ext uri="{FF2B5EF4-FFF2-40B4-BE49-F238E27FC236}">
                    <a16:creationId xmlns:a16="http://schemas.microsoft.com/office/drawing/2014/main" id="{224C7B25-AB06-C054-ACE1-8F1BFB42C010}"/>
                  </a:ext>
                </a:extLst>
              </p:cNvPr>
              <p:cNvSpPr/>
              <p:nvPr/>
            </p:nvSpPr>
            <p:spPr>
              <a:xfrm>
                <a:off x="19827693" y="2859152"/>
                <a:ext cx="86559" cy="737328"/>
              </a:xfrm>
              <a:prstGeom prst="rect">
                <a:avLst/>
              </a:prstGeom>
              <a:solidFill>
                <a:srgbClr val="00000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US" sz="1600">
                  <a:solidFill>
                    <a:schemeClr val="bg1"/>
                  </a:solidFill>
                </a:endParaRPr>
              </a:p>
            </p:txBody>
          </p:sp>
          <p:sp>
            <p:nvSpPr>
              <p:cNvPr id="56" name="Rectangle 55">
                <a:extLst>
                  <a:ext uri="{FF2B5EF4-FFF2-40B4-BE49-F238E27FC236}">
                    <a16:creationId xmlns:a16="http://schemas.microsoft.com/office/drawing/2014/main" id="{A7E1F45C-3726-C3E8-AF55-29A81E833DA8}"/>
                  </a:ext>
                </a:extLst>
              </p:cNvPr>
              <p:cNvSpPr/>
              <p:nvPr/>
            </p:nvSpPr>
            <p:spPr>
              <a:xfrm>
                <a:off x="19825373" y="3671369"/>
                <a:ext cx="86559" cy="737328"/>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US" sz="1600">
                  <a:solidFill>
                    <a:schemeClr val="bg1"/>
                  </a:solidFill>
                </a:endParaRPr>
              </a:p>
            </p:txBody>
          </p:sp>
          <p:sp>
            <p:nvSpPr>
              <p:cNvPr id="57" name="Rectangle 56">
                <a:extLst>
                  <a:ext uri="{FF2B5EF4-FFF2-40B4-BE49-F238E27FC236}">
                    <a16:creationId xmlns:a16="http://schemas.microsoft.com/office/drawing/2014/main" id="{F5777885-F918-491E-0351-037B2AC0FAE8}"/>
                  </a:ext>
                </a:extLst>
              </p:cNvPr>
              <p:cNvSpPr/>
              <p:nvPr/>
            </p:nvSpPr>
            <p:spPr>
              <a:xfrm>
                <a:off x="19825373" y="4461580"/>
                <a:ext cx="86559" cy="737328"/>
              </a:xfrm>
              <a:prstGeom prst="rect">
                <a:avLst/>
              </a:prstGeom>
              <a:solidFill>
                <a:srgbClr val="00723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US" sz="1600">
                  <a:solidFill>
                    <a:schemeClr val="bg1"/>
                  </a:solidFill>
                </a:endParaRPr>
              </a:p>
            </p:txBody>
          </p:sp>
        </p:grpSp>
        <p:sp>
          <p:nvSpPr>
            <p:cNvPr id="29" name="TextBox 28">
              <a:extLst>
                <a:ext uri="{FF2B5EF4-FFF2-40B4-BE49-F238E27FC236}">
                  <a16:creationId xmlns:a16="http://schemas.microsoft.com/office/drawing/2014/main" id="{58E5A16C-7C87-9EF5-EC4A-42F3F87704F1}"/>
                </a:ext>
              </a:extLst>
            </p:cNvPr>
            <p:cNvSpPr txBox="1"/>
            <p:nvPr/>
          </p:nvSpPr>
          <p:spPr>
            <a:xfrm>
              <a:off x="7405086" y="-517694"/>
              <a:ext cx="241260" cy="261049"/>
            </a:xfrm>
            <a:custGeom>
              <a:avLst/>
              <a:gdLst/>
              <a:ahLst/>
              <a:cxnLst/>
              <a:rect l="l" t="t" r="r" b="b"/>
              <a:pathLst>
                <a:path w="241260" h="261049">
                  <a:moveTo>
                    <a:pt x="120802" y="0"/>
                  </a:moveTo>
                  <a:cubicBezTo>
                    <a:pt x="144091" y="0"/>
                    <a:pt x="165085" y="5564"/>
                    <a:pt x="183785" y="16692"/>
                  </a:cubicBezTo>
                  <a:cubicBezTo>
                    <a:pt x="202484" y="27820"/>
                    <a:pt x="216738" y="43336"/>
                    <a:pt x="226547" y="63240"/>
                  </a:cubicBezTo>
                  <a:cubicBezTo>
                    <a:pt x="236356" y="83144"/>
                    <a:pt x="241260" y="105716"/>
                    <a:pt x="241260" y="130955"/>
                  </a:cubicBezTo>
                  <a:cubicBezTo>
                    <a:pt x="241260" y="156538"/>
                    <a:pt x="236098" y="179425"/>
                    <a:pt x="225773" y="199616"/>
                  </a:cubicBezTo>
                  <a:cubicBezTo>
                    <a:pt x="215448" y="219807"/>
                    <a:pt x="200821" y="235093"/>
                    <a:pt x="181892" y="245476"/>
                  </a:cubicBezTo>
                  <a:cubicBezTo>
                    <a:pt x="162963" y="255858"/>
                    <a:pt x="142542" y="261049"/>
                    <a:pt x="120630" y="261049"/>
                  </a:cubicBezTo>
                  <a:cubicBezTo>
                    <a:pt x="96883" y="261049"/>
                    <a:pt x="75659" y="255313"/>
                    <a:pt x="56960" y="243841"/>
                  </a:cubicBezTo>
                  <a:cubicBezTo>
                    <a:pt x="38260" y="232369"/>
                    <a:pt x="24092" y="216709"/>
                    <a:pt x="14455" y="196862"/>
                  </a:cubicBezTo>
                  <a:cubicBezTo>
                    <a:pt x="4819" y="177015"/>
                    <a:pt x="0" y="156021"/>
                    <a:pt x="0" y="133880"/>
                  </a:cubicBezTo>
                  <a:cubicBezTo>
                    <a:pt x="0" y="92007"/>
                    <a:pt x="11243" y="59225"/>
                    <a:pt x="33729" y="35535"/>
                  </a:cubicBezTo>
                  <a:cubicBezTo>
                    <a:pt x="56214" y="11845"/>
                    <a:pt x="85239" y="0"/>
                    <a:pt x="120802" y="0"/>
                  </a:cubicBezTo>
                  <a:close/>
                  <a:moveTo>
                    <a:pt x="120974" y="28738"/>
                  </a:moveTo>
                  <a:cubicBezTo>
                    <a:pt x="97342" y="28738"/>
                    <a:pt x="77007" y="36854"/>
                    <a:pt x="59971" y="53087"/>
                  </a:cubicBezTo>
                  <a:cubicBezTo>
                    <a:pt x="42935" y="69320"/>
                    <a:pt x="34417" y="96423"/>
                    <a:pt x="34417" y="134396"/>
                  </a:cubicBezTo>
                  <a:cubicBezTo>
                    <a:pt x="34417" y="164798"/>
                    <a:pt x="42591" y="188746"/>
                    <a:pt x="58939" y="206241"/>
                  </a:cubicBezTo>
                  <a:cubicBezTo>
                    <a:pt x="75287" y="223736"/>
                    <a:pt x="95793" y="232483"/>
                    <a:pt x="120458" y="232483"/>
                  </a:cubicBezTo>
                  <a:cubicBezTo>
                    <a:pt x="145582" y="232483"/>
                    <a:pt x="166261" y="223650"/>
                    <a:pt x="182494" y="205983"/>
                  </a:cubicBezTo>
                  <a:cubicBezTo>
                    <a:pt x="198727" y="188316"/>
                    <a:pt x="206844" y="163249"/>
                    <a:pt x="206844" y="130783"/>
                  </a:cubicBezTo>
                  <a:cubicBezTo>
                    <a:pt x="206844" y="110247"/>
                    <a:pt x="203373" y="92322"/>
                    <a:pt x="196433" y="77007"/>
                  </a:cubicBezTo>
                  <a:cubicBezTo>
                    <a:pt x="189492" y="61691"/>
                    <a:pt x="179339" y="49818"/>
                    <a:pt x="165974" y="41386"/>
                  </a:cubicBezTo>
                  <a:cubicBezTo>
                    <a:pt x="152609" y="32954"/>
                    <a:pt x="137609" y="28738"/>
                    <a:pt x="120974" y="28738"/>
                  </a:cubicBez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30" name="TextBox 29">
              <a:extLst>
                <a:ext uri="{FF2B5EF4-FFF2-40B4-BE49-F238E27FC236}">
                  <a16:creationId xmlns:a16="http://schemas.microsoft.com/office/drawing/2014/main" id="{665EAC6A-0D83-E6E8-4942-017F748D09C7}"/>
                </a:ext>
              </a:extLst>
            </p:cNvPr>
            <p:cNvSpPr txBox="1"/>
            <p:nvPr/>
          </p:nvSpPr>
          <p:spPr>
            <a:xfrm>
              <a:off x="4723902" y="-517522"/>
              <a:ext cx="200820" cy="260877"/>
            </a:xfrm>
            <a:custGeom>
              <a:avLst/>
              <a:gdLst/>
              <a:ahLst/>
              <a:cxnLst/>
              <a:rect l="l" t="t" r="r" b="b"/>
              <a:pathLst>
                <a:path w="200820" h="260877">
                  <a:moveTo>
                    <a:pt x="98431" y="0"/>
                  </a:moveTo>
                  <a:cubicBezTo>
                    <a:pt x="117131" y="0"/>
                    <a:pt x="133622" y="3011"/>
                    <a:pt x="147905" y="9034"/>
                  </a:cubicBezTo>
                  <a:cubicBezTo>
                    <a:pt x="162188" y="15057"/>
                    <a:pt x="173172" y="23919"/>
                    <a:pt x="180859" y="35621"/>
                  </a:cubicBezTo>
                  <a:cubicBezTo>
                    <a:pt x="188545" y="47323"/>
                    <a:pt x="192675" y="60573"/>
                    <a:pt x="193249" y="75372"/>
                  </a:cubicBezTo>
                  <a:lnTo>
                    <a:pt x="161241" y="77781"/>
                  </a:lnTo>
                  <a:cubicBezTo>
                    <a:pt x="159520" y="61835"/>
                    <a:pt x="153698" y="49789"/>
                    <a:pt x="143775" y="41644"/>
                  </a:cubicBezTo>
                  <a:cubicBezTo>
                    <a:pt x="133851" y="33499"/>
                    <a:pt x="119196" y="29426"/>
                    <a:pt x="99808" y="29426"/>
                  </a:cubicBezTo>
                  <a:cubicBezTo>
                    <a:pt x="79617" y="29426"/>
                    <a:pt x="64904" y="33126"/>
                    <a:pt x="55669" y="40525"/>
                  </a:cubicBezTo>
                  <a:cubicBezTo>
                    <a:pt x="46433" y="47925"/>
                    <a:pt x="41816" y="56845"/>
                    <a:pt x="41816" y="67284"/>
                  </a:cubicBezTo>
                  <a:cubicBezTo>
                    <a:pt x="41816" y="76347"/>
                    <a:pt x="45085" y="83804"/>
                    <a:pt x="51625" y="89655"/>
                  </a:cubicBezTo>
                  <a:cubicBezTo>
                    <a:pt x="58049" y="95506"/>
                    <a:pt x="74827" y="101500"/>
                    <a:pt x="101959" y="107638"/>
                  </a:cubicBezTo>
                  <a:cubicBezTo>
                    <a:pt x="129090" y="113775"/>
                    <a:pt x="147704" y="119138"/>
                    <a:pt x="157800" y="123727"/>
                  </a:cubicBezTo>
                  <a:cubicBezTo>
                    <a:pt x="172484" y="130496"/>
                    <a:pt x="183325" y="139071"/>
                    <a:pt x="190323" y="149454"/>
                  </a:cubicBezTo>
                  <a:cubicBezTo>
                    <a:pt x="197321" y="159836"/>
                    <a:pt x="200820" y="171796"/>
                    <a:pt x="200820" y="185333"/>
                  </a:cubicBezTo>
                  <a:cubicBezTo>
                    <a:pt x="200820" y="198755"/>
                    <a:pt x="196977" y="211403"/>
                    <a:pt x="189291" y="223277"/>
                  </a:cubicBezTo>
                  <a:cubicBezTo>
                    <a:pt x="181604" y="235151"/>
                    <a:pt x="170562" y="244386"/>
                    <a:pt x="156165" y="250982"/>
                  </a:cubicBezTo>
                  <a:cubicBezTo>
                    <a:pt x="141767" y="257579"/>
                    <a:pt x="125563" y="260877"/>
                    <a:pt x="107551" y="260877"/>
                  </a:cubicBezTo>
                  <a:cubicBezTo>
                    <a:pt x="84722" y="260877"/>
                    <a:pt x="65592" y="257550"/>
                    <a:pt x="50162" y="250896"/>
                  </a:cubicBezTo>
                  <a:cubicBezTo>
                    <a:pt x="34732" y="244242"/>
                    <a:pt x="22629" y="234233"/>
                    <a:pt x="13852" y="220868"/>
                  </a:cubicBezTo>
                  <a:cubicBezTo>
                    <a:pt x="5076" y="207503"/>
                    <a:pt x="459" y="192388"/>
                    <a:pt x="0" y="175524"/>
                  </a:cubicBezTo>
                  <a:lnTo>
                    <a:pt x="31491" y="172771"/>
                  </a:lnTo>
                  <a:cubicBezTo>
                    <a:pt x="32982" y="185390"/>
                    <a:pt x="36453" y="195744"/>
                    <a:pt x="41902" y="203832"/>
                  </a:cubicBezTo>
                  <a:cubicBezTo>
                    <a:pt x="47351" y="211920"/>
                    <a:pt x="55812" y="218459"/>
                    <a:pt x="67284" y="223449"/>
                  </a:cubicBezTo>
                  <a:cubicBezTo>
                    <a:pt x="78756" y="228439"/>
                    <a:pt x="91662" y="230935"/>
                    <a:pt x="106003" y="230935"/>
                  </a:cubicBezTo>
                  <a:cubicBezTo>
                    <a:pt x="118737" y="230935"/>
                    <a:pt x="129979" y="229042"/>
                    <a:pt x="139731" y="225256"/>
                  </a:cubicBezTo>
                  <a:cubicBezTo>
                    <a:pt x="149482" y="221470"/>
                    <a:pt x="156738" y="216279"/>
                    <a:pt x="161499" y="209682"/>
                  </a:cubicBezTo>
                  <a:cubicBezTo>
                    <a:pt x="166260" y="203086"/>
                    <a:pt x="168641" y="195887"/>
                    <a:pt x="168641" y="188086"/>
                  </a:cubicBezTo>
                  <a:cubicBezTo>
                    <a:pt x="168641" y="180170"/>
                    <a:pt x="166346" y="173258"/>
                    <a:pt x="161757" y="167350"/>
                  </a:cubicBezTo>
                  <a:cubicBezTo>
                    <a:pt x="157169" y="161442"/>
                    <a:pt x="149597" y="156480"/>
                    <a:pt x="139043" y="152465"/>
                  </a:cubicBezTo>
                  <a:cubicBezTo>
                    <a:pt x="132274" y="149826"/>
                    <a:pt x="117303" y="145725"/>
                    <a:pt x="94129" y="140161"/>
                  </a:cubicBezTo>
                  <a:cubicBezTo>
                    <a:pt x="70955" y="134597"/>
                    <a:pt x="54722" y="129349"/>
                    <a:pt x="45430" y="124416"/>
                  </a:cubicBezTo>
                  <a:cubicBezTo>
                    <a:pt x="33384" y="118106"/>
                    <a:pt x="24407" y="110276"/>
                    <a:pt x="18499" y="100926"/>
                  </a:cubicBezTo>
                  <a:cubicBezTo>
                    <a:pt x="12591" y="91577"/>
                    <a:pt x="9636" y="81108"/>
                    <a:pt x="9636" y="69521"/>
                  </a:cubicBezTo>
                  <a:cubicBezTo>
                    <a:pt x="9636" y="56787"/>
                    <a:pt x="13250" y="44885"/>
                    <a:pt x="20478" y="33814"/>
                  </a:cubicBezTo>
                  <a:cubicBezTo>
                    <a:pt x="27705" y="22744"/>
                    <a:pt x="38260" y="14340"/>
                    <a:pt x="52141" y="8604"/>
                  </a:cubicBezTo>
                  <a:cubicBezTo>
                    <a:pt x="66022" y="2868"/>
                    <a:pt x="81452" y="0"/>
                    <a:pt x="98431" y="0"/>
                  </a:cubicBez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31" name="TextBox 30">
              <a:extLst>
                <a:ext uri="{FF2B5EF4-FFF2-40B4-BE49-F238E27FC236}">
                  <a16:creationId xmlns:a16="http://schemas.microsoft.com/office/drawing/2014/main" id="{F7384E91-7BC9-6C9D-8B14-ECA8C2A84E3D}"/>
                </a:ext>
              </a:extLst>
            </p:cNvPr>
            <p:cNvSpPr txBox="1"/>
            <p:nvPr/>
          </p:nvSpPr>
          <p:spPr>
            <a:xfrm>
              <a:off x="2451810" y="-513220"/>
              <a:ext cx="208564" cy="252273"/>
            </a:xfrm>
            <a:custGeom>
              <a:avLst/>
              <a:gdLst/>
              <a:ahLst/>
              <a:cxnLst/>
              <a:rect l="l" t="t" r="r" b="b"/>
              <a:pathLst>
                <a:path w="208564" h="252273">
                  <a:moveTo>
                    <a:pt x="0" y="0"/>
                  </a:moveTo>
                  <a:lnTo>
                    <a:pt x="33384" y="0"/>
                  </a:lnTo>
                  <a:lnTo>
                    <a:pt x="33384" y="125104"/>
                  </a:lnTo>
                  <a:lnTo>
                    <a:pt x="158660" y="0"/>
                  </a:lnTo>
                  <a:lnTo>
                    <a:pt x="203917" y="0"/>
                  </a:lnTo>
                  <a:lnTo>
                    <a:pt x="98087" y="102217"/>
                  </a:lnTo>
                  <a:lnTo>
                    <a:pt x="208564" y="252273"/>
                  </a:lnTo>
                  <a:lnTo>
                    <a:pt x="164510" y="252273"/>
                  </a:lnTo>
                  <a:lnTo>
                    <a:pt x="74683" y="124588"/>
                  </a:lnTo>
                  <a:lnTo>
                    <a:pt x="33384" y="164855"/>
                  </a:lnTo>
                  <a:lnTo>
                    <a:pt x="33384" y="252273"/>
                  </a:lnTo>
                  <a:lnTo>
                    <a:pt x="0" y="252273"/>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32" name="TextBox 31">
              <a:extLst>
                <a:ext uri="{FF2B5EF4-FFF2-40B4-BE49-F238E27FC236}">
                  <a16:creationId xmlns:a16="http://schemas.microsoft.com/office/drawing/2014/main" id="{2874BE68-5E41-ED80-E685-72F236E26E9D}"/>
                </a:ext>
              </a:extLst>
            </p:cNvPr>
            <p:cNvSpPr txBox="1"/>
            <p:nvPr/>
          </p:nvSpPr>
          <p:spPr>
            <a:xfrm>
              <a:off x="2708351" y="-513220"/>
              <a:ext cx="188259" cy="252273"/>
            </a:xfrm>
            <a:custGeom>
              <a:avLst/>
              <a:gdLst/>
              <a:ahLst/>
              <a:cxnLst/>
              <a:rect l="l" t="t" r="r" b="b"/>
              <a:pathLst>
                <a:path w="188259" h="252273">
                  <a:moveTo>
                    <a:pt x="0" y="0"/>
                  </a:moveTo>
                  <a:lnTo>
                    <a:pt x="182408" y="0"/>
                  </a:lnTo>
                  <a:lnTo>
                    <a:pt x="182408" y="29770"/>
                  </a:lnTo>
                  <a:lnTo>
                    <a:pt x="33385" y="29770"/>
                  </a:lnTo>
                  <a:lnTo>
                    <a:pt x="33385" y="107035"/>
                  </a:lnTo>
                  <a:lnTo>
                    <a:pt x="172943" y="107035"/>
                  </a:lnTo>
                  <a:lnTo>
                    <a:pt x="172943" y="136634"/>
                  </a:lnTo>
                  <a:lnTo>
                    <a:pt x="33385" y="136634"/>
                  </a:lnTo>
                  <a:lnTo>
                    <a:pt x="33385" y="222503"/>
                  </a:lnTo>
                  <a:lnTo>
                    <a:pt x="188259" y="222503"/>
                  </a:lnTo>
                  <a:lnTo>
                    <a:pt x="188259" y="252273"/>
                  </a:lnTo>
                  <a:lnTo>
                    <a:pt x="0" y="252273"/>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33" name="TextBox 32">
              <a:extLst>
                <a:ext uri="{FF2B5EF4-FFF2-40B4-BE49-F238E27FC236}">
                  <a16:creationId xmlns:a16="http://schemas.microsoft.com/office/drawing/2014/main" id="{84332C29-8BEE-C61F-6B64-D75FC3971CC1}"/>
                </a:ext>
              </a:extLst>
            </p:cNvPr>
            <p:cNvSpPr txBox="1"/>
            <p:nvPr/>
          </p:nvSpPr>
          <p:spPr>
            <a:xfrm>
              <a:off x="2961835" y="-513220"/>
              <a:ext cx="198755" cy="252273"/>
            </a:xfrm>
            <a:custGeom>
              <a:avLst/>
              <a:gdLst/>
              <a:ahLst/>
              <a:cxnLst/>
              <a:rect l="l" t="t" r="r" b="b"/>
              <a:pathLst>
                <a:path w="198755" h="252273">
                  <a:moveTo>
                    <a:pt x="0" y="0"/>
                  </a:moveTo>
                  <a:lnTo>
                    <a:pt x="34244" y="0"/>
                  </a:lnTo>
                  <a:lnTo>
                    <a:pt x="166748" y="198067"/>
                  </a:lnTo>
                  <a:lnTo>
                    <a:pt x="166748" y="0"/>
                  </a:lnTo>
                  <a:lnTo>
                    <a:pt x="198755" y="0"/>
                  </a:lnTo>
                  <a:lnTo>
                    <a:pt x="198755" y="252273"/>
                  </a:lnTo>
                  <a:lnTo>
                    <a:pt x="164511" y="252273"/>
                  </a:lnTo>
                  <a:lnTo>
                    <a:pt x="32007" y="54034"/>
                  </a:lnTo>
                  <a:lnTo>
                    <a:pt x="32007" y="252273"/>
                  </a:lnTo>
                  <a:lnTo>
                    <a:pt x="0" y="252273"/>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34" name="TextBox 33">
              <a:extLst>
                <a:ext uri="{FF2B5EF4-FFF2-40B4-BE49-F238E27FC236}">
                  <a16:creationId xmlns:a16="http://schemas.microsoft.com/office/drawing/2014/main" id="{782AE55E-05DA-1AF2-ABF6-9E46715250B0}"/>
                </a:ext>
              </a:extLst>
            </p:cNvPr>
            <p:cNvSpPr txBox="1"/>
            <p:nvPr/>
          </p:nvSpPr>
          <p:spPr>
            <a:xfrm>
              <a:off x="3210225" y="-513220"/>
              <a:ext cx="231279" cy="252273"/>
            </a:xfrm>
            <a:custGeom>
              <a:avLst/>
              <a:gdLst/>
              <a:ahLst/>
              <a:cxnLst/>
              <a:rect l="l" t="t" r="r" b="b"/>
              <a:pathLst>
                <a:path w="231279" h="252273">
                  <a:moveTo>
                    <a:pt x="0" y="0"/>
                  </a:moveTo>
                  <a:lnTo>
                    <a:pt x="40611" y="0"/>
                  </a:lnTo>
                  <a:lnTo>
                    <a:pt x="90343" y="76060"/>
                  </a:lnTo>
                  <a:cubicBezTo>
                    <a:pt x="99521" y="90286"/>
                    <a:pt x="108067" y="104511"/>
                    <a:pt x="115983" y="118737"/>
                  </a:cubicBezTo>
                  <a:cubicBezTo>
                    <a:pt x="123555" y="105544"/>
                    <a:pt x="132733" y="90687"/>
                    <a:pt x="143516" y="74168"/>
                  </a:cubicBezTo>
                  <a:lnTo>
                    <a:pt x="192388" y="0"/>
                  </a:lnTo>
                  <a:lnTo>
                    <a:pt x="231279" y="0"/>
                  </a:lnTo>
                  <a:lnTo>
                    <a:pt x="130610" y="145410"/>
                  </a:lnTo>
                  <a:lnTo>
                    <a:pt x="130610" y="252273"/>
                  </a:lnTo>
                  <a:lnTo>
                    <a:pt x="97226" y="252273"/>
                  </a:lnTo>
                  <a:lnTo>
                    <a:pt x="97226" y="145410"/>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35" name="TextBox 34">
              <a:extLst>
                <a:ext uri="{FF2B5EF4-FFF2-40B4-BE49-F238E27FC236}">
                  <a16:creationId xmlns:a16="http://schemas.microsoft.com/office/drawing/2014/main" id="{7C930E32-7FE7-E781-095E-D69E34E703D4}"/>
                </a:ext>
              </a:extLst>
            </p:cNvPr>
            <p:cNvSpPr txBox="1"/>
            <p:nvPr/>
          </p:nvSpPr>
          <p:spPr>
            <a:xfrm>
              <a:off x="3436679" y="-513220"/>
              <a:ext cx="235268" cy="252273"/>
            </a:xfrm>
            <a:custGeom>
              <a:avLst/>
              <a:gdLst/>
              <a:ahLst/>
              <a:cxnLst/>
              <a:rect l="l" t="t" r="r" b="b"/>
              <a:pathLst>
                <a:path w="235268" h="252273">
                  <a:moveTo>
                    <a:pt x="96882" y="0"/>
                  </a:moveTo>
                  <a:lnTo>
                    <a:pt x="132848" y="0"/>
                  </a:lnTo>
                  <a:lnTo>
                    <a:pt x="235268" y="250247"/>
                  </a:lnTo>
                  <a:lnTo>
                    <a:pt x="235268" y="252273"/>
                  </a:lnTo>
                  <a:lnTo>
                    <a:pt x="198067" y="252273"/>
                  </a:lnTo>
                  <a:lnTo>
                    <a:pt x="168641" y="175868"/>
                  </a:lnTo>
                  <a:lnTo>
                    <a:pt x="63154" y="175868"/>
                  </a:lnTo>
                  <a:lnTo>
                    <a:pt x="35449" y="252273"/>
                  </a:lnTo>
                  <a:lnTo>
                    <a:pt x="0" y="252273"/>
                  </a:lnTo>
                  <a:lnTo>
                    <a:pt x="96882" y="0"/>
                  </a:lnTo>
                  <a:close/>
                  <a:moveTo>
                    <a:pt x="114091" y="26501"/>
                  </a:moveTo>
                  <a:cubicBezTo>
                    <a:pt x="110878" y="42676"/>
                    <a:pt x="106347" y="58738"/>
                    <a:pt x="100496" y="74684"/>
                  </a:cubicBezTo>
                  <a:lnTo>
                    <a:pt x="72791" y="148679"/>
                  </a:lnTo>
                  <a:lnTo>
                    <a:pt x="158316" y="148679"/>
                  </a:lnTo>
                  <a:lnTo>
                    <a:pt x="131987" y="78814"/>
                  </a:lnTo>
                  <a:cubicBezTo>
                    <a:pt x="123957" y="57590"/>
                    <a:pt x="117991" y="40153"/>
                    <a:pt x="114091" y="26501"/>
                  </a:cubicBez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36" name="TextBox 35">
              <a:extLst>
                <a:ext uri="{FF2B5EF4-FFF2-40B4-BE49-F238E27FC236}">
                  <a16:creationId xmlns:a16="http://schemas.microsoft.com/office/drawing/2014/main" id="{898BD54A-AF0B-C50E-221B-E4D6075FDB6C}"/>
                </a:ext>
              </a:extLst>
            </p:cNvPr>
            <p:cNvSpPr txBox="1"/>
            <p:nvPr/>
          </p:nvSpPr>
          <p:spPr>
            <a:xfrm>
              <a:off x="3842253" y="-513220"/>
              <a:ext cx="33384" cy="252273"/>
            </a:xfrm>
            <a:custGeom>
              <a:avLst/>
              <a:gdLst/>
              <a:ahLst/>
              <a:cxnLst/>
              <a:rect l="l" t="t" r="r" b="b"/>
              <a:pathLst>
                <a:path w="33384" h="252273">
                  <a:moveTo>
                    <a:pt x="0" y="0"/>
                  </a:moveTo>
                  <a:lnTo>
                    <a:pt x="33384" y="0"/>
                  </a:lnTo>
                  <a:lnTo>
                    <a:pt x="33384" y="252273"/>
                  </a:lnTo>
                  <a:lnTo>
                    <a:pt x="0" y="252273"/>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37" name="TextBox 36">
              <a:extLst>
                <a:ext uri="{FF2B5EF4-FFF2-40B4-BE49-F238E27FC236}">
                  <a16:creationId xmlns:a16="http://schemas.microsoft.com/office/drawing/2014/main" id="{41004E00-F50D-78EB-BD98-97A76DC04D3E}"/>
                </a:ext>
              </a:extLst>
            </p:cNvPr>
            <p:cNvSpPr txBox="1"/>
            <p:nvPr/>
          </p:nvSpPr>
          <p:spPr>
            <a:xfrm>
              <a:off x="3951722" y="-513220"/>
              <a:ext cx="198755" cy="252273"/>
            </a:xfrm>
            <a:custGeom>
              <a:avLst/>
              <a:gdLst/>
              <a:ahLst/>
              <a:cxnLst/>
              <a:rect l="l" t="t" r="r" b="b"/>
              <a:pathLst>
                <a:path w="198755" h="252273">
                  <a:moveTo>
                    <a:pt x="0" y="0"/>
                  </a:moveTo>
                  <a:lnTo>
                    <a:pt x="34244" y="0"/>
                  </a:lnTo>
                  <a:lnTo>
                    <a:pt x="166748" y="198067"/>
                  </a:lnTo>
                  <a:lnTo>
                    <a:pt x="166748" y="0"/>
                  </a:lnTo>
                  <a:lnTo>
                    <a:pt x="198755" y="0"/>
                  </a:lnTo>
                  <a:lnTo>
                    <a:pt x="198755" y="252273"/>
                  </a:lnTo>
                  <a:lnTo>
                    <a:pt x="164511" y="252273"/>
                  </a:lnTo>
                  <a:lnTo>
                    <a:pt x="32007" y="54034"/>
                  </a:lnTo>
                  <a:lnTo>
                    <a:pt x="32007" y="252273"/>
                  </a:lnTo>
                  <a:lnTo>
                    <a:pt x="0" y="252273"/>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38" name="TextBox 37">
              <a:extLst>
                <a:ext uri="{FF2B5EF4-FFF2-40B4-BE49-F238E27FC236}">
                  <a16:creationId xmlns:a16="http://schemas.microsoft.com/office/drawing/2014/main" id="{3733C1B5-A3DD-4F7A-B64F-313485FB0294}"/>
                </a:ext>
              </a:extLst>
            </p:cNvPr>
            <p:cNvSpPr txBox="1"/>
            <p:nvPr/>
          </p:nvSpPr>
          <p:spPr>
            <a:xfrm>
              <a:off x="4200627" y="-513220"/>
              <a:ext cx="230763" cy="252273"/>
            </a:xfrm>
            <a:custGeom>
              <a:avLst/>
              <a:gdLst/>
              <a:ahLst/>
              <a:cxnLst/>
              <a:rect l="l" t="t" r="r" b="b"/>
              <a:pathLst>
                <a:path w="230763" h="252273">
                  <a:moveTo>
                    <a:pt x="0" y="0"/>
                  </a:moveTo>
                  <a:lnTo>
                    <a:pt x="36137" y="0"/>
                  </a:lnTo>
                  <a:lnTo>
                    <a:pt x="101701" y="183268"/>
                  </a:lnTo>
                  <a:cubicBezTo>
                    <a:pt x="106978" y="197952"/>
                    <a:pt x="111395" y="211719"/>
                    <a:pt x="114951" y="224568"/>
                  </a:cubicBezTo>
                  <a:cubicBezTo>
                    <a:pt x="118852" y="210801"/>
                    <a:pt x="123383" y="197034"/>
                    <a:pt x="128546" y="183268"/>
                  </a:cubicBezTo>
                  <a:lnTo>
                    <a:pt x="196690" y="0"/>
                  </a:lnTo>
                  <a:lnTo>
                    <a:pt x="230763" y="0"/>
                  </a:lnTo>
                  <a:lnTo>
                    <a:pt x="131987" y="252273"/>
                  </a:lnTo>
                  <a:lnTo>
                    <a:pt x="97743" y="252273"/>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39" name="TextBox 38">
              <a:extLst>
                <a:ext uri="{FF2B5EF4-FFF2-40B4-BE49-F238E27FC236}">
                  <a16:creationId xmlns:a16="http://schemas.microsoft.com/office/drawing/2014/main" id="{DFCBF74D-EF7A-5F04-2E04-2B862B80F645}"/>
                </a:ext>
              </a:extLst>
            </p:cNvPr>
            <p:cNvSpPr txBox="1"/>
            <p:nvPr/>
          </p:nvSpPr>
          <p:spPr>
            <a:xfrm>
              <a:off x="4481471" y="-513220"/>
              <a:ext cx="188258" cy="252273"/>
            </a:xfrm>
            <a:custGeom>
              <a:avLst/>
              <a:gdLst/>
              <a:ahLst/>
              <a:cxnLst/>
              <a:rect l="l" t="t" r="r" b="b"/>
              <a:pathLst>
                <a:path w="188258" h="252273">
                  <a:moveTo>
                    <a:pt x="0" y="0"/>
                  </a:moveTo>
                  <a:lnTo>
                    <a:pt x="182407" y="0"/>
                  </a:lnTo>
                  <a:lnTo>
                    <a:pt x="182407" y="29770"/>
                  </a:lnTo>
                  <a:lnTo>
                    <a:pt x="33384" y="29770"/>
                  </a:lnTo>
                  <a:lnTo>
                    <a:pt x="33384" y="107035"/>
                  </a:lnTo>
                  <a:lnTo>
                    <a:pt x="172943" y="107035"/>
                  </a:lnTo>
                  <a:lnTo>
                    <a:pt x="172943" y="136634"/>
                  </a:lnTo>
                  <a:lnTo>
                    <a:pt x="33384" y="136634"/>
                  </a:lnTo>
                  <a:lnTo>
                    <a:pt x="33384" y="222503"/>
                  </a:lnTo>
                  <a:lnTo>
                    <a:pt x="188258" y="222503"/>
                  </a:lnTo>
                  <a:lnTo>
                    <a:pt x="188258" y="252273"/>
                  </a:lnTo>
                  <a:lnTo>
                    <a:pt x="0" y="252273"/>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40" name="TextBox 39">
              <a:extLst>
                <a:ext uri="{FF2B5EF4-FFF2-40B4-BE49-F238E27FC236}">
                  <a16:creationId xmlns:a16="http://schemas.microsoft.com/office/drawing/2014/main" id="{4CE2B520-C63F-9012-FAD1-51202CCAD036}"/>
                </a:ext>
              </a:extLst>
            </p:cNvPr>
            <p:cNvSpPr txBox="1"/>
            <p:nvPr/>
          </p:nvSpPr>
          <p:spPr>
            <a:xfrm>
              <a:off x="4970846" y="-513220"/>
              <a:ext cx="199960" cy="252273"/>
            </a:xfrm>
            <a:custGeom>
              <a:avLst/>
              <a:gdLst/>
              <a:ahLst/>
              <a:cxnLst/>
              <a:rect l="l" t="t" r="r" b="b"/>
              <a:pathLst>
                <a:path w="199960" h="252273">
                  <a:moveTo>
                    <a:pt x="0" y="0"/>
                  </a:moveTo>
                  <a:lnTo>
                    <a:pt x="199960" y="0"/>
                  </a:lnTo>
                  <a:lnTo>
                    <a:pt x="199960" y="29770"/>
                  </a:lnTo>
                  <a:lnTo>
                    <a:pt x="116500" y="29770"/>
                  </a:lnTo>
                  <a:lnTo>
                    <a:pt x="116500" y="252273"/>
                  </a:lnTo>
                  <a:lnTo>
                    <a:pt x="83116" y="252273"/>
                  </a:lnTo>
                  <a:lnTo>
                    <a:pt x="83116" y="29770"/>
                  </a:lnTo>
                  <a:lnTo>
                    <a:pt x="0" y="29770"/>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41" name="TextBox 40">
              <a:extLst>
                <a:ext uri="{FF2B5EF4-FFF2-40B4-BE49-F238E27FC236}">
                  <a16:creationId xmlns:a16="http://schemas.microsoft.com/office/drawing/2014/main" id="{31899A81-6F10-D1B4-E6DA-1B288166D06D}"/>
                </a:ext>
              </a:extLst>
            </p:cNvPr>
            <p:cNvSpPr txBox="1"/>
            <p:nvPr/>
          </p:nvSpPr>
          <p:spPr>
            <a:xfrm>
              <a:off x="5223177" y="-513220"/>
              <a:ext cx="240743" cy="252273"/>
            </a:xfrm>
            <a:custGeom>
              <a:avLst/>
              <a:gdLst/>
              <a:ahLst/>
              <a:cxnLst/>
              <a:rect l="l" t="t" r="r" b="b"/>
              <a:pathLst>
                <a:path w="240743" h="252273">
                  <a:moveTo>
                    <a:pt x="0" y="0"/>
                  </a:moveTo>
                  <a:lnTo>
                    <a:pt x="50248" y="0"/>
                  </a:lnTo>
                  <a:lnTo>
                    <a:pt x="109961" y="178622"/>
                  </a:lnTo>
                  <a:cubicBezTo>
                    <a:pt x="115467" y="195256"/>
                    <a:pt x="119482" y="207704"/>
                    <a:pt x="122006" y="215964"/>
                  </a:cubicBezTo>
                  <a:cubicBezTo>
                    <a:pt x="124874" y="206786"/>
                    <a:pt x="129348" y="193306"/>
                    <a:pt x="135429" y="175524"/>
                  </a:cubicBezTo>
                  <a:lnTo>
                    <a:pt x="195830" y="0"/>
                  </a:lnTo>
                  <a:lnTo>
                    <a:pt x="240743" y="0"/>
                  </a:lnTo>
                  <a:lnTo>
                    <a:pt x="240743" y="252273"/>
                  </a:lnTo>
                  <a:lnTo>
                    <a:pt x="208564" y="252273"/>
                  </a:lnTo>
                  <a:lnTo>
                    <a:pt x="208564" y="41128"/>
                  </a:lnTo>
                  <a:lnTo>
                    <a:pt x="135257" y="252273"/>
                  </a:lnTo>
                  <a:lnTo>
                    <a:pt x="105142" y="252273"/>
                  </a:lnTo>
                  <a:lnTo>
                    <a:pt x="32179" y="37514"/>
                  </a:lnTo>
                  <a:lnTo>
                    <a:pt x="32179" y="252273"/>
                  </a:lnTo>
                  <a:lnTo>
                    <a:pt x="0" y="252273"/>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42" name="TextBox 41">
              <a:extLst>
                <a:ext uri="{FF2B5EF4-FFF2-40B4-BE49-F238E27FC236}">
                  <a16:creationId xmlns:a16="http://schemas.microsoft.com/office/drawing/2014/main" id="{36882908-B968-00A1-B835-5BD810FDDEB7}"/>
                </a:ext>
              </a:extLst>
            </p:cNvPr>
            <p:cNvSpPr txBox="1"/>
            <p:nvPr/>
          </p:nvSpPr>
          <p:spPr>
            <a:xfrm>
              <a:off x="5538668" y="-513220"/>
              <a:ext cx="188258" cy="252273"/>
            </a:xfrm>
            <a:custGeom>
              <a:avLst/>
              <a:gdLst/>
              <a:ahLst/>
              <a:cxnLst/>
              <a:rect l="l" t="t" r="r" b="b"/>
              <a:pathLst>
                <a:path w="188258" h="252273">
                  <a:moveTo>
                    <a:pt x="0" y="0"/>
                  </a:moveTo>
                  <a:lnTo>
                    <a:pt x="182407" y="0"/>
                  </a:lnTo>
                  <a:lnTo>
                    <a:pt x="182407" y="29770"/>
                  </a:lnTo>
                  <a:lnTo>
                    <a:pt x="33384" y="29770"/>
                  </a:lnTo>
                  <a:lnTo>
                    <a:pt x="33384" y="107035"/>
                  </a:lnTo>
                  <a:lnTo>
                    <a:pt x="172943" y="107035"/>
                  </a:lnTo>
                  <a:lnTo>
                    <a:pt x="172943" y="136634"/>
                  </a:lnTo>
                  <a:lnTo>
                    <a:pt x="33384" y="136634"/>
                  </a:lnTo>
                  <a:lnTo>
                    <a:pt x="33384" y="222503"/>
                  </a:lnTo>
                  <a:lnTo>
                    <a:pt x="188258" y="222503"/>
                  </a:lnTo>
                  <a:lnTo>
                    <a:pt x="188258" y="252273"/>
                  </a:lnTo>
                  <a:lnTo>
                    <a:pt x="0" y="252273"/>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43" name="TextBox 42">
              <a:extLst>
                <a:ext uri="{FF2B5EF4-FFF2-40B4-BE49-F238E27FC236}">
                  <a16:creationId xmlns:a16="http://schemas.microsoft.com/office/drawing/2014/main" id="{AD399628-6655-3E25-C1AE-48BC911131FF}"/>
                </a:ext>
              </a:extLst>
            </p:cNvPr>
            <p:cNvSpPr txBox="1"/>
            <p:nvPr/>
          </p:nvSpPr>
          <p:spPr>
            <a:xfrm>
              <a:off x="5792152" y="-513220"/>
              <a:ext cx="198755" cy="252273"/>
            </a:xfrm>
            <a:custGeom>
              <a:avLst/>
              <a:gdLst/>
              <a:ahLst/>
              <a:cxnLst/>
              <a:rect l="l" t="t" r="r" b="b"/>
              <a:pathLst>
                <a:path w="198755" h="252273">
                  <a:moveTo>
                    <a:pt x="0" y="0"/>
                  </a:moveTo>
                  <a:lnTo>
                    <a:pt x="34245" y="0"/>
                  </a:lnTo>
                  <a:lnTo>
                    <a:pt x="166748" y="198067"/>
                  </a:lnTo>
                  <a:lnTo>
                    <a:pt x="166748" y="0"/>
                  </a:lnTo>
                  <a:lnTo>
                    <a:pt x="198755" y="0"/>
                  </a:lnTo>
                  <a:lnTo>
                    <a:pt x="198755" y="252273"/>
                  </a:lnTo>
                  <a:lnTo>
                    <a:pt x="164511" y="252273"/>
                  </a:lnTo>
                  <a:lnTo>
                    <a:pt x="32007" y="54034"/>
                  </a:lnTo>
                  <a:lnTo>
                    <a:pt x="32007" y="252273"/>
                  </a:lnTo>
                  <a:lnTo>
                    <a:pt x="0" y="252273"/>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44" name="TextBox 43">
              <a:extLst>
                <a:ext uri="{FF2B5EF4-FFF2-40B4-BE49-F238E27FC236}">
                  <a16:creationId xmlns:a16="http://schemas.microsoft.com/office/drawing/2014/main" id="{D75445CF-4778-8531-D4B9-378A70AC48FA}"/>
                </a:ext>
              </a:extLst>
            </p:cNvPr>
            <p:cNvSpPr txBox="1"/>
            <p:nvPr/>
          </p:nvSpPr>
          <p:spPr>
            <a:xfrm>
              <a:off x="6047767" y="-513220"/>
              <a:ext cx="199960" cy="252273"/>
            </a:xfrm>
            <a:custGeom>
              <a:avLst/>
              <a:gdLst/>
              <a:ahLst/>
              <a:cxnLst/>
              <a:rect l="l" t="t" r="r" b="b"/>
              <a:pathLst>
                <a:path w="199960" h="252273">
                  <a:moveTo>
                    <a:pt x="0" y="0"/>
                  </a:moveTo>
                  <a:lnTo>
                    <a:pt x="199960" y="0"/>
                  </a:lnTo>
                  <a:lnTo>
                    <a:pt x="199960" y="29770"/>
                  </a:lnTo>
                  <a:lnTo>
                    <a:pt x="116500" y="29770"/>
                  </a:lnTo>
                  <a:lnTo>
                    <a:pt x="116500" y="252273"/>
                  </a:lnTo>
                  <a:lnTo>
                    <a:pt x="83116" y="252273"/>
                  </a:lnTo>
                  <a:lnTo>
                    <a:pt x="83116" y="29770"/>
                  </a:lnTo>
                  <a:lnTo>
                    <a:pt x="0" y="29770"/>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45" name="TextBox 44">
              <a:extLst>
                <a:ext uri="{FF2B5EF4-FFF2-40B4-BE49-F238E27FC236}">
                  <a16:creationId xmlns:a16="http://schemas.microsoft.com/office/drawing/2014/main" id="{E9ED38B4-99ED-BD4E-024F-43CE664B636F}"/>
                </a:ext>
              </a:extLst>
            </p:cNvPr>
            <p:cNvSpPr txBox="1"/>
            <p:nvPr/>
          </p:nvSpPr>
          <p:spPr>
            <a:xfrm>
              <a:off x="6366898" y="-513220"/>
              <a:ext cx="219380" cy="252273"/>
            </a:xfrm>
            <a:custGeom>
              <a:avLst/>
              <a:gdLst/>
              <a:ahLst/>
              <a:cxnLst/>
              <a:rect l="l" t="t" r="r" b="b"/>
              <a:pathLst>
                <a:path w="219380" h="252273">
                  <a:moveTo>
                    <a:pt x="80165" y="0"/>
                  </a:moveTo>
                  <a:lnTo>
                    <a:pt x="116131" y="0"/>
                  </a:lnTo>
                  <a:lnTo>
                    <a:pt x="219380" y="252273"/>
                  </a:lnTo>
                  <a:lnTo>
                    <a:pt x="181350" y="252273"/>
                  </a:lnTo>
                  <a:lnTo>
                    <a:pt x="151924" y="175868"/>
                  </a:lnTo>
                  <a:lnTo>
                    <a:pt x="46437" y="175868"/>
                  </a:lnTo>
                  <a:lnTo>
                    <a:pt x="18732" y="252273"/>
                  </a:lnTo>
                  <a:lnTo>
                    <a:pt x="0" y="252273"/>
                  </a:lnTo>
                  <a:lnTo>
                    <a:pt x="0" y="208743"/>
                  </a:lnTo>
                  <a:lnTo>
                    <a:pt x="80165" y="0"/>
                  </a:lnTo>
                  <a:close/>
                  <a:moveTo>
                    <a:pt x="97374" y="26501"/>
                  </a:moveTo>
                  <a:cubicBezTo>
                    <a:pt x="94161" y="42676"/>
                    <a:pt x="89630" y="58738"/>
                    <a:pt x="83779" y="74684"/>
                  </a:cubicBezTo>
                  <a:lnTo>
                    <a:pt x="56074" y="148679"/>
                  </a:lnTo>
                  <a:lnTo>
                    <a:pt x="141599" y="148679"/>
                  </a:lnTo>
                  <a:lnTo>
                    <a:pt x="115270" y="78814"/>
                  </a:lnTo>
                  <a:cubicBezTo>
                    <a:pt x="107240" y="57590"/>
                    <a:pt x="101274" y="40153"/>
                    <a:pt x="97374" y="26501"/>
                  </a:cubicBez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46" name="TextBox 45">
              <a:extLst>
                <a:ext uri="{FF2B5EF4-FFF2-40B4-BE49-F238E27FC236}">
                  <a16:creationId xmlns:a16="http://schemas.microsoft.com/office/drawing/2014/main" id="{B63FE3CB-F787-9D38-7AEC-7EF8ADBFFB8A}"/>
                </a:ext>
              </a:extLst>
            </p:cNvPr>
            <p:cNvSpPr txBox="1"/>
            <p:nvPr/>
          </p:nvSpPr>
          <p:spPr>
            <a:xfrm>
              <a:off x="6632880" y="-513220"/>
              <a:ext cx="198411" cy="256575"/>
            </a:xfrm>
            <a:custGeom>
              <a:avLst/>
              <a:gdLst/>
              <a:ahLst/>
              <a:cxnLst/>
              <a:rect l="l" t="t" r="r" b="b"/>
              <a:pathLst>
                <a:path w="198411" h="256575">
                  <a:moveTo>
                    <a:pt x="0" y="0"/>
                  </a:moveTo>
                  <a:lnTo>
                    <a:pt x="33384" y="0"/>
                  </a:lnTo>
                  <a:lnTo>
                    <a:pt x="33384" y="145582"/>
                  </a:lnTo>
                  <a:cubicBezTo>
                    <a:pt x="33384" y="167494"/>
                    <a:pt x="35420" y="183641"/>
                    <a:pt x="39492" y="194023"/>
                  </a:cubicBezTo>
                  <a:cubicBezTo>
                    <a:pt x="43565" y="204405"/>
                    <a:pt x="50563" y="212407"/>
                    <a:pt x="60487" y="218029"/>
                  </a:cubicBezTo>
                  <a:cubicBezTo>
                    <a:pt x="70410" y="223650"/>
                    <a:pt x="82542" y="226461"/>
                    <a:pt x="96882" y="226461"/>
                  </a:cubicBezTo>
                  <a:cubicBezTo>
                    <a:pt x="121432" y="226461"/>
                    <a:pt x="138927" y="220897"/>
                    <a:pt x="149367" y="209769"/>
                  </a:cubicBezTo>
                  <a:cubicBezTo>
                    <a:pt x="159807" y="198641"/>
                    <a:pt x="165027" y="177245"/>
                    <a:pt x="165027" y="145582"/>
                  </a:cubicBezTo>
                  <a:lnTo>
                    <a:pt x="165027" y="0"/>
                  </a:lnTo>
                  <a:lnTo>
                    <a:pt x="198411" y="0"/>
                  </a:lnTo>
                  <a:lnTo>
                    <a:pt x="198411" y="145754"/>
                  </a:lnTo>
                  <a:cubicBezTo>
                    <a:pt x="198411" y="171107"/>
                    <a:pt x="195543" y="191241"/>
                    <a:pt x="189807" y="206155"/>
                  </a:cubicBezTo>
                  <a:cubicBezTo>
                    <a:pt x="184070" y="221069"/>
                    <a:pt x="173717" y="233200"/>
                    <a:pt x="158746" y="242550"/>
                  </a:cubicBezTo>
                  <a:cubicBezTo>
                    <a:pt x="143774" y="251900"/>
                    <a:pt x="124128" y="256575"/>
                    <a:pt x="99807" y="256575"/>
                  </a:cubicBezTo>
                  <a:cubicBezTo>
                    <a:pt x="76175" y="256575"/>
                    <a:pt x="56844" y="252502"/>
                    <a:pt x="41816" y="244357"/>
                  </a:cubicBezTo>
                  <a:cubicBezTo>
                    <a:pt x="26787" y="236212"/>
                    <a:pt x="16061" y="224424"/>
                    <a:pt x="9636" y="208994"/>
                  </a:cubicBezTo>
                  <a:cubicBezTo>
                    <a:pt x="3212" y="193564"/>
                    <a:pt x="0" y="172484"/>
                    <a:pt x="0" y="145754"/>
                  </a:cubicBez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47" name="TextBox 46">
              <a:extLst>
                <a:ext uri="{FF2B5EF4-FFF2-40B4-BE49-F238E27FC236}">
                  <a16:creationId xmlns:a16="http://schemas.microsoft.com/office/drawing/2014/main" id="{E10F35DD-6C75-22BA-153B-CDE17D70BA74}"/>
                </a:ext>
              </a:extLst>
            </p:cNvPr>
            <p:cNvSpPr txBox="1"/>
            <p:nvPr/>
          </p:nvSpPr>
          <p:spPr>
            <a:xfrm>
              <a:off x="6887634" y="-513220"/>
              <a:ext cx="199960" cy="252273"/>
            </a:xfrm>
            <a:custGeom>
              <a:avLst/>
              <a:gdLst/>
              <a:ahLst/>
              <a:cxnLst/>
              <a:rect l="l" t="t" r="r" b="b"/>
              <a:pathLst>
                <a:path w="199960" h="252273">
                  <a:moveTo>
                    <a:pt x="0" y="0"/>
                  </a:moveTo>
                  <a:lnTo>
                    <a:pt x="199960" y="0"/>
                  </a:lnTo>
                  <a:lnTo>
                    <a:pt x="199960" y="29770"/>
                  </a:lnTo>
                  <a:lnTo>
                    <a:pt x="116500" y="29770"/>
                  </a:lnTo>
                  <a:lnTo>
                    <a:pt x="116500" y="252273"/>
                  </a:lnTo>
                  <a:lnTo>
                    <a:pt x="83116" y="252273"/>
                  </a:lnTo>
                  <a:lnTo>
                    <a:pt x="83116" y="29770"/>
                  </a:lnTo>
                  <a:lnTo>
                    <a:pt x="0" y="29770"/>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48" name="TextBox 47">
              <a:extLst>
                <a:ext uri="{FF2B5EF4-FFF2-40B4-BE49-F238E27FC236}">
                  <a16:creationId xmlns:a16="http://schemas.microsoft.com/office/drawing/2014/main" id="{1980B6B3-4B43-6C05-9236-3AE1FB96CA7F}"/>
                </a:ext>
              </a:extLst>
            </p:cNvPr>
            <p:cNvSpPr txBox="1"/>
            <p:nvPr/>
          </p:nvSpPr>
          <p:spPr>
            <a:xfrm>
              <a:off x="7142032" y="-513220"/>
              <a:ext cx="197895" cy="252273"/>
            </a:xfrm>
            <a:custGeom>
              <a:avLst/>
              <a:gdLst/>
              <a:ahLst/>
              <a:cxnLst/>
              <a:rect l="l" t="t" r="r" b="b"/>
              <a:pathLst>
                <a:path w="197895" h="252273">
                  <a:moveTo>
                    <a:pt x="0" y="0"/>
                  </a:moveTo>
                  <a:lnTo>
                    <a:pt x="33384" y="0"/>
                  </a:lnTo>
                  <a:lnTo>
                    <a:pt x="33384" y="103594"/>
                  </a:lnTo>
                  <a:lnTo>
                    <a:pt x="164511" y="103594"/>
                  </a:lnTo>
                  <a:lnTo>
                    <a:pt x="164511" y="0"/>
                  </a:lnTo>
                  <a:lnTo>
                    <a:pt x="197895" y="0"/>
                  </a:lnTo>
                  <a:lnTo>
                    <a:pt x="197895" y="252273"/>
                  </a:lnTo>
                  <a:lnTo>
                    <a:pt x="164511" y="252273"/>
                  </a:lnTo>
                  <a:lnTo>
                    <a:pt x="164511" y="133364"/>
                  </a:lnTo>
                  <a:lnTo>
                    <a:pt x="33384" y="133364"/>
                  </a:lnTo>
                  <a:lnTo>
                    <a:pt x="33384" y="252273"/>
                  </a:lnTo>
                  <a:lnTo>
                    <a:pt x="0" y="252273"/>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49" name="TextBox 48">
              <a:extLst>
                <a:ext uri="{FF2B5EF4-FFF2-40B4-BE49-F238E27FC236}">
                  <a16:creationId xmlns:a16="http://schemas.microsoft.com/office/drawing/2014/main" id="{F550F794-4C8B-D0B2-449B-645CA1354045}"/>
                </a:ext>
              </a:extLst>
            </p:cNvPr>
            <p:cNvSpPr txBox="1"/>
            <p:nvPr/>
          </p:nvSpPr>
          <p:spPr>
            <a:xfrm>
              <a:off x="7709840" y="-513220"/>
              <a:ext cx="222330" cy="252273"/>
            </a:xfrm>
            <a:custGeom>
              <a:avLst/>
              <a:gdLst/>
              <a:ahLst/>
              <a:cxnLst/>
              <a:rect l="l" t="t" r="r" b="b"/>
              <a:pathLst>
                <a:path w="222330" h="252273">
                  <a:moveTo>
                    <a:pt x="0" y="0"/>
                  </a:moveTo>
                  <a:lnTo>
                    <a:pt x="111853" y="0"/>
                  </a:lnTo>
                  <a:cubicBezTo>
                    <a:pt x="134339" y="0"/>
                    <a:pt x="151432" y="2266"/>
                    <a:pt x="163134" y="6797"/>
                  </a:cubicBezTo>
                  <a:cubicBezTo>
                    <a:pt x="174835" y="11329"/>
                    <a:pt x="184185" y="19331"/>
                    <a:pt x="191183" y="30803"/>
                  </a:cubicBezTo>
                  <a:cubicBezTo>
                    <a:pt x="198181" y="42275"/>
                    <a:pt x="201680" y="54952"/>
                    <a:pt x="201680" y="68833"/>
                  </a:cubicBezTo>
                  <a:cubicBezTo>
                    <a:pt x="201680" y="86730"/>
                    <a:pt x="195887" y="101816"/>
                    <a:pt x="184300" y="114091"/>
                  </a:cubicBezTo>
                  <a:cubicBezTo>
                    <a:pt x="172713" y="126366"/>
                    <a:pt x="154816" y="134167"/>
                    <a:pt x="130610" y="137494"/>
                  </a:cubicBezTo>
                  <a:cubicBezTo>
                    <a:pt x="139444" y="141739"/>
                    <a:pt x="146155" y="145926"/>
                    <a:pt x="150744" y="150056"/>
                  </a:cubicBezTo>
                  <a:cubicBezTo>
                    <a:pt x="160495" y="159004"/>
                    <a:pt x="169730" y="170190"/>
                    <a:pt x="178449" y="183612"/>
                  </a:cubicBezTo>
                  <a:lnTo>
                    <a:pt x="222330" y="252273"/>
                  </a:lnTo>
                  <a:lnTo>
                    <a:pt x="180342" y="252273"/>
                  </a:lnTo>
                  <a:lnTo>
                    <a:pt x="146958" y="199788"/>
                  </a:lnTo>
                  <a:cubicBezTo>
                    <a:pt x="137207" y="184645"/>
                    <a:pt x="129176" y="173058"/>
                    <a:pt x="122866" y="165027"/>
                  </a:cubicBezTo>
                  <a:cubicBezTo>
                    <a:pt x="116557" y="156997"/>
                    <a:pt x="110907" y="151375"/>
                    <a:pt x="105916" y="148163"/>
                  </a:cubicBezTo>
                  <a:cubicBezTo>
                    <a:pt x="100926" y="144951"/>
                    <a:pt x="95849" y="142714"/>
                    <a:pt x="90687" y="141452"/>
                  </a:cubicBezTo>
                  <a:cubicBezTo>
                    <a:pt x="86901" y="140649"/>
                    <a:pt x="80706" y="140247"/>
                    <a:pt x="72102" y="140247"/>
                  </a:cubicBezTo>
                  <a:lnTo>
                    <a:pt x="33384" y="140247"/>
                  </a:lnTo>
                  <a:lnTo>
                    <a:pt x="33384" y="252273"/>
                  </a:lnTo>
                  <a:lnTo>
                    <a:pt x="0" y="252273"/>
                  </a:lnTo>
                  <a:lnTo>
                    <a:pt x="0" y="0"/>
                  </a:lnTo>
                  <a:close/>
                  <a:moveTo>
                    <a:pt x="33384" y="27877"/>
                  </a:moveTo>
                  <a:lnTo>
                    <a:pt x="33384" y="111337"/>
                  </a:lnTo>
                  <a:lnTo>
                    <a:pt x="105142" y="111337"/>
                  </a:lnTo>
                  <a:cubicBezTo>
                    <a:pt x="120400" y="111337"/>
                    <a:pt x="132331" y="109760"/>
                    <a:pt x="140935" y="106605"/>
                  </a:cubicBezTo>
                  <a:cubicBezTo>
                    <a:pt x="149539" y="103450"/>
                    <a:pt x="156078" y="98403"/>
                    <a:pt x="160553" y="91462"/>
                  </a:cubicBezTo>
                  <a:cubicBezTo>
                    <a:pt x="165027" y="84521"/>
                    <a:pt x="167264" y="76978"/>
                    <a:pt x="167264" y="68833"/>
                  </a:cubicBezTo>
                  <a:cubicBezTo>
                    <a:pt x="167264" y="56902"/>
                    <a:pt x="162933" y="47093"/>
                    <a:pt x="154272" y="39407"/>
                  </a:cubicBezTo>
                  <a:cubicBezTo>
                    <a:pt x="145610" y="31721"/>
                    <a:pt x="131929" y="27877"/>
                    <a:pt x="113230" y="27877"/>
                  </a:cubicBezTo>
                  <a:lnTo>
                    <a:pt x="33384" y="27877"/>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50" name="TextBox 49">
              <a:extLst>
                <a:ext uri="{FF2B5EF4-FFF2-40B4-BE49-F238E27FC236}">
                  <a16:creationId xmlns:a16="http://schemas.microsoft.com/office/drawing/2014/main" id="{10DED614-1173-B918-8A6D-C2E2422D0DD9}"/>
                </a:ext>
              </a:extLst>
            </p:cNvPr>
            <p:cNvSpPr txBox="1"/>
            <p:nvPr/>
          </p:nvSpPr>
          <p:spPr>
            <a:xfrm>
              <a:off x="7989203" y="-513220"/>
              <a:ext cx="33384" cy="252273"/>
            </a:xfrm>
            <a:custGeom>
              <a:avLst/>
              <a:gdLst/>
              <a:ahLst/>
              <a:cxnLst/>
              <a:rect l="l" t="t" r="r" b="b"/>
              <a:pathLst>
                <a:path w="33384" h="252273">
                  <a:moveTo>
                    <a:pt x="0" y="0"/>
                  </a:moveTo>
                  <a:lnTo>
                    <a:pt x="33384" y="0"/>
                  </a:lnTo>
                  <a:lnTo>
                    <a:pt x="33384" y="252273"/>
                  </a:lnTo>
                  <a:lnTo>
                    <a:pt x="0" y="252273"/>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51" name="TextBox 50">
              <a:extLst>
                <a:ext uri="{FF2B5EF4-FFF2-40B4-BE49-F238E27FC236}">
                  <a16:creationId xmlns:a16="http://schemas.microsoft.com/office/drawing/2014/main" id="{A104DC13-EBE2-0D60-FE6E-A40977814683}"/>
                </a:ext>
              </a:extLst>
            </p:cNvPr>
            <p:cNvSpPr txBox="1"/>
            <p:nvPr/>
          </p:nvSpPr>
          <p:spPr>
            <a:xfrm>
              <a:off x="8080086" y="-513220"/>
              <a:ext cx="199960" cy="252273"/>
            </a:xfrm>
            <a:custGeom>
              <a:avLst/>
              <a:gdLst/>
              <a:ahLst/>
              <a:cxnLst/>
              <a:rect l="l" t="t" r="r" b="b"/>
              <a:pathLst>
                <a:path w="199960" h="252273">
                  <a:moveTo>
                    <a:pt x="0" y="0"/>
                  </a:moveTo>
                  <a:lnTo>
                    <a:pt x="199960" y="0"/>
                  </a:lnTo>
                  <a:lnTo>
                    <a:pt x="199960" y="29770"/>
                  </a:lnTo>
                  <a:lnTo>
                    <a:pt x="116500" y="29770"/>
                  </a:lnTo>
                  <a:lnTo>
                    <a:pt x="116500" y="252273"/>
                  </a:lnTo>
                  <a:lnTo>
                    <a:pt x="83116" y="252273"/>
                  </a:lnTo>
                  <a:lnTo>
                    <a:pt x="83116" y="29770"/>
                  </a:lnTo>
                  <a:lnTo>
                    <a:pt x="0" y="29770"/>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52" name="TextBox 51">
              <a:extLst>
                <a:ext uri="{FF2B5EF4-FFF2-40B4-BE49-F238E27FC236}">
                  <a16:creationId xmlns:a16="http://schemas.microsoft.com/office/drawing/2014/main" id="{8F37964B-E6A2-B674-EADB-4E631C023693}"/>
                </a:ext>
              </a:extLst>
            </p:cNvPr>
            <p:cNvSpPr txBox="1"/>
            <p:nvPr/>
          </p:nvSpPr>
          <p:spPr>
            <a:xfrm>
              <a:off x="8307293" y="-513220"/>
              <a:ext cx="231278" cy="252273"/>
            </a:xfrm>
            <a:custGeom>
              <a:avLst/>
              <a:gdLst/>
              <a:ahLst/>
              <a:cxnLst/>
              <a:rect l="l" t="t" r="r" b="b"/>
              <a:pathLst>
                <a:path w="231278" h="252273">
                  <a:moveTo>
                    <a:pt x="0" y="0"/>
                  </a:moveTo>
                  <a:lnTo>
                    <a:pt x="40611" y="0"/>
                  </a:lnTo>
                  <a:lnTo>
                    <a:pt x="90343" y="76060"/>
                  </a:lnTo>
                  <a:cubicBezTo>
                    <a:pt x="99521" y="90286"/>
                    <a:pt x="108067" y="104511"/>
                    <a:pt x="115983" y="118737"/>
                  </a:cubicBezTo>
                  <a:cubicBezTo>
                    <a:pt x="123555" y="105544"/>
                    <a:pt x="132732" y="90687"/>
                    <a:pt x="143516" y="74168"/>
                  </a:cubicBezTo>
                  <a:lnTo>
                    <a:pt x="192388" y="0"/>
                  </a:lnTo>
                  <a:lnTo>
                    <a:pt x="231278" y="0"/>
                  </a:lnTo>
                  <a:lnTo>
                    <a:pt x="130610" y="145410"/>
                  </a:lnTo>
                  <a:lnTo>
                    <a:pt x="130610" y="252273"/>
                  </a:lnTo>
                  <a:lnTo>
                    <a:pt x="97226" y="252273"/>
                  </a:lnTo>
                  <a:lnTo>
                    <a:pt x="97226" y="145410"/>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53" name="TextBox 52">
              <a:extLst>
                <a:ext uri="{FF2B5EF4-FFF2-40B4-BE49-F238E27FC236}">
                  <a16:creationId xmlns:a16="http://schemas.microsoft.com/office/drawing/2014/main" id="{39BDF30F-4AF5-17BD-1287-779F6BFE1185}"/>
                </a:ext>
              </a:extLst>
            </p:cNvPr>
            <p:cNvSpPr txBox="1"/>
            <p:nvPr/>
          </p:nvSpPr>
          <p:spPr>
            <a:xfrm>
              <a:off x="6350182" y="-304477"/>
              <a:ext cx="16717" cy="43530"/>
            </a:xfrm>
            <a:custGeom>
              <a:avLst/>
              <a:gdLst/>
              <a:ahLst/>
              <a:cxnLst/>
              <a:rect l="l" t="t" r="r" b="b"/>
              <a:pathLst>
                <a:path w="16717" h="43530">
                  <a:moveTo>
                    <a:pt x="16717" y="0"/>
                  </a:moveTo>
                  <a:lnTo>
                    <a:pt x="16717" y="43530"/>
                  </a:lnTo>
                  <a:lnTo>
                    <a:pt x="0" y="43530"/>
                  </a:lnTo>
                  <a:lnTo>
                    <a:pt x="16717"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54" name="TextBox 53">
              <a:extLst>
                <a:ext uri="{FF2B5EF4-FFF2-40B4-BE49-F238E27FC236}">
                  <a16:creationId xmlns:a16="http://schemas.microsoft.com/office/drawing/2014/main" id="{73CC6BD9-E74D-16E6-8391-AA8A81144C85}"/>
                </a:ext>
              </a:extLst>
            </p:cNvPr>
            <p:cNvSpPr txBox="1"/>
            <p:nvPr/>
          </p:nvSpPr>
          <p:spPr>
            <a:xfrm>
              <a:off x="3671948" y="-262973"/>
              <a:ext cx="829" cy="2026"/>
            </a:xfrm>
            <a:custGeom>
              <a:avLst/>
              <a:gdLst/>
              <a:ahLst/>
              <a:cxnLst/>
              <a:rect l="l" t="t" r="r" b="b"/>
              <a:pathLst>
                <a:path w="829" h="2026">
                  <a:moveTo>
                    <a:pt x="0" y="0"/>
                  </a:moveTo>
                  <a:lnTo>
                    <a:pt x="829" y="2026"/>
                  </a:lnTo>
                  <a:lnTo>
                    <a:pt x="0" y="2026"/>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grpSp>
    </p:spTree>
    <p:extLst>
      <p:ext uri="{BB962C8B-B14F-4D97-AF65-F5344CB8AC3E}">
        <p14:creationId xmlns:p14="http://schemas.microsoft.com/office/powerpoint/2010/main" val="51036819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34765783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386300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74AF67-BBA0-48F4-BB9F-52963443351B}"/>
              </a:ext>
            </a:extLst>
          </p:cNvPr>
          <p:cNvGraphicFramePr>
            <a:graphicFrameLocks noChangeAspect="1"/>
          </p:cNvGraphicFramePr>
          <p:nvPr userDrawn="1">
            <p:custDataLst>
              <p:tags r:id="rId1"/>
            </p:custDataLst>
            <p:extLst>
              <p:ext uri="{D42A27DB-BD31-4B8C-83A1-F6EECF244321}">
                <p14:modId xmlns:p14="http://schemas.microsoft.com/office/powerpoint/2010/main" val="1367505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3" name="Object 2" hidden="1">
                        <a:extLst>
                          <a:ext uri="{FF2B5EF4-FFF2-40B4-BE49-F238E27FC236}">
                            <a16:creationId xmlns:a16="http://schemas.microsoft.com/office/drawing/2014/main" id="{5874AF67-BBA0-48F4-BB9F-5296344335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3EB690E6-5854-98BE-F09A-5F8C99B562E9}"/>
              </a:ext>
            </a:extLst>
          </p:cNvPr>
          <p:cNvSpPr>
            <a:spLocks/>
          </p:cNvSpPr>
          <p:nvPr userDrawn="1"/>
        </p:nvSpPr>
        <p:spPr>
          <a:xfrm>
            <a:off x="0" y="0"/>
            <a:ext cx="12188824" cy="6861176"/>
          </a:xfrm>
          <a:prstGeom prst="rect">
            <a:avLst/>
          </a:prstGeom>
          <a:solidFill>
            <a:srgbClr val="FCF1E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4" name="Freeform: Shape 3">
            <a:extLst>
              <a:ext uri="{FF2B5EF4-FFF2-40B4-BE49-F238E27FC236}">
                <a16:creationId xmlns:a16="http://schemas.microsoft.com/office/drawing/2014/main" id="{0C5298B2-DC30-65C4-9FEE-16C22D96A7AB}"/>
              </a:ext>
            </a:extLst>
          </p:cNvPr>
          <p:cNvSpPr/>
          <p:nvPr userDrawn="1"/>
        </p:nvSpPr>
        <p:spPr>
          <a:xfrm>
            <a:off x="6212209" y="0"/>
            <a:ext cx="5979791" cy="6851648"/>
          </a:xfrm>
          <a:custGeom>
            <a:avLst/>
            <a:gdLst>
              <a:gd name="connsiteX0" fmla="*/ 1825338 w 5979791"/>
              <a:gd name="connsiteY0" fmla="*/ 0 h 6851648"/>
              <a:gd name="connsiteX1" fmla="*/ 5979791 w 5979791"/>
              <a:gd name="connsiteY1" fmla="*/ 0 h 6851648"/>
              <a:gd name="connsiteX2" fmla="*/ 5979791 w 5979791"/>
              <a:gd name="connsiteY2" fmla="*/ 6815648 h 6851648"/>
              <a:gd name="connsiteX3" fmla="*/ 5920533 w 5979791"/>
              <a:gd name="connsiteY3" fmla="*/ 6851648 h 6851648"/>
              <a:gd name="connsiteX4" fmla="*/ 2066485 w 5979791"/>
              <a:gd name="connsiteY4" fmla="*/ 6851648 h 6851648"/>
              <a:gd name="connsiteX5" fmla="*/ 1923036 w 5979791"/>
              <a:gd name="connsiteY5" fmla="*/ 6769167 h 6851648"/>
              <a:gd name="connsiteX6" fmla="*/ 0 w 5979791"/>
              <a:gd name="connsiteY6" fmla="*/ 3353267 h 6851648"/>
              <a:gd name="connsiteX7" fmla="*/ 1760981 w 5979791"/>
              <a:gd name="connsiteY7" fmla="*/ 41259 h 6851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79791" h="6851648">
                <a:moveTo>
                  <a:pt x="1825338" y="0"/>
                </a:moveTo>
                <a:lnTo>
                  <a:pt x="5979791" y="0"/>
                </a:lnTo>
                <a:lnTo>
                  <a:pt x="5979791" y="6815648"/>
                </a:lnTo>
                <a:lnTo>
                  <a:pt x="5920533" y="6851648"/>
                </a:lnTo>
                <a:lnTo>
                  <a:pt x="2066485" y="6851648"/>
                </a:lnTo>
                <a:lnTo>
                  <a:pt x="1923036" y="6769167"/>
                </a:lnTo>
                <a:cubicBezTo>
                  <a:pt x="770131" y="6068645"/>
                  <a:pt x="0" y="4800893"/>
                  <a:pt x="0" y="3353267"/>
                </a:cubicBezTo>
                <a:cubicBezTo>
                  <a:pt x="0" y="1974576"/>
                  <a:pt x="698532" y="759035"/>
                  <a:pt x="1760981" y="41259"/>
                </a:cubicBezTo>
                <a:close/>
              </a:path>
            </a:pathLst>
          </a:cu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5" name="Rectangle 4">
            <a:extLst>
              <a:ext uri="{FF2B5EF4-FFF2-40B4-BE49-F238E27FC236}">
                <a16:creationId xmlns:a16="http://schemas.microsoft.com/office/drawing/2014/main" id="{F5B250DB-045D-CCD4-8C1B-FED02B25BC34}"/>
              </a:ext>
            </a:extLst>
          </p:cNvPr>
          <p:cNvSpPr/>
          <p:nvPr userDrawn="1"/>
        </p:nvSpPr>
        <p:spPr>
          <a:xfrm>
            <a:off x="-1" y="6725920"/>
            <a:ext cx="12195179" cy="13208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6" name="Title 4">
            <a:extLst>
              <a:ext uri="{FF2B5EF4-FFF2-40B4-BE49-F238E27FC236}">
                <a16:creationId xmlns:a16="http://schemas.microsoft.com/office/drawing/2014/main" id="{7BCE9129-1A8C-950F-DF35-A268E53EC52B}"/>
              </a:ext>
            </a:extLst>
          </p:cNvPr>
          <p:cNvSpPr txBox="1">
            <a:spLocks/>
          </p:cNvSpPr>
          <p:nvPr userDrawn="1">
            <p:custDataLst>
              <p:tags r:id="rId2"/>
            </p:custDataLst>
          </p:nvPr>
        </p:nvSpPr>
        <p:spPr>
          <a:xfrm>
            <a:off x="7161016" y="1288934"/>
            <a:ext cx="3936975" cy="2314095"/>
          </a:xfrm>
          <a:prstGeom prst="rect">
            <a:avLst/>
          </a:prstGeom>
          <a:noFill/>
          <a:ln/>
          <a:extLst>
            <a:ext uri="{909E8E84-426E-40DD-AFC4-6F175D3DCCD1}">
              <a14:hiddenFill xmlns:a14="http://schemas.microsoft.com/office/drawing/2010/main">
                <a:solidFill>
                  <a:srgbClr val="FFFFFF"/>
                </a:solidFill>
              </a14:hiddenFill>
            </a:ext>
          </a:extLst>
        </p:spPr>
        <p:txBody>
          <a:bodyPr vert="horz" wrap="none" lIns="0" tIns="0" rIns="0" bIns="0" rtlCol="0" anchor="ctr" anchorCtr="0">
            <a:spAutoFit/>
          </a:bodyPr>
          <a:lstStyle>
            <a:lvl1pPr algn="l" defTabSz="914400" rtl="0" eaLnBrk="1" latinLnBrk="0" hangingPunct="1">
              <a:lnSpc>
                <a:spcPct val="100000"/>
              </a:lnSpc>
              <a:spcBef>
                <a:spcPct val="0"/>
              </a:spcBef>
              <a:buNone/>
              <a:defRPr lang="en-US" sz="2500" b="1" kern="1200" spc="0" baseline="0">
                <a:ln w="6350" cap="flat">
                  <a:noFill/>
                  <a:miter lim="800000"/>
                </a:ln>
                <a:solidFill>
                  <a:schemeClr val="accent2"/>
                </a:solidFill>
                <a:latin typeface="+mj-lt"/>
                <a:ea typeface="+mj-ea"/>
                <a:cs typeface="+mj-cs"/>
              </a:defRPr>
            </a:lvl1pPr>
          </a:lstStyle>
          <a:p>
            <a:pPr algn="ctr" rtl="0">
              <a:lnSpc>
                <a:spcPct val="120000"/>
              </a:lnSpc>
              <a:spcBef>
                <a:spcPts val="400"/>
              </a:spcBef>
              <a:spcAft>
                <a:spcPts val="400"/>
              </a:spcAft>
              <a:buClr>
                <a:schemeClr val="tx2"/>
              </a:buClr>
            </a:pPr>
            <a:r>
              <a:rPr lang="en-US" sz="13800" b="0">
                <a:solidFill>
                  <a:schemeClr val="accent2"/>
                </a:solidFill>
                <a:ea typeface="Calibri Light" panose="020F0302020204030204" pitchFamily="34" charset="0"/>
                <a:cs typeface="Calibri Light" panose="020F0302020204030204" pitchFamily="34" charset="0"/>
              </a:rPr>
              <a:t>2025</a:t>
            </a:r>
          </a:p>
        </p:txBody>
      </p:sp>
      <p:pic>
        <p:nvPicPr>
          <p:cNvPr id="7" name="Picture 6">
            <a:extLst>
              <a:ext uri="{FF2B5EF4-FFF2-40B4-BE49-F238E27FC236}">
                <a16:creationId xmlns:a16="http://schemas.microsoft.com/office/drawing/2014/main" id="{3D384773-6491-B075-6E18-ECB686E474ED}"/>
              </a:ext>
            </a:extLst>
          </p:cNvPr>
          <p:cNvPicPr>
            <a:picLocks/>
          </p:cNvPicPr>
          <p:nvPr userDrawn="1"/>
        </p:nvPicPr>
        <p:blipFill>
          <a:blip r:embed="rId9" cstate="email">
            <a:extLst>
              <a:ext uri="{28A0092B-C50C-407E-A947-70E740481C1C}">
                <a14:useLocalDpi xmlns:a14="http://schemas.microsoft.com/office/drawing/2010/main"/>
              </a:ext>
            </a:extLst>
          </a:blip>
          <a:srcRect/>
          <a:stretch/>
        </p:blipFill>
        <p:spPr>
          <a:xfrm>
            <a:off x="3373120" y="2772453"/>
            <a:ext cx="8818880" cy="4093167"/>
          </a:xfrm>
          <a:custGeom>
            <a:avLst/>
            <a:gdLst>
              <a:gd name="connsiteX0" fmla="*/ 0 w 8818880"/>
              <a:gd name="connsiteY0" fmla="*/ 0 h 4093167"/>
              <a:gd name="connsiteX1" fmla="*/ 8818880 w 8818880"/>
              <a:gd name="connsiteY1" fmla="*/ 0 h 4093167"/>
              <a:gd name="connsiteX2" fmla="*/ 8818880 w 8818880"/>
              <a:gd name="connsiteY2" fmla="*/ 4089991 h 4093167"/>
              <a:gd name="connsiteX3" fmla="*/ 2603493 w 8818880"/>
              <a:gd name="connsiteY3" fmla="*/ 4089991 h 4093167"/>
              <a:gd name="connsiteX4" fmla="*/ 2603493 w 8818880"/>
              <a:gd name="connsiteY4" fmla="*/ 4093167 h 4093167"/>
              <a:gd name="connsiteX5" fmla="*/ 0 w 8818880"/>
              <a:gd name="connsiteY5" fmla="*/ 4093167 h 4093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18880" h="4093167">
                <a:moveTo>
                  <a:pt x="0" y="0"/>
                </a:moveTo>
                <a:lnTo>
                  <a:pt x="8818880" y="0"/>
                </a:lnTo>
                <a:lnTo>
                  <a:pt x="8818880" y="4089991"/>
                </a:lnTo>
                <a:lnTo>
                  <a:pt x="2603493" y="4089991"/>
                </a:lnTo>
                <a:lnTo>
                  <a:pt x="2603493" y="4093167"/>
                </a:lnTo>
                <a:lnTo>
                  <a:pt x="0" y="4093167"/>
                </a:lnTo>
                <a:close/>
              </a:path>
            </a:pathLst>
          </a:custGeom>
        </p:spPr>
      </p:pic>
      <p:sp>
        <p:nvSpPr>
          <p:cNvPr id="12" name="Documenttype">
            <a:extLst>
              <a:ext uri="{FF2B5EF4-FFF2-40B4-BE49-F238E27FC236}">
                <a16:creationId xmlns:a16="http://schemas.microsoft.com/office/drawing/2014/main" id="{12A1AD38-3760-6CB5-AFB8-C11C35EAE818}"/>
              </a:ext>
            </a:extLst>
          </p:cNvPr>
          <p:cNvSpPr>
            <a:spLocks noGrp="1"/>
          </p:cNvSpPr>
          <p:nvPr>
            <p:ph type="body" sz="quarter" idx="13" hasCustomPrompt="1"/>
            <p:custDataLst>
              <p:tags r:id="rId3"/>
            </p:custDataLst>
          </p:nvPr>
        </p:nvSpPr>
        <p:spPr>
          <a:xfrm>
            <a:off x="551338" y="4675755"/>
            <a:ext cx="4833463"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rtl="0">
              <a:defRPr lang="en-US" sz="1400" dirty="0">
                <a:solidFill>
                  <a:schemeClr val="bg2"/>
                </a:solidFill>
              </a:defRPr>
            </a:lvl1pPr>
          </a:lstStyle>
          <a:p>
            <a:pPr lvl="0">
              <a:buNone/>
            </a:pPr>
            <a:r>
              <a:rPr lang="en-US"/>
              <a:t>Edit date or title/role</a:t>
            </a:r>
          </a:p>
        </p:txBody>
      </p:sp>
      <p:sp>
        <p:nvSpPr>
          <p:cNvPr id="13" name="Subtitle">
            <a:extLst>
              <a:ext uri="{FF2B5EF4-FFF2-40B4-BE49-F238E27FC236}">
                <a16:creationId xmlns:a16="http://schemas.microsoft.com/office/drawing/2014/main" id="{85326BAE-D5B6-6296-A378-C23AFB5C71D1}"/>
              </a:ext>
            </a:extLst>
          </p:cNvPr>
          <p:cNvSpPr>
            <a:spLocks noGrp="1"/>
          </p:cNvSpPr>
          <p:nvPr>
            <p:ph type="subTitle" idx="1"/>
            <p:custDataLst>
              <p:tags r:id="rId4"/>
            </p:custDataLst>
          </p:nvPr>
        </p:nvSpPr>
        <p:spPr>
          <a:xfrm>
            <a:off x="551338" y="4001652"/>
            <a:ext cx="4833463"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2000" dirty="0">
                <a:solidFill>
                  <a:schemeClr val="bg2"/>
                </a:solidFill>
              </a:defRPr>
            </a:lvl1pPr>
          </a:lstStyle>
          <a:p>
            <a:pPr lvl="0">
              <a:buNone/>
            </a:pPr>
            <a:r>
              <a:rPr lang="en-US"/>
              <a:t>Click to edit Master subtitle style</a:t>
            </a:r>
          </a:p>
        </p:txBody>
      </p:sp>
      <p:sp>
        <p:nvSpPr>
          <p:cNvPr id="14" name="Title">
            <a:extLst>
              <a:ext uri="{FF2B5EF4-FFF2-40B4-BE49-F238E27FC236}">
                <a16:creationId xmlns:a16="http://schemas.microsoft.com/office/drawing/2014/main" id="{01E1491C-2CAE-1EF3-2216-7E2D55FFCD43}"/>
              </a:ext>
            </a:extLst>
          </p:cNvPr>
          <p:cNvSpPr>
            <a:spLocks noGrp="1"/>
          </p:cNvSpPr>
          <p:nvPr>
            <p:ph type="title"/>
            <p:custDataLst>
              <p:tags r:id="rId5"/>
            </p:custDataLst>
          </p:nvPr>
        </p:nvSpPr>
        <p:spPr>
          <a:xfrm>
            <a:off x="551338" y="1580211"/>
            <a:ext cx="4833463" cy="236289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lvl1pPr rtl="0">
              <a:defRPr lang="en-US" sz="4800" dirty="0">
                <a:solidFill>
                  <a:schemeClr val="accent5"/>
                </a:solidFill>
              </a:defRPr>
            </a:lvl1pPr>
          </a:lstStyle>
          <a:p>
            <a:pPr lvl="0"/>
            <a:r>
              <a:rPr lang="en-US"/>
              <a:t>Click to edit Master title style</a:t>
            </a:r>
          </a:p>
        </p:txBody>
      </p:sp>
      <p:grpSp>
        <p:nvGrpSpPr>
          <p:cNvPr id="17" name="Group 16">
            <a:extLst>
              <a:ext uri="{FF2B5EF4-FFF2-40B4-BE49-F238E27FC236}">
                <a16:creationId xmlns:a16="http://schemas.microsoft.com/office/drawing/2014/main" id="{126C92F5-AFCC-2890-9996-57583915748E}"/>
              </a:ext>
            </a:extLst>
          </p:cNvPr>
          <p:cNvGrpSpPr>
            <a:grpSpLocks/>
          </p:cNvGrpSpPr>
          <p:nvPr userDrawn="1"/>
        </p:nvGrpSpPr>
        <p:grpSpPr>
          <a:xfrm>
            <a:off x="551338" y="5917504"/>
            <a:ext cx="1881188" cy="562281"/>
            <a:chOff x="9982200" y="6279859"/>
            <a:chExt cx="1330325" cy="397630"/>
          </a:xfrm>
        </p:grpSpPr>
        <p:pic>
          <p:nvPicPr>
            <p:cNvPr id="19" name="Google Shape;68;p16">
              <a:extLst>
                <a:ext uri="{FF2B5EF4-FFF2-40B4-BE49-F238E27FC236}">
                  <a16:creationId xmlns:a16="http://schemas.microsoft.com/office/drawing/2014/main" id="{E5BBBC04-6899-788F-F38E-11483BE70AED}"/>
                </a:ext>
              </a:extLst>
            </p:cNvPr>
            <p:cNvPicPr preferRelativeResize="0"/>
            <p:nvPr userDrawn="1"/>
          </p:nvPicPr>
          <p:blipFill rotWithShape="1">
            <a:blip r:embed="rId10" cstate="email">
              <a:alphaModFix/>
              <a:extLst>
                <a:ext uri="{28A0092B-C50C-407E-A947-70E740481C1C}">
                  <a14:useLocalDpi xmlns:a14="http://schemas.microsoft.com/office/drawing/2010/main"/>
                </a:ext>
              </a:extLst>
            </a:blip>
            <a:srcRect/>
            <a:stretch/>
          </p:blipFill>
          <p:spPr bwMode="ltGray">
            <a:xfrm>
              <a:off x="10504277" y="6327530"/>
              <a:ext cx="808248" cy="334079"/>
            </a:xfrm>
            <a:prstGeom prst="rect">
              <a:avLst/>
            </a:prstGeom>
            <a:noFill/>
            <a:ln>
              <a:noFill/>
            </a:ln>
          </p:spPr>
        </p:pic>
        <p:pic>
          <p:nvPicPr>
            <p:cNvPr id="20" name="Picture 19">
              <a:extLst>
                <a:ext uri="{FF2B5EF4-FFF2-40B4-BE49-F238E27FC236}">
                  <a16:creationId xmlns:a16="http://schemas.microsoft.com/office/drawing/2014/main" id="{6D000CFB-3D7A-C9B3-0453-E6B947EB479F}"/>
                </a:ext>
              </a:extLst>
            </p:cNvPr>
            <p:cNvPicPr>
              <a:picLocks/>
            </p:cNvPicPr>
            <p:nvPr userDrawn="1"/>
          </p:nvPicPr>
          <p:blipFill>
            <a:blip r:embed="rId11" cstate="email">
              <a:extLst>
                <a:ext uri="{28A0092B-C50C-407E-A947-70E740481C1C}">
                  <a14:useLocalDpi xmlns:a14="http://schemas.microsoft.com/office/drawing/2010/main"/>
                </a:ext>
              </a:extLst>
            </a:blip>
            <a:stretch>
              <a:fillRect/>
            </a:stretch>
          </p:blipFill>
          <p:spPr>
            <a:xfrm>
              <a:off x="9982200" y="6279859"/>
              <a:ext cx="421342" cy="397630"/>
            </a:xfrm>
            <a:prstGeom prst="rect">
              <a:avLst/>
            </a:prstGeom>
          </p:spPr>
        </p:pic>
      </p:grpSp>
    </p:spTree>
    <p:extLst>
      <p:ext uri="{BB962C8B-B14F-4D97-AF65-F5344CB8AC3E}">
        <p14:creationId xmlns:p14="http://schemas.microsoft.com/office/powerpoint/2010/main" val="268859331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34519475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3"/>
            </p:custDataLst>
          </p:nvPr>
        </p:nvSpPr>
        <p:spPr>
          <a:xfrm>
            <a:off x="554736" y="172212"/>
            <a:ext cx="11082528" cy="384721"/>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dirty="0"/>
            </a:lvl1pPr>
          </a:lstStyle>
          <a:p>
            <a:pPr lvl="0"/>
            <a:r>
              <a:rPr lang="en-US"/>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4"/>
            </p:custDataLst>
          </p:nvPr>
        </p:nvSpPr>
        <p:spPr>
          <a:xfrm>
            <a:off x="554735" y="637721"/>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b="0" baseline="0" dirty="0"/>
            </a:lvl1pPr>
          </a:lstStyle>
          <a:p>
            <a:pPr lvl="0">
              <a:buNone/>
            </a:pPr>
            <a:r>
              <a:rPr lang="en-US"/>
              <a:t>Click to edit Master subtitle style</a:t>
            </a: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6"/>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a:t>Source: …</a:t>
            </a:r>
          </a:p>
        </p:txBody>
      </p:sp>
      <p:sp>
        <p:nvSpPr>
          <p:cNvPr id="11" name="1. On-page tracker">
            <a:extLst>
              <a:ext uri="{FF2B5EF4-FFF2-40B4-BE49-F238E27FC236}">
                <a16:creationId xmlns:a16="http://schemas.microsoft.com/office/drawing/2014/main" id="{0364ABB4-AE33-4DE9-A20C-DBDBFEC0CA11}"/>
              </a:ext>
            </a:extLst>
          </p:cNvPr>
          <p:cNvSpPr>
            <a:spLocks noGrp="1"/>
          </p:cNvSpPr>
          <p:nvPr>
            <p:ph type="body" sz="quarter" idx="10" hasCustomPrompt="1"/>
            <p:custDataLst>
              <p:tags r:id="rId7"/>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385451508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rast 2-line + Subtitl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16794913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00" name="Sticker" hidden="1">
            <a:extLst>
              <a:ext uri="{FF2B5EF4-FFF2-40B4-BE49-F238E27FC236}">
                <a16:creationId xmlns:a16="http://schemas.microsoft.com/office/drawing/2014/main" id="{1BE78E90-512D-48A0-A845-A06C7B40AA52}"/>
              </a:ext>
            </a:extLst>
          </p:cNvPr>
          <p:cNvSpPr txBox="1"/>
          <p:nvPr userDrawn="1"/>
        </p:nvSpPr>
        <p:spPr>
          <a:xfrm>
            <a:off x="558489" y="1401800"/>
            <a:ext cx="450444" cy="123111"/>
          </a:xfrm>
          <a:prstGeom prst="rect">
            <a:avLst/>
          </a:prstGeom>
          <a:noFill/>
          <a:ln w="6350">
            <a:noFill/>
            <a:miter lim="800000"/>
          </a:ln>
        </p:spPr>
        <p:txBody>
          <a:bodyPr vert="horz" wrap="none" lIns="0" tIns="0" rIns="0" bIns="0" rtlCol="0">
            <a:spAutoFit/>
          </a:bodyPr>
          <a:lstStyle/>
          <a:p>
            <a:pPr algn="l" rtl="0">
              <a:spcBef>
                <a:spcPts val="300"/>
              </a:spcBef>
              <a:spcAft>
                <a:spcPts val="300"/>
              </a:spcAft>
              <a:buNone/>
            </a:pPr>
            <a:r>
              <a:rPr lang="en-US" sz="800" b="1" cap="all" baseline="0"/>
              <a:t>STICKER</a:t>
            </a:r>
          </a:p>
        </p:txBody>
      </p:sp>
      <p:sp>
        <p:nvSpPr>
          <p:cNvPr id="101" name="3. Subtitle">
            <a:extLst>
              <a:ext uri="{FF2B5EF4-FFF2-40B4-BE49-F238E27FC236}">
                <a16:creationId xmlns:a16="http://schemas.microsoft.com/office/drawing/2014/main" id="{8AB5A759-C8C6-4E92-997D-BA04067A36CE}"/>
              </a:ext>
            </a:extLst>
          </p:cNvPr>
          <p:cNvSpPr>
            <a:spLocks noGrp="1"/>
          </p:cNvSpPr>
          <p:nvPr>
            <p:ph type="subTitle" idx="1"/>
            <p:custDataLst>
              <p:tags r:id="rId2"/>
            </p:custDataLst>
          </p:nvPr>
        </p:nvSpPr>
        <p:spPr>
          <a:xfrm>
            <a:off x="554736" y="1022441"/>
            <a:ext cx="110825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Rectangle 3" hidden="1">
            <a:extLst>
              <a:ext uri="{FF2B5EF4-FFF2-40B4-BE49-F238E27FC236}">
                <a16:creationId xmlns:a16="http://schemas.microsoft.com/office/drawing/2014/main" id="{ED3A330D-704F-4050-81F6-50A136E7860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hasCustomPrompt="1"/>
            <p:custDataLst>
              <p:tags r:id="rId4"/>
            </p:custDataLst>
          </p:nvPr>
        </p:nvSpPr>
        <p:spPr>
          <a:xfrm>
            <a:off x="554736" y="172212"/>
            <a:ext cx="11082528" cy="769441"/>
          </a:xfrm>
        </p:spPr>
        <p:txBody>
          <a:bodyPr vert="horz">
            <a:spAutoFit/>
          </a:bodyPr>
          <a:lstStyle>
            <a:lvl1pPr rtl="0">
              <a:defRPr/>
            </a:lvl1pPr>
          </a:lstStyle>
          <a:p>
            <a:r>
              <a:rPr lang="en-US"/>
              <a:t>Click to edit Master title style</a:t>
            </a:r>
            <a:br>
              <a:rPr lang="en-US"/>
            </a:br>
            <a:endParaRPr lang="en-US"/>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1" name="1. On-page tracker">
            <a:extLst>
              <a:ext uri="{FF2B5EF4-FFF2-40B4-BE49-F238E27FC236}">
                <a16:creationId xmlns:a16="http://schemas.microsoft.com/office/drawing/2014/main" id="{0364ABB4-AE33-4DE9-A20C-DBDBFEC0CA1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12046982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EDB0C68-81D8-4BCB-8FED-587D098337DD}"/>
              </a:ext>
            </a:extLst>
          </p:cNvPr>
          <p:cNvGraphicFramePr>
            <a:graphicFrameLocks noChangeAspect="1"/>
          </p:cNvGraphicFramePr>
          <p:nvPr userDrawn="1">
            <p:custDataLst>
              <p:tags r:id="rId1"/>
            </p:custDataLst>
            <p:extLst>
              <p:ext uri="{D42A27DB-BD31-4B8C-83A1-F6EECF244321}">
                <p14:modId xmlns:p14="http://schemas.microsoft.com/office/powerpoint/2010/main" val="199411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8" name="Object 7" hidden="1">
                        <a:extLst>
                          <a:ext uri="{FF2B5EF4-FFF2-40B4-BE49-F238E27FC236}">
                            <a16:creationId xmlns:a16="http://schemas.microsoft.com/office/drawing/2014/main" id="{6EDB0C68-81D8-4BCB-8FED-587D098337D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EAA134-9792-4D41-898E-A83D3A4E3D69}"/>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408557"/>
            <a:ext cx="3813048" cy="769441"/>
          </a:xfrm>
          <a:prstGeom prst="rect">
            <a:avLst/>
          </a:prstGeom>
        </p:spPr>
        <p:txBody>
          <a:bodyPr vert="horz" anchor="t">
            <a:noAutofit/>
          </a:bodyPr>
          <a:lstStyle>
            <a:lvl1pPr rtl="0">
              <a:defRPr>
                <a:ln w="6350" cap="flat">
                  <a:noFill/>
                  <a:miter lim="800000"/>
                </a:ln>
              </a:defRPr>
            </a:lvl1pPr>
          </a:lstStyle>
          <a:p>
            <a:r>
              <a:rPr lang="en-US"/>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9" name="1. On-page tracker">
            <a:extLst>
              <a:ext uri="{FF2B5EF4-FFF2-40B4-BE49-F238E27FC236}">
                <a16:creationId xmlns:a16="http://schemas.microsoft.com/office/drawing/2014/main" id="{79744E48-04EF-4FA7-AF06-13E2E4A9BC59}"/>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9219664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0AAB5F-CF0A-4C58-81CA-92C1A8CB9003}"/>
              </a:ext>
            </a:extLst>
          </p:cNvPr>
          <p:cNvGraphicFramePr>
            <a:graphicFrameLocks noChangeAspect="1"/>
          </p:cNvGraphicFramePr>
          <p:nvPr userDrawn="1">
            <p:custDataLst>
              <p:tags r:id="rId1"/>
            </p:custDataLst>
            <p:extLst>
              <p:ext uri="{D42A27DB-BD31-4B8C-83A1-F6EECF244321}">
                <p14:modId xmlns:p14="http://schemas.microsoft.com/office/powerpoint/2010/main" val="37633867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E10AAB5F-CF0A-4C58-81CA-92C1A8CB900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A53433-5DFE-4583-A5C0-DE3F3C3DDE8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29A5BC72-B58B-4282-B0EA-EE79CC589D71}"/>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35282945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8064E9-3153-4628-A7D5-81F8DEADB0D6}"/>
              </a:ext>
            </a:extLst>
          </p:cNvPr>
          <p:cNvGraphicFramePr>
            <a:graphicFrameLocks noChangeAspect="1"/>
          </p:cNvGraphicFramePr>
          <p:nvPr userDrawn="1">
            <p:custDataLst>
              <p:tags r:id="rId1"/>
            </p:custDataLst>
            <p:extLst>
              <p:ext uri="{D42A27DB-BD31-4B8C-83A1-F6EECF244321}">
                <p14:modId xmlns:p14="http://schemas.microsoft.com/office/powerpoint/2010/main" val="34962813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F98064E9-3153-4628-A7D5-81F8DEADB0D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4" name="object 5">
            <a:extLst>
              <a:ext uri="{FF2B5EF4-FFF2-40B4-BE49-F238E27FC236}">
                <a16:creationId xmlns:a16="http://schemas.microsoft.com/office/drawing/2014/main" id="{57253BD9-FC33-5CEA-C01E-8F60624060CC}"/>
              </a:ext>
            </a:extLst>
          </p:cNvPr>
          <p:cNvPicPr/>
          <p:nvPr userDrawn="1"/>
        </p:nvPicPr>
        <p:blipFill>
          <a:blip r:embed="rId10" cstate="email">
            <a:extLst>
              <a:ext uri="{28A0092B-C50C-407E-A947-70E740481C1C}">
                <a14:useLocalDpi xmlns:a14="http://schemas.microsoft.com/office/drawing/2010/main"/>
              </a:ext>
            </a:extLst>
          </a:blip>
          <a:stretch>
            <a:fillRect/>
          </a:stretch>
        </p:blipFill>
        <p:spPr bwMode="ltGray">
          <a:xfrm>
            <a:off x="0" y="0"/>
            <a:ext cx="12191999" cy="6857999"/>
          </a:xfrm>
          <a:prstGeom prst="rect">
            <a:avLst/>
          </a:prstGeom>
        </p:spPr>
      </p:pic>
      <p:sp>
        <p:nvSpPr>
          <p:cNvPr id="5" name="2. Slide Title">
            <a:extLst>
              <a:ext uri="{FF2B5EF4-FFF2-40B4-BE49-F238E27FC236}">
                <a16:creationId xmlns:a16="http://schemas.microsoft.com/office/drawing/2014/main" id="{84764884-EB4A-AC68-B78F-BB0D308761BB}"/>
              </a:ext>
            </a:extLst>
          </p:cNvPr>
          <p:cNvSpPr>
            <a:spLocks noGrp="1"/>
          </p:cNvSpPr>
          <p:nvPr>
            <p:ph type="title"/>
            <p:custDataLst>
              <p:tags r:id="rId2"/>
            </p:custDataLst>
          </p:nvPr>
        </p:nvSpPr>
        <p:spPr bwMode="ltGray">
          <a:xfrm>
            <a:off x="823909" y="3483346"/>
            <a:ext cx="4357692" cy="2769989"/>
          </a:xfrm>
        </p:spPr>
        <p:txBody>
          <a:bodyPr vert="horz" anchor="ctr">
            <a:spAutoFit/>
          </a:bodyPr>
          <a:lstStyle>
            <a:lvl1pPr rtl="0">
              <a:lnSpc>
                <a:spcPct val="100000"/>
              </a:lnSpc>
              <a:defRPr sz="6000">
                <a:solidFill>
                  <a:schemeClr val="tx1"/>
                </a:solidFill>
              </a:defRPr>
            </a:lvl1pPr>
          </a:lstStyle>
          <a:p>
            <a:r>
              <a:rPr lang="en-US"/>
              <a:t>Click to edit Master title style</a:t>
            </a:r>
          </a:p>
        </p:txBody>
      </p:sp>
      <p:sp>
        <p:nvSpPr>
          <p:cNvPr id="2" name="Rectangle 1" hidden="1">
            <a:extLst>
              <a:ext uri="{FF2B5EF4-FFF2-40B4-BE49-F238E27FC236}">
                <a16:creationId xmlns:a16="http://schemas.microsoft.com/office/drawing/2014/main" id="{A4FCABF2-1291-4CAB-A39C-0FDD2FD8A1F5}"/>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9" name="1. On-page tracker">
            <a:extLst>
              <a:ext uri="{FF2B5EF4-FFF2-40B4-BE49-F238E27FC236}">
                <a16:creationId xmlns:a16="http://schemas.microsoft.com/office/drawing/2014/main" id="{8F89071A-FCD4-4931-B959-81108D770B1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37750153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10939844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5" y="637721"/>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b="0" baseline="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800" b="0" dirty="0">
                <a:cs typeface="+mn-cs"/>
              </a:defRPr>
            </a:lvl1pPr>
          </a:lstStyle>
          <a:p>
            <a:pPr lvl="0">
              <a:buNone/>
            </a:pPr>
            <a:r>
              <a:rPr lang="en-US"/>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172212"/>
            <a:ext cx="9910064"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dirty="0">
                <a:solidFill>
                  <a:schemeClr val="accent1"/>
                </a:solidFill>
              </a:defRPr>
            </a:lvl1pPr>
          </a:lstStyle>
          <a:p>
            <a:pPr lvl="0"/>
            <a:r>
              <a:rPr lang="en-US"/>
              <a:t>Click to edit Master title style</a:t>
            </a:r>
          </a:p>
        </p:txBody>
      </p:sp>
    </p:spTree>
    <p:extLst>
      <p:ext uri="{BB962C8B-B14F-4D97-AF65-F5344CB8AC3E}">
        <p14:creationId xmlns:p14="http://schemas.microsoft.com/office/powerpoint/2010/main" val="1608224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2273FB-3270-4181-86FF-C1D92782D49D}"/>
              </a:ext>
            </a:extLst>
          </p:cNvPr>
          <p:cNvGraphicFramePr>
            <a:graphicFrameLocks noChangeAspect="1"/>
          </p:cNvGraphicFramePr>
          <p:nvPr userDrawn="1">
            <p:custDataLst>
              <p:tags r:id="rId1"/>
            </p:custDataLst>
            <p:extLst>
              <p:ext uri="{D42A27DB-BD31-4B8C-83A1-F6EECF244321}">
                <p14:modId xmlns:p14="http://schemas.microsoft.com/office/powerpoint/2010/main" val="5791073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F52273FB-3270-4181-86FF-C1D92782D49D}"/>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E3D51E-EFF4-4CED-8D1C-0D351D7D327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3"/>
            </p:custDataLst>
          </p:nvPr>
        </p:nvSpPr>
        <p:spPr>
          <a:xfrm>
            <a:off x="1505712" y="3556229"/>
            <a:ext cx="9180576" cy="523220"/>
          </a:xfrm>
          <a:prstGeom prst="rect">
            <a:avLst/>
          </a:prstGeom>
        </p:spPr>
        <p:txBody>
          <a:bodyPr vert="horz" anchor="b">
            <a:spAutoFit/>
          </a:bodyPr>
          <a:lstStyle>
            <a:lvl1pPr rtl="0">
              <a:lnSpc>
                <a:spcPct val="105000"/>
              </a:lnSpc>
              <a:defRPr sz="3400"/>
            </a:lvl1pPr>
          </a:lstStyle>
          <a:p>
            <a:r>
              <a:rPr lang="en-US"/>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878CBA30-A797-424E-A56B-F43F015ECE96}"/>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23126788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1"/>
            </p:custDataLst>
            <p:extLst>
              <p:ext uri="{D42A27DB-BD31-4B8C-83A1-F6EECF244321}">
                <p14:modId xmlns:p14="http://schemas.microsoft.com/office/powerpoint/2010/main" val="1725320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2BA1E0C-CA9F-489D-B144-727B655BD19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chemeClr val="bg2"/>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5"/>
            </p:custDataLst>
          </p:nvPr>
        </p:nvSpPr>
        <p:spPr>
          <a:xfrm>
            <a:off x="554736" y="2744369"/>
            <a:ext cx="2514600" cy="769441"/>
          </a:xfrm>
        </p:spPr>
        <p:txBody>
          <a:bodyPr vert="horz" anchor="b">
            <a:noAutofit/>
          </a:bodyPr>
          <a:lstStyle>
            <a:lvl1pPr rtl="0">
              <a:defRPr>
                <a:solidFill>
                  <a:schemeClr val="bg1"/>
                </a:solidFill>
              </a:defRPr>
            </a:lvl1pPr>
          </a:lstStyle>
          <a:p>
            <a:r>
              <a:rPr lang="en-US"/>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6"/>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bg2"/>
                </a:solidFill>
              </a:rPr>
              <a:t>Source: …</a:t>
            </a:r>
          </a:p>
        </p:txBody>
      </p:sp>
      <p:sp>
        <p:nvSpPr>
          <p:cNvPr id="10" name="1. On-page tracker">
            <a:extLst>
              <a:ext uri="{FF2B5EF4-FFF2-40B4-BE49-F238E27FC236}">
                <a16:creationId xmlns:a16="http://schemas.microsoft.com/office/drawing/2014/main" id="{7E97B40B-AFF2-4819-823D-9831ADC756CA}"/>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a:t>Add tracker</a:t>
            </a:r>
          </a:p>
        </p:txBody>
      </p:sp>
      <p:grpSp>
        <p:nvGrpSpPr>
          <p:cNvPr id="2" name="Group 1">
            <a:extLst>
              <a:ext uri="{FF2B5EF4-FFF2-40B4-BE49-F238E27FC236}">
                <a16:creationId xmlns:a16="http://schemas.microsoft.com/office/drawing/2014/main" id="{411D9CFA-F851-BAC0-E357-86942861FDFB}"/>
              </a:ext>
            </a:extLst>
          </p:cNvPr>
          <p:cNvGrpSpPr>
            <a:grpSpLocks/>
          </p:cNvGrpSpPr>
          <p:nvPr userDrawn="1"/>
        </p:nvGrpSpPr>
        <p:grpSpPr>
          <a:xfrm>
            <a:off x="9982200" y="6279859"/>
            <a:ext cx="1330325" cy="397630"/>
            <a:chOff x="7954129" y="702228"/>
            <a:chExt cx="3335704" cy="997031"/>
          </a:xfrm>
        </p:grpSpPr>
        <p:pic>
          <p:nvPicPr>
            <p:cNvPr id="5" name="Picture 4">
              <a:extLst>
                <a:ext uri="{FF2B5EF4-FFF2-40B4-BE49-F238E27FC236}">
                  <a16:creationId xmlns:a16="http://schemas.microsoft.com/office/drawing/2014/main" id="{2DA19C90-0F31-1CB0-4C5D-EE4B0E532333}"/>
                </a:ext>
              </a:extLst>
            </p:cNvPr>
            <p:cNvPicPr>
              <a:picLocks/>
            </p:cNvPicPr>
            <p:nvPr userDrawn="1"/>
          </p:nvPicPr>
          <p:blipFill>
            <a:blip r:embed="rId12" cstate="email">
              <a:extLst>
                <a:ext uri="{28A0092B-C50C-407E-A947-70E740481C1C}">
                  <a14:useLocalDpi xmlns:a14="http://schemas.microsoft.com/office/drawing/2010/main"/>
                </a:ext>
              </a:extLst>
            </a:blip>
            <a:stretch>
              <a:fillRect/>
            </a:stretch>
          </p:blipFill>
          <p:spPr>
            <a:xfrm>
              <a:off x="7954129" y="702228"/>
              <a:ext cx="1056488" cy="997031"/>
            </a:xfrm>
            <a:prstGeom prst="rect">
              <a:avLst/>
            </a:prstGeom>
          </p:spPr>
        </p:pic>
        <p:pic>
          <p:nvPicPr>
            <p:cNvPr id="7" name="Picture 6">
              <a:extLst>
                <a:ext uri="{FF2B5EF4-FFF2-40B4-BE49-F238E27FC236}">
                  <a16:creationId xmlns:a16="http://schemas.microsoft.com/office/drawing/2014/main" id="{253156D3-3064-AFF3-926B-02B880F2F272}"/>
                </a:ext>
              </a:extLst>
            </p:cNvPr>
            <p:cNvPicPr>
              <a:picLocks/>
            </p:cNvPicPr>
            <p:nvPr userDrawn="1"/>
          </p:nvPicPr>
          <p:blipFill>
            <a:blip r:embed="rId13" cstate="email">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a:ext>
              </a:extLst>
            </a:blip>
            <a:stretch>
              <a:fillRect/>
            </a:stretch>
          </p:blipFill>
          <p:spPr>
            <a:xfrm>
              <a:off x="9263203" y="821761"/>
              <a:ext cx="2026630" cy="837682"/>
            </a:xfrm>
            <a:prstGeom prst="rect">
              <a:avLst/>
            </a:prstGeom>
          </p:spPr>
        </p:pic>
      </p:grpSp>
      <p:pic>
        <p:nvPicPr>
          <p:cNvPr id="8" name="Google Shape;64;p16">
            <a:extLst>
              <a:ext uri="{FF2B5EF4-FFF2-40B4-BE49-F238E27FC236}">
                <a16:creationId xmlns:a16="http://schemas.microsoft.com/office/drawing/2014/main" id="{F67D13D6-F0BB-2DC7-B32A-761551E4FAA4}"/>
              </a:ext>
            </a:extLst>
          </p:cNvPr>
          <p:cNvPicPr preferRelativeResize="0"/>
          <p:nvPr userDrawn="1"/>
        </p:nvPicPr>
        <p:blipFill rotWithShape="1">
          <a:blip r:embed="rId15" cstate="email">
            <a:alphaModFix/>
            <a:extLst>
              <a:ext uri="{28A0092B-C50C-407E-A947-70E740481C1C}">
                <a14:useLocalDpi xmlns:a14="http://schemas.microsoft.com/office/drawing/2010/main"/>
              </a:ext>
            </a:extLst>
          </a:blip>
          <a:srcRect/>
          <a:stretch/>
        </p:blipFill>
        <p:spPr bwMode="ltGray">
          <a:xfrm>
            <a:off x="10128282" y="-14875"/>
            <a:ext cx="2063718" cy="1950355"/>
          </a:xfrm>
          <a:prstGeom prst="rect">
            <a:avLst/>
          </a:prstGeom>
          <a:noFill/>
          <a:ln>
            <a:noFill/>
          </a:ln>
        </p:spPr>
      </p:pic>
    </p:spTree>
    <p:extLst>
      <p:ext uri="{BB962C8B-B14F-4D97-AF65-F5344CB8AC3E}">
        <p14:creationId xmlns:p14="http://schemas.microsoft.com/office/powerpoint/2010/main" val="419981856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1"/>
            </p:custDataLst>
            <p:extLst>
              <p:ext uri="{D42A27DB-BD31-4B8C-83A1-F6EECF244321}">
                <p14:modId xmlns:p14="http://schemas.microsoft.com/office/powerpoint/2010/main" val="5874224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4" name="Object 2" hidden="1">
                        <a:extLst>
                          <a:ext uri="{FF2B5EF4-FFF2-40B4-BE49-F238E27FC236}">
                            <a16:creationId xmlns:a16="http://schemas.microsoft.com/office/drawing/2014/main" id="{D6AD2A36-39D2-411F-97A0-A924098965AA}"/>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FA1A46-CC63-4D80-904D-B75922926F0D}"/>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chemeClr val="bg2"/>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5"/>
            </p:custDataLst>
          </p:nvPr>
        </p:nvSpPr>
        <p:spPr>
          <a:xfrm>
            <a:off x="554736" y="2744369"/>
            <a:ext cx="3465576" cy="769441"/>
          </a:xfrm>
          <a:prstGeom prst="rect">
            <a:avLst/>
          </a:prstGeom>
        </p:spPr>
        <p:txBody>
          <a:bodyPr vert="horz" wrap="square" anchor="b">
            <a:noAutofit/>
          </a:bodyPr>
          <a:lstStyle>
            <a:lvl1pPr algn="l" rtl="0">
              <a:defRPr>
                <a:solidFill>
                  <a:schemeClr val="bg1"/>
                </a:solidFill>
              </a:defRPr>
            </a:lvl1pPr>
          </a:lstStyle>
          <a:p>
            <a:r>
              <a:rPr lang="en-US"/>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6"/>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bg2"/>
                </a:solidFill>
              </a:rPr>
              <a:t>Source: …</a:t>
            </a:r>
          </a:p>
        </p:txBody>
      </p:sp>
      <p:sp>
        <p:nvSpPr>
          <p:cNvPr id="10" name="1. On-page tracker">
            <a:extLst>
              <a:ext uri="{FF2B5EF4-FFF2-40B4-BE49-F238E27FC236}">
                <a16:creationId xmlns:a16="http://schemas.microsoft.com/office/drawing/2014/main" id="{2635D98B-97DC-4A80-82A3-A8B3C701B736}"/>
              </a:ext>
            </a:extLst>
          </p:cNvPr>
          <p:cNvSpPr>
            <a:spLocks noGrp="1"/>
          </p:cNvSpPr>
          <p:nvPr>
            <p:ph type="body" sz="quarter" idx="10" hasCustomPrompt="1"/>
            <p:custDataLst>
              <p:tags r:id="rId8"/>
            </p:custDataLst>
          </p:nvPr>
        </p:nvSpPr>
        <p:spPr>
          <a:xfrm>
            <a:off x="554735" y="41597"/>
            <a:ext cx="3465575"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a:t>Add tracker</a:t>
            </a:r>
          </a:p>
        </p:txBody>
      </p:sp>
      <p:grpSp>
        <p:nvGrpSpPr>
          <p:cNvPr id="3" name="Group 2">
            <a:extLst>
              <a:ext uri="{FF2B5EF4-FFF2-40B4-BE49-F238E27FC236}">
                <a16:creationId xmlns:a16="http://schemas.microsoft.com/office/drawing/2014/main" id="{C9AB2DE9-57D8-3511-EA45-B00129D408F5}"/>
              </a:ext>
            </a:extLst>
          </p:cNvPr>
          <p:cNvGrpSpPr>
            <a:grpSpLocks/>
          </p:cNvGrpSpPr>
          <p:nvPr userDrawn="1"/>
        </p:nvGrpSpPr>
        <p:grpSpPr>
          <a:xfrm>
            <a:off x="9982200" y="6279859"/>
            <a:ext cx="1330325" cy="397630"/>
            <a:chOff x="7954129" y="702228"/>
            <a:chExt cx="3335704" cy="997031"/>
          </a:xfrm>
        </p:grpSpPr>
        <p:pic>
          <p:nvPicPr>
            <p:cNvPr id="5" name="Picture 4">
              <a:extLst>
                <a:ext uri="{FF2B5EF4-FFF2-40B4-BE49-F238E27FC236}">
                  <a16:creationId xmlns:a16="http://schemas.microsoft.com/office/drawing/2014/main" id="{12CDB7D6-A130-08B7-1A6B-DC968E4D0384}"/>
                </a:ext>
              </a:extLst>
            </p:cNvPr>
            <p:cNvPicPr>
              <a:picLocks/>
            </p:cNvPicPr>
            <p:nvPr userDrawn="1"/>
          </p:nvPicPr>
          <p:blipFill>
            <a:blip r:embed="rId12" cstate="email">
              <a:extLst>
                <a:ext uri="{28A0092B-C50C-407E-A947-70E740481C1C}">
                  <a14:useLocalDpi xmlns:a14="http://schemas.microsoft.com/office/drawing/2010/main"/>
                </a:ext>
              </a:extLst>
            </a:blip>
            <a:stretch>
              <a:fillRect/>
            </a:stretch>
          </p:blipFill>
          <p:spPr>
            <a:xfrm>
              <a:off x="7954129" y="702228"/>
              <a:ext cx="1056488" cy="997031"/>
            </a:xfrm>
            <a:prstGeom prst="rect">
              <a:avLst/>
            </a:prstGeom>
          </p:spPr>
        </p:pic>
        <p:pic>
          <p:nvPicPr>
            <p:cNvPr id="7" name="Picture 6">
              <a:extLst>
                <a:ext uri="{FF2B5EF4-FFF2-40B4-BE49-F238E27FC236}">
                  <a16:creationId xmlns:a16="http://schemas.microsoft.com/office/drawing/2014/main" id="{8BDD2E48-C12C-7EA2-90E1-2699099647D4}"/>
                </a:ext>
              </a:extLst>
            </p:cNvPr>
            <p:cNvPicPr>
              <a:picLocks/>
            </p:cNvPicPr>
            <p:nvPr userDrawn="1"/>
          </p:nvPicPr>
          <p:blipFill>
            <a:blip r:embed="rId13" cstate="email">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a:ext>
              </a:extLst>
            </a:blip>
            <a:stretch>
              <a:fillRect/>
            </a:stretch>
          </p:blipFill>
          <p:spPr>
            <a:xfrm>
              <a:off x="9263203" y="821761"/>
              <a:ext cx="2026630" cy="837682"/>
            </a:xfrm>
            <a:prstGeom prst="rect">
              <a:avLst/>
            </a:prstGeom>
          </p:spPr>
        </p:pic>
      </p:grpSp>
      <p:pic>
        <p:nvPicPr>
          <p:cNvPr id="8" name="Google Shape;64;p16">
            <a:extLst>
              <a:ext uri="{FF2B5EF4-FFF2-40B4-BE49-F238E27FC236}">
                <a16:creationId xmlns:a16="http://schemas.microsoft.com/office/drawing/2014/main" id="{D6B3BBDE-E514-2EB1-F7EC-FEB222E1A328}"/>
              </a:ext>
            </a:extLst>
          </p:cNvPr>
          <p:cNvPicPr preferRelativeResize="0"/>
          <p:nvPr userDrawn="1"/>
        </p:nvPicPr>
        <p:blipFill rotWithShape="1">
          <a:blip r:embed="rId15" cstate="email">
            <a:alphaModFix/>
            <a:extLst>
              <a:ext uri="{28A0092B-C50C-407E-A947-70E740481C1C}">
                <a14:useLocalDpi xmlns:a14="http://schemas.microsoft.com/office/drawing/2010/main"/>
              </a:ext>
            </a:extLst>
          </a:blip>
          <a:srcRect/>
          <a:stretch/>
        </p:blipFill>
        <p:spPr bwMode="ltGray">
          <a:xfrm>
            <a:off x="10128282" y="-14875"/>
            <a:ext cx="2063718" cy="1950355"/>
          </a:xfrm>
          <a:prstGeom prst="rect">
            <a:avLst/>
          </a:prstGeom>
          <a:noFill/>
          <a:ln>
            <a:noFill/>
          </a:ln>
        </p:spPr>
      </p:pic>
    </p:spTree>
    <p:extLst>
      <p:ext uri="{BB962C8B-B14F-4D97-AF65-F5344CB8AC3E}">
        <p14:creationId xmlns:p14="http://schemas.microsoft.com/office/powerpoint/2010/main" val="42869524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extLst>
              <p:ext uri="{D42A27DB-BD31-4B8C-83A1-F6EECF244321}">
                <p14:modId xmlns:p14="http://schemas.microsoft.com/office/powerpoint/2010/main" val="25558435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5"/>
            </p:custDataLst>
          </p:nvPr>
        </p:nvSpPr>
        <p:spPr>
          <a:xfrm>
            <a:off x="554736" y="172212"/>
            <a:ext cx="5065776" cy="384721"/>
          </a:xfrm>
        </p:spPr>
        <p:txBody>
          <a:bodyPr vert="horz">
            <a:spAutoFit/>
          </a:bodyPr>
          <a:lstStyle>
            <a:lvl1pPr rtl="0">
              <a:defRPr>
                <a:solidFill>
                  <a:schemeClr val="bg1"/>
                </a:solidFill>
              </a:defRPr>
            </a:lvl1pPr>
          </a:lstStyle>
          <a:p>
            <a:r>
              <a:rPr lang="en-US"/>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6"/>
            </p:custDataLst>
          </p:nvPr>
        </p:nvSpPr>
        <p:spPr>
          <a:xfrm>
            <a:off x="554735" y="637721"/>
            <a:ext cx="5065776" cy="246221"/>
          </a:xfrm>
          <a:prstGeom prst="rect">
            <a:avLst/>
          </a:prstGeom>
        </p:spPr>
        <p:txBody>
          <a:bodyPr wrap="square">
            <a:spAutoFit/>
          </a:bodyPr>
          <a:lstStyle>
            <a:lvl1pPr marL="0" indent="0" algn="l" rtl="0">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bg2"/>
                </a:solidFill>
              </a:rPr>
              <a:t>Source: …</a:t>
            </a:r>
          </a:p>
        </p:txBody>
      </p:sp>
      <p:sp>
        <p:nvSpPr>
          <p:cNvPr id="10" name="1. On-page tracker">
            <a:extLst>
              <a:ext uri="{FF2B5EF4-FFF2-40B4-BE49-F238E27FC236}">
                <a16:creationId xmlns:a16="http://schemas.microsoft.com/office/drawing/2014/main" id="{A6404B0A-A2B8-4CC0-AACE-22B9A9D22DC4}"/>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a:t>Add tracker</a:t>
            </a:r>
          </a:p>
        </p:txBody>
      </p:sp>
      <p:grpSp>
        <p:nvGrpSpPr>
          <p:cNvPr id="4" name="Group 3">
            <a:extLst>
              <a:ext uri="{FF2B5EF4-FFF2-40B4-BE49-F238E27FC236}">
                <a16:creationId xmlns:a16="http://schemas.microsoft.com/office/drawing/2014/main" id="{2987F4A1-47A9-E803-81CC-A1DB4B8BEF72}"/>
              </a:ext>
            </a:extLst>
          </p:cNvPr>
          <p:cNvGrpSpPr>
            <a:grpSpLocks/>
          </p:cNvGrpSpPr>
          <p:nvPr userDrawn="1"/>
        </p:nvGrpSpPr>
        <p:grpSpPr>
          <a:xfrm>
            <a:off x="9982200" y="6279859"/>
            <a:ext cx="1330325" cy="397630"/>
            <a:chOff x="7954129" y="702228"/>
            <a:chExt cx="3335704" cy="997031"/>
          </a:xfrm>
        </p:grpSpPr>
        <p:pic>
          <p:nvPicPr>
            <p:cNvPr id="5" name="Picture 4">
              <a:extLst>
                <a:ext uri="{FF2B5EF4-FFF2-40B4-BE49-F238E27FC236}">
                  <a16:creationId xmlns:a16="http://schemas.microsoft.com/office/drawing/2014/main" id="{BF0A5BD6-B434-8087-0E68-3B1141BC9DC3}"/>
                </a:ext>
              </a:extLst>
            </p:cNvPr>
            <p:cNvPicPr>
              <a:picLocks/>
            </p:cNvPicPr>
            <p:nvPr userDrawn="1"/>
          </p:nvPicPr>
          <p:blipFill>
            <a:blip r:embed="rId12" cstate="email">
              <a:extLst>
                <a:ext uri="{28A0092B-C50C-407E-A947-70E740481C1C}">
                  <a14:useLocalDpi xmlns:a14="http://schemas.microsoft.com/office/drawing/2010/main"/>
                </a:ext>
              </a:extLst>
            </a:blip>
            <a:stretch>
              <a:fillRect/>
            </a:stretch>
          </p:blipFill>
          <p:spPr>
            <a:xfrm>
              <a:off x="7954129" y="702228"/>
              <a:ext cx="1056488" cy="997031"/>
            </a:xfrm>
            <a:prstGeom prst="rect">
              <a:avLst/>
            </a:prstGeom>
          </p:spPr>
        </p:pic>
        <p:pic>
          <p:nvPicPr>
            <p:cNvPr id="6" name="Picture 5">
              <a:extLst>
                <a:ext uri="{FF2B5EF4-FFF2-40B4-BE49-F238E27FC236}">
                  <a16:creationId xmlns:a16="http://schemas.microsoft.com/office/drawing/2014/main" id="{820484A6-DADB-D8D7-DFC1-1F00C386118E}"/>
                </a:ext>
              </a:extLst>
            </p:cNvPr>
            <p:cNvPicPr>
              <a:picLocks/>
            </p:cNvPicPr>
            <p:nvPr userDrawn="1"/>
          </p:nvPicPr>
          <p:blipFill>
            <a:blip r:embed="rId13" cstate="email">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a:ext>
              </a:extLst>
            </a:blip>
            <a:stretch>
              <a:fillRect/>
            </a:stretch>
          </p:blipFill>
          <p:spPr>
            <a:xfrm>
              <a:off x="9263203" y="821761"/>
              <a:ext cx="2026630" cy="837682"/>
            </a:xfrm>
            <a:prstGeom prst="rect">
              <a:avLst/>
            </a:prstGeom>
          </p:spPr>
        </p:pic>
      </p:grpSp>
    </p:spTree>
    <p:extLst>
      <p:ext uri="{BB962C8B-B14F-4D97-AF65-F5344CB8AC3E}">
        <p14:creationId xmlns:p14="http://schemas.microsoft.com/office/powerpoint/2010/main" val="168773984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38988448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0" name="2. Slide Title">
            <a:extLst>
              <a:ext uri="{FF2B5EF4-FFF2-40B4-BE49-F238E27FC236}">
                <a16:creationId xmlns:a16="http://schemas.microsoft.com/office/drawing/2014/main" id="{E1D61C74-F3E2-42EF-998D-BEC7B3EBD0BC}"/>
              </a:ext>
            </a:extLst>
          </p:cNvPr>
          <p:cNvSpPr>
            <a:spLocks noGrp="1"/>
          </p:cNvSpPr>
          <p:nvPr>
            <p:ph type="title"/>
            <p:custDataLst>
              <p:tags r:id="rId3"/>
            </p:custDataLst>
          </p:nvPr>
        </p:nvSpPr>
        <p:spPr>
          <a:xfrm>
            <a:off x="554736" y="172212"/>
            <a:ext cx="6967728" cy="384721"/>
          </a:xfrm>
        </p:spPr>
        <p:txBody>
          <a:bodyPr vert="horz">
            <a:spAutoFit/>
          </a:bodyPr>
          <a:lstStyle>
            <a:lvl1pPr rtl="0">
              <a:defRPr>
                <a:solidFill>
                  <a:schemeClr val="bg1"/>
                </a:solidFill>
              </a:defRPr>
            </a:lvl1pPr>
          </a:lstStyle>
          <a:p>
            <a:r>
              <a:rPr lang="en-US"/>
              <a:t>Click to edit Master title style</a:t>
            </a: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21" name="3. Subtitle">
            <a:extLst>
              <a:ext uri="{FF2B5EF4-FFF2-40B4-BE49-F238E27FC236}">
                <a16:creationId xmlns:a16="http://schemas.microsoft.com/office/drawing/2014/main" id="{48CA3F7F-79C3-4776-BD80-2B6BECA0AF60}"/>
              </a:ext>
            </a:extLst>
          </p:cNvPr>
          <p:cNvSpPr>
            <a:spLocks noGrp="1"/>
          </p:cNvSpPr>
          <p:nvPr>
            <p:ph type="subTitle" idx="1"/>
            <p:custDataLst>
              <p:tags r:id="rId6"/>
            </p:custDataLst>
          </p:nvPr>
        </p:nvSpPr>
        <p:spPr>
          <a:xfrm>
            <a:off x="554735" y="637721"/>
            <a:ext cx="6967728" cy="246221"/>
          </a:xfrm>
          <a:prstGeom prst="rect">
            <a:avLst/>
          </a:prstGeom>
        </p:spPr>
        <p:txBody>
          <a:bodyPr wrap="square">
            <a:spAutoFit/>
          </a:bodyPr>
          <a:lstStyle>
            <a:lvl1pPr marL="0" indent="0" algn="l" rtl="0">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bg2"/>
                </a:solidFill>
              </a:rPr>
              <a:t>Source: …</a:t>
            </a: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a:t>Add tracker</a:t>
            </a:r>
          </a:p>
        </p:txBody>
      </p:sp>
      <p:grpSp>
        <p:nvGrpSpPr>
          <p:cNvPr id="2" name="Group 1">
            <a:extLst>
              <a:ext uri="{FF2B5EF4-FFF2-40B4-BE49-F238E27FC236}">
                <a16:creationId xmlns:a16="http://schemas.microsoft.com/office/drawing/2014/main" id="{041476DF-3A3B-1646-741F-92B68D786DD1}"/>
              </a:ext>
            </a:extLst>
          </p:cNvPr>
          <p:cNvGrpSpPr>
            <a:grpSpLocks/>
          </p:cNvGrpSpPr>
          <p:nvPr userDrawn="1"/>
        </p:nvGrpSpPr>
        <p:grpSpPr>
          <a:xfrm>
            <a:off x="9982200" y="6279859"/>
            <a:ext cx="1330325" cy="397630"/>
            <a:chOff x="7954129" y="702228"/>
            <a:chExt cx="3335704" cy="997031"/>
          </a:xfrm>
        </p:grpSpPr>
        <p:pic>
          <p:nvPicPr>
            <p:cNvPr id="5" name="Picture 4">
              <a:extLst>
                <a:ext uri="{FF2B5EF4-FFF2-40B4-BE49-F238E27FC236}">
                  <a16:creationId xmlns:a16="http://schemas.microsoft.com/office/drawing/2014/main" id="{6AC0679A-D819-114A-A60D-BAAAE7327297}"/>
                </a:ext>
              </a:extLst>
            </p:cNvPr>
            <p:cNvPicPr>
              <a:picLocks/>
            </p:cNvPicPr>
            <p:nvPr userDrawn="1"/>
          </p:nvPicPr>
          <p:blipFill>
            <a:blip r:embed="rId12" cstate="email">
              <a:extLst>
                <a:ext uri="{28A0092B-C50C-407E-A947-70E740481C1C}">
                  <a14:useLocalDpi xmlns:a14="http://schemas.microsoft.com/office/drawing/2010/main"/>
                </a:ext>
              </a:extLst>
            </a:blip>
            <a:stretch>
              <a:fillRect/>
            </a:stretch>
          </p:blipFill>
          <p:spPr>
            <a:xfrm>
              <a:off x="7954129" y="702228"/>
              <a:ext cx="1056488" cy="997031"/>
            </a:xfrm>
            <a:prstGeom prst="rect">
              <a:avLst/>
            </a:prstGeom>
          </p:spPr>
        </p:pic>
        <p:pic>
          <p:nvPicPr>
            <p:cNvPr id="6" name="Picture 5">
              <a:extLst>
                <a:ext uri="{FF2B5EF4-FFF2-40B4-BE49-F238E27FC236}">
                  <a16:creationId xmlns:a16="http://schemas.microsoft.com/office/drawing/2014/main" id="{D002BD80-077C-60B1-F9A3-1B591FE53910}"/>
                </a:ext>
              </a:extLst>
            </p:cNvPr>
            <p:cNvPicPr>
              <a:picLocks/>
            </p:cNvPicPr>
            <p:nvPr userDrawn="1"/>
          </p:nvPicPr>
          <p:blipFill>
            <a:blip r:embed="rId13" cstate="email">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a:ext>
              </a:extLst>
            </a:blip>
            <a:stretch>
              <a:fillRect/>
            </a:stretch>
          </p:blipFill>
          <p:spPr>
            <a:xfrm>
              <a:off x="9263203" y="821761"/>
              <a:ext cx="2026630" cy="837682"/>
            </a:xfrm>
            <a:prstGeom prst="rect">
              <a:avLst/>
            </a:prstGeom>
          </p:spPr>
        </p:pic>
      </p:grpSp>
      <p:pic>
        <p:nvPicPr>
          <p:cNvPr id="8" name="Google Shape;64;p16">
            <a:extLst>
              <a:ext uri="{FF2B5EF4-FFF2-40B4-BE49-F238E27FC236}">
                <a16:creationId xmlns:a16="http://schemas.microsoft.com/office/drawing/2014/main" id="{0AE7C9AD-8FF0-4DB1-2FAC-7D65E62124C1}"/>
              </a:ext>
            </a:extLst>
          </p:cNvPr>
          <p:cNvPicPr preferRelativeResize="0"/>
          <p:nvPr userDrawn="1"/>
        </p:nvPicPr>
        <p:blipFill rotWithShape="1">
          <a:blip r:embed="rId15" cstate="email">
            <a:alphaModFix/>
            <a:extLst>
              <a:ext uri="{28A0092B-C50C-407E-A947-70E740481C1C}">
                <a14:useLocalDpi xmlns:a14="http://schemas.microsoft.com/office/drawing/2010/main"/>
              </a:ext>
            </a:extLst>
          </a:blip>
          <a:srcRect/>
          <a:stretch/>
        </p:blipFill>
        <p:spPr bwMode="ltGray">
          <a:xfrm>
            <a:off x="10128282" y="-14875"/>
            <a:ext cx="2063718" cy="1950355"/>
          </a:xfrm>
          <a:prstGeom prst="rect">
            <a:avLst/>
          </a:prstGeom>
          <a:noFill/>
          <a:ln>
            <a:noFill/>
          </a:ln>
        </p:spPr>
      </p:pic>
    </p:spTree>
    <p:extLst>
      <p:ext uri="{BB962C8B-B14F-4D97-AF65-F5344CB8AC3E}">
        <p14:creationId xmlns:p14="http://schemas.microsoft.com/office/powerpoint/2010/main" val="342342282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37330158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chemeClr val="tx1"/>
              </a:solidFill>
              <a:effectLst/>
              <a:uLnTx/>
              <a:uFillTx/>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5"/>
            </p:custDataLst>
          </p:nvPr>
        </p:nvSpPr>
        <p:spPr>
          <a:xfrm>
            <a:off x="554736" y="172212"/>
            <a:ext cx="7918704" cy="384721"/>
          </a:xfrm>
        </p:spPr>
        <p:txBody>
          <a:bodyPr vert="horz">
            <a:spAutoFit/>
          </a:bodyPr>
          <a:lstStyle>
            <a:lvl1pPr rtl="0">
              <a:defRPr>
                <a:solidFill>
                  <a:schemeClr val="bg1"/>
                </a:solidFill>
              </a:defRPr>
            </a:lvl1pPr>
          </a:lstStyle>
          <a:p>
            <a:r>
              <a:rPr lang="en-US"/>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6"/>
            </p:custDataLst>
          </p:nvPr>
        </p:nvSpPr>
        <p:spPr>
          <a:xfrm>
            <a:off x="554735" y="637721"/>
            <a:ext cx="7918704" cy="246221"/>
          </a:xfrm>
          <a:prstGeom prst="rect">
            <a:avLst/>
          </a:prstGeom>
        </p:spPr>
        <p:txBody>
          <a:bodyPr wrap="square">
            <a:spAutoFit/>
          </a:bodyPr>
          <a:lstStyle>
            <a:lvl1pPr marL="0" indent="0" algn="l" rtl="0">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bg2"/>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a:t>Add tracker</a:t>
            </a:r>
          </a:p>
        </p:txBody>
      </p:sp>
      <p:grpSp>
        <p:nvGrpSpPr>
          <p:cNvPr id="2" name="Group 1">
            <a:extLst>
              <a:ext uri="{FF2B5EF4-FFF2-40B4-BE49-F238E27FC236}">
                <a16:creationId xmlns:a16="http://schemas.microsoft.com/office/drawing/2014/main" id="{29B1B977-1B55-B6A1-53B4-097A21848C36}"/>
              </a:ext>
            </a:extLst>
          </p:cNvPr>
          <p:cNvGrpSpPr>
            <a:grpSpLocks/>
          </p:cNvGrpSpPr>
          <p:nvPr userDrawn="1"/>
        </p:nvGrpSpPr>
        <p:grpSpPr>
          <a:xfrm>
            <a:off x="9982200" y="6279859"/>
            <a:ext cx="1330325" cy="397630"/>
            <a:chOff x="7954129" y="702228"/>
            <a:chExt cx="3335704" cy="997031"/>
          </a:xfrm>
        </p:grpSpPr>
        <p:pic>
          <p:nvPicPr>
            <p:cNvPr id="5" name="Picture 4">
              <a:extLst>
                <a:ext uri="{FF2B5EF4-FFF2-40B4-BE49-F238E27FC236}">
                  <a16:creationId xmlns:a16="http://schemas.microsoft.com/office/drawing/2014/main" id="{686E405E-0945-EE60-BAF7-4B86208DCF90}"/>
                </a:ext>
              </a:extLst>
            </p:cNvPr>
            <p:cNvPicPr>
              <a:picLocks/>
            </p:cNvPicPr>
            <p:nvPr userDrawn="1"/>
          </p:nvPicPr>
          <p:blipFill>
            <a:blip r:embed="rId12" cstate="email">
              <a:extLst>
                <a:ext uri="{28A0092B-C50C-407E-A947-70E740481C1C}">
                  <a14:useLocalDpi xmlns:a14="http://schemas.microsoft.com/office/drawing/2010/main"/>
                </a:ext>
              </a:extLst>
            </a:blip>
            <a:stretch>
              <a:fillRect/>
            </a:stretch>
          </p:blipFill>
          <p:spPr>
            <a:xfrm>
              <a:off x="7954129" y="702228"/>
              <a:ext cx="1056488" cy="997031"/>
            </a:xfrm>
            <a:prstGeom prst="rect">
              <a:avLst/>
            </a:prstGeom>
          </p:spPr>
        </p:pic>
        <p:pic>
          <p:nvPicPr>
            <p:cNvPr id="6" name="Picture 5">
              <a:extLst>
                <a:ext uri="{FF2B5EF4-FFF2-40B4-BE49-F238E27FC236}">
                  <a16:creationId xmlns:a16="http://schemas.microsoft.com/office/drawing/2014/main" id="{AC5694F3-3E16-897C-5573-57DA0AC81784}"/>
                </a:ext>
              </a:extLst>
            </p:cNvPr>
            <p:cNvPicPr>
              <a:picLocks/>
            </p:cNvPicPr>
            <p:nvPr userDrawn="1"/>
          </p:nvPicPr>
          <p:blipFill>
            <a:blip r:embed="rId13" cstate="email">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a:ext>
              </a:extLst>
            </a:blip>
            <a:stretch>
              <a:fillRect/>
            </a:stretch>
          </p:blipFill>
          <p:spPr>
            <a:xfrm>
              <a:off x="9263203" y="821761"/>
              <a:ext cx="2026630" cy="837682"/>
            </a:xfrm>
            <a:prstGeom prst="rect">
              <a:avLst/>
            </a:prstGeom>
          </p:spPr>
        </p:pic>
      </p:grpSp>
      <p:pic>
        <p:nvPicPr>
          <p:cNvPr id="7" name="Google Shape;64;p16">
            <a:extLst>
              <a:ext uri="{FF2B5EF4-FFF2-40B4-BE49-F238E27FC236}">
                <a16:creationId xmlns:a16="http://schemas.microsoft.com/office/drawing/2014/main" id="{77FAA2D8-9BDB-03A4-2B2B-D37A813FC63F}"/>
              </a:ext>
            </a:extLst>
          </p:cNvPr>
          <p:cNvPicPr preferRelativeResize="0"/>
          <p:nvPr userDrawn="1"/>
        </p:nvPicPr>
        <p:blipFill rotWithShape="1">
          <a:blip r:embed="rId15" cstate="email">
            <a:alphaModFix/>
            <a:extLst>
              <a:ext uri="{28A0092B-C50C-407E-A947-70E740481C1C}">
                <a14:useLocalDpi xmlns:a14="http://schemas.microsoft.com/office/drawing/2010/main"/>
              </a:ext>
            </a:extLst>
          </a:blip>
          <a:srcRect/>
          <a:stretch/>
        </p:blipFill>
        <p:spPr bwMode="ltGray">
          <a:xfrm>
            <a:off x="10128282" y="-14875"/>
            <a:ext cx="2063718" cy="1950355"/>
          </a:xfrm>
          <a:prstGeom prst="rect">
            <a:avLst/>
          </a:prstGeom>
          <a:noFill/>
          <a:ln>
            <a:noFill/>
          </a:ln>
        </p:spPr>
      </p:pic>
    </p:spTree>
    <p:extLst>
      <p:ext uri="{BB962C8B-B14F-4D97-AF65-F5344CB8AC3E}">
        <p14:creationId xmlns:p14="http://schemas.microsoft.com/office/powerpoint/2010/main" val="179118233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extLst>
              <p:ext uri="{D42A27DB-BD31-4B8C-83A1-F6EECF244321}">
                <p14:modId xmlns:p14="http://schemas.microsoft.com/office/powerpoint/2010/main" val="7357515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rgbClr val="000000"/>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rgbClr val="000000"/>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5"/>
            </p:custDataLst>
          </p:nvPr>
        </p:nvSpPr>
        <p:spPr>
          <a:xfrm>
            <a:off x="554736" y="172212"/>
            <a:ext cx="5065776" cy="384721"/>
          </a:xfrm>
        </p:spPr>
        <p:txBody>
          <a:bodyPr vert="horz">
            <a:spAutoFit/>
          </a:bodyPr>
          <a:lstStyle>
            <a:lvl1pPr rtl="0">
              <a:defRPr>
                <a:solidFill>
                  <a:schemeClr val="tx1"/>
                </a:solidFill>
              </a:defRPr>
            </a:lvl1pPr>
          </a:lstStyle>
          <a:p>
            <a:r>
              <a:rPr lang="en-US"/>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6"/>
            </p:custDataLst>
          </p:nvPr>
        </p:nvSpPr>
        <p:spPr>
          <a:xfrm>
            <a:off x="554735" y="637721"/>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tx1"/>
                </a:solidFill>
              </a:rPr>
              <a:t>Source: …</a:t>
            </a:r>
          </a:p>
        </p:txBody>
      </p:sp>
      <p:sp>
        <p:nvSpPr>
          <p:cNvPr id="10" name="1. On-page tracker">
            <a:extLst>
              <a:ext uri="{FF2B5EF4-FFF2-40B4-BE49-F238E27FC236}">
                <a16:creationId xmlns:a16="http://schemas.microsoft.com/office/drawing/2014/main" id="{A6404B0A-A2B8-4CC0-AACE-22B9A9D22DC4}"/>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tx1"/>
                </a:solidFill>
                <a:cs typeface="+mn-cs"/>
              </a:defRPr>
            </a:lvl1pPr>
          </a:lstStyle>
          <a:p>
            <a:pPr lvl="0">
              <a:buNone/>
            </a:pPr>
            <a:r>
              <a:rPr lang="en-US"/>
              <a:t>Add tracker</a:t>
            </a:r>
          </a:p>
        </p:txBody>
      </p:sp>
      <p:pic>
        <p:nvPicPr>
          <p:cNvPr id="8" name="Google Shape;64;p16">
            <a:extLst>
              <a:ext uri="{FF2B5EF4-FFF2-40B4-BE49-F238E27FC236}">
                <a16:creationId xmlns:a16="http://schemas.microsoft.com/office/drawing/2014/main" id="{FEE0E7A2-B36C-FA35-7130-681A881D5DCF}"/>
              </a:ext>
            </a:extLst>
          </p:cNvPr>
          <p:cNvPicPr preferRelativeResize="0"/>
          <p:nvPr userDrawn="1"/>
        </p:nvPicPr>
        <p:blipFill rotWithShape="1">
          <a:blip r:embed="rId12" cstate="email">
            <a:alphaModFix/>
            <a:extLst>
              <a:ext uri="{28A0092B-C50C-407E-A947-70E740481C1C}">
                <a14:useLocalDpi xmlns:a14="http://schemas.microsoft.com/office/drawing/2010/main"/>
              </a:ext>
            </a:extLst>
          </a:blip>
          <a:srcRect/>
          <a:stretch/>
        </p:blipFill>
        <p:spPr bwMode="ltGray">
          <a:xfrm>
            <a:off x="10128282" y="-14875"/>
            <a:ext cx="2063718" cy="1950355"/>
          </a:xfrm>
          <a:prstGeom prst="rect">
            <a:avLst/>
          </a:prstGeom>
          <a:noFill/>
          <a:ln>
            <a:noFill/>
          </a:ln>
        </p:spPr>
      </p:pic>
      <p:grpSp>
        <p:nvGrpSpPr>
          <p:cNvPr id="9" name="Group 8">
            <a:extLst>
              <a:ext uri="{FF2B5EF4-FFF2-40B4-BE49-F238E27FC236}">
                <a16:creationId xmlns:a16="http://schemas.microsoft.com/office/drawing/2014/main" id="{E5EB7FA7-ABB7-B78C-8AC0-C8AE264C6704}"/>
              </a:ext>
            </a:extLst>
          </p:cNvPr>
          <p:cNvGrpSpPr/>
          <p:nvPr userDrawn="1"/>
        </p:nvGrpSpPr>
        <p:grpSpPr bwMode="ltGray">
          <a:xfrm>
            <a:off x="9982200" y="6279859"/>
            <a:ext cx="1330325" cy="397630"/>
            <a:chOff x="9982200" y="6279859"/>
            <a:chExt cx="1330325" cy="397630"/>
          </a:xfrm>
        </p:grpSpPr>
        <p:pic>
          <p:nvPicPr>
            <p:cNvPr id="11" name="Google Shape;68;p16">
              <a:extLst>
                <a:ext uri="{FF2B5EF4-FFF2-40B4-BE49-F238E27FC236}">
                  <a16:creationId xmlns:a16="http://schemas.microsoft.com/office/drawing/2014/main" id="{BD44F194-6D76-D677-D5C0-B5C182674A83}"/>
                </a:ext>
              </a:extLst>
            </p:cNvPr>
            <p:cNvPicPr preferRelativeResize="0"/>
            <p:nvPr userDrawn="1"/>
          </p:nvPicPr>
          <p:blipFill rotWithShape="1">
            <a:blip r:embed="rId13" cstate="email">
              <a:alphaModFix/>
              <a:extLst>
                <a:ext uri="{28A0092B-C50C-407E-A947-70E740481C1C}">
                  <a14:useLocalDpi xmlns:a14="http://schemas.microsoft.com/office/drawing/2010/main"/>
                </a:ext>
              </a:extLst>
            </a:blip>
            <a:srcRect/>
            <a:stretch/>
          </p:blipFill>
          <p:spPr bwMode="ltGray">
            <a:xfrm>
              <a:off x="10504277" y="6327530"/>
              <a:ext cx="808248" cy="334079"/>
            </a:xfrm>
            <a:prstGeom prst="rect">
              <a:avLst/>
            </a:prstGeom>
            <a:noFill/>
            <a:ln>
              <a:noFill/>
            </a:ln>
          </p:spPr>
        </p:pic>
        <p:pic>
          <p:nvPicPr>
            <p:cNvPr id="12" name="Picture 11">
              <a:extLst>
                <a:ext uri="{FF2B5EF4-FFF2-40B4-BE49-F238E27FC236}">
                  <a16:creationId xmlns:a16="http://schemas.microsoft.com/office/drawing/2014/main" id="{BD601206-12C3-F09A-8B75-21550B3E50B7}"/>
                </a:ext>
              </a:extLst>
            </p:cNvPr>
            <p:cNvPicPr>
              <a:picLocks/>
            </p:cNvPicPr>
            <p:nvPr userDrawn="1"/>
          </p:nvPicPr>
          <p:blipFill>
            <a:blip r:embed="rId14" cstate="email">
              <a:extLst>
                <a:ext uri="{28A0092B-C50C-407E-A947-70E740481C1C}">
                  <a14:useLocalDpi xmlns:a14="http://schemas.microsoft.com/office/drawing/2010/main"/>
                </a:ext>
              </a:extLst>
            </a:blip>
            <a:stretch>
              <a:fillRect/>
            </a:stretch>
          </p:blipFill>
          <p:spPr bwMode="ltGray">
            <a:xfrm>
              <a:off x="9982200" y="6279859"/>
              <a:ext cx="421342" cy="397630"/>
            </a:xfrm>
            <a:prstGeom prst="rect">
              <a:avLst/>
            </a:prstGeom>
          </p:spPr>
        </p:pic>
      </p:grpSp>
    </p:spTree>
    <p:extLst>
      <p:ext uri="{BB962C8B-B14F-4D97-AF65-F5344CB8AC3E}">
        <p14:creationId xmlns:p14="http://schemas.microsoft.com/office/powerpoint/2010/main" val="361787394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31830187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rgbClr val="000000"/>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rgbClr val="000000"/>
              </a:solidFill>
              <a:latin typeface="+mn-lt"/>
              <a:ea typeface="+mn-ea"/>
              <a:cs typeface="Arial" panose="020B0604020202020204" pitchFamily="34" charset="0"/>
            </a:endParaRP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5"/>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tx1"/>
                </a:solidFill>
              </a:rPr>
              <a:t>Source: …</a:t>
            </a: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6"/>
            </p:custDataLst>
          </p:nvPr>
        </p:nvSpPr>
        <p:spPr>
          <a:xfrm>
            <a:off x="554735" y="41597"/>
            <a:ext cx="3465576" cy="123111"/>
          </a:xfrm>
          <a:prstGeom prst="rect">
            <a:avLst/>
          </a:prstGeom>
          <a:ln w="6350">
            <a:noFill/>
            <a:miter lim="800000"/>
          </a:ln>
        </p:spPr>
        <p:txBody>
          <a:bodyPr vert="horz" wrap="square" lIns="0" tIns="0" rIns="0" bIns="0" rtlCol="0">
            <a:noAutofit/>
          </a:bodyPr>
          <a:lstStyle>
            <a:lvl1pPr rtl="0">
              <a:defRPr lang="en-US" sz="800" b="0" dirty="0">
                <a:solidFill>
                  <a:schemeClr val="tx1"/>
                </a:solidFill>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A2A8C6A2-26B8-46D0-B6A4-4D8C91B2772E}"/>
              </a:ext>
            </a:extLst>
          </p:cNvPr>
          <p:cNvSpPr>
            <a:spLocks noGrp="1"/>
          </p:cNvSpPr>
          <p:nvPr>
            <p:ph type="title"/>
            <p:custDataLst>
              <p:tags r:id="rId7"/>
            </p:custDataLst>
          </p:nvPr>
        </p:nvSpPr>
        <p:spPr>
          <a:xfrm>
            <a:off x="554736" y="2744369"/>
            <a:ext cx="3465576" cy="769441"/>
          </a:xfrm>
          <a:prstGeom prst="rect">
            <a:avLst/>
          </a:prstGeom>
        </p:spPr>
        <p:txBody>
          <a:bodyPr vert="horz" wrap="square" anchor="b">
            <a:noAutofit/>
          </a:bodyPr>
          <a:lstStyle>
            <a:lvl1pPr algn="l" rtl="0">
              <a:defRPr>
                <a:solidFill>
                  <a:schemeClr val="tx1"/>
                </a:solidFill>
              </a:defRPr>
            </a:lvl1pPr>
          </a:lstStyle>
          <a:p>
            <a:r>
              <a:rPr lang="en-US"/>
              <a:t>Click to edit Master title style</a:t>
            </a:r>
          </a:p>
        </p:txBody>
      </p:sp>
      <p:sp>
        <p:nvSpPr>
          <p:cNvPr id="12" name="3. Subtitle">
            <a:extLst>
              <a:ext uri="{FF2B5EF4-FFF2-40B4-BE49-F238E27FC236}">
                <a16:creationId xmlns:a16="http://schemas.microsoft.com/office/drawing/2014/main" id="{63DE0353-99BC-4322-9D9F-E3C1556B87A4}"/>
              </a:ext>
            </a:extLst>
          </p:cNvPr>
          <p:cNvSpPr>
            <a:spLocks noGrp="1"/>
          </p:cNvSpPr>
          <p:nvPr>
            <p:ph type="subTitle" idx="1"/>
            <p:custDataLst>
              <p:tags r:id="rId8"/>
            </p:custDataLst>
          </p:nvPr>
        </p:nvSpPr>
        <p:spPr>
          <a:xfrm>
            <a:off x="554734" y="3659644"/>
            <a:ext cx="3465576"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grpSp>
        <p:nvGrpSpPr>
          <p:cNvPr id="9" name="Group 8">
            <a:extLst>
              <a:ext uri="{FF2B5EF4-FFF2-40B4-BE49-F238E27FC236}">
                <a16:creationId xmlns:a16="http://schemas.microsoft.com/office/drawing/2014/main" id="{9206F263-6A35-E432-A68D-3A6D7FDEAA7A}"/>
              </a:ext>
            </a:extLst>
          </p:cNvPr>
          <p:cNvGrpSpPr/>
          <p:nvPr userDrawn="1"/>
        </p:nvGrpSpPr>
        <p:grpSpPr bwMode="ltGray">
          <a:xfrm>
            <a:off x="408829" y="6239623"/>
            <a:ext cx="1330325" cy="397630"/>
            <a:chOff x="9982200" y="6279859"/>
            <a:chExt cx="1330325" cy="397630"/>
          </a:xfrm>
        </p:grpSpPr>
        <p:pic>
          <p:nvPicPr>
            <p:cNvPr id="13" name="Google Shape;68;p16">
              <a:extLst>
                <a:ext uri="{FF2B5EF4-FFF2-40B4-BE49-F238E27FC236}">
                  <a16:creationId xmlns:a16="http://schemas.microsoft.com/office/drawing/2014/main" id="{5233E56C-EE44-3223-1C4F-084BCB27F2C0}"/>
                </a:ext>
              </a:extLst>
            </p:cNvPr>
            <p:cNvPicPr preferRelativeResize="0"/>
            <p:nvPr userDrawn="1"/>
          </p:nvPicPr>
          <p:blipFill rotWithShape="1">
            <a:blip r:embed="rId12" cstate="email">
              <a:alphaModFix/>
              <a:extLst>
                <a:ext uri="{28A0092B-C50C-407E-A947-70E740481C1C}">
                  <a14:useLocalDpi xmlns:a14="http://schemas.microsoft.com/office/drawing/2010/main"/>
                </a:ext>
              </a:extLst>
            </a:blip>
            <a:srcRect/>
            <a:stretch/>
          </p:blipFill>
          <p:spPr bwMode="ltGray">
            <a:xfrm>
              <a:off x="10504277" y="6327530"/>
              <a:ext cx="808248" cy="334079"/>
            </a:xfrm>
            <a:prstGeom prst="rect">
              <a:avLst/>
            </a:prstGeom>
            <a:noFill/>
            <a:ln>
              <a:noFill/>
            </a:ln>
          </p:spPr>
        </p:pic>
        <p:pic>
          <p:nvPicPr>
            <p:cNvPr id="14" name="Picture 13">
              <a:extLst>
                <a:ext uri="{FF2B5EF4-FFF2-40B4-BE49-F238E27FC236}">
                  <a16:creationId xmlns:a16="http://schemas.microsoft.com/office/drawing/2014/main" id="{78DD0AB0-82C8-2589-4DF7-D25C5D677A20}"/>
                </a:ext>
              </a:extLst>
            </p:cNvPr>
            <p:cNvPicPr>
              <a:picLocks/>
            </p:cNvPicPr>
            <p:nvPr userDrawn="1"/>
          </p:nvPicPr>
          <p:blipFill>
            <a:blip r:embed="rId13" cstate="email">
              <a:extLst>
                <a:ext uri="{28A0092B-C50C-407E-A947-70E740481C1C}">
                  <a14:useLocalDpi xmlns:a14="http://schemas.microsoft.com/office/drawing/2010/main"/>
                </a:ext>
              </a:extLst>
            </a:blip>
            <a:stretch>
              <a:fillRect/>
            </a:stretch>
          </p:blipFill>
          <p:spPr bwMode="ltGray">
            <a:xfrm>
              <a:off x="9982200" y="6279859"/>
              <a:ext cx="421342" cy="397630"/>
            </a:xfrm>
            <a:prstGeom prst="rect">
              <a:avLst/>
            </a:prstGeom>
          </p:spPr>
        </p:pic>
      </p:grpSp>
      <p:pic>
        <p:nvPicPr>
          <p:cNvPr id="2" name="bg object 17">
            <a:extLst>
              <a:ext uri="{FF2B5EF4-FFF2-40B4-BE49-F238E27FC236}">
                <a16:creationId xmlns:a16="http://schemas.microsoft.com/office/drawing/2014/main" id="{B69C65E6-4EA7-5EBB-8BE3-CE1EA53E00FF}"/>
              </a:ext>
            </a:extLst>
          </p:cNvPr>
          <p:cNvPicPr/>
          <p:nvPr userDrawn="1"/>
        </p:nvPicPr>
        <p:blipFill>
          <a:blip r:embed="rId14" cstate="print"/>
          <a:stretch>
            <a:fillRect/>
          </a:stretch>
        </p:blipFill>
        <p:spPr>
          <a:xfrm>
            <a:off x="10929642" y="193167"/>
            <a:ext cx="702963" cy="347471"/>
          </a:xfrm>
          <a:prstGeom prst="rect">
            <a:avLst/>
          </a:prstGeom>
        </p:spPr>
      </p:pic>
    </p:spTree>
    <p:extLst>
      <p:ext uri="{BB962C8B-B14F-4D97-AF65-F5344CB8AC3E}">
        <p14:creationId xmlns:p14="http://schemas.microsoft.com/office/powerpoint/2010/main" val="427199424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22904163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0"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mn-lt"/>
              <a:ea typeface="+mn-ea"/>
              <a:cs typeface="Arial" panose="020B0604020202020204" pitchFamily="34" charset="0"/>
            </a:endParaRP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6"/>
            </p:custDataLst>
          </p:nvPr>
        </p:nvSpPr>
        <p:spPr>
          <a:xfrm>
            <a:off x="554735" y="41597"/>
            <a:ext cx="2514600" cy="123111"/>
          </a:xfrm>
          <a:prstGeom prst="rect">
            <a:avLst/>
          </a:prstGeom>
          <a:ln w="6350">
            <a:noFill/>
            <a:miter lim="800000"/>
          </a:ln>
        </p:spPr>
        <p:txBody>
          <a:bodyPr vert="horz" wrap="square" lIns="0" tIns="0" rIns="0" bIns="0" rtlCol="0">
            <a:noAutofit/>
          </a:bodyPr>
          <a:lstStyle>
            <a:lvl1pPr rtl="0">
              <a:defRPr lang="en-US" sz="800" b="0" dirty="0">
                <a:solidFill>
                  <a:schemeClr val="tx1"/>
                </a:solidFill>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201E918A-7ADD-4595-9E5C-36C3D305CA4A}"/>
              </a:ext>
            </a:extLst>
          </p:cNvPr>
          <p:cNvSpPr>
            <a:spLocks noGrp="1"/>
          </p:cNvSpPr>
          <p:nvPr>
            <p:ph type="title"/>
            <p:custDataLst>
              <p:tags r:id="rId7"/>
            </p:custDataLst>
          </p:nvPr>
        </p:nvSpPr>
        <p:spPr>
          <a:xfrm>
            <a:off x="554736" y="2744369"/>
            <a:ext cx="2514600" cy="769441"/>
          </a:xfrm>
        </p:spPr>
        <p:txBody>
          <a:bodyPr vert="horz" anchor="b">
            <a:noAutofit/>
          </a:bodyPr>
          <a:lstStyle>
            <a:lvl1pPr rtl="0">
              <a:defRPr>
                <a:solidFill>
                  <a:schemeClr val="tx1"/>
                </a:solidFill>
              </a:defRPr>
            </a:lvl1pPr>
          </a:lstStyle>
          <a:p>
            <a:r>
              <a:rPr lang="en-US"/>
              <a:t>Click to edit Master title</a:t>
            </a:r>
          </a:p>
        </p:txBody>
      </p:sp>
      <p:sp>
        <p:nvSpPr>
          <p:cNvPr id="12" name="3. Subtitle">
            <a:extLst>
              <a:ext uri="{FF2B5EF4-FFF2-40B4-BE49-F238E27FC236}">
                <a16:creationId xmlns:a16="http://schemas.microsoft.com/office/drawing/2014/main" id="{A0895B2F-2F72-4935-BC7F-BEA280D6C542}"/>
              </a:ext>
            </a:extLst>
          </p:cNvPr>
          <p:cNvSpPr>
            <a:spLocks noGrp="1"/>
          </p:cNvSpPr>
          <p:nvPr>
            <p:ph type="subTitle" idx="1"/>
            <p:custDataLst>
              <p:tags r:id="rId8"/>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grpSp>
        <p:nvGrpSpPr>
          <p:cNvPr id="2" name="Group 1">
            <a:extLst>
              <a:ext uri="{FF2B5EF4-FFF2-40B4-BE49-F238E27FC236}">
                <a16:creationId xmlns:a16="http://schemas.microsoft.com/office/drawing/2014/main" id="{1BEAC310-AD05-9034-74A0-6DD6EEC01D6E}"/>
              </a:ext>
            </a:extLst>
          </p:cNvPr>
          <p:cNvGrpSpPr/>
          <p:nvPr userDrawn="1"/>
        </p:nvGrpSpPr>
        <p:grpSpPr bwMode="ltGray">
          <a:xfrm>
            <a:off x="408829" y="6239623"/>
            <a:ext cx="1330325" cy="397630"/>
            <a:chOff x="9982200" y="6279859"/>
            <a:chExt cx="1330325" cy="397630"/>
          </a:xfrm>
        </p:grpSpPr>
        <p:pic>
          <p:nvPicPr>
            <p:cNvPr id="5" name="Google Shape;68;p16">
              <a:extLst>
                <a:ext uri="{FF2B5EF4-FFF2-40B4-BE49-F238E27FC236}">
                  <a16:creationId xmlns:a16="http://schemas.microsoft.com/office/drawing/2014/main" id="{73C56365-1360-867A-26EF-E90EDCACF397}"/>
                </a:ext>
              </a:extLst>
            </p:cNvPr>
            <p:cNvPicPr preferRelativeResize="0"/>
            <p:nvPr userDrawn="1"/>
          </p:nvPicPr>
          <p:blipFill rotWithShape="1">
            <a:blip r:embed="rId12" cstate="email">
              <a:alphaModFix/>
              <a:extLst>
                <a:ext uri="{28A0092B-C50C-407E-A947-70E740481C1C}">
                  <a14:useLocalDpi xmlns:a14="http://schemas.microsoft.com/office/drawing/2010/main"/>
                </a:ext>
              </a:extLst>
            </a:blip>
            <a:srcRect/>
            <a:stretch/>
          </p:blipFill>
          <p:spPr bwMode="ltGray">
            <a:xfrm>
              <a:off x="10504277" y="6327530"/>
              <a:ext cx="808248" cy="334079"/>
            </a:xfrm>
            <a:prstGeom prst="rect">
              <a:avLst/>
            </a:prstGeom>
            <a:noFill/>
            <a:ln>
              <a:noFill/>
            </a:ln>
          </p:spPr>
        </p:pic>
        <p:pic>
          <p:nvPicPr>
            <p:cNvPr id="6" name="Picture 5">
              <a:extLst>
                <a:ext uri="{FF2B5EF4-FFF2-40B4-BE49-F238E27FC236}">
                  <a16:creationId xmlns:a16="http://schemas.microsoft.com/office/drawing/2014/main" id="{701D6AC5-EF61-6D4E-049B-6D364C822BF6}"/>
                </a:ext>
              </a:extLst>
            </p:cNvPr>
            <p:cNvPicPr>
              <a:picLocks/>
            </p:cNvPicPr>
            <p:nvPr userDrawn="1"/>
          </p:nvPicPr>
          <p:blipFill>
            <a:blip r:embed="rId13" cstate="email">
              <a:extLst>
                <a:ext uri="{28A0092B-C50C-407E-A947-70E740481C1C}">
                  <a14:useLocalDpi xmlns:a14="http://schemas.microsoft.com/office/drawing/2010/main"/>
                </a:ext>
              </a:extLst>
            </a:blip>
            <a:stretch>
              <a:fillRect/>
            </a:stretch>
          </p:blipFill>
          <p:spPr bwMode="ltGray">
            <a:xfrm>
              <a:off x="9982200" y="6279859"/>
              <a:ext cx="421342" cy="397630"/>
            </a:xfrm>
            <a:prstGeom prst="rect">
              <a:avLst/>
            </a:prstGeom>
          </p:spPr>
        </p:pic>
      </p:grpSp>
      <p:pic>
        <p:nvPicPr>
          <p:cNvPr id="14" name="bg object 17">
            <a:extLst>
              <a:ext uri="{FF2B5EF4-FFF2-40B4-BE49-F238E27FC236}">
                <a16:creationId xmlns:a16="http://schemas.microsoft.com/office/drawing/2014/main" id="{40C8C187-95E1-402A-B6A4-678D4D141C4D}"/>
              </a:ext>
            </a:extLst>
          </p:cNvPr>
          <p:cNvPicPr/>
          <p:nvPr userDrawn="1"/>
        </p:nvPicPr>
        <p:blipFill>
          <a:blip r:embed="rId14" cstate="print"/>
          <a:stretch>
            <a:fillRect/>
          </a:stretch>
        </p:blipFill>
        <p:spPr>
          <a:xfrm>
            <a:off x="10929642" y="193167"/>
            <a:ext cx="702963" cy="347471"/>
          </a:xfrm>
          <a:prstGeom prst="rect">
            <a:avLst/>
          </a:prstGeom>
        </p:spPr>
      </p:pic>
    </p:spTree>
    <p:extLst>
      <p:ext uri="{BB962C8B-B14F-4D97-AF65-F5344CB8AC3E}">
        <p14:creationId xmlns:p14="http://schemas.microsoft.com/office/powerpoint/2010/main" val="40805870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937BF69-DBBB-44FA-AA65-8999BD8B4E5F}"/>
              </a:ext>
            </a:extLst>
          </p:cNvPr>
          <p:cNvGraphicFramePr>
            <a:graphicFrameLocks noChangeAspect="1"/>
          </p:cNvGraphicFramePr>
          <p:nvPr userDrawn="1">
            <p:custDataLst>
              <p:tags r:id="rId1"/>
            </p:custDataLst>
            <p:extLst>
              <p:ext uri="{D42A27DB-BD31-4B8C-83A1-F6EECF244321}">
                <p14:modId xmlns:p14="http://schemas.microsoft.com/office/powerpoint/2010/main" val="13739320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D937BF69-DBBB-44FA-AA65-8999BD8B4E5F}"/>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9" name="Google Shape;64;p16">
            <a:extLst>
              <a:ext uri="{FF2B5EF4-FFF2-40B4-BE49-F238E27FC236}">
                <a16:creationId xmlns:a16="http://schemas.microsoft.com/office/drawing/2014/main" id="{AB230027-11AB-04EF-444E-FC3E7B851A0C}"/>
              </a:ext>
            </a:extLst>
          </p:cNvPr>
          <p:cNvPicPr preferRelativeResize="0"/>
          <p:nvPr userDrawn="1"/>
        </p:nvPicPr>
        <p:blipFill rotWithShape="1">
          <a:blip r:embed="rId10" cstate="email">
            <a:alphaModFix/>
            <a:extLst>
              <a:ext uri="{28A0092B-C50C-407E-A947-70E740481C1C}">
                <a14:useLocalDpi xmlns:a14="http://schemas.microsoft.com/office/drawing/2010/main"/>
              </a:ext>
            </a:extLst>
          </a:blip>
          <a:srcRect/>
          <a:stretch/>
        </p:blipFill>
        <p:spPr bwMode="ltGray">
          <a:xfrm>
            <a:off x="10128282" y="-14875"/>
            <a:ext cx="2063718" cy="1950355"/>
          </a:xfrm>
          <a:prstGeom prst="rect">
            <a:avLst/>
          </a:prstGeom>
          <a:noFill/>
          <a:ln>
            <a:noFill/>
          </a:ln>
        </p:spPr>
      </p:pic>
      <p:sp>
        <p:nvSpPr>
          <p:cNvPr id="2" name="Rectangle 1" hidden="1">
            <a:extLst>
              <a:ext uri="{FF2B5EF4-FFF2-40B4-BE49-F238E27FC236}">
                <a16:creationId xmlns:a16="http://schemas.microsoft.com/office/drawing/2014/main" id="{0440E0BC-D285-4CB0-BC8F-8E2C57BF2A2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8" name="Sticker" hidden="1">
            <a:extLst>
              <a:ext uri="{FF2B5EF4-FFF2-40B4-BE49-F238E27FC236}">
                <a16:creationId xmlns:a16="http://schemas.microsoft.com/office/drawing/2014/main" id="{02AE8CE4-BD27-40D4-AB6E-9F41E7636086}"/>
              </a:ext>
            </a:extLst>
          </p:cNvPr>
          <p:cNvSpPr txBox="1"/>
          <p:nvPr userDrawn="1"/>
        </p:nvSpPr>
        <p:spPr>
          <a:xfrm>
            <a:off x="558489" y="1401800"/>
            <a:ext cx="450444" cy="123111"/>
          </a:xfrm>
          <a:prstGeom prst="rect">
            <a:avLst/>
          </a:prstGeom>
          <a:noFill/>
          <a:ln w="6350">
            <a:noFill/>
            <a:miter lim="800000"/>
          </a:ln>
        </p:spPr>
        <p:txBody>
          <a:bodyPr vert="horz" wrap="none" lIns="0" tIns="0" rIns="0" bIns="0" rtlCol="0">
            <a:spAutoFit/>
          </a:bodyPr>
          <a:lstStyle/>
          <a:p>
            <a:pPr algn="l" rtl="0">
              <a:spcBef>
                <a:spcPts val="300"/>
              </a:spcBef>
              <a:spcAft>
                <a:spcPts val="300"/>
              </a:spcAft>
              <a:buNone/>
            </a:pPr>
            <a:r>
              <a:rPr lang="en-US" sz="800" b="1" cap="all" baseline="0"/>
              <a:t>STICKER</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hasCustomPrompt="1"/>
            <p:custDataLst>
              <p:tags r:id="rId4"/>
            </p:custDataLst>
          </p:nvPr>
        </p:nvSpPr>
        <p:spPr>
          <a:xfrm>
            <a:off x="554736" y="172212"/>
            <a:ext cx="11082528" cy="1154162"/>
          </a:xfrm>
        </p:spPr>
        <p:txBody>
          <a:bodyPr vert="horz">
            <a:spAutoFit/>
          </a:bodyPr>
          <a:lstStyle>
            <a:lvl1pPr rtl="0">
              <a:defRPr/>
            </a:lvl1pPr>
          </a:lstStyle>
          <a:p>
            <a:r>
              <a:rPr lang="en-US"/>
              <a:t>Click to edit Master title style</a:t>
            </a:r>
            <a:br>
              <a:rPr lang="en-US"/>
            </a:br>
            <a:br>
              <a:rPr lang="en-US"/>
            </a:br>
            <a:endParaRPr lang="en-US"/>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8" name="1. On-page tracker">
            <a:extLst>
              <a:ext uri="{FF2B5EF4-FFF2-40B4-BE49-F238E27FC236}">
                <a16:creationId xmlns:a16="http://schemas.microsoft.com/office/drawing/2014/main" id="{B5C5F547-1B1B-411D-99AF-7DE767A71F19}"/>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grpSp>
        <p:nvGrpSpPr>
          <p:cNvPr id="5" name="Group 4">
            <a:extLst>
              <a:ext uri="{FF2B5EF4-FFF2-40B4-BE49-F238E27FC236}">
                <a16:creationId xmlns:a16="http://schemas.microsoft.com/office/drawing/2014/main" id="{3E5C16EA-A810-2C19-76E7-2088C2CF4E05}"/>
              </a:ext>
            </a:extLst>
          </p:cNvPr>
          <p:cNvGrpSpPr>
            <a:grpSpLocks/>
          </p:cNvGrpSpPr>
          <p:nvPr userDrawn="1"/>
        </p:nvGrpSpPr>
        <p:grpSpPr>
          <a:xfrm>
            <a:off x="9982200" y="6279859"/>
            <a:ext cx="1330325" cy="397630"/>
            <a:chOff x="7954129" y="702228"/>
            <a:chExt cx="3335704" cy="997031"/>
          </a:xfrm>
        </p:grpSpPr>
        <p:pic>
          <p:nvPicPr>
            <p:cNvPr id="6" name="Picture 5">
              <a:extLst>
                <a:ext uri="{FF2B5EF4-FFF2-40B4-BE49-F238E27FC236}">
                  <a16:creationId xmlns:a16="http://schemas.microsoft.com/office/drawing/2014/main" id="{0556CB4D-7878-EBA5-0B45-CD535B4F5757}"/>
                </a:ext>
              </a:extLst>
            </p:cNvPr>
            <p:cNvPicPr>
              <a:picLocks/>
            </p:cNvPicPr>
            <p:nvPr userDrawn="1"/>
          </p:nvPicPr>
          <p:blipFill>
            <a:blip r:embed="rId11" cstate="email">
              <a:extLst>
                <a:ext uri="{28A0092B-C50C-407E-A947-70E740481C1C}">
                  <a14:useLocalDpi xmlns:a14="http://schemas.microsoft.com/office/drawing/2010/main"/>
                </a:ext>
              </a:extLst>
            </a:blip>
            <a:stretch>
              <a:fillRect/>
            </a:stretch>
          </p:blipFill>
          <p:spPr>
            <a:xfrm>
              <a:off x="7954129" y="702228"/>
              <a:ext cx="1056488" cy="997031"/>
            </a:xfrm>
            <a:prstGeom prst="rect">
              <a:avLst/>
            </a:prstGeom>
          </p:spPr>
        </p:pic>
        <p:pic>
          <p:nvPicPr>
            <p:cNvPr id="7" name="Picture 6">
              <a:extLst>
                <a:ext uri="{FF2B5EF4-FFF2-40B4-BE49-F238E27FC236}">
                  <a16:creationId xmlns:a16="http://schemas.microsoft.com/office/drawing/2014/main" id="{1EE16FE5-9AEE-9AAC-D12E-3A704DD22081}"/>
                </a:ext>
              </a:extLst>
            </p:cNvPr>
            <p:cNvPicPr>
              <a:picLocks/>
            </p:cNvPicPr>
            <p:nvPr userDrawn="1"/>
          </p:nvPicPr>
          <p:blipFill>
            <a:blip r:embed="rId12" cstate="email">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a:ext>
              </a:extLst>
            </a:blip>
            <a:stretch>
              <a:fillRect/>
            </a:stretch>
          </p:blipFill>
          <p:spPr>
            <a:xfrm>
              <a:off x="9263203" y="821761"/>
              <a:ext cx="2026630" cy="837682"/>
            </a:xfrm>
            <a:prstGeom prst="rect">
              <a:avLst/>
            </a:prstGeom>
          </p:spPr>
        </p:pic>
      </p:grpSp>
    </p:spTree>
    <p:extLst>
      <p:ext uri="{BB962C8B-B14F-4D97-AF65-F5344CB8AC3E}">
        <p14:creationId xmlns:p14="http://schemas.microsoft.com/office/powerpoint/2010/main" val="7321634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line + Subtitle">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3517415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bwMode="gray">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9" name="Sticker" hidden="1">
            <a:extLst>
              <a:ext uri="{FF2B5EF4-FFF2-40B4-BE49-F238E27FC236}">
                <a16:creationId xmlns:a16="http://schemas.microsoft.com/office/drawing/2014/main" id="{64F3132B-1605-45D5-B06F-B703D774997D}"/>
              </a:ext>
            </a:extLst>
          </p:cNvPr>
          <p:cNvSpPr txBox="1"/>
          <p:nvPr userDrawn="1"/>
        </p:nvSpPr>
        <p:spPr bwMode="gray">
          <a:xfrm>
            <a:off x="558489" y="1401800"/>
            <a:ext cx="450444" cy="123111"/>
          </a:xfrm>
          <a:prstGeom prst="rect">
            <a:avLst/>
          </a:prstGeom>
          <a:noFill/>
          <a:ln w="6350">
            <a:noFill/>
            <a:miter lim="800000"/>
          </a:ln>
        </p:spPr>
        <p:txBody>
          <a:bodyPr vert="horz" wrap="none" lIns="0" tIns="0" rIns="0" bIns="0" rtlCol="0">
            <a:spAutoFit/>
          </a:bodyPr>
          <a:lstStyle/>
          <a:p>
            <a:pPr algn="l" rtl="0">
              <a:spcBef>
                <a:spcPts val="300"/>
              </a:spcBef>
              <a:spcAft>
                <a:spcPts val="300"/>
              </a:spcAft>
              <a:buNone/>
            </a:pPr>
            <a:r>
              <a:rPr lang="en-US" sz="800" b="1" cap="all" baseline="0"/>
              <a:t>STICKER</a:t>
            </a:r>
          </a:p>
        </p:txBody>
      </p:sp>
      <p:sp>
        <p:nvSpPr>
          <p:cNvPr id="14" name="3. Subtitle">
            <a:extLst>
              <a:ext uri="{FF2B5EF4-FFF2-40B4-BE49-F238E27FC236}">
                <a16:creationId xmlns:a16="http://schemas.microsoft.com/office/drawing/2014/main" id="{D4D36123-678D-4B6C-A648-186F85BE34AE}"/>
              </a:ext>
            </a:extLst>
          </p:cNvPr>
          <p:cNvSpPr>
            <a:spLocks noGrp="1"/>
          </p:cNvSpPr>
          <p:nvPr userDrawn="1">
            <p:ph type="subTitle" idx="1"/>
            <p:custDataLst>
              <p:tags r:id="rId3"/>
            </p:custDataLst>
          </p:nvPr>
        </p:nvSpPr>
        <p:spPr bwMode="gray">
          <a:xfrm>
            <a:off x="554736" y="1022441"/>
            <a:ext cx="11082528" cy="246221"/>
          </a:xfrm>
          <a:prstGeom prst="rect">
            <a:avLst/>
          </a:prstGeom>
        </p:spPr>
        <p:txBody>
          <a:bodyPr wrap="square">
            <a:no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gray">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bwMode="gray">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userDrawn="1">
            <p:ph type="body" sz="quarter" idx="10" hasCustomPrompt="1"/>
            <p:custDataLst>
              <p:tags r:id="rId6"/>
            </p:custDataLst>
          </p:nvPr>
        </p:nvSpPr>
        <p:spPr bwMode="gray">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userDrawn="1">
            <p:ph type="title" hasCustomPrompt="1"/>
            <p:custDataLst>
              <p:tags r:id="rId7"/>
            </p:custDataLst>
          </p:nvPr>
        </p:nvSpPr>
        <p:spPr bwMode="gray">
          <a:xfrm>
            <a:off x="554736" y="172212"/>
            <a:ext cx="9901597" cy="769441"/>
          </a:xfrm>
          <a:prstGeom prst="rect">
            <a:avLst/>
          </a:prstGeom>
        </p:spPr>
        <p:txBody>
          <a:bodyPr vert="horz" wrap="square" lIns="0" tIns="0" rIns="0" bIns="0" rtlCol="0" anchor="t" anchorCtr="0">
            <a:noAutofit/>
          </a:bodyPr>
          <a:lstStyle>
            <a:lvl1pPr rtl="0">
              <a:defRPr/>
            </a:lvl1pPr>
          </a:lstStyle>
          <a:p>
            <a:r>
              <a:rPr lang="en-US"/>
              <a:t>Click to edit Master title style</a:t>
            </a:r>
            <a:br>
              <a:rPr lang="en-US"/>
            </a:br>
            <a:endParaRPr lang="en-US"/>
          </a:p>
        </p:txBody>
      </p:sp>
    </p:spTree>
    <p:extLst>
      <p:ext uri="{BB962C8B-B14F-4D97-AF65-F5344CB8AC3E}">
        <p14:creationId xmlns:p14="http://schemas.microsoft.com/office/powerpoint/2010/main" val="110227870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D2BF5E-92A7-41C4-93AE-C72274D09CB7}"/>
              </a:ext>
            </a:extLst>
          </p:cNvPr>
          <p:cNvGraphicFramePr>
            <a:graphicFrameLocks noChangeAspect="1"/>
          </p:cNvGraphicFramePr>
          <p:nvPr userDrawn="1">
            <p:custDataLst>
              <p:tags r:id="rId1"/>
            </p:custDataLst>
            <p:extLst>
              <p:ext uri="{D42A27DB-BD31-4B8C-83A1-F6EECF244321}">
                <p14:modId xmlns:p14="http://schemas.microsoft.com/office/powerpoint/2010/main" val="5940725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7CD2BF5E-92A7-41C4-93AE-C72274D09CB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7" name="1. On-page tracker">
            <a:extLst>
              <a:ext uri="{FF2B5EF4-FFF2-40B4-BE49-F238E27FC236}">
                <a16:creationId xmlns:a16="http://schemas.microsoft.com/office/drawing/2014/main" id="{E9E206AB-587F-4AC2-9EF7-AA339899F4BB}"/>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grpSp>
        <p:nvGrpSpPr>
          <p:cNvPr id="3" name="Group 2">
            <a:extLst>
              <a:ext uri="{FF2B5EF4-FFF2-40B4-BE49-F238E27FC236}">
                <a16:creationId xmlns:a16="http://schemas.microsoft.com/office/drawing/2014/main" id="{AEC5A5C1-0E19-C2EC-1157-AFF0AB510A19}"/>
              </a:ext>
            </a:extLst>
          </p:cNvPr>
          <p:cNvGrpSpPr>
            <a:grpSpLocks/>
          </p:cNvGrpSpPr>
          <p:nvPr userDrawn="1"/>
        </p:nvGrpSpPr>
        <p:grpSpPr>
          <a:xfrm>
            <a:off x="9982200" y="6279859"/>
            <a:ext cx="1330325" cy="397630"/>
            <a:chOff x="7954129" y="702228"/>
            <a:chExt cx="3335704" cy="997031"/>
          </a:xfrm>
        </p:grpSpPr>
        <p:pic>
          <p:nvPicPr>
            <p:cNvPr id="4" name="Picture 3">
              <a:extLst>
                <a:ext uri="{FF2B5EF4-FFF2-40B4-BE49-F238E27FC236}">
                  <a16:creationId xmlns:a16="http://schemas.microsoft.com/office/drawing/2014/main" id="{591FC2C6-A5E2-9364-F83A-83F8F53F8A69}"/>
                </a:ext>
              </a:extLst>
            </p:cNvPr>
            <p:cNvPicPr>
              <a:picLocks/>
            </p:cNvPicPr>
            <p:nvPr userDrawn="1"/>
          </p:nvPicPr>
          <p:blipFill>
            <a:blip r:embed="rId8" cstate="email">
              <a:extLst>
                <a:ext uri="{28A0092B-C50C-407E-A947-70E740481C1C}">
                  <a14:useLocalDpi xmlns:a14="http://schemas.microsoft.com/office/drawing/2010/main"/>
                </a:ext>
              </a:extLst>
            </a:blip>
            <a:stretch>
              <a:fillRect/>
            </a:stretch>
          </p:blipFill>
          <p:spPr>
            <a:xfrm>
              <a:off x="7954129" y="702228"/>
              <a:ext cx="1056488" cy="997031"/>
            </a:xfrm>
            <a:prstGeom prst="rect">
              <a:avLst/>
            </a:prstGeom>
          </p:spPr>
        </p:pic>
        <p:pic>
          <p:nvPicPr>
            <p:cNvPr id="8" name="Picture 7">
              <a:extLst>
                <a:ext uri="{FF2B5EF4-FFF2-40B4-BE49-F238E27FC236}">
                  <a16:creationId xmlns:a16="http://schemas.microsoft.com/office/drawing/2014/main" id="{277624A7-094D-D5CB-796B-2590AF1C849B}"/>
                </a:ext>
              </a:extLst>
            </p:cNvPr>
            <p:cNvPicPr>
              <a:picLocks/>
            </p:cNvPicPr>
            <p:nvPr userDrawn="1"/>
          </p:nvPicPr>
          <p:blipFill>
            <a:blip r:embed="rId9" cstate="email">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a:ext>
              </a:extLst>
            </a:blip>
            <a:stretch>
              <a:fillRect/>
            </a:stretch>
          </p:blipFill>
          <p:spPr>
            <a:xfrm>
              <a:off x="9263203" y="821761"/>
              <a:ext cx="2026630" cy="837682"/>
            </a:xfrm>
            <a:prstGeom prst="rect">
              <a:avLst/>
            </a:prstGeom>
          </p:spPr>
        </p:pic>
      </p:grpSp>
    </p:spTree>
    <p:extLst>
      <p:ext uri="{BB962C8B-B14F-4D97-AF65-F5344CB8AC3E}">
        <p14:creationId xmlns:p14="http://schemas.microsoft.com/office/powerpoint/2010/main" val="31964906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A9CF6F9-3F22-4C1D-8F1F-9500FF412228}"/>
              </a:ext>
            </a:extLst>
          </p:cNvPr>
          <p:cNvGraphicFramePr>
            <a:graphicFrameLocks noChangeAspect="1"/>
          </p:cNvGraphicFramePr>
          <p:nvPr userDrawn="1">
            <p:custDataLst>
              <p:tags r:id="rId1"/>
            </p:custDataLst>
            <p:extLst>
              <p:ext uri="{D42A27DB-BD31-4B8C-83A1-F6EECF244321}">
                <p14:modId xmlns:p14="http://schemas.microsoft.com/office/powerpoint/2010/main" val="33625652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DA9CF6F9-3F22-4C1D-8F1F-9500FF4122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5. Source" hidden="1">
            <a:extLst>
              <a:ext uri="{FF2B5EF4-FFF2-40B4-BE49-F238E27FC236}">
                <a16:creationId xmlns:a16="http://schemas.microsoft.com/office/drawing/2014/main" id="{EED9D83D-9CC3-45F3-876D-CC42BC0B70E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pic>
        <p:nvPicPr>
          <p:cNvPr id="3" name="Google Shape;287;g211737bb9d1_0_803">
            <a:extLst>
              <a:ext uri="{FF2B5EF4-FFF2-40B4-BE49-F238E27FC236}">
                <a16:creationId xmlns:a16="http://schemas.microsoft.com/office/drawing/2014/main" id="{01D0A173-6109-433F-EAC8-F29C2678DB76}"/>
              </a:ext>
            </a:extLst>
          </p:cNvPr>
          <p:cNvPicPr preferRelativeResize="0"/>
          <p:nvPr userDrawn="1"/>
        </p:nvPicPr>
        <p:blipFill rotWithShape="1">
          <a:blip r:embed="rId6" cstate="email">
            <a:alphaModFix/>
            <a:extLst>
              <a:ext uri="{28A0092B-C50C-407E-A947-70E740481C1C}">
                <a14:useLocalDpi xmlns:a14="http://schemas.microsoft.com/office/drawing/2010/main"/>
              </a:ext>
            </a:extLst>
          </a:blip>
          <a:srcRect/>
          <a:stretch/>
        </p:blipFill>
        <p:spPr>
          <a:xfrm>
            <a:off x="0" y="1795"/>
            <a:ext cx="12136166" cy="6856205"/>
          </a:xfrm>
          <a:prstGeom prst="rect">
            <a:avLst/>
          </a:prstGeom>
          <a:noFill/>
          <a:ln>
            <a:noFill/>
          </a:ln>
        </p:spPr>
      </p:pic>
      <p:pic>
        <p:nvPicPr>
          <p:cNvPr id="5" name="Google Shape;1573;g211737bb9d1_0_635">
            <a:extLst>
              <a:ext uri="{FF2B5EF4-FFF2-40B4-BE49-F238E27FC236}">
                <a16:creationId xmlns:a16="http://schemas.microsoft.com/office/drawing/2014/main" id="{38081686-50B0-CA9E-1656-65B79A59BF7E}"/>
              </a:ext>
            </a:extLst>
          </p:cNvPr>
          <p:cNvPicPr preferRelativeResize="0"/>
          <p:nvPr userDrawn="1"/>
        </p:nvPicPr>
        <p:blipFill rotWithShape="1">
          <a:blip r:embed="rId7" cstate="email">
            <a:alphaModFix/>
            <a:extLst>
              <a:ext uri="{28A0092B-C50C-407E-A947-70E740481C1C}">
                <a14:useLocalDpi xmlns:a14="http://schemas.microsoft.com/office/drawing/2010/main"/>
              </a:ext>
            </a:extLst>
          </a:blip>
          <a:srcRect/>
          <a:stretch/>
        </p:blipFill>
        <p:spPr bwMode="ltGray">
          <a:xfrm>
            <a:off x="630436" y="3845629"/>
            <a:ext cx="3981387" cy="1544145"/>
          </a:xfrm>
          <a:prstGeom prst="rect">
            <a:avLst/>
          </a:prstGeom>
          <a:noFill/>
          <a:ln>
            <a:noFill/>
          </a:ln>
        </p:spPr>
      </p:pic>
      <p:sp>
        <p:nvSpPr>
          <p:cNvPr id="6" name="Rectangle 5">
            <a:extLst>
              <a:ext uri="{FF2B5EF4-FFF2-40B4-BE49-F238E27FC236}">
                <a16:creationId xmlns:a16="http://schemas.microsoft.com/office/drawing/2014/main" id="{686F247D-D5B5-78AA-F57E-271C2EAEEC0C}"/>
              </a:ext>
            </a:extLst>
          </p:cNvPr>
          <p:cNvSpPr/>
          <p:nvPr userDrawn="1"/>
        </p:nvSpPr>
        <p:spPr>
          <a:xfrm>
            <a:off x="7578436" y="3183910"/>
            <a:ext cx="4087091" cy="2554545"/>
          </a:xfrm>
          <a:prstGeom prst="rect">
            <a:avLst/>
          </a:prstGeom>
        </p:spPr>
        <p:txBody>
          <a:bodyPr wrap="square">
            <a:spAutoFit/>
          </a:bodyPr>
          <a:lstStyle/>
          <a:p>
            <a:pPr algn="ctr" rtl="0">
              <a:defRPr/>
            </a:pPr>
            <a:r>
              <a:rPr lang="en-US" sz="1600" b="1" u="sng">
                <a:solidFill>
                  <a:schemeClr val="tx1"/>
                </a:solidFill>
                <a:latin typeface="Roboto" panose="020B0604020202020204" charset="0"/>
                <a:ea typeface="Roboto" panose="020B0604020202020204" charset="0"/>
                <a:cs typeface="Arial"/>
                <a:sym typeface="Arial"/>
              </a:rPr>
              <a:t>Contacts</a:t>
            </a:r>
          </a:p>
          <a:p>
            <a:pPr algn="ctr" rtl="0">
              <a:defRPr/>
            </a:pPr>
            <a:endParaRPr lang="en-US" sz="1600">
              <a:solidFill>
                <a:schemeClr val="tx1"/>
              </a:solidFill>
              <a:latin typeface="Roboto" panose="020B0604020202020204" charset="0"/>
              <a:ea typeface="Roboto" panose="020B0604020202020204" charset="0"/>
              <a:cs typeface="Arial"/>
              <a:sym typeface="Arial"/>
            </a:endParaRPr>
          </a:p>
          <a:p>
            <a:pPr algn="ctr" rtl="0">
              <a:defRPr/>
            </a:pPr>
            <a:r>
              <a:rPr lang="en-US" sz="1600">
                <a:solidFill>
                  <a:schemeClr val="tx1"/>
                </a:solidFill>
                <a:latin typeface="Roboto" panose="020B0604020202020204" charset="0"/>
                <a:ea typeface="Roboto" panose="020B0604020202020204" charset="0"/>
                <a:cs typeface="Arial"/>
                <a:sym typeface="Arial"/>
              </a:rPr>
              <a:t>Kenya Investment Authority</a:t>
            </a:r>
          </a:p>
          <a:p>
            <a:pPr algn="ctr" rtl="0">
              <a:defRPr/>
            </a:pPr>
            <a:r>
              <a:rPr lang="en-US" sz="1600">
                <a:solidFill>
                  <a:schemeClr val="tx1"/>
                </a:solidFill>
                <a:latin typeface="Roboto" panose="020B0604020202020204" charset="0"/>
                <a:ea typeface="Roboto" panose="020B0604020202020204" charset="0"/>
                <a:cs typeface="Arial"/>
                <a:sym typeface="Arial"/>
              </a:rPr>
              <a:t>Old Mutual Tower, 15</a:t>
            </a:r>
            <a:r>
              <a:rPr lang="en-US" sz="1600" baseline="30000">
                <a:solidFill>
                  <a:schemeClr val="tx1"/>
                </a:solidFill>
                <a:latin typeface="Roboto" panose="020B0604020202020204" charset="0"/>
                <a:ea typeface="Roboto" panose="020B0604020202020204" charset="0"/>
                <a:cs typeface="Arial"/>
                <a:sym typeface="Arial"/>
              </a:rPr>
              <a:t>th</a:t>
            </a:r>
            <a:r>
              <a:rPr lang="en-US" sz="1600">
                <a:solidFill>
                  <a:schemeClr val="tx1"/>
                </a:solidFill>
                <a:latin typeface="Roboto" panose="020B0604020202020204" charset="0"/>
                <a:ea typeface="Roboto" panose="020B0604020202020204" charset="0"/>
                <a:cs typeface="Arial"/>
                <a:sym typeface="Arial"/>
              </a:rPr>
              <a:t> floor, Upper hill rd</a:t>
            </a:r>
          </a:p>
          <a:p>
            <a:pPr algn="ctr" rtl="0">
              <a:defRPr/>
            </a:pPr>
            <a:r>
              <a:rPr lang="en-US" sz="1600">
                <a:solidFill>
                  <a:schemeClr val="tx1"/>
                </a:solidFill>
                <a:latin typeface="Roboto" panose="020B0604020202020204" charset="0"/>
                <a:ea typeface="Roboto" panose="020B0604020202020204" charset="0"/>
                <a:cs typeface="Arial"/>
                <a:sym typeface="Arial"/>
              </a:rPr>
              <a:t>P.O. Box 55704-00200</a:t>
            </a:r>
          </a:p>
          <a:p>
            <a:pPr algn="ctr" rtl="0">
              <a:defRPr/>
            </a:pPr>
            <a:r>
              <a:rPr lang="en-US" sz="1600">
                <a:solidFill>
                  <a:schemeClr val="tx1"/>
                </a:solidFill>
                <a:latin typeface="Roboto" panose="020B0604020202020204" charset="0"/>
                <a:ea typeface="Roboto" panose="020B0604020202020204" charset="0"/>
                <a:cs typeface="Arial"/>
                <a:sym typeface="Arial"/>
              </a:rPr>
              <a:t>Nairobi.</a:t>
            </a:r>
          </a:p>
          <a:p>
            <a:pPr algn="ctr" rtl="0">
              <a:defRPr/>
            </a:pPr>
            <a:endParaRPr lang="en-US" sz="1600">
              <a:solidFill>
                <a:schemeClr val="tx1"/>
              </a:solidFill>
              <a:latin typeface="Roboto" panose="020B0604020202020204" charset="0"/>
              <a:ea typeface="Roboto" panose="020B0604020202020204" charset="0"/>
              <a:cs typeface="Arial"/>
              <a:sym typeface="Arial"/>
            </a:endParaRPr>
          </a:p>
          <a:p>
            <a:pPr algn="ctr" rtl="0">
              <a:defRPr/>
            </a:pPr>
            <a:r>
              <a:rPr lang="en-US" sz="1600">
                <a:solidFill>
                  <a:schemeClr val="tx1"/>
                </a:solidFill>
                <a:latin typeface="Roboto" panose="020B0604020202020204" charset="0"/>
                <a:ea typeface="Roboto" panose="020B0604020202020204" charset="0"/>
                <a:cs typeface="Arial"/>
                <a:sym typeface="Arial"/>
              </a:rPr>
              <a:t>Tel: +254730104200</a:t>
            </a:r>
          </a:p>
          <a:p>
            <a:pPr algn="ctr" rtl="0">
              <a:defRPr/>
            </a:pPr>
            <a:r>
              <a:rPr lang="en-US" sz="1600">
                <a:solidFill>
                  <a:schemeClr val="tx1"/>
                </a:solidFill>
                <a:latin typeface="Roboto" panose="020B0604020202020204" charset="0"/>
                <a:ea typeface="Roboto" panose="020B0604020202020204" charset="0"/>
                <a:cs typeface="Arial"/>
                <a:sym typeface="Arial"/>
              </a:rPr>
              <a:t>Email: </a:t>
            </a:r>
            <a:r>
              <a:rPr lang="en-US" sz="1600">
                <a:solidFill>
                  <a:schemeClr val="tx1"/>
                </a:solidFill>
                <a:latin typeface="Roboto" panose="020B0604020202020204" charset="0"/>
                <a:ea typeface="Roboto" panose="020B0604020202020204" charset="0"/>
                <a:cs typeface="Arial"/>
                <a:sym typeface="Arial"/>
                <a:hlinkClick r:id="rId8">
                  <a:extLst>
                    <a:ext uri="{A12FA001-AC4F-418D-AE19-62706E023703}">
                      <ahyp:hlinkClr xmlns:ahyp="http://schemas.microsoft.com/office/drawing/2018/hyperlinkcolor" val="tx"/>
                    </a:ext>
                  </a:extLst>
                </a:hlinkClick>
              </a:rPr>
              <a:t>info@invest.go.ke</a:t>
            </a:r>
            <a:endParaRPr lang="en-US" sz="1600">
              <a:solidFill>
                <a:schemeClr val="tx1"/>
              </a:solidFill>
              <a:latin typeface="Roboto" panose="020B0604020202020204" charset="0"/>
              <a:ea typeface="Roboto" panose="020B0604020202020204" charset="0"/>
              <a:cs typeface="Arial"/>
              <a:sym typeface="Arial"/>
            </a:endParaRPr>
          </a:p>
          <a:p>
            <a:pPr algn="ctr" rtl="0">
              <a:defRPr/>
            </a:pPr>
            <a:r>
              <a:rPr lang="en-US" sz="1600">
                <a:solidFill>
                  <a:schemeClr val="tx1"/>
                </a:solidFill>
                <a:latin typeface="Roboto" panose="020B0604020202020204" charset="0"/>
                <a:ea typeface="Roboto" panose="020B0604020202020204" charset="0"/>
                <a:cs typeface="Arial"/>
                <a:sym typeface="Arial"/>
              </a:rPr>
              <a:t>Website: </a:t>
            </a:r>
            <a:r>
              <a:rPr lang="en-US" sz="1600">
                <a:solidFill>
                  <a:schemeClr val="tx1"/>
                </a:solidFill>
                <a:latin typeface="Roboto" panose="020B0604020202020204" charset="0"/>
                <a:ea typeface="Roboto" panose="020B0604020202020204" charset="0"/>
                <a:cs typeface="Arial"/>
                <a:sym typeface="Arial"/>
                <a:hlinkClick r:id="rId9">
                  <a:extLst>
                    <a:ext uri="{A12FA001-AC4F-418D-AE19-62706E023703}">
                      <ahyp:hlinkClr xmlns:ahyp="http://schemas.microsoft.com/office/drawing/2018/hyperlinkcolor" val="tx"/>
                    </a:ext>
                  </a:extLst>
                </a:hlinkClick>
              </a:rPr>
              <a:t>www.invest.go.ke</a:t>
            </a:r>
            <a:endParaRPr lang="en-US" sz="1600">
              <a:solidFill>
                <a:schemeClr val="tx1"/>
              </a:solidFill>
              <a:latin typeface="Roboto" panose="020B0604020202020204" charset="0"/>
              <a:ea typeface="Roboto" panose="020B0604020202020204" charset="0"/>
              <a:cs typeface="Arial"/>
              <a:sym typeface="Arial"/>
            </a:endParaRPr>
          </a:p>
        </p:txBody>
      </p:sp>
      <p:pic>
        <p:nvPicPr>
          <p:cNvPr id="7" name="Picture 6">
            <a:extLst>
              <a:ext uri="{FF2B5EF4-FFF2-40B4-BE49-F238E27FC236}">
                <a16:creationId xmlns:a16="http://schemas.microsoft.com/office/drawing/2014/main" id="{3D431E51-2CCD-527A-54DF-1672881CA4E1}"/>
              </a:ext>
            </a:extLst>
          </p:cNvPr>
          <p:cNvPicPr>
            <a:picLocks noChangeAspect="1"/>
          </p:cNvPicPr>
          <p:nvPr userDrawn="1"/>
        </p:nvPicPr>
        <p:blipFill>
          <a:blip r:embed="rId10"/>
          <a:srcRect l="9273" t="22993" r="7724" b="41394"/>
          <a:stretch/>
        </p:blipFill>
        <p:spPr bwMode="ltGray">
          <a:xfrm>
            <a:off x="1182854" y="3324225"/>
            <a:ext cx="2876550" cy="381000"/>
          </a:xfrm>
          <a:prstGeom prst="rect">
            <a:avLst/>
          </a:prstGeom>
        </p:spPr>
      </p:pic>
      <p:grpSp>
        <p:nvGrpSpPr>
          <p:cNvPr id="17" name="Group 16">
            <a:extLst>
              <a:ext uri="{FF2B5EF4-FFF2-40B4-BE49-F238E27FC236}">
                <a16:creationId xmlns:a16="http://schemas.microsoft.com/office/drawing/2014/main" id="{562FB048-8E2B-1234-A8FD-A8CE9D084A65}"/>
              </a:ext>
            </a:extLst>
          </p:cNvPr>
          <p:cNvGrpSpPr/>
          <p:nvPr userDrawn="1"/>
        </p:nvGrpSpPr>
        <p:grpSpPr>
          <a:xfrm>
            <a:off x="7954129" y="702228"/>
            <a:ext cx="3335704" cy="997031"/>
            <a:chOff x="7954129" y="702228"/>
            <a:chExt cx="3335704" cy="997031"/>
          </a:xfrm>
        </p:grpSpPr>
        <p:pic>
          <p:nvPicPr>
            <p:cNvPr id="14" name="Picture 13">
              <a:extLst>
                <a:ext uri="{FF2B5EF4-FFF2-40B4-BE49-F238E27FC236}">
                  <a16:creationId xmlns:a16="http://schemas.microsoft.com/office/drawing/2014/main" id="{253D169A-9573-F3D1-5013-C956171AAE6B}"/>
                </a:ext>
              </a:extLst>
            </p:cNvPr>
            <p:cNvPicPr>
              <a:picLocks/>
            </p:cNvPicPr>
            <p:nvPr userDrawn="1"/>
          </p:nvPicPr>
          <p:blipFill>
            <a:blip r:embed="rId11" cstate="email">
              <a:extLst>
                <a:ext uri="{28A0092B-C50C-407E-A947-70E740481C1C}">
                  <a14:useLocalDpi xmlns:a14="http://schemas.microsoft.com/office/drawing/2010/main"/>
                </a:ext>
              </a:extLst>
            </a:blip>
            <a:stretch>
              <a:fillRect/>
            </a:stretch>
          </p:blipFill>
          <p:spPr>
            <a:xfrm>
              <a:off x="7954129" y="702228"/>
              <a:ext cx="1056488" cy="997031"/>
            </a:xfrm>
            <a:prstGeom prst="rect">
              <a:avLst/>
            </a:prstGeom>
          </p:spPr>
        </p:pic>
        <p:pic>
          <p:nvPicPr>
            <p:cNvPr id="16" name="Picture 15">
              <a:extLst>
                <a:ext uri="{FF2B5EF4-FFF2-40B4-BE49-F238E27FC236}">
                  <a16:creationId xmlns:a16="http://schemas.microsoft.com/office/drawing/2014/main" id="{F01D4687-6DC5-9CD7-3344-A478E8299C34}"/>
                </a:ext>
              </a:extLst>
            </p:cNvPr>
            <p:cNvPicPr>
              <a:picLocks/>
            </p:cNvPicPr>
            <p:nvPr userDrawn="1"/>
          </p:nvPicPr>
          <p:blipFill>
            <a:blip r:embed="rId12" cstate="email">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a:ext>
              </a:extLst>
            </a:blip>
            <a:stretch>
              <a:fillRect/>
            </a:stretch>
          </p:blipFill>
          <p:spPr>
            <a:xfrm>
              <a:off x="9263203" y="821761"/>
              <a:ext cx="2026630" cy="837682"/>
            </a:xfrm>
            <a:prstGeom prst="rect">
              <a:avLst/>
            </a:prstGeom>
          </p:spPr>
        </p:pic>
      </p:grpSp>
    </p:spTree>
    <p:extLst>
      <p:ext uri="{BB962C8B-B14F-4D97-AF65-F5344CB8AC3E}">
        <p14:creationId xmlns:p14="http://schemas.microsoft.com/office/powerpoint/2010/main" val="367790021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1462981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6BCEB60B-B0FD-D204-664A-9E901E69E2B8}"/>
              </a:ext>
            </a:extLst>
          </p:cNvPr>
          <p:cNvSpPr>
            <a:spLocks/>
          </p:cNvSpPr>
          <p:nvPr userDrawn="1"/>
        </p:nvSpPr>
        <p:spPr bwMode="ltGray">
          <a:xfrm>
            <a:off x="0" y="0"/>
            <a:ext cx="12188824" cy="6861176"/>
          </a:xfrm>
          <a:prstGeom prst="rect">
            <a:avLst/>
          </a:prstGeom>
          <a:solidFill>
            <a:srgbClr val="FCF1E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mn-lt"/>
              <a:ea typeface="+mn-ea"/>
              <a:cs typeface="+mn-cs"/>
            </a:endParaRPr>
          </a:p>
        </p:txBody>
      </p:sp>
      <p:sp>
        <p:nvSpPr>
          <p:cNvPr id="4" name="Freeform: Shape 3">
            <a:extLst>
              <a:ext uri="{FF2B5EF4-FFF2-40B4-BE49-F238E27FC236}">
                <a16:creationId xmlns:a16="http://schemas.microsoft.com/office/drawing/2014/main" id="{6E9DBC10-D98B-35D6-E740-5098DC5FF149}"/>
              </a:ext>
            </a:extLst>
          </p:cNvPr>
          <p:cNvSpPr/>
          <p:nvPr userDrawn="1"/>
        </p:nvSpPr>
        <p:spPr bwMode="ltGray">
          <a:xfrm>
            <a:off x="6212209" y="0"/>
            <a:ext cx="5979791" cy="6851648"/>
          </a:xfrm>
          <a:custGeom>
            <a:avLst/>
            <a:gdLst>
              <a:gd name="connsiteX0" fmla="*/ 1825338 w 5979791"/>
              <a:gd name="connsiteY0" fmla="*/ 0 h 6851648"/>
              <a:gd name="connsiteX1" fmla="*/ 5979791 w 5979791"/>
              <a:gd name="connsiteY1" fmla="*/ 0 h 6851648"/>
              <a:gd name="connsiteX2" fmla="*/ 5979791 w 5979791"/>
              <a:gd name="connsiteY2" fmla="*/ 6815648 h 6851648"/>
              <a:gd name="connsiteX3" fmla="*/ 5920533 w 5979791"/>
              <a:gd name="connsiteY3" fmla="*/ 6851648 h 6851648"/>
              <a:gd name="connsiteX4" fmla="*/ 2066485 w 5979791"/>
              <a:gd name="connsiteY4" fmla="*/ 6851648 h 6851648"/>
              <a:gd name="connsiteX5" fmla="*/ 1923036 w 5979791"/>
              <a:gd name="connsiteY5" fmla="*/ 6769167 h 6851648"/>
              <a:gd name="connsiteX6" fmla="*/ 0 w 5979791"/>
              <a:gd name="connsiteY6" fmla="*/ 3353267 h 6851648"/>
              <a:gd name="connsiteX7" fmla="*/ 1760981 w 5979791"/>
              <a:gd name="connsiteY7" fmla="*/ 41259 h 6851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79791" h="6851648">
                <a:moveTo>
                  <a:pt x="1825338" y="0"/>
                </a:moveTo>
                <a:lnTo>
                  <a:pt x="5979791" y="0"/>
                </a:lnTo>
                <a:lnTo>
                  <a:pt x="5979791" y="6815648"/>
                </a:lnTo>
                <a:lnTo>
                  <a:pt x="5920533" y="6851648"/>
                </a:lnTo>
                <a:lnTo>
                  <a:pt x="2066485" y="6851648"/>
                </a:lnTo>
                <a:lnTo>
                  <a:pt x="1923036" y="6769167"/>
                </a:lnTo>
                <a:cubicBezTo>
                  <a:pt x="770131" y="6068645"/>
                  <a:pt x="0" y="4800893"/>
                  <a:pt x="0" y="3353267"/>
                </a:cubicBezTo>
                <a:cubicBezTo>
                  <a:pt x="0" y="1974576"/>
                  <a:pt x="698532" y="759035"/>
                  <a:pt x="1760981" y="41259"/>
                </a:cubicBez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mn-lt"/>
              <a:ea typeface="+mn-ea"/>
              <a:cs typeface="+mn-cs"/>
            </a:endParaRPr>
          </a:p>
        </p:txBody>
      </p:sp>
      <p:sp>
        <p:nvSpPr>
          <p:cNvPr id="5" name="Rectangle 4">
            <a:extLst>
              <a:ext uri="{FF2B5EF4-FFF2-40B4-BE49-F238E27FC236}">
                <a16:creationId xmlns:a16="http://schemas.microsoft.com/office/drawing/2014/main" id="{B8D2A823-15FC-E268-46B8-D6736EEE4A81}"/>
              </a:ext>
            </a:extLst>
          </p:cNvPr>
          <p:cNvSpPr/>
          <p:nvPr userDrawn="1"/>
        </p:nvSpPr>
        <p:spPr bwMode="ltGray">
          <a:xfrm>
            <a:off x="-1" y="6725920"/>
            <a:ext cx="12195179" cy="13208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mn-lt"/>
              <a:ea typeface="+mn-ea"/>
              <a:cs typeface="+mn-cs"/>
            </a:endParaRPr>
          </a:p>
        </p:txBody>
      </p:sp>
      <p:sp>
        <p:nvSpPr>
          <p:cNvPr id="6" name="Title 4">
            <a:extLst>
              <a:ext uri="{FF2B5EF4-FFF2-40B4-BE49-F238E27FC236}">
                <a16:creationId xmlns:a16="http://schemas.microsoft.com/office/drawing/2014/main" id="{91EE0A1B-0933-7743-550F-8F9E5EA81BE2}"/>
              </a:ext>
            </a:extLst>
          </p:cNvPr>
          <p:cNvSpPr txBox="1">
            <a:spLocks/>
          </p:cNvSpPr>
          <p:nvPr userDrawn="1">
            <p:custDataLst>
              <p:tags r:id="rId2"/>
            </p:custDataLst>
          </p:nvPr>
        </p:nvSpPr>
        <p:spPr bwMode="ltGray">
          <a:xfrm>
            <a:off x="7161016" y="1288934"/>
            <a:ext cx="3936975" cy="2314095"/>
          </a:xfrm>
          <a:prstGeom prst="rect">
            <a:avLst/>
          </a:prstGeom>
          <a:noFill/>
          <a:ln/>
          <a:extLst>
            <a:ext uri="{909E8E84-426E-40DD-AFC4-6F175D3DCCD1}">
              <a14:hiddenFill xmlns:a14="http://schemas.microsoft.com/office/drawing/2010/main">
                <a:solidFill>
                  <a:srgbClr val="FFFFFF"/>
                </a:solidFill>
              </a14:hiddenFill>
            </a:ext>
          </a:extLst>
        </p:spPr>
        <p:txBody>
          <a:bodyPr vert="horz" wrap="none" lIns="0" tIns="0" rIns="0" bIns="0" rtlCol="0" anchor="ctr" anchorCtr="0">
            <a:spAutoFit/>
          </a:bodyPr>
          <a:lstStyle>
            <a:lvl1pPr algn="l" defTabSz="914400" rtl="0" eaLnBrk="1" latinLnBrk="0" hangingPunct="1">
              <a:lnSpc>
                <a:spcPct val="100000"/>
              </a:lnSpc>
              <a:spcBef>
                <a:spcPct val="0"/>
              </a:spcBef>
              <a:buNone/>
              <a:defRPr lang="en-US" sz="2500" b="1" kern="1200" spc="0" baseline="0">
                <a:ln w="6350" cap="flat">
                  <a:noFill/>
                  <a:miter lim="800000"/>
                </a:ln>
                <a:solidFill>
                  <a:schemeClr val="accent2"/>
                </a:solidFill>
                <a:latin typeface="+mj-lt"/>
                <a:ea typeface="+mj-ea"/>
                <a:cs typeface="+mj-cs"/>
              </a:defRPr>
            </a:lvl1pPr>
          </a:lstStyle>
          <a:p>
            <a:pPr algn="ctr" rtl="0">
              <a:lnSpc>
                <a:spcPct val="120000"/>
              </a:lnSpc>
              <a:spcBef>
                <a:spcPts val="400"/>
              </a:spcBef>
              <a:spcAft>
                <a:spcPts val="400"/>
              </a:spcAft>
              <a:buClr>
                <a:schemeClr val="tx2"/>
              </a:buClr>
            </a:pPr>
            <a:r>
              <a:rPr lang="en-US" sz="13800" b="0">
                <a:solidFill>
                  <a:schemeClr val="accent2"/>
                </a:solidFill>
                <a:latin typeface="+mn-lt"/>
                <a:ea typeface="+mn-ea"/>
                <a:cs typeface="+mn-cs"/>
              </a:rPr>
              <a:t>2025</a:t>
            </a:r>
          </a:p>
        </p:txBody>
      </p:sp>
      <p:pic>
        <p:nvPicPr>
          <p:cNvPr id="8" name="Picture 7">
            <a:extLst>
              <a:ext uri="{FF2B5EF4-FFF2-40B4-BE49-F238E27FC236}">
                <a16:creationId xmlns:a16="http://schemas.microsoft.com/office/drawing/2014/main" id="{F5A71A5F-A7FD-61D6-E3CA-DC996BA99C10}"/>
              </a:ext>
            </a:extLst>
          </p:cNvPr>
          <p:cNvPicPr>
            <a:picLocks/>
          </p:cNvPicPr>
          <p:nvPr userDrawn="1"/>
        </p:nvPicPr>
        <p:blipFill>
          <a:blip r:embed="rId10" cstate="screen">
            <a:extLst>
              <a:ext uri="{28A0092B-C50C-407E-A947-70E740481C1C}">
                <a14:useLocalDpi xmlns:a14="http://schemas.microsoft.com/office/drawing/2010/main"/>
              </a:ext>
            </a:extLst>
          </a:blip>
          <a:srcRect b="-78"/>
          <a:stretch/>
        </p:blipFill>
        <p:spPr bwMode="ltGray">
          <a:xfrm>
            <a:off x="3373120" y="2772453"/>
            <a:ext cx="8818880" cy="4096343"/>
          </a:xfrm>
          <a:custGeom>
            <a:avLst/>
            <a:gdLst>
              <a:gd name="connsiteX0" fmla="*/ 0 w 8818880"/>
              <a:gd name="connsiteY0" fmla="*/ 0 h 4093167"/>
              <a:gd name="connsiteX1" fmla="*/ 8818880 w 8818880"/>
              <a:gd name="connsiteY1" fmla="*/ 0 h 4093167"/>
              <a:gd name="connsiteX2" fmla="*/ 8818880 w 8818880"/>
              <a:gd name="connsiteY2" fmla="*/ 4089991 h 4093167"/>
              <a:gd name="connsiteX3" fmla="*/ 2603493 w 8818880"/>
              <a:gd name="connsiteY3" fmla="*/ 4089991 h 4093167"/>
              <a:gd name="connsiteX4" fmla="*/ 2603493 w 8818880"/>
              <a:gd name="connsiteY4" fmla="*/ 4093167 h 4093167"/>
              <a:gd name="connsiteX5" fmla="*/ 0 w 8818880"/>
              <a:gd name="connsiteY5" fmla="*/ 4093167 h 4093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18880" h="4093167">
                <a:moveTo>
                  <a:pt x="0" y="0"/>
                </a:moveTo>
                <a:lnTo>
                  <a:pt x="8818880" y="0"/>
                </a:lnTo>
                <a:lnTo>
                  <a:pt x="8818880" y="4089991"/>
                </a:lnTo>
                <a:lnTo>
                  <a:pt x="2603493" y="4089991"/>
                </a:lnTo>
                <a:lnTo>
                  <a:pt x="2603493" y="4093167"/>
                </a:lnTo>
                <a:lnTo>
                  <a:pt x="0" y="4093167"/>
                </a:lnTo>
                <a:close/>
              </a:path>
            </a:pathLst>
          </a:custGeom>
        </p:spPr>
      </p:pic>
      <p:pic>
        <p:nvPicPr>
          <p:cNvPr id="9" name="Picture 8">
            <a:extLst>
              <a:ext uri="{FF2B5EF4-FFF2-40B4-BE49-F238E27FC236}">
                <a16:creationId xmlns:a16="http://schemas.microsoft.com/office/drawing/2014/main" id="{92A3E772-3A58-4225-515E-4262AE38E0A8}"/>
              </a:ext>
            </a:extLst>
          </p:cNvPr>
          <p:cNvPicPr>
            <a:picLocks noChangeAspect="1"/>
          </p:cNvPicPr>
          <p:nvPr userDrawn="1"/>
        </p:nvPicPr>
        <p:blipFill>
          <a:blip r:embed="rId11"/>
          <a:stretch>
            <a:fillRect/>
          </a:stretch>
        </p:blipFill>
        <p:spPr>
          <a:xfrm>
            <a:off x="466433" y="5859918"/>
            <a:ext cx="2035108" cy="717838"/>
          </a:xfrm>
          <a:prstGeom prst="rect">
            <a:avLst/>
          </a:prstGeom>
        </p:spPr>
      </p:pic>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a:xfrm>
            <a:off x="551338" y="4675755"/>
            <a:ext cx="5099922"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1400" dirty="0"/>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a:xfrm>
            <a:off x="551338" y="4001652"/>
            <a:ext cx="5099922"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2000" dirty="0"/>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6"/>
            </p:custDataLst>
          </p:nvPr>
        </p:nvSpPr>
        <p:spPr>
          <a:xfrm>
            <a:off x="551338" y="2392324"/>
            <a:ext cx="5099922"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rmAutofit/>
          </a:bodyPr>
          <a:lstStyle>
            <a:lvl1pPr rtl="0">
              <a:defRPr lang="en-US" sz="4400" dirty="0"/>
            </a:lvl1pPr>
          </a:lstStyle>
          <a:p>
            <a:pPr lvl="0"/>
            <a:r>
              <a:rPr lang="en-US"/>
              <a:t>Click to edit Master title style</a:t>
            </a:r>
          </a:p>
        </p:txBody>
      </p:sp>
      <p:pic>
        <p:nvPicPr>
          <p:cNvPr id="11" name="Picture 10">
            <a:extLst>
              <a:ext uri="{FF2B5EF4-FFF2-40B4-BE49-F238E27FC236}">
                <a16:creationId xmlns:a16="http://schemas.microsoft.com/office/drawing/2014/main" id="{ADAE3A4B-77B2-C57D-BAB2-0126F9E2B62D}"/>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9793986" y="0"/>
            <a:ext cx="2186940" cy="1311910"/>
          </a:xfrm>
          <a:prstGeom prst="rect">
            <a:avLst/>
          </a:prstGeom>
        </p:spPr>
      </p:pic>
    </p:spTree>
    <p:extLst>
      <p:ext uri="{BB962C8B-B14F-4D97-AF65-F5344CB8AC3E}">
        <p14:creationId xmlns:p14="http://schemas.microsoft.com/office/powerpoint/2010/main" val="146257395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6225196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5" y="637721"/>
            <a:ext cx="10330434"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b="0" baseline="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1908209"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800" b="0" dirty="0">
                <a:cs typeface="+mn-cs"/>
              </a:defRPr>
            </a:lvl1pPr>
          </a:lstStyle>
          <a:p>
            <a:pPr lvl="0">
              <a:buNone/>
            </a:pPr>
            <a:r>
              <a:rPr lang="en-US"/>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172212"/>
            <a:ext cx="10330434"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dirty="0">
                <a:solidFill>
                  <a:schemeClr val="accent1"/>
                </a:solidFill>
              </a:defRPr>
            </a:lvl1pPr>
          </a:lstStyle>
          <a:p>
            <a:pPr lvl="0"/>
            <a:r>
              <a:rPr lang="en-US"/>
              <a:t>Click to edit Master title style</a:t>
            </a:r>
          </a:p>
        </p:txBody>
      </p:sp>
    </p:spTree>
    <p:extLst>
      <p:ext uri="{BB962C8B-B14F-4D97-AF65-F5344CB8AC3E}">
        <p14:creationId xmlns:p14="http://schemas.microsoft.com/office/powerpoint/2010/main" val="418123614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line + Subtitle">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1172932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bwMode="gray">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9" name="Sticker" hidden="1">
            <a:extLst>
              <a:ext uri="{FF2B5EF4-FFF2-40B4-BE49-F238E27FC236}">
                <a16:creationId xmlns:a16="http://schemas.microsoft.com/office/drawing/2014/main" id="{64F3132B-1605-45D5-B06F-B703D774997D}"/>
              </a:ext>
            </a:extLst>
          </p:cNvPr>
          <p:cNvSpPr txBox="1"/>
          <p:nvPr userDrawn="1"/>
        </p:nvSpPr>
        <p:spPr bwMode="gray">
          <a:xfrm>
            <a:off x="558489" y="1401800"/>
            <a:ext cx="450444" cy="123111"/>
          </a:xfrm>
          <a:prstGeom prst="rect">
            <a:avLst/>
          </a:prstGeom>
          <a:noFill/>
          <a:ln w="6350">
            <a:noFill/>
            <a:miter lim="800000"/>
          </a:ln>
        </p:spPr>
        <p:txBody>
          <a:bodyPr vert="horz" wrap="none" lIns="0" tIns="0" rIns="0" bIns="0" rtlCol="0">
            <a:spAutoFit/>
          </a:bodyPr>
          <a:lstStyle/>
          <a:p>
            <a:pPr algn="l" rtl="0">
              <a:spcBef>
                <a:spcPts val="300"/>
              </a:spcBef>
              <a:spcAft>
                <a:spcPts val="300"/>
              </a:spcAft>
              <a:buNone/>
            </a:pPr>
            <a:r>
              <a:rPr lang="en-US" sz="800" b="1" cap="all" baseline="0"/>
              <a:t>STICKER</a:t>
            </a:r>
          </a:p>
        </p:txBody>
      </p:sp>
      <p:sp>
        <p:nvSpPr>
          <p:cNvPr id="14" name="3. Subtitle">
            <a:extLst>
              <a:ext uri="{FF2B5EF4-FFF2-40B4-BE49-F238E27FC236}">
                <a16:creationId xmlns:a16="http://schemas.microsoft.com/office/drawing/2014/main" id="{D4D36123-678D-4B6C-A648-186F85BE34AE}"/>
              </a:ext>
            </a:extLst>
          </p:cNvPr>
          <p:cNvSpPr>
            <a:spLocks noGrp="1"/>
          </p:cNvSpPr>
          <p:nvPr userDrawn="1">
            <p:ph type="subTitle" idx="1"/>
            <p:custDataLst>
              <p:tags r:id="rId3"/>
            </p:custDataLst>
          </p:nvPr>
        </p:nvSpPr>
        <p:spPr bwMode="gray">
          <a:xfrm>
            <a:off x="554736" y="1022441"/>
            <a:ext cx="10330434" cy="246221"/>
          </a:xfrm>
          <a:prstGeom prst="rect">
            <a:avLst/>
          </a:prstGeom>
        </p:spPr>
        <p:txBody>
          <a:bodyPr wrap="square">
            <a:no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gray">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bwMode="gray">
          <a:xfrm>
            <a:off x="1908209"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userDrawn="1">
            <p:ph type="body" sz="quarter" idx="10" hasCustomPrompt="1"/>
            <p:custDataLst>
              <p:tags r:id="rId6"/>
            </p:custDataLst>
          </p:nvPr>
        </p:nvSpPr>
        <p:spPr bwMode="gray">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userDrawn="1">
            <p:ph type="title" hasCustomPrompt="1"/>
            <p:custDataLst>
              <p:tags r:id="rId7"/>
            </p:custDataLst>
          </p:nvPr>
        </p:nvSpPr>
        <p:spPr bwMode="gray">
          <a:xfrm>
            <a:off x="554736" y="172212"/>
            <a:ext cx="10330434" cy="769441"/>
          </a:xfrm>
          <a:prstGeom prst="rect">
            <a:avLst/>
          </a:prstGeom>
        </p:spPr>
        <p:txBody>
          <a:bodyPr vert="horz" wrap="square" lIns="0" tIns="0" rIns="0" bIns="0" rtlCol="0" anchor="t" anchorCtr="0">
            <a:noAutofit/>
          </a:bodyPr>
          <a:lstStyle>
            <a:lvl1pPr rtl="0">
              <a:defRPr/>
            </a:lvl1pPr>
          </a:lstStyle>
          <a:p>
            <a:r>
              <a:rPr lang="en-US"/>
              <a:t>Click to edit Master title style</a:t>
            </a:r>
            <a:br>
              <a:rPr lang="en-US"/>
            </a:br>
            <a:endParaRPr lang="en-US"/>
          </a:p>
        </p:txBody>
      </p:sp>
    </p:spTree>
    <p:extLst>
      <p:ext uri="{BB962C8B-B14F-4D97-AF65-F5344CB8AC3E}">
        <p14:creationId xmlns:p14="http://schemas.microsoft.com/office/powerpoint/2010/main" val="50253646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664773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408557"/>
            <a:ext cx="3813048" cy="769441"/>
          </a:xfrm>
          <a:prstGeom prst="rect">
            <a:avLst/>
          </a:prstGeom>
        </p:spPr>
        <p:txBody>
          <a:bodyPr vert="horz" anchor="t">
            <a:noAutofit/>
          </a:bodyPr>
          <a:lstStyle>
            <a:lvl1pPr rtl="0">
              <a:lnSpc>
                <a:spcPct val="100000"/>
              </a:lnSpc>
              <a:defRPr>
                <a:ln w="6350" cap="flat">
                  <a:noFill/>
                  <a:miter lim="800000"/>
                </a:ln>
              </a:defRPr>
            </a:lvl1pPr>
          </a:lstStyle>
          <a:p>
            <a:r>
              <a:rPr lang="en-US"/>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1908209"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57637819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8916445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1908209"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356935080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1975489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1338" y="3130988"/>
            <a:ext cx="4357692" cy="2031325"/>
          </a:xfrm>
        </p:spPr>
        <p:txBody>
          <a:bodyPr vert="horz" wrap="square" anchor="b">
            <a:spAutoFit/>
          </a:bodyPr>
          <a:lstStyle>
            <a:lvl1pPr rtl="0">
              <a:lnSpc>
                <a:spcPct val="100000"/>
              </a:lnSpc>
              <a:defRPr sz="4400"/>
            </a:lvl1pPr>
          </a:lstStyle>
          <a:p>
            <a:r>
              <a:rPr lang="en-US"/>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1908209"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117332861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16354872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nchor="b">
            <a:spAutoFit/>
          </a:bodyPr>
          <a:lstStyle>
            <a:lvl1pPr rtl="0">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1908209"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13563067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36723545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FFE7E7"/>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6"/>
            </p:custDataLst>
          </p:nvPr>
        </p:nvSpPr>
        <p:spPr>
          <a:xfrm>
            <a:off x="1908209"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7"/>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BD1E8CEA-59CA-420E-955C-4C9FBA24773C}"/>
              </a:ext>
            </a:extLst>
          </p:cNvPr>
          <p:cNvSpPr>
            <a:spLocks noGrp="1"/>
          </p:cNvSpPr>
          <p:nvPr>
            <p:ph type="title"/>
            <p:custDataLst>
              <p:tags r:id="rId8"/>
            </p:custDataLst>
          </p:nvPr>
        </p:nvSpPr>
        <p:spPr>
          <a:xfrm>
            <a:off x="554736" y="2744369"/>
            <a:ext cx="2514600" cy="769441"/>
          </a:xfrm>
          <a:prstGeom prst="rect">
            <a:avLst/>
          </a:prstGeom>
        </p:spPr>
        <p:txBody>
          <a:bodyPr vert="horz" wrap="square" lIns="0" tIns="0" rIns="0" bIns="0" rtlCol="0" anchor="b" anchorCtr="0">
            <a:noAutofit/>
          </a:bodyPr>
          <a:lstStyle>
            <a:lvl1pPr rtl="0">
              <a:defRPr/>
            </a:lvl1pPr>
          </a:lstStyle>
          <a:p>
            <a:pPr lvl="0"/>
            <a:r>
              <a:rPr lang="en-US"/>
              <a:t>Click to edit Master title style</a:t>
            </a:r>
          </a:p>
        </p:txBody>
      </p:sp>
      <p:pic>
        <p:nvPicPr>
          <p:cNvPr id="2" name="Picture 1">
            <a:extLst>
              <a:ext uri="{FF2B5EF4-FFF2-40B4-BE49-F238E27FC236}">
                <a16:creationId xmlns:a16="http://schemas.microsoft.com/office/drawing/2014/main" id="{55DBE03B-6664-86DA-9DC8-C3DBB1508AC6}"/>
              </a:ext>
            </a:extLst>
          </p:cNvPr>
          <p:cNvPicPr>
            <a:picLocks noChangeAspect="1"/>
          </p:cNvPicPr>
          <p:nvPr userDrawn="1"/>
        </p:nvPicPr>
        <p:blipFill>
          <a:blip r:embed="rId12"/>
          <a:stretch>
            <a:fillRect/>
          </a:stretch>
        </p:blipFill>
        <p:spPr>
          <a:xfrm>
            <a:off x="489965" y="6244882"/>
            <a:ext cx="1217587" cy="429476"/>
          </a:xfrm>
          <a:prstGeom prst="rect">
            <a:avLst/>
          </a:prstGeom>
        </p:spPr>
      </p:pic>
      <p:pic>
        <p:nvPicPr>
          <p:cNvPr id="5" name="Picture 4">
            <a:extLst>
              <a:ext uri="{FF2B5EF4-FFF2-40B4-BE49-F238E27FC236}">
                <a16:creationId xmlns:a16="http://schemas.microsoft.com/office/drawing/2014/main" id="{059F5204-EBC2-AB9E-2733-5FF29CFCA9F6}"/>
              </a:ext>
            </a:extLst>
          </p:cNvPr>
          <p:cNvPicPr>
            <a:picLocks noChangeAspect="1"/>
          </p:cNvPicPr>
          <p:nvPr userDrawn="1"/>
        </p:nvPicPr>
        <p:blipFill>
          <a:blip r:embed="rId13" cstate="print">
            <a:extLst>
              <a:ext uri="{28A0092B-C50C-407E-A947-70E740481C1C}">
                <a14:useLocalDpi xmlns:a14="http://schemas.microsoft.com/office/drawing/2010/main" val="0"/>
              </a:ext>
            </a:extLst>
          </a:blip>
          <a:srcRect l="16119" t="18456" r="15825" b="24005"/>
          <a:stretch/>
        </p:blipFill>
        <p:spPr>
          <a:xfrm>
            <a:off x="10925108" y="183978"/>
            <a:ext cx="712156" cy="361189"/>
          </a:xfrm>
          <a:prstGeom prst="rect">
            <a:avLst/>
          </a:prstGeom>
        </p:spPr>
      </p:pic>
    </p:spTree>
    <p:extLst>
      <p:ext uri="{BB962C8B-B14F-4D97-AF65-F5344CB8AC3E}">
        <p14:creationId xmlns:p14="http://schemas.microsoft.com/office/powerpoint/2010/main" val="29336117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41962187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408557"/>
            <a:ext cx="3813048" cy="769441"/>
          </a:xfrm>
          <a:prstGeom prst="rect">
            <a:avLst/>
          </a:prstGeom>
        </p:spPr>
        <p:txBody>
          <a:bodyPr vert="horz" anchor="t">
            <a:noAutofit/>
          </a:bodyPr>
          <a:lstStyle>
            <a:lvl1pPr rtl="0">
              <a:lnSpc>
                <a:spcPct val="100000"/>
              </a:lnSpc>
              <a:defRPr>
                <a:ln w="6350" cap="flat">
                  <a:noFill/>
                  <a:miter lim="800000"/>
                </a:ln>
              </a:defRPr>
            </a:lvl1pPr>
          </a:lstStyle>
          <a:p>
            <a:r>
              <a:rPr lang="en-US"/>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385249868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727639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FFE7E7"/>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6"/>
            </p:custDataLst>
          </p:nvPr>
        </p:nvSpPr>
        <p:spPr>
          <a:xfrm>
            <a:off x="1908209"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554735" y="41597"/>
            <a:ext cx="3465577"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B064DA18-FA54-43C0-B981-F306F40179F4}"/>
              </a:ext>
            </a:extLst>
          </p:cNvPr>
          <p:cNvSpPr>
            <a:spLocks noGrp="1"/>
          </p:cNvSpPr>
          <p:nvPr>
            <p:ph type="title"/>
            <p:custDataLst>
              <p:tags r:id="rId8"/>
            </p:custDataLst>
          </p:nvPr>
        </p:nvSpPr>
        <p:spPr>
          <a:xfrm>
            <a:off x="554736" y="2744369"/>
            <a:ext cx="3465574" cy="769441"/>
          </a:xfrm>
          <a:prstGeom prst="rect">
            <a:avLst/>
          </a:prstGeom>
        </p:spPr>
        <p:txBody>
          <a:bodyPr vert="horz" wrap="square" lIns="0" tIns="0" rIns="0" bIns="0" rtlCol="0" anchor="b" anchorCtr="0">
            <a:noAutofit/>
          </a:bodyPr>
          <a:lstStyle>
            <a:lvl1pPr rtl="0">
              <a:defRPr/>
            </a:lvl1pPr>
          </a:lstStyle>
          <a:p>
            <a:pPr lvl="0"/>
            <a:r>
              <a:rPr lang="en-US"/>
              <a:t>Click to edit Master title style</a:t>
            </a:r>
          </a:p>
        </p:txBody>
      </p:sp>
      <p:pic>
        <p:nvPicPr>
          <p:cNvPr id="2" name="Picture 1">
            <a:extLst>
              <a:ext uri="{FF2B5EF4-FFF2-40B4-BE49-F238E27FC236}">
                <a16:creationId xmlns:a16="http://schemas.microsoft.com/office/drawing/2014/main" id="{5348A5FF-C6CB-08DA-5446-FC10631C31E7}"/>
              </a:ext>
            </a:extLst>
          </p:cNvPr>
          <p:cNvPicPr>
            <a:picLocks noChangeAspect="1"/>
          </p:cNvPicPr>
          <p:nvPr userDrawn="1"/>
        </p:nvPicPr>
        <p:blipFill>
          <a:blip r:embed="rId12"/>
          <a:stretch>
            <a:fillRect/>
          </a:stretch>
        </p:blipFill>
        <p:spPr>
          <a:xfrm>
            <a:off x="489965" y="6244882"/>
            <a:ext cx="1217587" cy="429476"/>
          </a:xfrm>
          <a:prstGeom prst="rect">
            <a:avLst/>
          </a:prstGeom>
        </p:spPr>
      </p:pic>
      <p:pic>
        <p:nvPicPr>
          <p:cNvPr id="5" name="Picture 4">
            <a:extLst>
              <a:ext uri="{FF2B5EF4-FFF2-40B4-BE49-F238E27FC236}">
                <a16:creationId xmlns:a16="http://schemas.microsoft.com/office/drawing/2014/main" id="{00E69554-D35F-3097-AF35-30A9E9DE0778}"/>
              </a:ext>
            </a:extLst>
          </p:cNvPr>
          <p:cNvPicPr>
            <a:picLocks noChangeAspect="1"/>
          </p:cNvPicPr>
          <p:nvPr userDrawn="1"/>
        </p:nvPicPr>
        <p:blipFill>
          <a:blip r:embed="rId13" cstate="print">
            <a:extLst>
              <a:ext uri="{28A0092B-C50C-407E-A947-70E740481C1C}">
                <a14:useLocalDpi xmlns:a14="http://schemas.microsoft.com/office/drawing/2010/main" val="0"/>
              </a:ext>
            </a:extLst>
          </a:blip>
          <a:srcRect l="16119" t="18456" r="15825" b="24005"/>
          <a:stretch/>
        </p:blipFill>
        <p:spPr>
          <a:xfrm>
            <a:off x="10925108" y="183978"/>
            <a:ext cx="712156" cy="361189"/>
          </a:xfrm>
          <a:prstGeom prst="rect">
            <a:avLst/>
          </a:prstGeom>
        </p:spPr>
      </p:pic>
    </p:spTree>
    <p:extLst>
      <p:ext uri="{BB962C8B-B14F-4D97-AF65-F5344CB8AC3E}">
        <p14:creationId xmlns:p14="http://schemas.microsoft.com/office/powerpoint/2010/main" val="22401982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952034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FFE7E7"/>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384721"/>
          </a:xfrm>
        </p:spPr>
        <p:txBody>
          <a:bodyPr vert="horz">
            <a:spAutoFit/>
          </a:bodyPr>
          <a:lstStyle>
            <a:lvl1pPr rtl="0">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5" y="637721"/>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1908209"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2" name="Picture 1">
            <a:extLst>
              <a:ext uri="{FF2B5EF4-FFF2-40B4-BE49-F238E27FC236}">
                <a16:creationId xmlns:a16="http://schemas.microsoft.com/office/drawing/2014/main" id="{CB9F7475-EB0E-518B-3898-2ECD30C958D6}"/>
              </a:ext>
            </a:extLst>
          </p:cNvPr>
          <p:cNvPicPr>
            <a:picLocks noChangeAspect="1"/>
          </p:cNvPicPr>
          <p:nvPr userDrawn="1"/>
        </p:nvPicPr>
        <p:blipFill>
          <a:blip r:embed="rId12"/>
          <a:stretch>
            <a:fillRect/>
          </a:stretch>
        </p:blipFill>
        <p:spPr>
          <a:xfrm>
            <a:off x="489965" y="6244882"/>
            <a:ext cx="1217587" cy="429476"/>
          </a:xfrm>
          <a:prstGeom prst="rect">
            <a:avLst/>
          </a:prstGeom>
        </p:spPr>
      </p:pic>
      <p:pic>
        <p:nvPicPr>
          <p:cNvPr id="5" name="Picture 4">
            <a:extLst>
              <a:ext uri="{FF2B5EF4-FFF2-40B4-BE49-F238E27FC236}">
                <a16:creationId xmlns:a16="http://schemas.microsoft.com/office/drawing/2014/main" id="{B8121F30-72BC-FFC6-35D1-7296959BC025}"/>
              </a:ext>
            </a:extLst>
          </p:cNvPr>
          <p:cNvPicPr>
            <a:picLocks noChangeAspect="1"/>
          </p:cNvPicPr>
          <p:nvPr userDrawn="1"/>
        </p:nvPicPr>
        <p:blipFill>
          <a:blip r:embed="rId13" cstate="print">
            <a:extLst>
              <a:ext uri="{28A0092B-C50C-407E-A947-70E740481C1C}">
                <a14:useLocalDpi xmlns:a14="http://schemas.microsoft.com/office/drawing/2010/main" val="0"/>
              </a:ext>
            </a:extLst>
          </a:blip>
          <a:srcRect l="16119" t="18456" r="15825" b="24005"/>
          <a:stretch/>
        </p:blipFill>
        <p:spPr>
          <a:xfrm>
            <a:off x="10925108" y="183978"/>
            <a:ext cx="712156" cy="361189"/>
          </a:xfrm>
          <a:prstGeom prst="rect">
            <a:avLst/>
          </a:prstGeom>
        </p:spPr>
      </p:pic>
    </p:spTree>
    <p:extLst>
      <p:ext uri="{BB962C8B-B14F-4D97-AF65-F5344CB8AC3E}">
        <p14:creationId xmlns:p14="http://schemas.microsoft.com/office/powerpoint/2010/main" val="188668403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17574243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72212"/>
            <a:ext cx="6967728" cy="384721"/>
          </a:xfrm>
        </p:spPr>
        <p:txBody>
          <a:bodyPr vert="horz">
            <a:spAutoFit/>
          </a:bodyPr>
          <a:lstStyle>
            <a:lvl1pPr rtl="0">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FFE7E7"/>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5" y="637721"/>
            <a:ext cx="69677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1908209"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2" name="Picture 1">
            <a:extLst>
              <a:ext uri="{FF2B5EF4-FFF2-40B4-BE49-F238E27FC236}">
                <a16:creationId xmlns:a16="http://schemas.microsoft.com/office/drawing/2014/main" id="{C25CD383-3C28-B9D9-4394-8BAAC10526FB}"/>
              </a:ext>
            </a:extLst>
          </p:cNvPr>
          <p:cNvPicPr>
            <a:picLocks noChangeAspect="1"/>
          </p:cNvPicPr>
          <p:nvPr userDrawn="1"/>
        </p:nvPicPr>
        <p:blipFill>
          <a:blip r:embed="rId12"/>
          <a:stretch>
            <a:fillRect/>
          </a:stretch>
        </p:blipFill>
        <p:spPr>
          <a:xfrm>
            <a:off x="489965" y="6244882"/>
            <a:ext cx="1217587" cy="429476"/>
          </a:xfrm>
          <a:prstGeom prst="rect">
            <a:avLst/>
          </a:prstGeom>
        </p:spPr>
      </p:pic>
      <p:pic>
        <p:nvPicPr>
          <p:cNvPr id="5" name="Picture 4">
            <a:extLst>
              <a:ext uri="{FF2B5EF4-FFF2-40B4-BE49-F238E27FC236}">
                <a16:creationId xmlns:a16="http://schemas.microsoft.com/office/drawing/2014/main" id="{0B7E250D-393F-1562-50EA-49DC0258C54D}"/>
              </a:ext>
            </a:extLst>
          </p:cNvPr>
          <p:cNvPicPr>
            <a:picLocks noChangeAspect="1"/>
          </p:cNvPicPr>
          <p:nvPr userDrawn="1"/>
        </p:nvPicPr>
        <p:blipFill>
          <a:blip r:embed="rId13" cstate="print">
            <a:extLst>
              <a:ext uri="{28A0092B-C50C-407E-A947-70E740481C1C}">
                <a14:useLocalDpi xmlns:a14="http://schemas.microsoft.com/office/drawing/2010/main" val="0"/>
              </a:ext>
            </a:extLst>
          </a:blip>
          <a:srcRect l="16119" t="18456" r="15825" b="24005"/>
          <a:stretch/>
        </p:blipFill>
        <p:spPr>
          <a:xfrm>
            <a:off x="10925108" y="183978"/>
            <a:ext cx="712156" cy="361189"/>
          </a:xfrm>
          <a:prstGeom prst="rect">
            <a:avLst/>
          </a:prstGeom>
        </p:spPr>
      </p:pic>
    </p:spTree>
    <p:extLst>
      <p:ext uri="{BB962C8B-B14F-4D97-AF65-F5344CB8AC3E}">
        <p14:creationId xmlns:p14="http://schemas.microsoft.com/office/powerpoint/2010/main" val="239781753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7665036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FFE7E7"/>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384721"/>
          </a:xfrm>
        </p:spPr>
        <p:txBody>
          <a:bodyPr vert="horz">
            <a:spAutoFit/>
          </a:bodyPr>
          <a:lstStyle>
            <a:lvl1pPr rtl="0">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5" y="637721"/>
            <a:ext cx="7918704" cy="246221"/>
          </a:xfrm>
          <a:prstGeom prst="rect">
            <a:avLst/>
          </a:prstGeom>
        </p:spPr>
        <p:txBody>
          <a:bodyPr wrap="square">
            <a:spAutoFit/>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1908209"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2" name="Picture 1">
            <a:extLst>
              <a:ext uri="{FF2B5EF4-FFF2-40B4-BE49-F238E27FC236}">
                <a16:creationId xmlns:a16="http://schemas.microsoft.com/office/drawing/2014/main" id="{DA74E018-C406-27D4-A17E-CF33BEFA7215}"/>
              </a:ext>
            </a:extLst>
          </p:cNvPr>
          <p:cNvPicPr>
            <a:picLocks noChangeAspect="1"/>
          </p:cNvPicPr>
          <p:nvPr userDrawn="1"/>
        </p:nvPicPr>
        <p:blipFill>
          <a:blip r:embed="rId12"/>
          <a:stretch>
            <a:fillRect/>
          </a:stretch>
        </p:blipFill>
        <p:spPr>
          <a:xfrm>
            <a:off x="489965" y="6244882"/>
            <a:ext cx="1217587" cy="429476"/>
          </a:xfrm>
          <a:prstGeom prst="rect">
            <a:avLst/>
          </a:prstGeom>
        </p:spPr>
      </p:pic>
      <p:pic>
        <p:nvPicPr>
          <p:cNvPr id="5" name="Picture 4">
            <a:extLst>
              <a:ext uri="{FF2B5EF4-FFF2-40B4-BE49-F238E27FC236}">
                <a16:creationId xmlns:a16="http://schemas.microsoft.com/office/drawing/2014/main" id="{267AF96E-823D-7699-B880-3609F02B0F5D}"/>
              </a:ext>
            </a:extLst>
          </p:cNvPr>
          <p:cNvPicPr>
            <a:picLocks noChangeAspect="1"/>
          </p:cNvPicPr>
          <p:nvPr userDrawn="1"/>
        </p:nvPicPr>
        <p:blipFill>
          <a:blip r:embed="rId13" cstate="print">
            <a:extLst>
              <a:ext uri="{28A0092B-C50C-407E-A947-70E740481C1C}">
                <a14:useLocalDpi xmlns:a14="http://schemas.microsoft.com/office/drawing/2010/main" val="0"/>
              </a:ext>
            </a:extLst>
          </a:blip>
          <a:srcRect l="16119" t="18456" r="15825" b="24005"/>
          <a:stretch/>
        </p:blipFill>
        <p:spPr>
          <a:xfrm>
            <a:off x="10925108" y="183978"/>
            <a:ext cx="712156" cy="361189"/>
          </a:xfrm>
          <a:prstGeom prst="rect">
            <a:avLst/>
          </a:prstGeom>
        </p:spPr>
      </p:pic>
    </p:spTree>
    <p:extLst>
      <p:ext uri="{BB962C8B-B14F-4D97-AF65-F5344CB8AC3E}">
        <p14:creationId xmlns:p14="http://schemas.microsoft.com/office/powerpoint/2010/main" val="86395929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22477761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hasCustomPrompt="1"/>
            <p:custDataLst>
              <p:tags r:id="rId4"/>
            </p:custDataLst>
          </p:nvPr>
        </p:nvSpPr>
        <p:spPr>
          <a:xfrm>
            <a:off x="554736" y="172212"/>
            <a:ext cx="10330434" cy="1154162"/>
          </a:xfrm>
        </p:spPr>
        <p:txBody>
          <a:bodyPr vert="horz">
            <a:spAutoFit/>
          </a:bodyPr>
          <a:lstStyle>
            <a:lvl1pPr rtl="0">
              <a:defRPr/>
            </a:lvl1pPr>
          </a:lstStyle>
          <a:p>
            <a:r>
              <a:rPr lang="en-US"/>
              <a:t>Click to edit Master title style</a:t>
            </a:r>
            <a:br>
              <a:rPr lang="en-US"/>
            </a:br>
            <a:br>
              <a:rPr lang="en-US"/>
            </a:br>
            <a:endParaRPr lang="en-US"/>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1908209"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9" name="Sticker" hidden="1">
            <a:extLst>
              <a:ext uri="{FF2B5EF4-FFF2-40B4-BE49-F238E27FC236}">
                <a16:creationId xmlns:a16="http://schemas.microsoft.com/office/drawing/2014/main" id="{2B5F1846-DB86-4338-8AFA-F2C1B534B900}"/>
              </a:ext>
            </a:extLst>
          </p:cNvPr>
          <p:cNvSpPr txBox="1"/>
          <p:nvPr userDrawn="1"/>
        </p:nvSpPr>
        <p:spPr>
          <a:xfrm>
            <a:off x="558489" y="1401800"/>
            <a:ext cx="450444" cy="123111"/>
          </a:xfrm>
          <a:prstGeom prst="rect">
            <a:avLst/>
          </a:prstGeom>
          <a:noFill/>
          <a:ln w="6350">
            <a:noFill/>
            <a:miter lim="800000"/>
          </a:ln>
        </p:spPr>
        <p:txBody>
          <a:bodyPr vert="horz" wrap="none" lIns="0" tIns="0" rIns="0" bIns="0" rtlCol="0">
            <a:spAutoFit/>
          </a:bodyPr>
          <a:lstStyle/>
          <a:p>
            <a:pPr algn="l" rtl="0">
              <a:spcBef>
                <a:spcPts val="300"/>
              </a:spcBef>
              <a:spcAft>
                <a:spcPts val="300"/>
              </a:spcAft>
              <a:buNone/>
            </a:pPr>
            <a:r>
              <a:rPr lang="en-US" sz="800" b="1" cap="all" baseline="0"/>
              <a:t>STICKER</a:t>
            </a:r>
          </a:p>
        </p:txBody>
      </p:sp>
      <p:pic>
        <p:nvPicPr>
          <p:cNvPr id="5" name="Picture 4">
            <a:extLst>
              <a:ext uri="{FF2B5EF4-FFF2-40B4-BE49-F238E27FC236}">
                <a16:creationId xmlns:a16="http://schemas.microsoft.com/office/drawing/2014/main" id="{36F78CCF-7269-5438-C6C6-52CF6488C9F2}"/>
              </a:ext>
            </a:extLst>
          </p:cNvPr>
          <p:cNvPicPr>
            <a:picLocks noChangeAspect="1"/>
          </p:cNvPicPr>
          <p:nvPr userDrawn="1"/>
        </p:nvPicPr>
        <p:blipFill>
          <a:blip r:embed="rId10"/>
          <a:stretch>
            <a:fillRect/>
          </a:stretch>
        </p:blipFill>
        <p:spPr>
          <a:xfrm>
            <a:off x="489965" y="6244882"/>
            <a:ext cx="1217587" cy="429476"/>
          </a:xfrm>
          <a:prstGeom prst="rect">
            <a:avLst/>
          </a:prstGeom>
        </p:spPr>
      </p:pic>
      <p:pic>
        <p:nvPicPr>
          <p:cNvPr id="6" name="Picture 5">
            <a:extLst>
              <a:ext uri="{FF2B5EF4-FFF2-40B4-BE49-F238E27FC236}">
                <a16:creationId xmlns:a16="http://schemas.microsoft.com/office/drawing/2014/main" id="{CCB3EDE2-EB38-D88D-0192-378B7BE0C070}"/>
              </a:ext>
            </a:extLst>
          </p:cNvPr>
          <p:cNvPicPr>
            <a:picLocks noChangeAspect="1"/>
          </p:cNvPicPr>
          <p:nvPr userDrawn="1"/>
        </p:nvPicPr>
        <p:blipFill>
          <a:blip r:embed="rId11" cstate="print">
            <a:extLst>
              <a:ext uri="{28A0092B-C50C-407E-A947-70E740481C1C}">
                <a14:useLocalDpi xmlns:a14="http://schemas.microsoft.com/office/drawing/2010/main" val="0"/>
              </a:ext>
            </a:extLst>
          </a:blip>
          <a:srcRect l="16119" t="18456" r="15825" b="24005"/>
          <a:stretch/>
        </p:blipFill>
        <p:spPr>
          <a:xfrm>
            <a:off x="10925108" y="183978"/>
            <a:ext cx="712156" cy="361189"/>
          </a:xfrm>
          <a:prstGeom prst="rect">
            <a:avLst/>
          </a:prstGeom>
        </p:spPr>
      </p:pic>
    </p:spTree>
    <p:extLst>
      <p:ext uri="{BB962C8B-B14F-4D97-AF65-F5344CB8AC3E}">
        <p14:creationId xmlns:p14="http://schemas.microsoft.com/office/powerpoint/2010/main" val="176211126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40555520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1908209"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3" name="Picture 2">
            <a:extLst>
              <a:ext uri="{FF2B5EF4-FFF2-40B4-BE49-F238E27FC236}">
                <a16:creationId xmlns:a16="http://schemas.microsoft.com/office/drawing/2014/main" id="{4729C113-EA69-DF7B-F781-8155715172E1}"/>
              </a:ext>
            </a:extLst>
          </p:cNvPr>
          <p:cNvPicPr>
            <a:picLocks noChangeAspect="1"/>
          </p:cNvPicPr>
          <p:nvPr userDrawn="1"/>
        </p:nvPicPr>
        <p:blipFill>
          <a:blip r:embed="rId8"/>
          <a:stretch>
            <a:fillRect/>
          </a:stretch>
        </p:blipFill>
        <p:spPr>
          <a:xfrm>
            <a:off x="489965" y="6244882"/>
            <a:ext cx="1217587" cy="429476"/>
          </a:xfrm>
          <a:prstGeom prst="rect">
            <a:avLst/>
          </a:prstGeom>
        </p:spPr>
      </p:pic>
      <p:pic>
        <p:nvPicPr>
          <p:cNvPr id="4" name="Picture 3">
            <a:extLst>
              <a:ext uri="{FF2B5EF4-FFF2-40B4-BE49-F238E27FC236}">
                <a16:creationId xmlns:a16="http://schemas.microsoft.com/office/drawing/2014/main" id="{9E734159-F3F3-7F8D-8914-E654ABA063F6}"/>
              </a:ext>
            </a:extLst>
          </p:cNvPr>
          <p:cNvPicPr>
            <a:picLocks noChangeAspect="1"/>
          </p:cNvPicPr>
          <p:nvPr userDrawn="1"/>
        </p:nvPicPr>
        <p:blipFill>
          <a:blip r:embed="rId9" cstate="print">
            <a:extLst>
              <a:ext uri="{28A0092B-C50C-407E-A947-70E740481C1C}">
                <a14:useLocalDpi xmlns:a14="http://schemas.microsoft.com/office/drawing/2010/main" val="0"/>
              </a:ext>
            </a:extLst>
          </a:blip>
          <a:srcRect l="16119" t="18456" r="15825" b="24005"/>
          <a:stretch/>
        </p:blipFill>
        <p:spPr>
          <a:xfrm>
            <a:off x="10925108" y="183978"/>
            <a:ext cx="712156" cy="361189"/>
          </a:xfrm>
          <a:prstGeom prst="rect">
            <a:avLst/>
          </a:prstGeom>
        </p:spPr>
      </p:pic>
    </p:spTree>
    <p:extLst>
      <p:ext uri="{BB962C8B-B14F-4D97-AF65-F5344CB8AC3E}">
        <p14:creationId xmlns:p14="http://schemas.microsoft.com/office/powerpoint/2010/main" val="416717454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5909514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592" imgH="591" progId="TCLayout.ActiveDocument.1">
                  <p:embed/>
                </p:oleObj>
              </mc:Choice>
              <mc:Fallback>
                <p:oleObj name="think-cell Slide" r:id="rId13"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206367F0-6E4A-BD97-B65C-592691B5A637}"/>
              </a:ext>
            </a:extLst>
          </p:cNvPr>
          <p:cNvSpPr/>
          <p:nvPr userDrawn="1"/>
        </p:nvSpPr>
        <p:spPr>
          <a:xfrm>
            <a:off x="2769651" y="4861117"/>
            <a:ext cx="5185050" cy="1569660"/>
          </a:xfrm>
          <a:prstGeom prst="rect">
            <a:avLst/>
          </a:prstGeom>
        </p:spPr>
        <p:txBody>
          <a:bodyPr wrap="square">
            <a:spAutoFit/>
          </a:bodyPr>
          <a:lstStyle/>
          <a:p>
            <a:pPr algn="ctr" rtl="0">
              <a:defRPr/>
            </a:pPr>
            <a:r>
              <a:rPr lang="en-US" sz="1600" b="1">
                <a:solidFill>
                  <a:prstClr val="black"/>
                </a:solidFill>
                <a:latin typeface="+mn-lt"/>
                <a:ea typeface="+mn-ea"/>
                <a:cs typeface="+mn-cs"/>
                <a:sym typeface="Arial"/>
              </a:rPr>
              <a:t>Kenya Investment Authority</a:t>
            </a:r>
          </a:p>
          <a:p>
            <a:pPr algn="ctr" rtl="0">
              <a:defRPr/>
            </a:pPr>
            <a:r>
              <a:rPr lang="en-US" sz="1600">
                <a:solidFill>
                  <a:prstClr val="black"/>
                </a:solidFill>
                <a:latin typeface="+mn-lt"/>
                <a:ea typeface="+mn-ea"/>
                <a:cs typeface="+mn-cs"/>
                <a:sym typeface="Arial"/>
              </a:rPr>
              <a:t>15</a:t>
            </a:r>
            <a:r>
              <a:rPr lang="en-US" sz="1600" baseline="30000">
                <a:solidFill>
                  <a:prstClr val="black"/>
                </a:solidFill>
                <a:latin typeface="+mn-lt"/>
                <a:ea typeface="+mn-ea"/>
                <a:cs typeface="+mn-cs"/>
                <a:sym typeface="Arial"/>
              </a:rPr>
              <a:t>th</a:t>
            </a:r>
            <a:r>
              <a:rPr lang="en-US" sz="1600">
                <a:solidFill>
                  <a:prstClr val="black"/>
                </a:solidFill>
                <a:latin typeface="+mn-lt"/>
                <a:ea typeface="+mn-ea"/>
                <a:cs typeface="+mn-cs"/>
                <a:sym typeface="Arial"/>
              </a:rPr>
              <a:t> floor, Old Mutual Tower, Upper Hill Road</a:t>
            </a:r>
            <a:br>
              <a:rPr lang="en-US" sz="1600">
                <a:solidFill>
                  <a:prstClr val="black"/>
                </a:solidFill>
                <a:latin typeface="+mn-lt"/>
                <a:ea typeface="+mn-ea"/>
                <a:cs typeface="+mn-cs"/>
                <a:sym typeface="Arial"/>
              </a:rPr>
            </a:br>
            <a:r>
              <a:rPr lang="en-US" sz="1600">
                <a:solidFill>
                  <a:prstClr val="black"/>
                </a:solidFill>
                <a:latin typeface="+mn-lt"/>
                <a:ea typeface="+mn-ea"/>
                <a:cs typeface="+mn-cs"/>
                <a:sym typeface="Arial"/>
              </a:rPr>
              <a:t>P.O. Box 55704-00200, Nairobi</a:t>
            </a:r>
          </a:p>
          <a:p>
            <a:pPr algn="ctr" rtl="0">
              <a:defRPr/>
            </a:pPr>
            <a:endParaRPr lang="en-US" sz="1600">
              <a:solidFill>
                <a:prstClr val="black"/>
              </a:solidFill>
              <a:latin typeface="+mn-lt"/>
              <a:ea typeface="+mn-ea"/>
              <a:cs typeface="+mn-cs"/>
              <a:sym typeface="Arial"/>
            </a:endParaRPr>
          </a:p>
          <a:p>
            <a:pPr algn="ctr" rtl="0">
              <a:defRPr/>
            </a:pPr>
            <a:r>
              <a:rPr lang="en-US" sz="1600">
                <a:solidFill>
                  <a:prstClr val="black"/>
                </a:solidFill>
                <a:latin typeface="+mn-lt"/>
                <a:ea typeface="+mn-ea"/>
                <a:cs typeface="+mn-cs"/>
                <a:sym typeface="Arial"/>
              </a:rPr>
              <a:t>Telephone: +254 (0) 730 104 200</a:t>
            </a:r>
          </a:p>
          <a:p>
            <a:pPr algn="ctr" rtl="0">
              <a:defRPr/>
            </a:pPr>
            <a:r>
              <a:rPr lang="en-US" sz="1600">
                <a:solidFill>
                  <a:prstClr val="black"/>
                </a:solidFill>
                <a:latin typeface="+mn-lt"/>
                <a:ea typeface="+mn-ea"/>
                <a:cs typeface="+mn-cs"/>
                <a:sym typeface="Arial"/>
              </a:rPr>
              <a:t>Email: </a:t>
            </a:r>
            <a:r>
              <a:rPr lang="en-US" sz="1600" b="1">
                <a:solidFill>
                  <a:schemeClr val="tx1">
                    <a:lumMod val="65000"/>
                    <a:lumOff val="35000"/>
                  </a:schemeClr>
                </a:solidFill>
                <a:latin typeface="+mn-lt"/>
                <a:ea typeface="+mn-ea"/>
                <a:cs typeface="+mn-cs"/>
                <a:sym typeface="Arial"/>
                <a:hlinkClick r:id="rId15">
                  <a:extLst>
                    <a:ext uri="{A12FA001-AC4F-418D-AE19-62706E023703}">
                      <ahyp:hlinkClr xmlns:ahyp="http://schemas.microsoft.com/office/drawing/2018/hyperlinkcolor" val="tx"/>
                    </a:ext>
                  </a:extLst>
                </a:hlinkClick>
              </a:rPr>
              <a:t>info@investkenya.go.ke</a:t>
            </a:r>
            <a:endParaRPr lang="en-US" sz="1600" b="1">
              <a:solidFill>
                <a:schemeClr val="tx1">
                  <a:lumMod val="65000"/>
                  <a:lumOff val="35000"/>
                </a:schemeClr>
              </a:solidFill>
              <a:latin typeface="+mn-lt"/>
              <a:ea typeface="+mn-ea"/>
              <a:cs typeface="+mn-cs"/>
              <a:sym typeface="Arial"/>
            </a:endParaRPr>
          </a:p>
        </p:txBody>
      </p:sp>
      <p:pic>
        <p:nvPicPr>
          <p:cNvPr id="9" name="Picture 8">
            <a:extLst>
              <a:ext uri="{FF2B5EF4-FFF2-40B4-BE49-F238E27FC236}">
                <a16:creationId xmlns:a16="http://schemas.microsoft.com/office/drawing/2014/main" id="{EC1A0A4A-9AF4-E392-1653-3D16BBB77986}"/>
              </a:ext>
            </a:extLst>
          </p:cNvPr>
          <p:cNvPicPr>
            <a:picLocks noChangeAspect="1"/>
          </p:cNvPicPr>
          <p:nvPr userDrawn="1"/>
        </p:nvPicPr>
        <p:blipFill>
          <a:blip r:embed="rId16"/>
          <a:stretch>
            <a:fillRect/>
          </a:stretch>
        </p:blipFill>
        <p:spPr>
          <a:xfrm>
            <a:off x="629423" y="5603120"/>
            <a:ext cx="2407110" cy="849054"/>
          </a:xfrm>
          <a:prstGeom prst="rect">
            <a:avLst/>
          </a:prstGeom>
        </p:spPr>
      </p:pic>
      <p:pic>
        <p:nvPicPr>
          <p:cNvPr id="10" name="Picture 9">
            <a:extLst>
              <a:ext uri="{FF2B5EF4-FFF2-40B4-BE49-F238E27FC236}">
                <a16:creationId xmlns:a16="http://schemas.microsoft.com/office/drawing/2014/main" id="{F406B956-6FF2-4636-CCDA-01FA09A9BF81}"/>
              </a:ext>
            </a:extLst>
          </p:cNvPr>
          <p:cNvPicPr>
            <a:picLocks noChangeAspect="1"/>
          </p:cNvPicPr>
          <p:nvPr userDrawn="1"/>
        </p:nvPicPr>
        <p:blipFill>
          <a:blip r:embed="rId17" cstate="print">
            <a:extLst>
              <a:ext uri="{28A0092B-C50C-407E-A947-70E740481C1C}">
                <a14:useLocalDpi xmlns:a14="http://schemas.microsoft.com/office/drawing/2010/main" val="0"/>
              </a:ext>
            </a:extLst>
          </a:blip>
          <a:srcRect l="16032"/>
          <a:stretch/>
        </p:blipFill>
        <p:spPr>
          <a:xfrm>
            <a:off x="10139804" y="157471"/>
            <a:ext cx="1836332" cy="1311910"/>
          </a:xfrm>
          <a:prstGeom prst="rect">
            <a:avLst/>
          </a:prstGeom>
        </p:spPr>
      </p:pic>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1908209"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39" name="Rectangle: Rounded Corners 693">
            <a:extLst>
              <a:ext uri="{FF2B5EF4-FFF2-40B4-BE49-F238E27FC236}">
                <a16:creationId xmlns:a16="http://schemas.microsoft.com/office/drawing/2014/main" id="{A79569C1-7CC6-5C30-42E1-3AFFFD9D4667}"/>
              </a:ext>
            </a:extLst>
          </p:cNvPr>
          <p:cNvSpPr>
            <a:spLocks/>
          </p:cNvSpPr>
          <p:nvPr userDrawn="1"/>
        </p:nvSpPr>
        <p:spPr>
          <a:xfrm flipH="1">
            <a:off x="576381" y="1441740"/>
            <a:ext cx="11039237" cy="2983917"/>
          </a:xfrm>
          <a:custGeom>
            <a:avLst/>
            <a:gdLst>
              <a:gd name="connsiteX0" fmla="*/ 0 w 10920413"/>
              <a:gd name="connsiteY0" fmla="*/ 94610 h 2453575"/>
              <a:gd name="connsiteX1" fmla="*/ 94610 w 10920413"/>
              <a:gd name="connsiteY1" fmla="*/ 0 h 2453575"/>
              <a:gd name="connsiteX2" fmla="*/ 10825803 w 10920413"/>
              <a:gd name="connsiteY2" fmla="*/ 0 h 2453575"/>
              <a:gd name="connsiteX3" fmla="*/ 10920413 w 10920413"/>
              <a:gd name="connsiteY3" fmla="*/ 94610 h 2453575"/>
              <a:gd name="connsiteX4" fmla="*/ 10920413 w 10920413"/>
              <a:gd name="connsiteY4" fmla="*/ 2358965 h 2453575"/>
              <a:gd name="connsiteX5" fmla="*/ 10825803 w 10920413"/>
              <a:gd name="connsiteY5" fmla="*/ 2453575 h 2453575"/>
              <a:gd name="connsiteX6" fmla="*/ 94610 w 10920413"/>
              <a:gd name="connsiteY6" fmla="*/ 2453575 h 2453575"/>
              <a:gd name="connsiteX7" fmla="*/ 0 w 10920413"/>
              <a:gd name="connsiteY7" fmla="*/ 2358965 h 2453575"/>
              <a:gd name="connsiteX8" fmla="*/ 0 w 10920413"/>
              <a:gd name="connsiteY8" fmla="*/ 94610 h 2453575"/>
              <a:gd name="connsiteX0" fmla="*/ 10920413 w 11011853"/>
              <a:gd name="connsiteY0" fmla="*/ 94610 h 2453575"/>
              <a:gd name="connsiteX1" fmla="*/ 10920413 w 11011853"/>
              <a:gd name="connsiteY1" fmla="*/ 2358965 h 2453575"/>
              <a:gd name="connsiteX2" fmla="*/ 10825803 w 11011853"/>
              <a:gd name="connsiteY2" fmla="*/ 2453575 h 2453575"/>
              <a:gd name="connsiteX3" fmla="*/ 94610 w 11011853"/>
              <a:gd name="connsiteY3" fmla="*/ 2453575 h 2453575"/>
              <a:gd name="connsiteX4" fmla="*/ 0 w 11011853"/>
              <a:gd name="connsiteY4" fmla="*/ 2358965 h 2453575"/>
              <a:gd name="connsiteX5" fmla="*/ 0 w 11011853"/>
              <a:gd name="connsiteY5" fmla="*/ 94610 h 2453575"/>
              <a:gd name="connsiteX6" fmla="*/ 94610 w 11011853"/>
              <a:gd name="connsiteY6" fmla="*/ 0 h 2453575"/>
              <a:gd name="connsiteX7" fmla="*/ 10825803 w 11011853"/>
              <a:gd name="connsiteY7" fmla="*/ 0 h 2453575"/>
              <a:gd name="connsiteX8" fmla="*/ 11011853 w 11011853"/>
              <a:gd name="connsiteY8" fmla="*/ 186050 h 2453575"/>
              <a:gd name="connsiteX0" fmla="*/ 10920413 w 10920413"/>
              <a:gd name="connsiteY0" fmla="*/ 94610 h 2453575"/>
              <a:gd name="connsiteX1" fmla="*/ 10920413 w 10920413"/>
              <a:gd name="connsiteY1" fmla="*/ 2358965 h 2453575"/>
              <a:gd name="connsiteX2" fmla="*/ 10825803 w 10920413"/>
              <a:gd name="connsiteY2" fmla="*/ 2453575 h 2453575"/>
              <a:gd name="connsiteX3" fmla="*/ 94610 w 10920413"/>
              <a:gd name="connsiteY3" fmla="*/ 2453575 h 2453575"/>
              <a:gd name="connsiteX4" fmla="*/ 0 w 10920413"/>
              <a:gd name="connsiteY4" fmla="*/ 2358965 h 2453575"/>
              <a:gd name="connsiteX5" fmla="*/ 0 w 10920413"/>
              <a:gd name="connsiteY5" fmla="*/ 94610 h 2453575"/>
              <a:gd name="connsiteX6" fmla="*/ 94610 w 10920413"/>
              <a:gd name="connsiteY6" fmla="*/ 0 h 2453575"/>
              <a:gd name="connsiteX7" fmla="*/ 10825803 w 10920413"/>
              <a:gd name="connsiteY7" fmla="*/ 0 h 2453575"/>
              <a:gd name="connsiteX0" fmla="*/ 10920413 w 10920413"/>
              <a:gd name="connsiteY0" fmla="*/ 104135 h 2463100"/>
              <a:gd name="connsiteX1" fmla="*/ 10920413 w 10920413"/>
              <a:gd name="connsiteY1" fmla="*/ 2368490 h 2463100"/>
              <a:gd name="connsiteX2" fmla="*/ 10825803 w 10920413"/>
              <a:gd name="connsiteY2" fmla="*/ 2463100 h 2463100"/>
              <a:gd name="connsiteX3" fmla="*/ 94610 w 10920413"/>
              <a:gd name="connsiteY3" fmla="*/ 2463100 h 2463100"/>
              <a:gd name="connsiteX4" fmla="*/ 0 w 10920413"/>
              <a:gd name="connsiteY4" fmla="*/ 2368490 h 2463100"/>
              <a:gd name="connsiteX5" fmla="*/ 0 w 10920413"/>
              <a:gd name="connsiteY5" fmla="*/ 104135 h 2463100"/>
              <a:gd name="connsiteX6" fmla="*/ 94610 w 10920413"/>
              <a:gd name="connsiteY6" fmla="*/ 9525 h 2463100"/>
              <a:gd name="connsiteX7" fmla="*/ 10225728 w 10920413"/>
              <a:gd name="connsiteY7" fmla="*/ 0 h 2463100"/>
              <a:gd name="connsiteX0" fmla="*/ 10929938 w 10929938"/>
              <a:gd name="connsiteY0" fmla="*/ 408935 h 2463100"/>
              <a:gd name="connsiteX1" fmla="*/ 10920413 w 10929938"/>
              <a:gd name="connsiteY1" fmla="*/ 2368490 h 2463100"/>
              <a:gd name="connsiteX2" fmla="*/ 10825803 w 10929938"/>
              <a:gd name="connsiteY2" fmla="*/ 2463100 h 2463100"/>
              <a:gd name="connsiteX3" fmla="*/ 94610 w 10929938"/>
              <a:gd name="connsiteY3" fmla="*/ 2463100 h 2463100"/>
              <a:gd name="connsiteX4" fmla="*/ 0 w 10929938"/>
              <a:gd name="connsiteY4" fmla="*/ 2368490 h 2463100"/>
              <a:gd name="connsiteX5" fmla="*/ 0 w 10929938"/>
              <a:gd name="connsiteY5" fmla="*/ 104135 h 2463100"/>
              <a:gd name="connsiteX6" fmla="*/ 94610 w 10929938"/>
              <a:gd name="connsiteY6" fmla="*/ 9525 h 2463100"/>
              <a:gd name="connsiteX7" fmla="*/ 10225728 w 10929938"/>
              <a:gd name="connsiteY7" fmla="*/ 0 h 2463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29938" h="2463100">
                <a:moveTo>
                  <a:pt x="10929938" y="408935"/>
                </a:moveTo>
                <a:lnTo>
                  <a:pt x="10920413" y="2368490"/>
                </a:lnTo>
                <a:cubicBezTo>
                  <a:pt x="10920413" y="2420742"/>
                  <a:pt x="10878055" y="2463100"/>
                  <a:pt x="10825803" y="2463100"/>
                </a:cubicBezTo>
                <a:lnTo>
                  <a:pt x="94610" y="2463100"/>
                </a:lnTo>
                <a:cubicBezTo>
                  <a:pt x="42358" y="2463100"/>
                  <a:pt x="0" y="2420742"/>
                  <a:pt x="0" y="2368490"/>
                </a:cubicBezTo>
                <a:lnTo>
                  <a:pt x="0" y="104135"/>
                </a:lnTo>
                <a:cubicBezTo>
                  <a:pt x="0" y="51883"/>
                  <a:pt x="42358" y="9525"/>
                  <a:pt x="94610" y="9525"/>
                </a:cubicBezTo>
                <a:lnTo>
                  <a:pt x="10225728" y="0"/>
                </a:lnTo>
              </a:path>
            </a:pathLst>
          </a:custGeom>
          <a:solidFill>
            <a:schemeClr val="accent2">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US" sz="1600">
              <a:solidFill>
                <a:schemeClr val="bg1"/>
              </a:solidFill>
            </a:endParaRPr>
          </a:p>
        </p:txBody>
      </p:sp>
      <p:sp>
        <p:nvSpPr>
          <p:cNvPr id="40" name="Rectangle: Rounded Corners 39">
            <a:extLst>
              <a:ext uri="{FF2B5EF4-FFF2-40B4-BE49-F238E27FC236}">
                <a16:creationId xmlns:a16="http://schemas.microsoft.com/office/drawing/2014/main" id="{BBD80A84-0762-6392-C865-291AA9FD0D5E}"/>
              </a:ext>
            </a:extLst>
          </p:cNvPr>
          <p:cNvSpPr>
            <a:spLocks/>
          </p:cNvSpPr>
          <p:nvPr userDrawn="1"/>
        </p:nvSpPr>
        <p:spPr>
          <a:xfrm flipH="1">
            <a:off x="586002" y="1453279"/>
            <a:ext cx="11029617" cy="2972378"/>
          </a:xfrm>
          <a:prstGeom prst="roundRect">
            <a:avLst/>
          </a:prstGeom>
          <a:solidFill>
            <a:schemeClr val="accent2">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US" sz="1600">
              <a:solidFill>
                <a:schemeClr val="bg1"/>
              </a:solidFill>
            </a:endParaRPr>
          </a:p>
        </p:txBody>
      </p:sp>
      <p:grpSp>
        <p:nvGrpSpPr>
          <p:cNvPr id="41" name="Group 40">
            <a:extLst>
              <a:ext uri="{FF2B5EF4-FFF2-40B4-BE49-F238E27FC236}">
                <a16:creationId xmlns:a16="http://schemas.microsoft.com/office/drawing/2014/main" id="{670CA7B0-01E0-5076-C4D3-133E17FBB67F}"/>
              </a:ext>
            </a:extLst>
          </p:cNvPr>
          <p:cNvGrpSpPr/>
          <p:nvPr userDrawn="1"/>
        </p:nvGrpSpPr>
        <p:grpSpPr>
          <a:xfrm>
            <a:off x="7936488" y="2077222"/>
            <a:ext cx="3697346" cy="3701592"/>
            <a:chOff x="7936488" y="2108658"/>
            <a:chExt cx="3697346" cy="3701592"/>
          </a:xfrm>
          <a:solidFill>
            <a:schemeClr val="accent1"/>
          </a:solidFill>
        </p:grpSpPr>
        <p:sp>
          <p:nvSpPr>
            <p:cNvPr id="42" name="Rectangle: Rounded Corners 703">
              <a:extLst>
                <a:ext uri="{FF2B5EF4-FFF2-40B4-BE49-F238E27FC236}">
                  <a16:creationId xmlns:a16="http://schemas.microsoft.com/office/drawing/2014/main" id="{C1CDBF8F-03FD-141D-CAD0-AB6D79301FFB}"/>
                </a:ext>
              </a:extLst>
            </p:cNvPr>
            <p:cNvSpPr>
              <a:spLocks/>
            </p:cNvSpPr>
            <p:nvPr/>
          </p:nvSpPr>
          <p:spPr>
            <a:xfrm flipH="1">
              <a:off x="7936488" y="2108658"/>
              <a:ext cx="3697346" cy="3701592"/>
            </a:xfrm>
            <a:custGeom>
              <a:avLst/>
              <a:gdLst>
                <a:gd name="connsiteX0" fmla="*/ 0 w 3697346"/>
                <a:gd name="connsiteY0" fmla="*/ 216184 h 3701592"/>
                <a:gd name="connsiteX1" fmla="*/ 216184 w 3697346"/>
                <a:gd name="connsiteY1" fmla="*/ 0 h 3701592"/>
                <a:gd name="connsiteX2" fmla="*/ 3481162 w 3697346"/>
                <a:gd name="connsiteY2" fmla="*/ 0 h 3701592"/>
                <a:gd name="connsiteX3" fmla="*/ 3697346 w 3697346"/>
                <a:gd name="connsiteY3" fmla="*/ 216184 h 3701592"/>
                <a:gd name="connsiteX4" fmla="*/ 3697346 w 3697346"/>
                <a:gd name="connsiteY4" fmla="*/ 3485408 h 3701592"/>
                <a:gd name="connsiteX5" fmla="*/ 3481162 w 3697346"/>
                <a:gd name="connsiteY5" fmla="*/ 3701592 h 3701592"/>
                <a:gd name="connsiteX6" fmla="*/ 216184 w 3697346"/>
                <a:gd name="connsiteY6" fmla="*/ 3701592 h 3701592"/>
                <a:gd name="connsiteX7" fmla="*/ 0 w 3697346"/>
                <a:gd name="connsiteY7" fmla="*/ 3485408 h 3701592"/>
                <a:gd name="connsiteX8" fmla="*/ 0 w 3697346"/>
                <a:gd name="connsiteY8" fmla="*/ 216184 h 3701592"/>
                <a:gd name="connsiteX0" fmla="*/ 216184 w 3697346"/>
                <a:gd name="connsiteY0" fmla="*/ 0 h 3701592"/>
                <a:gd name="connsiteX1" fmla="*/ 3481162 w 3697346"/>
                <a:gd name="connsiteY1" fmla="*/ 0 h 3701592"/>
                <a:gd name="connsiteX2" fmla="*/ 3697346 w 3697346"/>
                <a:gd name="connsiteY2" fmla="*/ 216184 h 3701592"/>
                <a:gd name="connsiteX3" fmla="*/ 3697346 w 3697346"/>
                <a:gd name="connsiteY3" fmla="*/ 3485408 h 3701592"/>
                <a:gd name="connsiteX4" fmla="*/ 3481162 w 3697346"/>
                <a:gd name="connsiteY4" fmla="*/ 3701592 h 3701592"/>
                <a:gd name="connsiteX5" fmla="*/ 216184 w 3697346"/>
                <a:gd name="connsiteY5" fmla="*/ 3701592 h 3701592"/>
                <a:gd name="connsiteX6" fmla="*/ 0 w 3697346"/>
                <a:gd name="connsiteY6" fmla="*/ 3485408 h 3701592"/>
                <a:gd name="connsiteX7" fmla="*/ 0 w 3697346"/>
                <a:gd name="connsiteY7" fmla="*/ 216184 h 3701592"/>
                <a:gd name="connsiteX8" fmla="*/ 307624 w 3697346"/>
                <a:gd name="connsiteY8" fmla="*/ 91440 h 3701592"/>
                <a:gd name="connsiteX0" fmla="*/ 216184 w 3697346"/>
                <a:gd name="connsiteY0" fmla="*/ 0 h 3701592"/>
                <a:gd name="connsiteX1" fmla="*/ 3481162 w 3697346"/>
                <a:gd name="connsiteY1" fmla="*/ 0 h 3701592"/>
                <a:gd name="connsiteX2" fmla="*/ 3697346 w 3697346"/>
                <a:gd name="connsiteY2" fmla="*/ 216184 h 3701592"/>
                <a:gd name="connsiteX3" fmla="*/ 3697346 w 3697346"/>
                <a:gd name="connsiteY3" fmla="*/ 3485408 h 3701592"/>
                <a:gd name="connsiteX4" fmla="*/ 3481162 w 3697346"/>
                <a:gd name="connsiteY4" fmla="*/ 3701592 h 3701592"/>
                <a:gd name="connsiteX5" fmla="*/ 216184 w 3697346"/>
                <a:gd name="connsiteY5" fmla="*/ 3701592 h 3701592"/>
                <a:gd name="connsiteX6" fmla="*/ 0 w 3697346"/>
                <a:gd name="connsiteY6" fmla="*/ 3485408 h 3701592"/>
                <a:gd name="connsiteX7" fmla="*/ 0 w 3697346"/>
                <a:gd name="connsiteY7" fmla="*/ 216184 h 3701592"/>
                <a:gd name="connsiteX0" fmla="*/ 530509 w 3697346"/>
                <a:gd name="connsiteY0" fmla="*/ 9525 h 3701592"/>
                <a:gd name="connsiteX1" fmla="*/ 3481162 w 3697346"/>
                <a:gd name="connsiteY1" fmla="*/ 0 h 3701592"/>
                <a:gd name="connsiteX2" fmla="*/ 3697346 w 3697346"/>
                <a:gd name="connsiteY2" fmla="*/ 216184 h 3701592"/>
                <a:gd name="connsiteX3" fmla="*/ 3697346 w 3697346"/>
                <a:gd name="connsiteY3" fmla="*/ 3485408 h 3701592"/>
                <a:gd name="connsiteX4" fmla="*/ 3481162 w 3697346"/>
                <a:gd name="connsiteY4" fmla="*/ 3701592 h 3701592"/>
                <a:gd name="connsiteX5" fmla="*/ 216184 w 3697346"/>
                <a:gd name="connsiteY5" fmla="*/ 3701592 h 3701592"/>
                <a:gd name="connsiteX6" fmla="*/ 0 w 3697346"/>
                <a:gd name="connsiteY6" fmla="*/ 3485408 h 3701592"/>
                <a:gd name="connsiteX7" fmla="*/ 0 w 3697346"/>
                <a:gd name="connsiteY7" fmla="*/ 216184 h 3701592"/>
                <a:gd name="connsiteX0" fmla="*/ 530509 w 3697346"/>
                <a:gd name="connsiteY0" fmla="*/ 9525 h 3701592"/>
                <a:gd name="connsiteX1" fmla="*/ 3481162 w 3697346"/>
                <a:gd name="connsiteY1" fmla="*/ 0 h 3701592"/>
                <a:gd name="connsiteX2" fmla="*/ 3697346 w 3697346"/>
                <a:gd name="connsiteY2" fmla="*/ 216184 h 3701592"/>
                <a:gd name="connsiteX3" fmla="*/ 3697346 w 3697346"/>
                <a:gd name="connsiteY3" fmla="*/ 3485408 h 3701592"/>
                <a:gd name="connsiteX4" fmla="*/ 3481162 w 3697346"/>
                <a:gd name="connsiteY4" fmla="*/ 3701592 h 3701592"/>
                <a:gd name="connsiteX5" fmla="*/ 216184 w 3697346"/>
                <a:gd name="connsiteY5" fmla="*/ 3701592 h 3701592"/>
                <a:gd name="connsiteX6" fmla="*/ 0 w 3697346"/>
                <a:gd name="connsiteY6" fmla="*/ 3485408 h 3701592"/>
                <a:gd name="connsiteX7" fmla="*/ 0 w 3697346"/>
                <a:gd name="connsiteY7" fmla="*/ 587659 h 3701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97346" h="3701592">
                  <a:moveTo>
                    <a:pt x="530509" y="9525"/>
                  </a:moveTo>
                  <a:lnTo>
                    <a:pt x="3481162" y="0"/>
                  </a:lnTo>
                  <a:cubicBezTo>
                    <a:pt x="3600557" y="0"/>
                    <a:pt x="3697346" y="96789"/>
                    <a:pt x="3697346" y="216184"/>
                  </a:cubicBezTo>
                  <a:lnTo>
                    <a:pt x="3697346" y="3485408"/>
                  </a:lnTo>
                  <a:cubicBezTo>
                    <a:pt x="3697346" y="3604803"/>
                    <a:pt x="3600557" y="3701592"/>
                    <a:pt x="3481162" y="3701592"/>
                  </a:cubicBezTo>
                  <a:lnTo>
                    <a:pt x="216184" y="3701592"/>
                  </a:lnTo>
                  <a:cubicBezTo>
                    <a:pt x="96789" y="3701592"/>
                    <a:pt x="0" y="3604803"/>
                    <a:pt x="0" y="3485408"/>
                  </a:cubicBezTo>
                  <a:lnTo>
                    <a:pt x="0" y="587659"/>
                  </a:lnTo>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US" sz="1600">
                <a:solidFill>
                  <a:schemeClr val="bg1"/>
                </a:solidFill>
              </a:endParaRPr>
            </a:p>
          </p:txBody>
        </p:sp>
        <p:sp>
          <p:nvSpPr>
            <p:cNvPr id="43" name="Rectangle: Rounded Corners 42">
              <a:extLst>
                <a:ext uri="{FF2B5EF4-FFF2-40B4-BE49-F238E27FC236}">
                  <a16:creationId xmlns:a16="http://schemas.microsoft.com/office/drawing/2014/main" id="{7E9EC68A-51B3-260D-C7CB-114A3D2FB7AC}"/>
                </a:ext>
              </a:extLst>
            </p:cNvPr>
            <p:cNvSpPr>
              <a:spLocks/>
            </p:cNvSpPr>
            <p:nvPr/>
          </p:nvSpPr>
          <p:spPr>
            <a:xfrm flipH="1">
              <a:off x="7936488" y="2108658"/>
              <a:ext cx="3697346" cy="3701592"/>
            </a:xfrm>
            <a:prstGeom prst="roundRect">
              <a:avLst>
                <a:gd name="adj" fmla="val 13833"/>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US" sz="1600">
                <a:solidFill>
                  <a:schemeClr val="bg1"/>
                </a:solidFill>
              </a:endParaRPr>
            </a:p>
          </p:txBody>
        </p:sp>
      </p:grpSp>
      <p:sp>
        <p:nvSpPr>
          <p:cNvPr id="44" name="TextBox 43">
            <a:extLst>
              <a:ext uri="{FF2B5EF4-FFF2-40B4-BE49-F238E27FC236}">
                <a16:creationId xmlns:a16="http://schemas.microsoft.com/office/drawing/2014/main" id="{76A0A6E4-E06B-1DA7-3DED-0A6B5EF69236}"/>
              </a:ext>
            </a:extLst>
          </p:cNvPr>
          <p:cNvSpPr txBox="1">
            <a:spLocks/>
          </p:cNvSpPr>
          <p:nvPr userDrawn="1"/>
        </p:nvSpPr>
        <p:spPr>
          <a:xfrm>
            <a:off x="8134021" y="5186324"/>
            <a:ext cx="3302281"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2400" b="1" i="0" u="none" strike="noStrike" kern="1200" cap="none" spc="-33" normalizeH="0" baseline="0" noProof="0">
                <a:ln>
                  <a:noFill/>
                </a:ln>
                <a:solidFill>
                  <a:schemeClr val="bg1"/>
                </a:solidFill>
                <a:effectLst/>
                <a:uLnTx/>
                <a:uFillTx/>
                <a:latin typeface="Roboto"/>
                <a:ea typeface="+mn-ea"/>
                <a:cs typeface="Roboto"/>
                <a:sym typeface="Arial"/>
                <a:hlinkClick r:id="rId18">
                  <a:extLst>
                    <a:ext uri="{A12FA001-AC4F-418D-AE19-62706E023703}">
                      <ahyp:hlinkClr xmlns:ahyp="http://schemas.microsoft.com/office/drawing/2018/hyperlinkcolor" val="tx"/>
                    </a:ext>
                  </a:extLst>
                </a:hlinkClick>
              </a:rPr>
              <a:t>www.investkenya.go.ke</a:t>
            </a:r>
            <a:endParaRPr kumimoji="0" lang="en-US" sz="2400" b="0" i="0" u="none" strike="noStrike" kern="1200" cap="none" spc="0" normalizeH="0" baseline="0" noProof="0">
              <a:ln>
                <a:noFill/>
              </a:ln>
              <a:solidFill>
                <a:schemeClr val="bg1"/>
              </a:solidFill>
              <a:effectLst/>
              <a:uLnTx/>
              <a:uFillTx/>
              <a:latin typeface="Arial"/>
              <a:ea typeface="+mn-ea"/>
              <a:cs typeface="Arial" panose="020B0604020202020204" pitchFamily="34" charset="0"/>
              <a:sym typeface="Arial"/>
            </a:endParaRPr>
          </a:p>
        </p:txBody>
      </p:sp>
      <p:pic>
        <p:nvPicPr>
          <p:cNvPr id="45" name="Picture 44">
            <a:extLst>
              <a:ext uri="{FF2B5EF4-FFF2-40B4-BE49-F238E27FC236}">
                <a16:creationId xmlns:a16="http://schemas.microsoft.com/office/drawing/2014/main" id="{36C13DB5-B706-7999-F22B-21F9B3B477F2}"/>
              </a:ext>
            </a:extLst>
          </p:cNvPr>
          <p:cNvPicPr>
            <a:picLocks noChangeAspect="1"/>
          </p:cNvPicPr>
          <p:nvPr userDrawn="1"/>
        </p:nvPicPr>
        <p:blipFill>
          <a:blip r:embed="rId19" cstate="email">
            <a:extLst>
              <a:ext uri="{28A0092B-C50C-407E-A947-70E740481C1C}">
                <a14:useLocalDpi xmlns:a14="http://schemas.microsoft.com/office/drawing/2010/main"/>
              </a:ext>
            </a:extLst>
          </a:blip>
          <a:stretch>
            <a:fillRect/>
          </a:stretch>
        </p:blipFill>
        <p:spPr>
          <a:xfrm>
            <a:off x="9038910" y="3458553"/>
            <a:ext cx="1492500" cy="1492500"/>
          </a:xfrm>
          <a:prstGeom prst="rect">
            <a:avLst/>
          </a:prstGeom>
          <a:ln>
            <a:solidFill>
              <a:schemeClr val="tx1"/>
            </a:solidFill>
          </a:ln>
        </p:spPr>
      </p:pic>
      <p:grpSp>
        <p:nvGrpSpPr>
          <p:cNvPr id="46" name="Group 45">
            <a:extLst>
              <a:ext uri="{FF2B5EF4-FFF2-40B4-BE49-F238E27FC236}">
                <a16:creationId xmlns:a16="http://schemas.microsoft.com/office/drawing/2014/main" id="{5242EC04-9AB6-4FD0-EE2D-087C937FE808}"/>
              </a:ext>
            </a:extLst>
          </p:cNvPr>
          <p:cNvGrpSpPr/>
          <p:nvPr userDrawn="1"/>
        </p:nvGrpSpPr>
        <p:grpSpPr>
          <a:xfrm>
            <a:off x="662039" y="2174391"/>
            <a:ext cx="6791258" cy="1052032"/>
            <a:chOff x="662039" y="1709355"/>
            <a:chExt cx="6791258" cy="1052032"/>
          </a:xfrm>
        </p:grpSpPr>
        <p:sp>
          <p:nvSpPr>
            <p:cNvPr id="47" name="TextBox 46">
              <a:extLst>
                <a:ext uri="{FF2B5EF4-FFF2-40B4-BE49-F238E27FC236}">
                  <a16:creationId xmlns:a16="http://schemas.microsoft.com/office/drawing/2014/main" id="{557570D9-AD88-2255-E0DF-15FB3EB8ECA9}"/>
                </a:ext>
              </a:extLst>
            </p:cNvPr>
            <p:cNvSpPr txBox="1">
              <a:spLocks/>
            </p:cNvSpPr>
            <p:nvPr/>
          </p:nvSpPr>
          <p:spPr>
            <a:xfrm>
              <a:off x="4276167" y="2207389"/>
              <a:ext cx="1370066" cy="553998"/>
            </a:xfrm>
            <a:prstGeom prst="rect">
              <a:avLst/>
            </a:prstGeom>
            <a:noFill/>
          </p:spPr>
          <p:txBody>
            <a:bodyPr vert="horz" wrap="square" lIns="0" tIns="0" rIns="0" bIns="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SzPct val="100000"/>
                <a:buFont typeface="Segoe UI" panose="020B0502040204020203" pitchFamily="34" charset="0"/>
                <a:buChar char="​"/>
                <a:tabLst/>
                <a:defRPr/>
              </a:pPr>
              <a:r>
                <a:rPr kumimoji="0" lang="en-US" sz="1200" b="1" i="0" u="none" strike="noStrike" kern="1200" cap="none" spc="0" normalizeH="0" baseline="0" noProof="0">
                  <a:ln>
                    <a:noFill/>
                  </a:ln>
                  <a:effectLst/>
                  <a:uLnTx/>
                  <a:uFillTx/>
                  <a:latin typeface="Arial"/>
                  <a:ea typeface="+mn-ea"/>
                  <a:cs typeface="Arial" panose="020B0604020202020204" pitchFamily="34" charset="0"/>
                  <a:sym typeface="Arial"/>
                </a:rPr>
                <a:t>Work permit/ Special pass facilitation</a:t>
              </a:r>
            </a:p>
          </p:txBody>
        </p:sp>
        <p:sp>
          <p:nvSpPr>
            <p:cNvPr id="48" name="TextBox 47">
              <a:extLst>
                <a:ext uri="{FF2B5EF4-FFF2-40B4-BE49-F238E27FC236}">
                  <a16:creationId xmlns:a16="http://schemas.microsoft.com/office/drawing/2014/main" id="{2226AA73-AA86-D863-35CC-8518EAA5E286}"/>
                </a:ext>
              </a:extLst>
            </p:cNvPr>
            <p:cNvSpPr txBox="1">
              <a:spLocks/>
            </p:cNvSpPr>
            <p:nvPr/>
          </p:nvSpPr>
          <p:spPr>
            <a:xfrm>
              <a:off x="2469103" y="2207389"/>
              <a:ext cx="1370066" cy="369332"/>
            </a:xfrm>
            <a:prstGeom prst="rect">
              <a:avLst/>
            </a:prstGeom>
            <a:noFill/>
          </p:spPr>
          <p:txBody>
            <a:bodyPr vert="horz" wrap="square" lIns="0" tIns="0" rIns="0" bIns="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SzPct val="100000"/>
                <a:buFont typeface="Segoe UI" panose="020B0502040204020203" pitchFamily="34" charset="0"/>
                <a:buChar char="​"/>
                <a:tabLst/>
                <a:defRPr/>
              </a:pPr>
              <a:r>
                <a:rPr kumimoji="0" lang="en-US" sz="1200" b="1" i="0" u="none" strike="noStrike" kern="1200" cap="none" spc="0" normalizeH="0" baseline="0" noProof="0">
                  <a:ln>
                    <a:noFill/>
                  </a:ln>
                  <a:effectLst/>
                  <a:uLnTx/>
                  <a:uFillTx/>
                  <a:latin typeface="Arial"/>
                  <a:ea typeface="+mn-ea"/>
                  <a:cs typeface="Arial" panose="020B0604020202020204" pitchFamily="34" charset="0"/>
                  <a:sym typeface="Arial"/>
                </a:rPr>
                <a:t>Tax/PIN Registration</a:t>
              </a:r>
            </a:p>
          </p:txBody>
        </p:sp>
        <p:sp>
          <p:nvSpPr>
            <p:cNvPr id="49" name="TextBox 48">
              <a:extLst>
                <a:ext uri="{FF2B5EF4-FFF2-40B4-BE49-F238E27FC236}">
                  <a16:creationId xmlns:a16="http://schemas.microsoft.com/office/drawing/2014/main" id="{AC6789B2-B2EF-849D-9A69-7D464B71D6F2}"/>
                </a:ext>
              </a:extLst>
            </p:cNvPr>
            <p:cNvSpPr txBox="1">
              <a:spLocks/>
            </p:cNvSpPr>
            <p:nvPr/>
          </p:nvSpPr>
          <p:spPr>
            <a:xfrm>
              <a:off x="662039" y="2207389"/>
              <a:ext cx="1370066" cy="369332"/>
            </a:xfrm>
            <a:prstGeom prst="rect">
              <a:avLst/>
            </a:prstGeom>
            <a:noFill/>
          </p:spPr>
          <p:txBody>
            <a:bodyPr vert="horz" wrap="square" lIns="0" tIns="0" rIns="0" bIns="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SzPct val="100000"/>
                <a:buFont typeface="Segoe UI" panose="020B0502040204020203" pitchFamily="34" charset="0"/>
                <a:buChar char="​"/>
                <a:tabLst/>
                <a:defRPr/>
              </a:pPr>
              <a:r>
                <a:rPr kumimoji="0" lang="en-US" sz="1200" b="1" i="0" u="none" strike="noStrike" kern="1200" cap="none" spc="0" normalizeH="0" baseline="0" noProof="0">
                  <a:ln>
                    <a:noFill/>
                  </a:ln>
                  <a:effectLst/>
                  <a:uLnTx/>
                  <a:uFillTx/>
                  <a:latin typeface="Arial"/>
                  <a:ea typeface="+mn-ea"/>
                  <a:cs typeface="Arial" panose="020B0604020202020204" pitchFamily="34" charset="0"/>
                  <a:sym typeface="Arial"/>
                </a:rPr>
                <a:t>Company Registration</a:t>
              </a:r>
            </a:p>
          </p:txBody>
        </p:sp>
        <p:sp>
          <p:nvSpPr>
            <p:cNvPr id="50" name="TextBox 49">
              <a:extLst>
                <a:ext uri="{FF2B5EF4-FFF2-40B4-BE49-F238E27FC236}">
                  <a16:creationId xmlns:a16="http://schemas.microsoft.com/office/drawing/2014/main" id="{B822BC18-99BF-18D6-9D3C-D67922669D79}"/>
                </a:ext>
              </a:extLst>
            </p:cNvPr>
            <p:cNvSpPr txBox="1">
              <a:spLocks/>
            </p:cNvSpPr>
            <p:nvPr/>
          </p:nvSpPr>
          <p:spPr>
            <a:xfrm>
              <a:off x="6083231" y="2207389"/>
              <a:ext cx="1370066" cy="369332"/>
            </a:xfrm>
            <a:prstGeom prst="rect">
              <a:avLst/>
            </a:prstGeom>
            <a:noFill/>
          </p:spPr>
          <p:txBody>
            <a:bodyPr vert="horz" wrap="square" lIns="0" tIns="0" rIns="0" bIns="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SzPct val="100000"/>
                <a:buFont typeface="Segoe UI" panose="020B0502040204020203" pitchFamily="34" charset="0"/>
                <a:buChar char="​"/>
                <a:tabLst/>
                <a:defRPr/>
              </a:pPr>
              <a:r>
                <a:rPr kumimoji="0" lang="en-US" sz="1200" b="1" i="0" u="none" strike="noStrike" kern="1200" cap="none" spc="0" normalizeH="0" baseline="0" noProof="0">
                  <a:ln>
                    <a:noFill/>
                  </a:ln>
                  <a:effectLst/>
                  <a:uLnTx/>
                  <a:uFillTx/>
                  <a:latin typeface="Arial"/>
                  <a:ea typeface="+mn-ea"/>
                  <a:cs typeface="Arial" panose="020B0604020202020204" pitchFamily="34" charset="0"/>
                  <a:sym typeface="Arial"/>
                </a:rPr>
                <a:t>Obtain applicable licenses </a:t>
              </a:r>
            </a:p>
          </p:txBody>
        </p:sp>
        <p:pic>
          <p:nvPicPr>
            <p:cNvPr id="51" name="CustomIcon">
              <a:extLst>
                <a:ext uri="{FF2B5EF4-FFF2-40B4-BE49-F238E27FC236}">
                  <a16:creationId xmlns:a16="http://schemas.microsoft.com/office/drawing/2014/main" id="{E43B878F-75A1-0FF7-B238-FC4AEE0BBDB6}"/>
                </a:ext>
              </a:extLst>
            </p:cNvPr>
            <p:cNvPicPr>
              <a:picLocks/>
            </p:cNvPicPr>
            <p:nvPr>
              <p:custDataLst>
                <p:tags r:id="rId8"/>
              </p:custDataLst>
            </p:nvPr>
          </p:nvPicPr>
          <p:blipFill>
            <a:blip>
              <a:extLst>
                <a:ext uri="{96DAC541-7B7A-43D3-8B79-37D633B846F1}">
                  <asvg:svgBlip xmlns:asvg="http://schemas.microsoft.com/office/drawing/2016/SVG/main" r:embed="rId20"/>
                </a:ext>
              </a:extLst>
            </a:blip>
            <a:stretch>
              <a:fillRect/>
            </a:stretch>
          </p:blipFill>
          <p:spPr>
            <a:xfrm>
              <a:off x="2983656" y="1709355"/>
              <a:ext cx="340960" cy="340960"/>
            </a:xfrm>
            <a:prstGeom prst="rect">
              <a:avLst/>
            </a:prstGeom>
          </p:spPr>
        </p:pic>
        <p:pic>
          <p:nvPicPr>
            <p:cNvPr id="52" name="CustomIcon">
              <a:extLst>
                <a:ext uri="{FF2B5EF4-FFF2-40B4-BE49-F238E27FC236}">
                  <a16:creationId xmlns:a16="http://schemas.microsoft.com/office/drawing/2014/main" id="{1DC34608-3309-67FF-8560-299DEF033C9A}"/>
                </a:ext>
              </a:extLst>
            </p:cNvPr>
            <p:cNvPicPr>
              <a:picLocks/>
            </p:cNvPicPr>
            <p:nvPr>
              <p:custDataLst>
                <p:tags r:id="rId9"/>
              </p:custDataLst>
            </p:nvPr>
          </p:nvPicPr>
          <p:blipFill>
            <a:blip>
              <a:extLst>
                <a:ext uri="{96DAC541-7B7A-43D3-8B79-37D633B846F1}">
                  <asvg:svgBlip xmlns:asvg="http://schemas.microsoft.com/office/drawing/2016/SVG/main" r:embed="rId21"/>
                </a:ext>
              </a:extLst>
            </a:blip>
            <a:stretch>
              <a:fillRect/>
            </a:stretch>
          </p:blipFill>
          <p:spPr>
            <a:xfrm>
              <a:off x="4790720" y="1709355"/>
              <a:ext cx="340960" cy="340960"/>
            </a:xfrm>
            <a:prstGeom prst="rect">
              <a:avLst/>
            </a:prstGeom>
          </p:spPr>
        </p:pic>
        <p:pic>
          <p:nvPicPr>
            <p:cNvPr id="53" name="CustomIcon">
              <a:extLst>
                <a:ext uri="{FF2B5EF4-FFF2-40B4-BE49-F238E27FC236}">
                  <a16:creationId xmlns:a16="http://schemas.microsoft.com/office/drawing/2014/main" id="{46FDFEDE-372E-51E7-4E59-F054139DB743}"/>
                </a:ext>
              </a:extLst>
            </p:cNvPr>
            <p:cNvPicPr>
              <a:picLocks/>
            </p:cNvPicPr>
            <p:nvPr>
              <p:custDataLst>
                <p:tags r:id="rId10"/>
              </p:custDataLst>
            </p:nvPr>
          </p:nvPicPr>
          <p:blipFill>
            <a:blip>
              <a:extLst>
                <a:ext uri="{96DAC541-7B7A-43D3-8B79-37D633B846F1}">
                  <asvg:svgBlip xmlns:asvg="http://schemas.microsoft.com/office/drawing/2016/SVG/main" r:embed="rId22"/>
                </a:ext>
              </a:extLst>
            </a:blip>
            <a:stretch>
              <a:fillRect/>
            </a:stretch>
          </p:blipFill>
          <p:spPr>
            <a:xfrm>
              <a:off x="6597784" y="1709355"/>
              <a:ext cx="340960" cy="340960"/>
            </a:xfrm>
            <a:prstGeom prst="rect">
              <a:avLst/>
            </a:prstGeom>
          </p:spPr>
        </p:pic>
        <p:pic>
          <p:nvPicPr>
            <p:cNvPr id="54" name="CustomIcon">
              <a:extLst>
                <a:ext uri="{FF2B5EF4-FFF2-40B4-BE49-F238E27FC236}">
                  <a16:creationId xmlns:a16="http://schemas.microsoft.com/office/drawing/2014/main" id="{1A024130-4911-E016-9D24-5013F24CCCFD}"/>
                </a:ext>
              </a:extLst>
            </p:cNvPr>
            <p:cNvPicPr>
              <a:picLocks/>
            </p:cNvPicPr>
            <p:nvPr>
              <p:custDataLst>
                <p:tags r:id="rId11"/>
              </p:custDataLst>
            </p:nvPr>
          </p:nvPicPr>
          <p:blipFill>
            <a:blip>
              <a:extLst>
                <a:ext uri="{96DAC541-7B7A-43D3-8B79-37D633B846F1}">
                  <asvg:svgBlip xmlns:asvg="http://schemas.microsoft.com/office/drawing/2016/SVG/main" r:embed="rId23"/>
                </a:ext>
              </a:extLst>
            </a:blip>
            <a:stretch>
              <a:fillRect/>
            </a:stretch>
          </p:blipFill>
          <p:spPr>
            <a:xfrm>
              <a:off x="1176592" y="1709355"/>
              <a:ext cx="340960" cy="340960"/>
            </a:xfrm>
            <a:prstGeom prst="rect">
              <a:avLst/>
            </a:prstGeom>
          </p:spPr>
        </p:pic>
      </p:grpSp>
      <p:grpSp>
        <p:nvGrpSpPr>
          <p:cNvPr id="55" name="Group 54">
            <a:extLst>
              <a:ext uri="{FF2B5EF4-FFF2-40B4-BE49-F238E27FC236}">
                <a16:creationId xmlns:a16="http://schemas.microsoft.com/office/drawing/2014/main" id="{83D77ACE-6251-E685-CC4D-2243769E341A}"/>
              </a:ext>
            </a:extLst>
          </p:cNvPr>
          <p:cNvGrpSpPr/>
          <p:nvPr userDrawn="1"/>
        </p:nvGrpSpPr>
        <p:grpSpPr>
          <a:xfrm>
            <a:off x="662039" y="3380352"/>
            <a:ext cx="6791258" cy="867366"/>
            <a:chOff x="662039" y="3255249"/>
            <a:chExt cx="6791258" cy="867366"/>
          </a:xfrm>
        </p:grpSpPr>
        <p:sp>
          <p:nvSpPr>
            <p:cNvPr id="56" name="TextBox 55">
              <a:extLst>
                <a:ext uri="{FF2B5EF4-FFF2-40B4-BE49-F238E27FC236}">
                  <a16:creationId xmlns:a16="http://schemas.microsoft.com/office/drawing/2014/main" id="{51B82E71-5054-F160-65EA-8422ECD4FCB5}"/>
                </a:ext>
              </a:extLst>
            </p:cNvPr>
            <p:cNvSpPr txBox="1">
              <a:spLocks/>
            </p:cNvSpPr>
            <p:nvPr/>
          </p:nvSpPr>
          <p:spPr>
            <a:xfrm>
              <a:off x="4276167" y="3753283"/>
              <a:ext cx="1370066" cy="369332"/>
            </a:xfrm>
            <a:prstGeom prst="rect">
              <a:avLst/>
            </a:prstGeom>
            <a:noFill/>
          </p:spPr>
          <p:txBody>
            <a:bodyPr vert="horz" wrap="square" lIns="0" tIns="0" rIns="0" bIns="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SzPct val="100000"/>
                <a:buFont typeface="Segoe UI" panose="020B0502040204020203" pitchFamily="34" charset="0"/>
                <a:buChar char="​"/>
                <a:tabLst/>
                <a:defRPr/>
              </a:pPr>
              <a:r>
                <a:rPr kumimoji="0" lang="en-US" sz="1200" b="1" i="0" u="none" strike="noStrike" kern="1200" cap="none" spc="0" normalizeH="0" baseline="0" noProof="0">
                  <a:ln>
                    <a:noFill/>
                  </a:ln>
                  <a:effectLst/>
                  <a:uLnTx/>
                  <a:uFillTx/>
                  <a:latin typeface="Arial"/>
                  <a:ea typeface="+mn-ea"/>
                  <a:cs typeface="Arial" panose="020B0604020202020204" pitchFamily="34" charset="0"/>
                  <a:sym typeface="Arial"/>
                </a:rPr>
                <a:t>Set up within EPZ and SEZ</a:t>
              </a:r>
            </a:p>
          </p:txBody>
        </p:sp>
        <p:sp>
          <p:nvSpPr>
            <p:cNvPr id="57" name="TextBox 56">
              <a:extLst>
                <a:ext uri="{FF2B5EF4-FFF2-40B4-BE49-F238E27FC236}">
                  <a16:creationId xmlns:a16="http://schemas.microsoft.com/office/drawing/2014/main" id="{235773EE-0B49-65A1-8C42-2E079243BA34}"/>
                </a:ext>
              </a:extLst>
            </p:cNvPr>
            <p:cNvSpPr txBox="1">
              <a:spLocks/>
            </p:cNvSpPr>
            <p:nvPr/>
          </p:nvSpPr>
          <p:spPr>
            <a:xfrm>
              <a:off x="2469103" y="3753283"/>
              <a:ext cx="1370066" cy="184666"/>
            </a:xfrm>
            <a:prstGeom prst="rect">
              <a:avLst/>
            </a:prstGeom>
            <a:noFill/>
          </p:spPr>
          <p:txBody>
            <a:bodyPr vert="horz" wrap="square" lIns="0" tIns="0" rIns="0" bIns="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SzPct val="100000"/>
                <a:buFont typeface="Segoe UI" panose="020B0502040204020203" pitchFamily="34" charset="0"/>
                <a:buChar char="​"/>
                <a:tabLst/>
                <a:defRPr/>
              </a:pPr>
              <a:r>
                <a:rPr kumimoji="0" lang="en-US" sz="1200" b="1" i="0" u="none" strike="noStrike" kern="1200" cap="none" spc="0" normalizeH="0" baseline="0" noProof="0">
                  <a:ln>
                    <a:noFill/>
                  </a:ln>
                  <a:effectLst/>
                  <a:uLnTx/>
                  <a:uFillTx/>
                  <a:latin typeface="Arial"/>
                  <a:ea typeface="+mn-ea"/>
                  <a:cs typeface="Arial" panose="020B0604020202020204" pitchFamily="34" charset="0"/>
                  <a:sym typeface="Arial"/>
                </a:rPr>
                <a:t>Access to land </a:t>
              </a:r>
            </a:p>
          </p:txBody>
        </p:sp>
        <p:sp>
          <p:nvSpPr>
            <p:cNvPr id="58" name="TextBox 57">
              <a:extLst>
                <a:ext uri="{FF2B5EF4-FFF2-40B4-BE49-F238E27FC236}">
                  <a16:creationId xmlns:a16="http://schemas.microsoft.com/office/drawing/2014/main" id="{586FE24B-1733-1A8B-3D5D-FAC58761918F}"/>
                </a:ext>
              </a:extLst>
            </p:cNvPr>
            <p:cNvSpPr txBox="1">
              <a:spLocks/>
            </p:cNvSpPr>
            <p:nvPr/>
          </p:nvSpPr>
          <p:spPr>
            <a:xfrm>
              <a:off x="662039" y="3753283"/>
              <a:ext cx="1370066" cy="369332"/>
            </a:xfrm>
            <a:prstGeom prst="rect">
              <a:avLst/>
            </a:prstGeom>
            <a:noFill/>
          </p:spPr>
          <p:txBody>
            <a:bodyPr vert="horz" wrap="square" lIns="0" tIns="0" rIns="0" bIns="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SzPct val="100000"/>
                <a:buFont typeface="Segoe UI" panose="020B0502040204020203" pitchFamily="34" charset="0"/>
                <a:buChar char="​"/>
                <a:tabLst/>
                <a:defRPr/>
              </a:pPr>
              <a:r>
                <a:rPr kumimoji="0" lang="en-US" sz="1200" b="1" i="0" u="none" strike="noStrike" kern="1200" cap="none" spc="0" normalizeH="0" baseline="0" noProof="0">
                  <a:ln>
                    <a:noFill/>
                  </a:ln>
                  <a:effectLst/>
                  <a:uLnTx/>
                  <a:uFillTx/>
                  <a:latin typeface="Arial"/>
                  <a:ea typeface="+mn-ea"/>
                  <a:cs typeface="Arial" panose="020B0604020202020204" pitchFamily="34" charset="0"/>
                  <a:sym typeface="Arial"/>
                </a:rPr>
                <a:t>Obtain an EIA certificate</a:t>
              </a:r>
            </a:p>
          </p:txBody>
        </p:sp>
        <p:sp>
          <p:nvSpPr>
            <p:cNvPr id="59" name="TextBox 58">
              <a:extLst>
                <a:ext uri="{FF2B5EF4-FFF2-40B4-BE49-F238E27FC236}">
                  <a16:creationId xmlns:a16="http://schemas.microsoft.com/office/drawing/2014/main" id="{BBB310E2-E4E5-C125-A125-E1E987E3075F}"/>
                </a:ext>
              </a:extLst>
            </p:cNvPr>
            <p:cNvSpPr txBox="1">
              <a:spLocks/>
            </p:cNvSpPr>
            <p:nvPr/>
          </p:nvSpPr>
          <p:spPr>
            <a:xfrm>
              <a:off x="6083231" y="3753283"/>
              <a:ext cx="1370066" cy="369332"/>
            </a:xfrm>
            <a:prstGeom prst="rect">
              <a:avLst/>
            </a:prstGeom>
            <a:noFill/>
          </p:spPr>
          <p:txBody>
            <a:bodyPr vert="horz" wrap="square" lIns="0" tIns="0" rIns="0" bIns="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SzPct val="100000"/>
                <a:buFont typeface="Segoe UI" panose="020B0502040204020203" pitchFamily="34" charset="0"/>
                <a:buChar char="​"/>
                <a:tabLst/>
                <a:defRPr/>
              </a:pPr>
              <a:r>
                <a:rPr kumimoji="0" lang="en-US" sz="1200" b="1" i="0" u="none" strike="noStrike" kern="1200" cap="none" spc="0" normalizeH="0" baseline="0" noProof="0">
                  <a:ln>
                    <a:noFill/>
                  </a:ln>
                  <a:effectLst/>
                  <a:uLnTx/>
                  <a:uFillTx/>
                  <a:latin typeface="Arial"/>
                  <a:ea typeface="+mn-ea"/>
                  <a:cs typeface="Arial" panose="020B0604020202020204" pitchFamily="34" charset="0"/>
                  <a:sym typeface="Arial"/>
                </a:rPr>
                <a:t>Power </a:t>
              </a:r>
              <a:br>
                <a:rPr kumimoji="0" lang="en-US" sz="1200" b="1" i="0" u="none" strike="noStrike" kern="1200" cap="none" spc="0" normalizeH="0" baseline="0" noProof="0">
                  <a:ln>
                    <a:noFill/>
                  </a:ln>
                  <a:effectLst/>
                  <a:uLnTx/>
                  <a:uFillTx/>
                  <a:latin typeface="Arial"/>
                  <a:ea typeface="+mn-ea"/>
                  <a:cs typeface="Arial" panose="020B0604020202020204" pitchFamily="34" charset="0"/>
                  <a:sym typeface="Arial"/>
                </a:rPr>
              </a:br>
              <a:r>
                <a:rPr kumimoji="0" lang="en-US" sz="1200" b="1" i="0" u="none" strike="noStrike" kern="1200" cap="none" spc="0" normalizeH="0" baseline="0" noProof="0">
                  <a:ln>
                    <a:noFill/>
                  </a:ln>
                  <a:effectLst/>
                  <a:uLnTx/>
                  <a:uFillTx/>
                  <a:latin typeface="Arial"/>
                  <a:ea typeface="+mn-ea"/>
                  <a:cs typeface="Arial" panose="020B0604020202020204" pitchFamily="34" charset="0"/>
                  <a:sym typeface="Arial"/>
                </a:rPr>
                <a:t>Connection</a:t>
              </a:r>
            </a:p>
          </p:txBody>
        </p:sp>
        <p:pic>
          <p:nvPicPr>
            <p:cNvPr id="60" name="CustomIcon">
              <a:extLst>
                <a:ext uri="{FF2B5EF4-FFF2-40B4-BE49-F238E27FC236}">
                  <a16:creationId xmlns:a16="http://schemas.microsoft.com/office/drawing/2014/main" id="{5F561B37-DCA7-0322-45C7-EDADC233210B}"/>
                </a:ext>
              </a:extLst>
            </p:cNvPr>
            <p:cNvPicPr>
              <a:picLocks/>
            </p:cNvPicPr>
            <p:nvPr>
              <p:custDataLst>
                <p:tags r:id="rId4"/>
              </p:custDataLst>
            </p:nvPr>
          </p:nvPicPr>
          <p:blipFill>
            <a:blip>
              <a:extLst>
                <a:ext uri="{96DAC541-7B7A-43D3-8B79-37D633B846F1}">
                  <asvg:svgBlip xmlns:asvg="http://schemas.microsoft.com/office/drawing/2016/SVG/main" r:embed="rId24"/>
                </a:ext>
              </a:extLst>
            </a:blip>
            <a:stretch>
              <a:fillRect/>
            </a:stretch>
          </p:blipFill>
          <p:spPr>
            <a:xfrm>
              <a:off x="1176592" y="3255249"/>
              <a:ext cx="340960" cy="340960"/>
            </a:xfrm>
            <a:prstGeom prst="rect">
              <a:avLst/>
            </a:prstGeom>
          </p:spPr>
        </p:pic>
        <p:pic>
          <p:nvPicPr>
            <p:cNvPr id="61" name="CustomIcon">
              <a:extLst>
                <a:ext uri="{FF2B5EF4-FFF2-40B4-BE49-F238E27FC236}">
                  <a16:creationId xmlns:a16="http://schemas.microsoft.com/office/drawing/2014/main" id="{D3DAD937-912E-D875-EEB0-FBAADA57837F}"/>
                </a:ext>
              </a:extLst>
            </p:cNvPr>
            <p:cNvPicPr>
              <a:picLocks/>
            </p:cNvPicPr>
            <p:nvPr>
              <p:custDataLst>
                <p:tags r:id="rId5"/>
              </p:custDataLst>
            </p:nvPr>
          </p:nvPicPr>
          <p:blipFill>
            <a:blip>
              <a:extLst>
                <a:ext uri="{96DAC541-7B7A-43D3-8B79-37D633B846F1}">
                  <asvg:svgBlip xmlns:asvg="http://schemas.microsoft.com/office/drawing/2016/SVG/main" r:embed="rId25"/>
                </a:ext>
              </a:extLst>
            </a:blip>
            <a:stretch>
              <a:fillRect/>
            </a:stretch>
          </p:blipFill>
          <p:spPr>
            <a:xfrm>
              <a:off x="4790720" y="3255249"/>
              <a:ext cx="340960" cy="340960"/>
            </a:xfrm>
            <a:prstGeom prst="rect">
              <a:avLst/>
            </a:prstGeom>
          </p:spPr>
        </p:pic>
        <p:pic>
          <p:nvPicPr>
            <p:cNvPr id="62" name="CustomIcon">
              <a:extLst>
                <a:ext uri="{FF2B5EF4-FFF2-40B4-BE49-F238E27FC236}">
                  <a16:creationId xmlns:a16="http://schemas.microsoft.com/office/drawing/2014/main" id="{D4C002D2-0552-AF07-FED1-B23479424A1F}"/>
                </a:ext>
              </a:extLst>
            </p:cNvPr>
            <p:cNvPicPr>
              <a:picLocks/>
            </p:cNvPicPr>
            <p:nvPr>
              <p:custDataLst>
                <p:tags r:id="rId6"/>
              </p:custDataLst>
            </p:nvPr>
          </p:nvPicPr>
          <p:blipFill>
            <a:blip>
              <a:extLst>
                <a:ext uri="{96DAC541-7B7A-43D3-8B79-37D633B846F1}">
                  <asvg:svgBlip xmlns:asvg="http://schemas.microsoft.com/office/drawing/2016/SVG/main" r:embed="rId26"/>
                </a:ext>
              </a:extLst>
            </a:blip>
            <a:stretch>
              <a:fillRect/>
            </a:stretch>
          </p:blipFill>
          <p:spPr>
            <a:xfrm>
              <a:off x="6597784" y="3255249"/>
              <a:ext cx="340960" cy="340960"/>
            </a:xfrm>
            <a:prstGeom prst="rect">
              <a:avLst/>
            </a:prstGeom>
          </p:spPr>
        </p:pic>
        <p:pic>
          <p:nvPicPr>
            <p:cNvPr id="63" name="CustomIcon">
              <a:extLst>
                <a:ext uri="{FF2B5EF4-FFF2-40B4-BE49-F238E27FC236}">
                  <a16:creationId xmlns:a16="http://schemas.microsoft.com/office/drawing/2014/main" id="{920D7C63-FB8C-7772-3294-E1F2E3F0F8F4}"/>
                </a:ext>
              </a:extLst>
            </p:cNvPr>
            <p:cNvPicPr>
              <a:picLocks/>
            </p:cNvPicPr>
            <p:nvPr>
              <p:custDataLst>
                <p:tags r:id="rId7"/>
              </p:custDataLst>
            </p:nvPr>
          </p:nvPicPr>
          <p:blipFill>
            <a:blip>
              <a:extLst>
                <a:ext uri="{96DAC541-7B7A-43D3-8B79-37D633B846F1}">
                  <asvg:svgBlip xmlns:asvg="http://schemas.microsoft.com/office/drawing/2016/SVG/main" r:embed="rId22"/>
                </a:ext>
              </a:extLst>
            </a:blip>
            <a:stretch>
              <a:fillRect/>
            </a:stretch>
          </p:blipFill>
          <p:spPr>
            <a:xfrm>
              <a:off x="2983656" y="3255249"/>
              <a:ext cx="340960" cy="340960"/>
            </a:xfrm>
            <a:prstGeom prst="rect">
              <a:avLst/>
            </a:prstGeom>
          </p:spPr>
        </p:pic>
      </p:grpSp>
      <p:sp>
        <p:nvSpPr>
          <p:cNvPr id="64" name="TextBox 63">
            <a:extLst>
              <a:ext uri="{FF2B5EF4-FFF2-40B4-BE49-F238E27FC236}">
                <a16:creationId xmlns:a16="http://schemas.microsoft.com/office/drawing/2014/main" id="{3FD15987-9DEF-0D7E-1234-0C4860AA97E3}"/>
              </a:ext>
            </a:extLst>
          </p:cNvPr>
          <p:cNvSpPr txBox="1">
            <a:spLocks/>
          </p:cNvSpPr>
          <p:nvPr userDrawn="1"/>
        </p:nvSpPr>
        <p:spPr>
          <a:xfrm>
            <a:off x="876720" y="1559558"/>
            <a:ext cx="3272552" cy="43088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2800" b="1">
                <a:cs typeface="Arial" panose="020B0604020202020204" pitchFamily="34" charset="0"/>
              </a:rPr>
              <a:t>One-Stop Center</a:t>
            </a:r>
          </a:p>
        </p:txBody>
      </p:sp>
      <p:cxnSp>
        <p:nvCxnSpPr>
          <p:cNvPr id="65" name="LineBasicDefault 813">
            <a:extLst>
              <a:ext uri="{FF2B5EF4-FFF2-40B4-BE49-F238E27FC236}">
                <a16:creationId xmlns:a16="http://schemas.microsoft.com/office/drawing/2014/main" id="{5448939A-6559-594E-131E-F39797665976}"/>
              </a:ext>
            </a:extLst>
          </p:cNvPr>
          <p:cNvCxnSpPr>
            <a:cxnSpLocks/>
          </p:cNvCxnSpPr>
          <p:nvPr userDrawn="1">
            <p:custDataLst>
              <p:tags r:id="rId3"/>
            </p:custDataLst>
          </p:nvPr>
        </p:nvCxnSpPr>
        <p:spPr>
          <a:xfrm>
            <a:off x="876720" y="2028545"/>
            <a:ext cx="3272552" cy="0"/>
          </a:xfrm>
          <a:prstGeom prst="straightConnector1">
            <a:avLst/>
          </a:prstGeom>
          <a:ln w="1270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6" name="TextBox 65">
            <a:extLst>
              <a:ext uri="{FF2B5EF4-FFF2-40B4-BE49-F238E27FC236}">
                <a16:creationId xmlns:a16="http://schemas.microsoft.com/office/drawing/2014/main" id="{B6EF677E-2804-5160-ABFC-EC25636D9414}"/>
              </a:ext>
            </a:extLst>
          </p:cNvPr>
          <p:cNvSpPr txBox="1">
            <a:spLocks/>
          </p:cNvSpPr>
          <p:nvPr userDrawn="1"/>
        </p:nvSpPr>
        <p:spPr>
          <a:xfrm>
            <a:off x="8508323" y="2262460"/>
            <a:ext cx="2553675" cy="92333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2000" b="1" i="0" u="none" strike="noStrike" kern="1200" cap="none" spc="0" normalizeH="0" baseline="0" noProof="0">
                <a:ln>
                  <a:noFill/>
                </a:ln>
                <a:solidFill>
                  <a:schemeClr val="bg1"/>
                </a:solidFill>
                <a:effectLst/>
                <a:uLnTx/>
                <a:uFillTx/>
                <a:latin typeface="Arial"/>
                <a:ea typeface="+mn-ea"/>
                <a:cs typeface="Arial" panose="020B0604020202020204" pitchFamily="34" charset="0"/>
                <a:sym typeface="Arial"/>
              </a:rPr>
              <a:t>Scan the QR code to get started with KenInvest</a:t>
            </a:r>
          </a:p>
        </p:txBody>
      </p:sp>
    </p:spTree>
    <p:extLst>
      <p:ext uri="{BB962C8B-B14F-4D97-AF65-F5344CB8AC3E}">
        <p14:creationId xmlns:p14="http://schemas.microsoft.com/office/powerpoint/2010/main" val="143494247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0605238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0" name="bg object 16">
            <a:extLst>
              <a:ext uri="{FF2B5EF4-FFF2-40B4-BE49-F238E27FC236}">
                <a16:creationId xmlns:a16="http://schemas.microsoft.com/office/drawing/2014/main" id="{EA1B46D3-80DB-CAA7-D36C-B5A88A436048}"/>
              </a:ext>
            </a:extLst>
          </p:cNvPr>
          <p:cNvSpPr/>
          <p:nvPr userDrawn="1"/>
        </p:nvSpPr>
        <p:spPr bwMode="ltGray">
          <a:xfrm>
            <a:off x="0" y="0"/>
            <a:ext cx="12188825" cy="6858000"/>
          </a:xfrm>
          <a:custGeom>
            <a:avLst/>
            <a:gdLst/>
            <a:ahLst/>
            <a:cxnLst/>
            <a:rect l="l" t="t" r="r" b="b"/>
            <a:pathLst>
              <a:path w="12188825" h="6858000">
                <a:moveTo>
                  <a:pt x="12188825" y="0"/>
                </a:moveTo>
                <a:lnTo>
                  <a:pt x="0" y="0"/>
                </a:lnTo>
                <a:lnTo>
                  <a:pt x="0" y="6858000"/>
                </a:lnTo>
                <a:lnTo>
                  <a:pt x="12188825" y="6858000"/>
                </a:lnTo>
                <a:lnTo>
                  <a:pt x="12188825" y="0"/>
                </a:lnTo>
                <a:close/>
              </a:path>
            </a:pathLst>
          </a:custGeom>
          <a:solidFill>
            <a:srgbClr val="FBF0DF"/>
          </a:solidFill>
        </p:spPr>
        <p:txBody>
          <a:bodyPr wrap="square" lIns="0" tIns="0" rIns="0" bIns="0" rtlCol="0"/>
          <a:lstStyle/>
          <a:p>
            <a:pPr rtl="0"/>
            <a:endParaRPr lang="en-CA"/>
          </a:p>
        </p:txBody>
      </p:sp>
      <p:sp>
        <p:nvSpPr>
          <p:cNvPr id="11" name="bg object 17">
            <a:extLst>
              <a:ext uri="{FF2B5EF4-FFF2-40B4-BE49-F238E27FC236}">
                <a16:creationId xmlns:a16="http://schemas.microsoft.com/office/drawing/2014/main" id="{B328DE94-2A58-6183-2FE0-B36AC302C8F1}"/>
              </a:ext>
            </a:extLst>
          </p:cNvPr>
          <p:cNvSpPr/>
          <p:nvPr userDrawn="1"/>
        </p:nvSpPr>
        <p:spPr bwMode="ltGray">
          <a:xfrm>
            <a:off x="6212205" y="0"/>
            <a:ext cx="5979795" cy="6851650"/>
          </a:xfrm>
          <a:custGeom>
            <a:avLst/>
            <a:gdLst/>
            <a:ahLst/>
            <a:cxnLst/>
            <a:rect l="l" t="t" r="r" b="b"/>
            <a:pathLst>
              <a:path w="5979795" h="6851650">
                <a:moveTo>
                  <a:pt x="5979795" y="0"/>
                </a:moveTo>
                <a:lnTo>
                  <a:pt x="1825371" y="0"/>
                </a:lnTo>
                <a:lnTo>
                  <a:pt x="1760981" y="41275"/>
                </a:lnTo>
                <a:lnTo>
                  <a:pt x="1721310" y="68425"/>
                </a:lnTo>
                <a:lnTo>
                  <a:pt x="1681983" y="96038"/>
                </a:lnTo>
                <a:lnTo>
                  <a:pt x="1643005" y="124110"/>
                </a:lnTo>
                <a:lnTo>
                  <a:pt x="1604381" y="152636"/>
                </a:lnTo>
                <a:lnTo>
                  <a:pt x="1566113" y="181614"/>
                </a:lnTo>
                <a:lnTo>
                  <a:pt x="1528206" y="211038"/>
                </a:lnTo>
                <a:lnTo>
                  <a:pt x="1490664" y="240906"/>
                </a:lnTo>
                <a:lnTo>
                  <a:pt x="1453491" y="271213"/>
                </a:lnTo>
                <a:lnTo>
                  <a:pt x="1416690" y="301955"/>
                </a:lnTo>
                <a:lnTo>
                  <a:pt x="1380266" y="333128"/>
                </a:lnTo>
                <a:lnTo>
                  <a:pt x="1344222" y="364729"/>
                </a:lnTo>
                <a:lnTo>
                  <a:pt x="1308562" y="396753"/>
                </a:lnTo>
                <a:lnTo>
                  <a:pt x="1273291" y="429197"/>
                </a:lnTo>
                <a:lnTo>
                  <a:pt x="1238412" y="462056"/>
                </a:lnTo>
                <a:lnTo>
                  <a:pt x="1203929" y="495327"/>
                </a:lnTo>
                <a:lnTo>
                  <a:pt x="1169846" y="529006"/>
                </a:lnTo>
                <a:lnTo>
                  <a:pt x="1136167" y="563089"/>
                </a:lnTo>
                <a:lnTo>
                  <a:pt x="1102896" y="597572"/>
                </a:lnTo>
                <a:lnTo>
                  <a:pt x="1070037" y="632451"/>
                </a:lnTo>
                <a:lnTo>
                  <a:pt x="1037593" y="667722"/>
                </a:lnTo>
                <a:lnTo>
                  <a:pt x="1005570" y="703381"/>
                </a:lnTo>
                <a:lnTo>
                  <a:pt x="973969" y="739425"/>
                </a:lnTo>
                <a:lnTo>
                  <a:pt x="942796" y="775848"/>
                </a:lnTo>
                <a:lnTo>
                  <a:pt x="912055" y="812649"/>
                </a:lnTo>
                <a:lnTo>
                  <a:pt x="881749" y="849821"/>
                </a:lnTo>
                <a:lnTo>
                  <a:pt x="851882" y="887363"/>
                </a:lnTo>
                <a:lnTo>
                  <a:pt x="822458" y="925269"/>
                </a:lnTo>
                <a:lnTo>
                  <a:pt x="793481" y="963536"/>
                </a:lnTo>
                <a:lnTo>
                  <a:pt x="764956" y="1002159"/>
                </a:lnTo>
                <a:lnTo>
                  <a:pt x="736885" y="1041136"/>
                </a:lnTo>
                <a:lnTo>
                  <a:pt x="709273" y="1080462"/>
                </a:lnTo>
                <a:lnTo>
                  <a:pt x="682124" y="1120132"/>
                </a:lnTo>
                <a:lnTo>
                  <a:pt x="655441" y="1160144"/>
                </a:lnTo>
                <a:lnTo>
                  <a:pt x="629229" y="1200493"/>
                </a:lnTo>
                <a:lnTo>
                  <a:pt x="603492" y="1241176"/>
                </a:lnTo>
                <a:lnTo>
                  <a:pt x="578233" y="1282188"/>
                </a:lnTo>
                <a:lnTo>
                  <a:pt x="553456" y="1323525"/>
                </a:lnTo>
                <a:lnTo>
                  <a:pt x="529166" y="1365184"/>
                </a:lnTo>
                <a:lnTo>
                  <a:pt x="505366" y="1407160"/>
                </a:lnTo>
                <a:lnTo>
                  <a:pt x="482060" y="1449451"/>
                </a:lnTo>
                <a:lnTo>
                  <a:pt x="459252" y="1492051"/>
                </a:lnTo>
                <a:lnTo>
                  <a:pt x="436946" y="1534956"/>
                </a:lnTo>
                <a:lnTo>
                  <a:pt x="415146" y="1578164"/>
                </a:lnTo>
                <a:lnTo>
                  <a:pt x="393855" y="1621670"/>
                </a:lnTo>
                <a:lnTo>
                  <a:pt x="373079" y="1665470"/>
                </a:lnTo>
                <a:lnTo>
                  <a:pt x="352820" y="1709560"/>
                </a:lnTo>
                <a:lnTo>
                  <a:pt x="333082" y="1753937"/>
                </a:lnTo>
                <a:lnTo>
                  <a:pt x="313870" y="1798596"/>
                </a:lnTo>
                <a:lnTo>
                  <a:pt x="295188" y="1843533"/>
                </a:lnTo>
                <a:lnTo>
                  <a:pt x="277039" y="1888745"/>
                </a:lnTo>
                <a:lnTo>
                  <a:pt x="259427" y="1934227"/>
                </a:lnTo>
                <a:lnTo>
                  <a:pt x="242356" y="1979977"/>
                </a:lnTo>
                <a:lnTo>
                  <a:pt x="225830" y="2025988"/>
                </a:lnTo>
                <a:lnTo>
                  <a:pt x="209853" y="2072259"/>
                </a:lnTo>
                <a:lnTo>
                  <a:pt x="194429" y="2118785"/>
                </a:lnTo>
                <a:lnTo>
                  <a:pt x="179563" y="2165561"/>
                </a:lnTo>
                <a:lnTo>
                  <a:pt x="165256" y="2212585"/>
                </a:lnTo>
                <a:lnTo>
                  <a:pt x="151515" y="2259852"/>
                </a:lnTo>
                <a:lnTo>
                  <a:pt x="138342" y="2307358"/>
                </a:lnTo>
                <a:lnTo>
                  <a:pt x="125741" y="2355099"/>
                </a:lnTo>
                <a:lnTo>
                  <a:pt x="113717" y="2403072"/>
                </a:lnTo>
                <a:lnTo>
                  <a:pt x="102274" y="2451273"/>
                </a:lnTo>
                <a:lnTo>
                  <a:pt x="91414" y="2499696"/>
                </a:lnTo>
                <a:lnTo>
                  <a:pt x="81143" y="2548340"/>
                </a:lnTo>
                <a:lnTo>
                  <a:pt x="71464" y="2597199"/>
                </a:lnTo>
                <a:lnTo>
                  <a:pt x="62381" y="2646270"/>
                </a:lnTo>
                <a:lnTo>
                  <a:pt x="53898" y="2695549"/>
                </a:lnTo>
                <a:lnTo>
                  <a:pt x="46019" y="2745032"/>
                </a:lnTo>
                <a:lnTo>
                  <a:pt x="38748" y="2794715"/>
                </a:lnTo>
                <a:lnTo>
                  <a:pt x="32088" y="2844594"/>
                </a:lnTo>
                <a:lnTo>
                  <a:pt x="26044" y="2894665"/>
                </a:lnTo>
                <a:lnTo>
                  <a:pt x="20620" y="2944924"/>
                </a:lnTo>
                <a:lnTo>
                  <a:pt x="15819" y="2995368"/>
                </a:lnTo>
                <a:lnTo>
                  <a:pt x="11646" y="3045992"/>
                </a:lnTo>
                <a:lnTo>
                  <a:pt x="8103" y="3096793"/>
                </a:lnTo>
                <a:lnTo>
                  <a:pt x="5196" y="3147766"/>
                </a:lnTo>
                <a:lnTo>
                  <a:pt x="2929" y="3198909"/>
                </a:lnTo>
                <a:lnTo>
                  <a:pt x="1304" y="3250215"/>
                </a:lnTo>
                <a:lnTo>
                  <a:pt x="326" y="3301683"/>
                </a:lnTo>
                <a:lnTo>
                  <a:pt x="0" y="3353308"/>
                </a:lnTo>
                <a:lnTo>
                  <a:pt x="326" y="3404928"/>
                </a:lnTo>
                <a:lnTo>
                  <a:pt x="1304" y="3456393"/>
                </a:lnTo>
                <a:lnTo>
                  <a:pt x="2929" y="3507696"/>
                </a:lnTo>
                <a:lnTo>
                  <a:pt x="5197" y="3558835"/>
                </a:lnTo>
                <a:lnTo>
                  <a:pt x="8104" y="3609805"/>
                </a:lnTo>
                <a:lnTo>
                  <a:pt x="11646" y="3660603"/>
                </a:lnTo>
                <a:lnTo>
                  <a:pt x="15820" y="3711225"/>
                </a:lnTo>
                <a:lnTo>
                  <a:pt x="20621" y="3761666"/>
                </a:lnTo>
                <a:lnTo>
                  <a:pt x="26045" y="3811923"/>
                </a:lnTo>
                <a:lnTo>
                  <a:pt x="32090" y="3861992"/>
                </a:lnTo>
                <a:lnTo>
                  <a:pt x="38749" y="3911868"/>
                </a:lnTo>
                <a:lnTo>
                  <a:pt x="46021" y="3961549"/>
                </a:lnTo>
                <a:lnTo>
                  <a:pt x="53900" y="4011030"/>
                </a:lnTo>
                <a:lnTo>
                  <a:pt x="62384" y="4060307"/>
                </a:lnTo>
                <a:lnTo>
                  <a:pt x="71467" y="4109376"/>
                </a:lnTo>
                <a:lnTo>
                  <a:pt x="81146" y="4158233"/>
                </a:lnTo>
                <a:lnTo>
                  <a:pt x="91418" y="4206875"/>
                </a:lnTo>
                <a:lnTo>
                  <a:pt x="102277" y="4255298"/>
                </a:lnTo>
                <a:lnTo>
                  <a:pt x="113721" y="4303496"/>
                </a:lnTo>
                <a:lnTo>
                  <a:pt x="125745" y="4351468"/>
                </a:lnTo>
                <a:lnTo>
                  <a:pt x="138346" y="4399208"/>
                </a:lnTo>
                <a:lnTo>
                  <a:pt x="151519" y="4446713"/>
                </a:lnTo>
                <a:lnTo>
                  <a:pt x="165261" y="4493979"/>
                </a:lnTo>
                <a:lnTo>
                  <a:pt x="179568" y="4541001"/>
                </a:lnTo>
                <a:lnTo>
                  <a:pt x="194435" y="4587777"/>
                </a:lnTo>
                <a:lnTo>
                  <a:pt x="209859" y="4634302"/>
                </a:lnTo>
                <a:lnTo>
                  <a:pt x="225836" y="4680571"/>
                </a:lnTo>
                <a:lnTo>
                  <a:pt x="242363" y="4726583"/>
                </a:lnTo>
                <a:lnTo>
                  <a:pt x="259434" y="4772331"/>
                </a:lnTo>
                <a:lnTo>
                  <a:pt x="277046" y="4817813"/>
                </a:lnTo>
                <a:lnTo>
                  <a:pt x="295196" y="4863024"/>
                </a:lnTo>
                <a:lnTo>
                  <a:pt x="313878" y="4907961"/>
                </a:lnTo>
                <a:lnTo>
                  <a:pt x="333091" y="4952619"/>
                </a:lnTo>
                <a:lnTo>
                  <a:pt x="352828" y="4996995"/>
                </a:lnTo>
                <a:lnTo>
                  <a:pt x="373088" y="5041085"/>
                </a:lnTo>
                <a:lnTo>
                  <a:pt x="393865" y="5084885"/>
                </a:lnTo>
                <a:lnTo>
                  <a:pt x="415155" y="5128391"/>
                </a:lnTo>
                <a:lnTo>
                  <a:pt x="436956" y="5171598"/>
                </a:lnTo>
                <a:lnTo>
                  <a:pt x="459262" y="5214504"/>
                </a:lnTo>
                <a:lnTo>
                  <a:pt x="482070" y="5257104"/>
                </a:lnTo>
                <a:lnTo>
                  <a:pt x="505376" y="5299394"/>
                </a:lnTo>
                <a:lnTo>
                  <a:pt x="529177" y="5341371"/>
                </a:lnTo>
                <a:lnTo>
                  <a:pt x="553467" y="5383029"/>
                </a:lnTo>
                <a:lnTo>
                  <a:pt x="578244" y="5424367"/>
                </a:lnTo>
                <a:lnTo>
                  <a:pt x="603503" y="5465379"/>
                </a:lnTo>
                <a:lnTo>
                  <a:pt x="629241" y="5506061"/>
                </a:lnTo>
                <a:lnTo>
                  <a:pt x="655453" y="5546410"/>
                </a:lnTo>
                <a:lnTo>
                  <a:pt x="682135" y="5586422"/>
                </a:lnTo>
                <a:lnTo>
                  <a:pt x="709285" y="5626093"/>
                </a:lnTo>
                <a:lnTo>
                  <a:pt x="736897" y="5665419"/>
                </a:lnTo>
                <a:lnTo>
                  <a:pt x="764967" y="5704395"/>
                </a:lnTo>
                <a:lnTo>
                  <a:pt x="793493" y="5743019"/>
                </a:lnTo>
                <a:lnTo>
                  <a:pt x="822470" y="5781286"/>
                </a:lnTo>
                <a:lnTo>
                  <a:pt x="851894" y="5819192"/>
                </a:lnTo>
                <a:lnTo>
                  <a:pt x="881760" y="5856734"/>
                </a:lnTo>
                <a:lnTo>
                  <a:pt x="912066" y="5893907"/>
                </a:lnTo>
                <a:lnTo>
                  <a:pt x="942808" y="5930707"/>
                </a:lnTo>
                <a:lnTo>
                  <a:pt x="973981" y="5967131"/>
                </a:lnTo>
                <a:lnTo>
                  <a:pt x="1005581" y="6003174"/>
                </a:lnTo>
                <a:lnTo>
                  <a:pt x="1037604" y="6038834"/>
                </a:lnTo>
                <a:lnTo>
                  <a:pt x="1070048" y="6074105"/>
                </a:lnTo>
                <a:lnTo>
                  <a:pt x="1102907" y="6108983"/>
                </a:lnTo>
                <a:lnTo>
                  <a:pt x="1136177" y="6143466"/>
                </a:lnTo>
                <a:lnTo>
                  <a:pt x="1169856" y="6177549"/>
                </a:lnTo>
                <a:lnTo>
                  <a:pt x="1203938" y="6211228"/>
                </a:lnTo>
                <a:lnTo>
                  <a:pt x="1238421" y="6244499"/>
                </a:lnTo>
                <a:lnTo>
                  <a:pt x="1273299" y="6277358"/>
                </a:lnTo>
                <a:lnTo>
                  <a:pt x="1308570" y="6309802"/>
                </a:lnTo>
                <a:lnTo>
                  <a:pt x="1344229" y="6341826"/>
                </a:lnTo>
                <a:lnTo>
                  <a:pt x="1380272" y="6373426"/>
                </a:lnTo>
                <a:lnTo>
                  <a:pt x="1416696" y="6404599"/>
                </a:lnTo>
                <a:lnTo>
                  <a:pt x="1453496" y="6435341"/>
                </a:lnTo>
                <a:lnTo>
                  <a:pt x="1490668" y="6465647"/>
                </a:lnTo>
                <a:lnTo>
                  <a:pt x="1528209" y="6495514"/>
                </a:lnTo>
                <a:lnTo>
                  <a:pt x="1566115" y="6524938"/>
                </a:lnTo>
                <a:lnTo>
                  <a:pt x="1604382" y="6553915"/>
                </a:lnTo>
                <a:lnTo>
                  <a:pt x="1643006" y="6582441"/>
                </a:lnTo>
                <a:lnTo>
                  <a:pt x="1681982" y="6610512"/>
                </a:lnTo>
                <a:lnTo>
                  <a:pt x="1721308" y="6638124"/>
                </a:lnTo>
                <a:lnTo>
                  <a:pt x="1760978" y="6665274"/>
                </a:lnTo>
                <a:lnTo>
                  <a:pt x="1800990" y="6691957"/>
                </a:lnTo>
                <a:lnTo>
                  <a:pt x="1841339" y="6718169"/>
                </a:lnTo>
                <a:lnTo>
                  <a:pt x="1882022" y="6743906"/>
                </a:lnTo>
                <a:lnTo>
                  <a:pt x="1923034" y="6769166"/>
                </a:lnTo>
                <a:lnTo>
                  <a:pt x="2066544" y="6851647"/>
                </a:lnTo>
                <a:lnTo>
                  <a:pt x="5920486" y="6851647"/>
                </a:lnTo>
                <a:lnTo>
                  <a:pt x="5979795" y="6815648"/>
                </a:lnTo>
                <a:lnTo>
                  <a:pt x="5979795" y="0"/>
                </a:lnTo>
                <a:close/>
              </a:path>
            </a:pathLst>
          </a:custGeom>
          <a:solidFill>
            <a:srgbClr val="FFFFFF"/>
          </a:solidFill>
        </p:spPr>
        <p:txBody>
          <a:bodyPr wrap="square" lIns="0" tIns="0" rIns="0" bIns="0" rtlCol="0"/>
          <a:lstStyle/>
          <a:p>
            <a:pPr rtl="0"/>
            <a:endParaRPr lang="en-CA"/>
          </a:p>
        </p:txBody>
      </p:sp>
      <p:sp>
        <p:nvSpPr>
          <p:cNvPr id="12" name="bg object 18">
            <a:extLst>
              <a:ext uri="{FF2B5EF4-FFF2-40B4-BE49-F238E27FC236}">
                <a16:creationId xmlns:a16="http://schemas.microsoft.com/office/drawing/2014/main" id="{207C514D-D80D-8CBE-3E9B-56612FB24F66}"/>
              </a:ext>
            </a:extLst>
          </p:cNvPr>
          <p:cNvSpPr/>
          <p:nvPr userDrawn="1"/>
        </p:nvSpPr>
        <p:spPr bwMode="ltGray">
          <a:xfrm>
            <a:off x="0" y="6725919"/>
            <a:ext cx="12192000" cy="132080"/>
          </a:xfrm>
          <a:custGeom>
            <a:avLst/>
            <a:gdLst/>
            <a:ahLst/>
            <a:cxnLst/>
            <a:rect l="l" t="t" r="r" b="b"/>
            <a:pathLst>
              <a:path w="12192000" h="132079">
                <a:moveTo>
                  <a:pt x="12192000" y="0"/>
                </a:moveTo>
                <a:lnTo>
                  <a:pt x="0" y="0"/>
                </a:lnTo>
                <a:lnTo>
                  <a:pt x="0" y="132079"/>
                </a:lnTo>
                <a:lnTo>
                  <a:pt x="12192000" y="132079"/>
                </a:lnTo>
                <a:lnTo>
                  <a:pt x="12192000" y="0"/>
                </a:lnTo>
                <a:close/>
              </a:path>
            </a:pathLst>
          </a:custGeom>
          <a:solidFill>
            <a:srgbClr val="D51117"/>
          </a:solidFill>
        </p:spPr>
        <p:txBody>
          <a:bodyPr wrap="square" lIns="0" tIns="0" rIns="0" bIns="0" rtlCol="0"/>
          <a:lstStyle/>
          <a:p>
            <a:pPr rtl="0"/>
            <a:endParaRPr lang="en-CA"/>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5" name="object 2">
            <a:extLst>
              <a:ext uri="{FF2B5EF4-FFF2-40B4-BE49-F238E27FC236}">
                <a16:creationId xmlns:a16="http://schemas.microsoft.com/office/drawing/2014/main" id="{4AEDFD37-AC25-25F8-B568-938B7E1C7F2D}"/>
              </a:ext>
            </a:extLst>
          </p:cNvPr>
          <p:cNvSpPr txBox="1">
            <a:spLocks/>
          </p:cNvSpPr>
          <p:nvPr userDrawn="1"/>
        </p:nvSpPr>
        <p:spPr bwMode="ltGray">
          <a:xfrm>
            <a:off x="8476397" y="1167892"/>
            <a:ext cx="3272691" cy="1782539"/>
          </a:xfrm>
          <a:prstGeom prst="rect">
            <a:avLst/>
          </a:prstGeom>
          <a:noFill/>
          <a:ln/>
          <a:extLst>
            <a:ext uri="{909E8E84-426E-40DD-AFC4-6F175D3DCCD1}">
              <a14:hiddenFill xmlns:a14="http://schemas.microsoft.com/office/drawing/2010/main">
                <a:solidFill>
                  <a:srgbClr val="FFFFFF"/>
                </a:solidFill>
              </a14:hiddenFill>
            </a:ext>
          </a:extLst>
        </p:spPr>
        <p:txBody>
          <a:bodyPr vert="horz" wrap="none" lIns="0" tIns="12700" rIns="0" bIns="0" rtlCol="0" anchor="t" anchorCtr="0">
            <a:spAutoFit/>
          </a:bodyPr>
          <a:lst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a:lstStyle>
          <a:p>
            <a:pPr>
              <a:spcBef>
                <a:spcPts val="100"/>
              </a:spcBef>
            </a:pPr>
            <a:r>
              <a:rPr lang="en-CA" sz="11500" spc="-20">
                <a:latin typeface="+mn-lt"/>
                <a:cs typeface="Arial"/>
              </a:rPr>
              <a:t>2026</a:t>
            </a:r>
            <a:endParaRPr lang="en-CA" sz="11500">
              <a:latin typeface="+mn-lt"/>
              <a:cs typeface="Arial"/>
            </a:endParaRPr>
          </a:p>
        </p:txBody>
      </p:sp>
      <p:pic>
        <p:nvPicPr>
          <p:cNvPr id="6" name="object 4">
            <a:extLst>
              <a:ext uri="{FF2B5EF4-FFF2-40B4-BE49-F238E27FC236}">
                <a16:creationId xmlns:a16="http://schemas.microsoft.com/office/drawing/2014/main" id="{B7435847-B131-4EFD-9BC8-2F0FFDFDFA30}"/>
              </a:ext>
            </a:extLst>
          </p:cNvPr>
          <p:cNvPicPr/>
          <p:nvPr userDrawn="1"/>
        </p:nvPicPr>
        <p:blipFill>
          <a:blip r:embed="rId9" cstate="email">
            <a:duotone>
              <a:prstClr val="black"/>
              <a:srgbClr val="D9C3A5">
                <a:tint val="50000"/>
                <a:satMod val="180000"/>
              </a:srgbClr>
            </a:duotone>
            <a:extLst>
              <a:ext uri="{BEBA8EAE-BF5A-486C-A8C5-ECC9F3942E4B}">
                <a14:imgProps xmlns:a14="http://schemas.microsoft.com/office/drawing/2010/main">
                  <a14:imgLayer r:embed="rId10">
                    <a14:imgEffect>
                      <a14:colorTemperature colorTemp="5300"/>
                    </a14:imgEffect>
                  </a14:imgLayer>
                </a14:imgProps>
              </a:ext>
              <a:ext uri="{28A0092B-C50C-407E-A947-70E740481C1C}">
                <a14:useLocalDpi xmlns:a14="http://schemas.microsoft.com/office/drawing/2010/main"/>
              </a:ext>
            </a:extLst>
          </a:blip>
          <a:stretch>
            <a:fillRect/>
          </a:stretch>
        </p:blipFill>
        <p:spPr bwMode="ltGray">
          <a:xfrm>
            <a:off x="3581400" y="2872075"/>
            <a:ext cx="8610600" cy="3989099"/>
          </a:xfrm>
          <a:prstGeom prst="rect">
            <a:avLst/>
          </a:prstGeom>
        </p:spPr>
      </p:pic>
      <p:pic>
        <p:nvPicPr>
          <p:cNvPr id="8" name="object 6">
            <a:extLst>
              <a:ext uri="{FF2B5EF4-FFF2-40B4-BE49-F238E27FC236}">
                <a16:creationId xmlns:a16="http://schemas.microsoft.com/office/drawing/2014/main" id="{DBD37826-3F37-9B6C-323D-AA7DEE152D6A}"/>
              </a:ext>
            </a:extLst>
          </p:cNvPr>
          <p:cNvPicPr/>
          <p:nvPr userDrawn="1"/>
        </p:nvPicPr>
        <p:blipFill>
          <a:blip r:embed="rId11" cstate="print">
            <a:extLst>
              <a:ext uri="{28A0092B-C50C-407E-A947-70E740481C1C}">
                <a14:useLocalDpi xmlns:a14="http://schemas.microsoft.com/office/drawing/2010/main"/>
              </a:ext>
            </a:extLst>
          </a:blip>
          <a:stretch>
            <a:fillRect/>
          </a:stretch>
        </p:blipFill>
        <p:spPr bwMode="ltGray">
          <a:xfrm>
            <a:off x="9793986" y="0"/>
            <a:ext cx="2186939" cy="1311910"/>
          </a:xfrm>
          <a:prstGeom prst="rect">
            <a:avLst/>
          </a:prstGeom>
        </p:spPr>
      </p:pic>
      <p:pic>
        <p:nvPicPr>
          <p:cNvPr id="14" name="Picture 13">
            <a:extLst>
              <a:ext uri="{FF2B5EF4-FFF2-40B4-BE49-F238E27FC236}">
                <a16:creationId xmlns:a16="http://schemas.microsoft.com/office/drawing/2014/main" id="{BA0527D8-134F-D6CD-3038-7E1A130CB395}"/>
              </a:ext>
            </a:extLst>
          </p:cNvPr>
          <p:cNvPicPr>
            <a:picLocks noChangeAspect="1"/>
          </p:cNvPicPr>
          <p:nvPr userDrawn="1"/>
        </p:nvPicPr>
        <p:blipFill>
          <a:blip r:embed="rId12"/>
          <a:srcRect l="13114" t="38701" r="12969" b="36443"/>
          <a:stretch>
            <a:fillRect/>
          </a:stretch>
        </p:blipFill>
        <p:spPr bwMode="ltGray">
          <a:xfrm>
            <a:off x="554735" y="5999541"/>
            <a:ext cx="2463473" cy="500748"/>
          </a:xfrm>
          <a:prstGeom prst="rect">
            <a:avLst/>
          </a:prstGeom>
        </p:spPr>
      </p:pic>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bwMode="ltGray">
          <a:xfrm>
            <a:off x="550800" y="5410730"/>
            <a:ext cx="542785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solidFill>
                  <a:srgbClr val="C00000"/>
                </a:solidFill>
              </a:defRPr>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bwMode="ltGray">
          <a:xfrm>
            <a:off x="550800" y="4707104"/>
            <a:ext cx="5427855" cy="2769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800" dirty="0">
                <a:solidFill>
                  <a:srgbClr val="C00000"/>
                </a:solidFill>
              </a:defRPr>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hasCustomPrompt="1"/>
            <p:custDataLst>
              <p:tags r:id="rId5"/>
            </p:custDataLst>
          </p:nvPr>
        </p:nvSpPr>
        <p:spPr bwMode="ltGray">
          <a:xfrm>
            <a:off x="550800" y="2403039"/>
            <a:ext cx="5427855" cy="221599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800" b="1" kern="1200" spc="0" baseline="0" dirty="0">
                <a:ln w="6350" cap="flat">
                  <a:noFill/>
                  <a:miter lim="800000"/>
                </a:ln>
                <a:solidFill>
                  <a:srgbClr val="C00000"/>
                </a:solidFill>
                <a:latin typeface="+mj-lt"/>
                <a:ea typeface="+mj-ea"/>
                <a:cs typeface="+mj-cs"/>
              </a:defRPr>
            </a:lvl1pPr>
          </a:lstStyle>
          <a:p>
            <a:pPr lvl="0" algn="l" defTabSz="914400" rtl="0" eaLnBrk="1" latinLnBrk="0" hangingPunct="1">
              <a:lnSpc>
                <a:spcPct val="100000"/>
              </a:lnSpc>
              <a:spcBef>
                <a:spcPct val="0"/>
              </a:spcBef>
              <a:buNone/>
            </a:pPr>
            <a:r>
              <a:rPr lang="en-US"/>
              <a:t>Click to edit </a:t>
            </a:r>
            <a:br>
              <a:rPr lang="en-US"/>
            </a:br>
            <a:r>
              <a:rPr lang="en-US"/>
              <a:t>Master </a:t>
            </a:r>
            <a:br>
              <a:rPr lang="en-US"/>
            </a:br>
            <a:r>
              <a:rPr lang="en-US"/>
              <a:t>title style</a:t>
            </a:r>
          </a:p>
        </p:txBody>
      </p:sp>
    </p:spTree>
    <p:extLst>
      <p:ext uri="{BB962C8B-B14F-4D97-AF65-F5344CB8AC3E}">
        <p14:creationId xmlns:p14="http://schemas.microsoft.com/office/powerpoint/2010/main" val="78664935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576543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5" y="637721"/>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18882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172212"/>
            <a:ext cx="10197084"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solidFill>
                  <a:schemeClr val="accent1"/>
                </a:solidFill>
              </a:defRPr>
            </a:lvl1pPr>
          </a:lstStyle>
          <a:p>
            <a:pPr lvl="0"/>
            <a:r>
              <a:rPr lang="en-US"/>
              <a:t>Click to edit Master title style</a:t>
            </a:r>
          </a:p>
        </p:txBody>
      </p:sp>
    </p:spTree>
    <p:extLst>
      <p:ext uri="{BB962C8B-B14F-4D97-AF65-F5344CB8AC3E}">
        <p14:creationId xmlns:p14="http://schemas.microsoft.com/office/powerpoint/2010/main" val="61472315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line + Subtitle">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69388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bwMode="gray">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9" name="Sticker" hidden="1">
            <a:extLst>
              <a:ext uri="{FF2B5EF4-FFF2-40B4-BE49-F238E27FC236}">
                <a16:creationId xmlns:a16="http://schemas.microsoft.com/office/drawing/2014/main" id="{64F3132B-1605-45D5-B06F-B703D774997D}"/>
              </a:ext>
            </a:extLst>
          </p:cNvPr>
          <p:cNvSpPr txBox="1"/>
          <p:nvPr userDrawn="1"/>
        </p:nvSpPr>
        <p:spPr bwMode="gray">
          <a:xfrm>
            <a:off x="558489" y="1401800"/>
            <a:ext cx="450444" cy="123111"/>
          </a:xfrm>
          <a:prstGeom prst="rect">
            <a:avLst/>
          </a:prstGeom>
          <a:noFill/>
          <a:ln w="6350">
            <a:noFill/>
            <a:miter lim="800000"/>
          </a:ln>
        </p:spPr>
        <p:txBody>
          <a:bodyPr vert="horz" wrap="none" lIns="0" tIns="0" rIns="0" bIns="0" rtlCol="0">
            <a:spAutoFit/>
          </a:bodyPr>
          <a:lstStyle/>
          <a:p>
            <a:pPr algn="l" rtl="0">
              <a:spcBef>
                <a:spcPts val="300"/>
              </a:spcBef>
              <a:spcAft>
                <a:spcPts val="300"/>
              </a:spcAft>
              <a:buNone/>
            </a:pPr>
            <a:r>
              <a:rPr lang="en-US" sz="800" b="1" cap="all" baseline="0"/>
              <a:t>STICKER</a:t>
            </a:r>
          </a:p>
        </p:txBody>
      </p:sp>
      <p:sp>
        <p:nvSpPr>
          <p:cNvPr id="14" name="3. Subtitle">
            <a:extLst>
              <a:ext uri="{FF2B5EF4-FFF2-40B4-BE49-F238E27FC236}">
                <a16:creationId xmlns:a16="http://schemas.microsoft.com/office/drawing/2014/main" id="{D4D36123-678D-4B6C-A648-186F85BE34AE}"/>
              </a:ext>
            </a:extLst>
          </p:cNvPr>
          <p:cNvSpPr>
            <a:spLocks noGrp="1"/>
          </p:cNvSpPr>
          <p:nvPr userDrawn="1">
            <p:ph type="subTitle" idx="1"/>
            <p:custDataLst>
              <p:tags r:id="rId3"/>
            </p:custDataLst>
          </p:nvPr>
        </p:nvSpPr>
        <p:spPr bwMode="gray">
          <a:xfrm>
            <a:off x="554736" y="1022441"/>
            <a:ext cx="11082528" cy="246221"/>
          </a:xfrm>
          <a:prstGeom prst="rect">
            <a:avLst/>
          </a:prstGeom>
        </p:spPr>
        <p:txBody>
          <a:bodyPr wrap="square">
            <a:no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gray">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bwMode="gray">
          <a:xfrm>
            <a:off x="18882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userDrawn="1">
            <p:ph type="body" sz="quarter" idx="10" hasCustomPrompt="1"/>
            <p:custDataLst>
              <p:tags r:id="rId6"/>
            </p:custDataLst>
          </p:nvPr>
        </p:nvSpPr>
        <p:spPr bwMode="gray">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userDrawn="1">
            <p:ph type="title" hasCustomPrompt="1"/>
            <p:custDataLst>
              <p:tags r:id="rId7"/>
            </p:custDataLst>
          </p:nvPr>
        </p:nvSpPr>
        <p:spPr bwMode="gray">
          <a:xfrm>
            <a:off x="554736" y="172212"/>
            <a:ext cx="10197082" cy="769441"/>
          </a:xfrm>
          <a:prstGeom prst="rect">
            <a:avLst/>
          </a:prstGeom>
        </p:spPr>
        <p:txBody>
          <a:bodyPr vert="horz" wrap="square" lIns="0" tIns="0" rIns="0" bIns="0" rtlCol="0" anchor="t" anchorCtr="0">
            <a:noAutofit/>
          </a:bodyPr>
          <a:lstStyle>
            <a:lvl1pPr>
              <a:defRPr/>
            </a:lvl1pPr>
          </a:lstStyle>
          <a:p>
            <a:r>
              <a:rPr lang="en-US"/>
              <a:t>Click to edit </a:t>
            </a:r>
            <a:br>
              <a:rPr lang="en-US"/>
            </a:br>
            <a:r>
              <a:rPr lang="en-US"/>
              <a:t>Master title style</a:t>
            </a:r>
            <a:br>
              <a:rPr lang="en-US"/>
            </a:br>
            <a:endParaRPr lang="en-US"/>
          </a:p>
        </p:txBody>
      </p:sp>
    </p:spTree>
    <p:extLst>
      <p:ext uri="{BB962C8B-B14F-4D97-AF65-F5344CB8AC3E}">
        <p14:creationId xmlns:p14="http://schemas.microsoft.com/office/powerpoint/2010/main" val="263314010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42748583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307970749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2445357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408557"/>
            <a:ext cx="3813048" cy="769441"/>
          </a:xfrm>
          <a:prstGeom prst="rect">
            <a:avLst/>
          </a:prstGeom>
        </p:spPr>
        <p:txBody>
          <a:bodyPr vert="horz" anchor="t">
            <a:noAutofit/>
          </a:bodyPr>
          <a:lstStyle>
            <a:lvl1pPr rtl="0">
              <a:lnSpc>
                <a:spcPct val="100000"/>
              </a:lnSpc>
              <a:defRPr>
                <a:ln w="6350" cap="flat">
                  <a:noFill/>
                  <a:miter lim="800000"/>
                </a:ln>
              </a:defRPr>
            </a:lvl1pPr>
          </a:lstStyle>
          <a:p>
            <a:r>
              <a:rPr lang="en-US"/>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18882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171250846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19569509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18882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280258504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2967500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3226251"/>
            <a:ext cx="4357692" cy="2031325"/>
          </a:xfrm>
        </p:spPr>
        <p:txBody>
          <a:bodyPr vert="horz" anchor="b">
            <a:spAutoFit/>
          </a:bodyPr>
          <a:lstStyle>
            <a:lvl1pPr rtl="0">
              <a:lnSpc>
                <a:spcPct val="100000"/>
              </a:lnSpc>
              <a:defRPr sz="4400"/>
            </a:lvl1pPr>
          </a:lstStyle>
          <a:p>
            <a:r>
              <a:rPr lang="en-US"/>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18882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92744252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27465036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nchor="b">
            <a:spAutoFit/>
          </a:bodyPr>
          <a:lstStyle>
            <a:lvl1pPr rtl="0">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18882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171832190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17684763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FFE7E7"/>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6"/>
            </p:custDataLst>
          </p:nvPr>
        </p:nvSpPr>
        <p:spPr>
          <a:xfrm>
            <a:off x="18882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7"/>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BD1E8CEA-59CA-420E-955C-4C9FBA24773C}"/>
              </a:ext>
            </a:extLst>
          </p:cNvPr>
          <p:cNvSpPr>
            <a:spLocks noGrp="1"/>
          </p:cNvSpPr>
          <p:nvPr>
            <p:ph type="title"/>
            <p:custDataLst>
              <p:tags r:id="rId8"/>
            </p:custDataLst>
          </p:nvPr>
        </p:nvSpPr>
        <p:spPr>
          <a:xfrm>
            <a:off x="554736" y="2744369"/>
            <a:ext cx="2514600" cy="769441"/>
          </a:xfrm>
          <a:prstGeom prst="rect">
            <a:avLst/>
          </a:prstGeom>
        </p:spPr>
        <p:txBody>
          <a:bodyPr vert="horz" wrap="square" lIns="0" tIns="0" rIns="0" bIns="0" rtlCol="0" anchor="b" anchorCtr="0">
            <a:noAutofit/>
          </a:bodyPr>
          <a:lstStyle/>
          <a:p>
            <a:pPr lvl="0"/>
            <a:r>
              <a:rPr lang="en-US"/>
              <a:t>Click to edit Master title style</a:t>
            </a:r>
          </a:p>
        </p:txBody>
      </p:sp>
      <p:pic>
        <p:nvPicPr>
          <p:cNvPr id="7" name="Picture 6">
            <a:extLst>
              <a:ext uri="{FF2B5EF4-FFF2-40B4-BE49-F238E27FC236}">
                <a16:creationId xmlns:a16="http://schemas.microsoft.com/office/drawing/2014/main" id="{1BBA71EB-3564-C551-AC2A-0AFAB40AC250}"/>
              </a:ext>
            </a:extLst>
          </p:cNvPr>
          <p:cNvPicPr>
            <a:picLocks noChangeAspect="1"/>
          </p:cNvPicPr>
          <p:nvPr userDrawn="1"/>
        </p:nvPicPr>
        <p:blipFill>
          <a:blip r:embed="rId12"/>
          <a:srcRect l="13114" t="38701" r="12969" b="36443"/>
          <a:stretch>
            <a:fillRect/>
          </a:stretch>
        </p:blipFill>
        <p:spPr bwMode="ltGray">
          <a:xfrm>
            <a:off x="554736" y="6254067"/>
            <a:ext cx="1211306" cy="246221"/>
          </a:xfrm>
          <a:prstGeom prst="rect">
            <a:avLst/>
          </a:prstGeom>
        </p:spPr>
      </p:pic>
      <p:pic>
        <p:nvPicPr>
          <p:cNvPr id="8" name="Picture 7">
            <a:extLst>
              <a:ext uri="{FF2B5EF4-FFF2-40B4-BE49-F238E27FC236}">
                <a16:creationId xmlns:a16="http://schemas.microsoft.com/office/drawing/2014/main" id="{A4B40A38-CEB3-3943-C59F-5598795A4378}"/>
              </a:ext>
            </a:extLst>
          </p:cNvPr>
          <p:cNvPicPr>
            <a:picLocks noChangeAspect="1"/>
          </p:cNvPicPr>
          <p:nvPr userDrawn="1"/>
        </p:nvPicPr>
        <p:blipFill>
          <a:blip r:embed="rId13" cstate="print">
            <a:extLst>
              <a:ext uri="{28A0092B-C50C-407E-A947-70E740481C1C}">
                <a14:useLocalDpi xmlns:a14="http://schemas.microsoft.com/office/drawing/2010/main" val="0"/>
              </a:ext>
            </a:extLst>
          </a:blip>
          <a:srcRect/>
          <a:stretch/>
        </p:blipFill>
        <p:spPr bwMode="ltGray">
          <a:xfrm>
            <a:off x="10936538" y="183978"/>
            <a:ext cx="712156" cy="361189"/>
          </a:xfrm>
          <a:prstGeom prst="rect">
            <a:avLst/>
          </a:prstGeom>
        </p:spPr>
      </p:pic>
    </p:spTree>
    <p:extLst>
      <p:ext uri="{BB962C8B-B14F-4D97-AF65-F5344CB8AC3E}">
        <p14:creationId xmlns:p14="http://schemas.microsoft.com/office/powerpoint/2010/main" val="255838021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1973916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FFE7E7"/>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6"/>
            </p:custDataLst>
          </p:nvPr>
        </p:nvSpPr>
        <p:spPr>
          <a:xfrm>
            <a:off x="18882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554735" y="41597"/>
            <a:ext cx="3465577"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B064DA18-FA54-43C0-B981-F306F40179F4}"/>
              </a:ext>
            </a:extLst>
          </p:cNvPr>
          <p:cNvSpPr>
            <a:spLocks noGrp="1"/>
          </p:cNvSpPr>
          <p:nvPr>
            <p:ph type="title"/>
            <p:custDataLst>
              <p:tags r:id="rId8"/>
            </p:custDataLst>
          </p:nvPr>
        </p:nvSpPr>
        <p:spPr>
          <a:xfrm>
            <a:off x="554736" y="2744369"/>
            <a:ext cx="3465574" cy="769441"/>
          </a:xfrm>
          <a:prstGeom prst="rect">
            <a:avLst/>
          </a:prstGeom>
        </p:spPr>
        <p:txBody>
          <a:bodyPr vert="horz" wrap="square" lIns="0" tIns="0" rIns="0" bIns="0" rtlCol="0" anchor="b" anchorCtr="0">
            <a:noAutofit/>
          </a:bodyPr>
          <a:lstStyle/>
          <a:p>
            <a:pPr lvl="0"/>
            <a:r>
              <a:rPr lang="en-US"/>
              <a:t>Click to edit Master title style</a:t>
            </a:r>
          </a:p>
        </p:txBody>
      </p:sp>
      <p:pic>
        <p:nvPicPr>
          <p:cNvPr id="2" name="Picture 1">
            <a:extLst>
              <a:ext uri="{FF2B5EF4-FFF2-40B4-BE49-F238E27FC236}">
                <a16:creationId xmlns:a16="http://schemas.microsoft.com/office/drawing/2014/main" id="{D2927848-4E51-0CBD-E9AD-B762082CE529}"/>
              </a:ext>
            </a:extLst>
          </p:cNvPr>
          <p:cNvPicPr>
            <a:picLocks noChangeAspect="1"/>
          </p:cNvPicPr>
          <p:nvPr userDrawn="1"/>
        </p:nvPicPr>
        <p:blipFill>
          <a:blip r:embed="rId12"/>
          <a:srcRect l="13114" t="38701" r="12969" b="36443"/>
          <a:stretch>
            <a:fillRect/>
          </a:stretch>
        </p:blipFill>
        <p:spPr bwMode="ltGray">
          <a:xfrm>
            <a:off x="554736" y="6254067"/>
            <a:ext cx="1211306" cy="246221"/>
          </a:xfrm>
          <a:prstGeom prst="rect">
            <a:avLst/>
          </a:prstGeom>
        </p:spPr>
      </p:pic>
      <p:pic>
        <p:nvPicPr>
          <p:cNvPr id="5" name="Picture 4">
            <a:extLst>
              <a:ext uri="{FF2B5EF4-FFF2-40B4-BE49-F238E27FC236}">
                <a16:creationId xmlns:a16="http://schemas.microsoft.com/office/drawing/2014/main" id="{C2A5859A-BAB2-457D-C726-D9A7DAB9466E}"/>
              </a:ext>
            </a:extLst>
          </p:cNvPr>
          <p:cNvPicPr>
            <a:picLocks noChangeAspect="1"/>
          </p:cNvPicPr>
          <p:nvPr userDrawn="1"/>
        </p:nvPicPr>
        <p:blipFill>
          <a:blip r:embed="rId13" cstate="print">
            <a:extLst>
              <a:ext uri="{28A0092B-C50C-407E-A947-70E740481C1C}">
                <a14:useLocalDpi xmlns:a14="http://schemas.microsoft.com/office/drawing/2010/main" val="0"/>
              </a:ext>
            </a:extLst>
          </a:blip>
          <a:srcRect/>
          <a:stretch/>
        </p:blipFill>
        <p:spPr bwMode="ltGray">
          <a:xfrm>
            <a:off x="10936538" y="183978"/>
            <a:ext cx="712156" cy="361189"/>
          </a:xfrm>
          <a:prstGeom prst="rect">
            <a:avLst/>
          </a:prstGeom>
        </p:spPr>
      </p:pic>
    </p:spTree>
    <p:extLst>
      <p:ext uri="{BB962C8B-B14F-4D97-AF65-F5344CB8AC3E}">
        <p14:creationId xmlns:p14="http://schemas.microsoft.com/office/powerpoint/2010/main" val="236149450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4001161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FFE7E7"/>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hasCustomPrompt="1"/>
            <p:custDataLst>
              <p:tags r:id="rId5"/>
            </p:custDataLst>
          </p:nvPr>
        </p:nvSpPr>
        <p:spPr>
          <a:xfrm>
            <a:off x="554736" y="172212"/>
            <a:ext cx="5065776" cy="769441"/>
          </a:xfrm>
        </p:spPr>
        <p:txBody>
          <a:bodyPr vert="horz">
            <a:spAutoFit/>
          </a:bodyPr>
          <a:lstStyle>
            <a:lvl1pPr rtl="0">
              <a:defRPr/>
            </a:lvl1pPr>
          </a:lstStyle>
          <a:p>
            <a:r>
              <a:rPr lang="en-US"/>
              <a:t>Click to edit </a:t>
            </a:r>
            <a:br>
              <a:rPr lang="en-US"/>
            </a:br>
            <a:r>
              <a:rPr lang="en-US"/>
              <a:t>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1022441"/>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18882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5" name="Picture 4">
            <a:extLst>
              <a:ext uri="{FF2B5EF4-FFF2-40B4-BE49-F238E27FC236}">
                <a16:creationId xmlns:a16="http://schemas.microsoft.com/office/drawing/2014/main" id="{26D810A1-4618-DEE2-041E-9B380780DB43}"/>
              </a:ext>
            </a:extLst>
          </p:cNvPr>
          <p:cNvPicPr>
            <a:picLocks noChangeAspect="1"/>
          </p:cNvPicPr>
          <p:nvPr userDrawn="1"/>
        </p:nvPicPr>
        <p:blipFill>
          <a:blip r:embed="rId12"/>
          <a:srcRect l="13114" t="38701" r="12969" b="36443"/>
          <a:stretch>
            <a:fillRect/>
          </a:stretch>
        </p:blipFill>
        <p:spPr bwMode="ltGray">
          <a:xfrm>
            <a:off x="554736" y="6254067"/>
            <a:ext cx="1211306" cy="246221"/>
          </a:xfrm>
          <a:prstGeom prst="rect">
            <a:avLst/>
          </a:prstGeom>
        </p:spPr>
      </p:pic>
      <p:pic>
        <p:nvPicPr>
          <p:cNvPr id="6" name="Picture 5">
            <a:extLst>
              <a:ext uri="{FF2B5EF4-FFF2-40B4-BE49-F238E27FC236}">
                <a16:creationId xmlns:a16="http://schemas.microsoft.com/office/drawing/2014/main" id="{9818C6ED-0216-7EB6-EBCB-407ED19AA057}"/>
              </a:ext>
            </a:extLst>
          </p:cNvPr>
          <p:cNvPicPr>
            <a:picLocks noChangeAspect="1"/>
          </p:cNvPicPr>
          <p:nvPr userDrawn="1"/>
        </p:nvPicPr>
        <p:blipFill>
          <a:blip r:embed="rId13" cstate="print">
            <a:extLst>
              <a:ext uri="{28A0092B-C50C-407E-A947-70E740481C1C}">
                <a14:useLocalDpi xmlns:a14="http://schemas.microsoft.com/office/drawing/2010/main" val="0"/>
              </a:ext>
            </a:extLst>
          </a:blip>
          <a:srcRect/>
          <a:stretch/>
        </p:blipFill>
        <p:spPr bwMode="ltGray">
          <a:xfrm>
            <a:off x="10936538" y="183978"/>
            <a:ext cx="712156" cy="361189"/>
          </a:xfrm>
          <a:prstGeom prst="rect">
            <a:avLst/>
          </a:prstGeom>
        </p:spPr>
      </p:pic>
    </p:spTree>
    <p:extLst>
      <p:ext uri="{BB962C8B-B14F-4D97-AF65-F5344CB8AC3E}">
        <p14:creationId xmlns:p14="http://schemas.microsoft.com/office/powerpoint/2010/main" val="199838009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23799395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hasCustomPrompt="1"/>
            <p:custDataLst>
              <p:tags r:id="rId3"/>
            </p:custDataLst>
          </p:nvPr>
        </p:nvSpPr>
        <p:spPr>
          <a:xfrm>
            <a:off x="554736" y="172212"/>
            <a:ext cx="6967728" cy="769441"/>
          </a:xfrm>
        </p:spPr>
        <p:txBody>
          <a:bodyPr vert="horz">
            <a:spAutoFit/>
          </a:bodyPr>
          <a:lstStyle>
            <a:lvl1pPr rtl="0">
              <a:defRPr/>
            </a:lvl1pPr>
          </a:lstStyle>
          <a:p>
            <a:r>
              <a:rPr lang="en-US"/>
              <a:t>Click to edit </a:t>
            </a:r>
            <a:br>
              <a:rPr lang="en-US"/>
            </a:br>
            <a:r>
              <a:rPr lang="en-US"/>
              <a:t>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FFE7E7"/>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1022441"/>
            <a:ext cx="69677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18882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5" name="Picture 4">
            <a:extLst>
              <a:ext uri="{FF2B5EF4-FFF2-40B4-BE49-F238E27FC236}">
                <a16:creationId xmlns:a16="http://schemas.microsoft.com/office/drawing/2014/main" id="{ADAF6E16-0BFD-57C9-3E5B-0DF85DBD6550}"/>
              </a:ext>
            </a:extLst>
          </p:cNvPr>
          <p:cNvPicPr>
            <a:picLocks noChangeAspect="1"/>
          </p:cNvPicPr>
          <p:nvPr userDrawn="1"/>
        </p:nvPicPr>
        <p:blipFill>
          <a:blip r:embed="rId12"/>
          <a:srcRect l="13114" t="38701" r="12969" b="36443"/>
          <a:stretch>
            <a:fillRect/>
          </a:stretch>
        </p:blipFill>
        <p:spPr bwMode="ltGray">
          <a:xfrm>
            <a:off x="554736" y="6254067"/>
            <a:ext cx="1211306" cy="246221"/>
          </a:xfrm>
          <a:prstGeom prst="rect">
            <a:avLst/>
          </a:prstGeom>
        </p:spPr>
      </p:pic>
      <p:pic>
        <p:nvPicPr>
          <p:cNvPr id="6" name="Picture 5">
            <a:extLst>
              <a:ext uri="{FF2B5EF4-FFF2-40B4-BE49-F238E27FC236}">
                <a16:creationId xmlns:a16="http://schemas.microsoft.com/office/drawing/2014/main" id="{42F75E33-EEBC-4701-16B2-2C7BE25CB07C}"/>
              </a:ext>
            </a:extLst>
          </p:cNvPr>
          <p:cNvPicPr>
            <a:picLocks noChangeAspect="1"/>
          </p:cNvPicPr>
          <p:nvPr userDrawn="1"/>
        </p:nvPicPr>
        <p:blipFill>
          <a:blip r:embed="rId13" cstate="print">
            <a:extLst>
              <a:ext uri="{28A0092B-C50C-407E-A947-70E740481C1C}">
                <a14:useLocalDpi xmlns:a14="http://schemas.microsoft.com/office/drawing/2010/main" val="0"/>
              </a:ext>
            </a:extLst>
          </a:blip>
          <a:srcRect/>
          <a:stretch/>
        </p:blipFill>
        <p:spPr bwMode="ltGray">
          <a:xfrm>
            <a:off x="10936538" y="183978"/>
            <a:ext cx="712156" cy="361189"/>
          </a:xfrm>
          <a:prstGeom prst="rect">
            <a:avLst/>
          </a:prstGeom>
        </p:spPr>
      </p:pic>
    </p:spTree>
    <p:extLst>
      <p:ext uri="{BB962C8B-B14F-4D97-AF65-F5344CB8AC3E}">
        <p14:creationId xmlns:p14="http://schemas.microsoft.com/office/powerpoint/2010/main" val="233022697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35196010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FFE7E7"/>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hasCustomPrompt="1"/>
            <p:custDataLst>
              <p:tags r:id="rId5"/>
            </p:custDataLst>
          </p:nvPr>
        </p:nvSpPr>
        <p:spPr>
          <a:xfrm>
            <a:off x="554736" y="172212"/>
            <a:ext cx="7918704" cy="769441"/>
          </a:xfrm>
        </p:spPr>
        <p:txBody>
          <a:bodyPr vert="horz">
            <a:spAutoFit/>
          </a:bodyPr>
          <a:lstStyle>
            <a:lvl1pPr rtl="0">
              <a:defRPr/>
            </a:lvl1pPr>
          </a:lstStyle>
          <a:p>
            <a:r>
              <a:rPr lang="en-US"/>
              <a:t>Click to edit </a:t>
            </a:r>
            <a:br>
              <a:rPr lang="en-US"/>
            </a:br>
            <a:r>
              <a:rPr lang="en-US"/>
              <a:t>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1022441"/>
            <a:ext cx="7918704" cy="246221"/>
          </a:xfrm>
          <a:prstGeom prst="rect">
            <a:avLst/>
          </a:prstGeom>
        </p:spPr>
        <p:txBody>
          <a:bodyPr wrap="square">
            <a:spAutoFit/>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18882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5" name="Picture 4">
            <a:extLst>
              <a:ext uri="{FF2B5EF4-FFF2-40B4-BE49-F238E27FC236}">
                <a16:creationId xmlns:a16="http://schemas.microsoft.com/office/drawing/2014/main" id="{2586C837-862C-506F-87B0-023CF67D4928}"/>
              </a:ext>
            </a:extLst>
          </p:cNvPr>
          <p:cNvPicPr>
            <a:picLocks noChangeAspect="1"/>
          </p:cNvPicPr>
          <p:nvPr userDrawn="1"/>
        </p:nvPicPr>
        <p:blipFill>
          <a:blip r:embed="rId12"/>
          <a:srcRect l="13114" t="38701" r="12969" b="36443"/>
          <a:stretch>
            <a:fillRect/>
          </a:stretch>
        </p:blipFill>
        <p:spPr bwMode="ltGray">
          <a:xfrm>
            <a:off x="554736" y="6254067"/>
            <a:ext cx="1211306" cy="246221"/>
          </a:xfrm>
          <a:prstGeom prst="rect">
            <a:avLst/>
          </a:prstGeom>
        </p:spPr>
      </p:pic>
      <p:pic>
        <p:nvPicPr>
          <p:cNvPr id="6" name="Picture 5">
            <a:extLst>
              <a:ext uri="{FF2B5EF4-FFF2-40B4-BE49-F238E27FC236}">
                <a16:creationId xmlns:a16="http://schemas.microsoft.com/office/drawing/2014/main" id="{C9ED2461-F871-3D42-42BF-5976F485DFFA}"/>
              </a:ext>
            </a:extLst>
          </p:cNvPr>
          <p:cNvPicPr>
            <a:picLocks noChangeAspect="1"/>
          </p:cNvPicPr>
          <p:nvPr userDrawn="1"/>
        </p:nvPicPr>
        <p:blipFill>
          <a:blip r:embed="rId13" cstate="print">
            <a:extLst>
              <a:ext uri="{28A0092B-C50C-407E-A947-70E740481C1C}">
                <a14:useLocalDpi xmlns:a14="http://schemas.microsoft.com/office/drawing/2010/main" val="0"/>
              </a:ext>
            </a:extLst>
          </a:blip>
          <a:srcRect/>
          <a:stretch/>
        </p:blipFill>
        <p:spPr bwMode="ltGray">
          <a:xfrm>
            <a:off x="10936538" y="183978"/>
            <a:ext cx="712156" cy="361189"/>
          </a:xfrm>
          <a:prstGeom prst="rect">
            <a:avLst/>
          </a:prstGeom>
        </p:spPr>
      </p:pic>
    </p:spTree>
    <p:extLst>
      <p:ext uri="{BB962C8B-B14F-4D97-AF65-F5344CB8AC3E}">
        <p14:creationId xmlns:p14="http://schemas.microsoft.com/office/powerpoint/2010/main" val="262059887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38398954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hasCustomPrompt="1"/>
            <p:custDataLst>
              <p:tags r:id="rId4"/>
            </p:custDataLst>
          </p:nvPr>
        </p:nvSpPr>
        <p:spPr>
          <a:xfrm>
            <a:off x="554736" y="172212"/>
            <a:ext cx="10197083" cy="1154162"/>
          </a:xfrm>
        </p:spPr>
        <p:txBody>
          <a:bodyPr vert="horz" wrap="square">
            <a:spAutoFit/>
          </a:bodyPr>
          <a:lstStyle>
            <a:lvl1pPr rtl="0">
              <a:defRPr/>
            </a:lvl1pPr>
          </a:lstStyle>
          <a:p>
            <a:r>
              <a:rPr lang="en-US"/>
              <a:t>Click to edit Master title style</a:t>
            </a:r>
            <a:br>
              <a:rPr lang="en-US"/>
            </a:br>
            <a:br>
              <a:rPr lang="en-US"/>
            </a:br>
            <a:endParaRPr lang="en-US"/>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18882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9" name="Sticker" hidden="1">
            <a:extLst>
              <a:ext uri="{FF2B5EF4-FFF2-40B4-BE49-F238E27FC236}">
                <a16:creationId xmlns:a16="http://schemas.microsoft.com/office/drawing/2014/main" id="{2B5F1846-DB86-4338-8AFA-F2C1B534B900}"/>
              </a:ext>
            </a:extLst>
          </p:cNvPr>
          <p:cNvSpPr txBox="1"/>
          <p:nvPr userDrawn="1"/>
        </p:nvSpPr>
        <p:spPr>
          <a:xfrm>
            <a:off x="558489" y="1401800"/>
            <a:ext cx="450444" cy="123111"/>
          </a:xfrm>
          <a:prstGeom prst="rect">
            <a:avLst/>
          </a:prstGeom>
          <a:noFill/>
          <a:ln w="6350">
            <a:noFill/>
            <a:miter lim="800000"/>
          </a:ln>
        </p:spPr>
        <p:txBody>
          <a:bodyPr vert="horz" wrap="none" lIns="0" tIns="0" rIns="0" bIns="0" rtlCol="0">
            <a:spAutoFit/>
          </a:bodyPr>
          <a:lstStyle/>
          <a:p>
            <a:pPr algn="l" rtl="0">
              <a:spcBef>
                <a:spcPts val="300"/>
              </a:spcBef>
              <a:spcAft>
                <a:spcPts val="300"/>
              </a:spcAft>
              <a:buNone/>
            </a:pPr>
            <a:r>
              <a:rPr lang="en-US" sz="800" b="1" cap="all" baseline="0"/>
              <a:t>STICKER</a:t>
            </a:r>
          </a:p>
        </p:txBody>
      </p:sp>
      <p:pic>
        <p:nvPicPr>
          <p:cNvPr id="5" name="Picture 4">
            <a:extLst>
              <a:ext uri="{FF2B5EF4-FFF2-40B4-BE49-F238E27FC236}">
                <a16:creationId xmlns:a16="http://schemas.microsoft.com/office/drawing/2014/main" id="{E1772A0C-B2D4-12CF-6A43-B99BA6FC49B2}"/>
              </a:ext>
            </a:extLst>
          </p:cNvPr>
          <p:cNvPicPr>
            <a:picLocks noChangeAspect="1"/>
          </p:cNvPicPr>
          <p:nvPr userDrawn="1"/>
        </p:nvPicPr>
        <p:blipFill>
          <a:blip r:embed="rId10"/>
          <a:srcRect l="13114" t="38701" r="12969" b="36443"/>
          <a:stretch>
            <a:fillRect/>
          </a:stretch>
        </p:blipFill>
        <p:spPr bwMode="ltGray">
          <a:xfrm>
            <a:off x="554736" y="6254067"/>
            <a:ext cx="1211306" cy="246221"/>
          </a:xfrm>
          <a:prstGeom prst="rect">
            <a:avLst/>
          </a:prstGeom>
        </p:spPr>
      </p:pic>
      <p:pic>
        <p:nvPicPr>
          <p:cNvPr id="12" name="Picture 11">
            <a:extLst>
              <a:ext uri="{FF2B5EF4-FFF2-40B4-BE49-F238E27FC236}">
                <a16:creationId xmlns:a16="http://schemas.microsoft.com/office/drawing/2014/main" id="{21229A6C-9C9A-AFA3-A642-3C13FC1332BD}"/>
              </a:ext>
            </a:extLst>
          </p:cNvPr>
          <p:cNvPicPr>
            <a:picLocks noChangeAspect="1"/>
          </p:cNvPicPr>
          <p:nvPr userDrawn="1"/>
        </p:nvPicPr>
        <p:blipFill>
          <a:blip r:embed="rId11" cstate="print">
            <a:extLst>
              <a:ext uri="{28A0092B-C50C-407E-A947-70E740481C1C}">
                <a14:useLocalDpi xmlns:a14="http://schemas.microsoft.com/office/drawing/2010/main" val="0"/>
              </a:ext>
            </a:extLst>
          </a:blip>
          <a:srcRect/>
          <a:stretch/>
        </p:blipFill>
        <p:spPr bwMode="ltGray">
          <a:xfrm>
            <a:off x="10936538" y="183978"/>
            <a:ext cx="712156" cy="361189"/>
          </a:xfrm>
          <a:prstGeom prst="rect">
            <a:avLst/>
          </a:prstGeom>
        </p:spPr>
      </p:pic>
    </p:spTree>
    <p:extLst>
      <p:ext uri="{BB962C8B-B14F-4D97-AF65-F5344CB8AC3E}">
        <p14:creationId xmlns:p14="http://schemas.microsoft.com/office/powerpoint/2010/main" val="188819044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1843250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4" name="object 5">
            <a:extLst>
              <a:ext uri="{FF2B5EF4-FFF2-40B4-BE49-F238E27FC236}">
                <a16:creationId xmlns:a16="http://schemas.microsoft.com/office/drawing/2014/main" id="{E0B9B234-5973-3212-2AF8-6E680C2E44D9}"/>
              </a:ext>
            </a:extLst>
          </p:cNvPr>
          <p:cNvPicPr/>
          <p:nvPr userDrawn="1"/>
        </p:nvPicPr>
        <p:blipFill>
          <a:blip r:embed="rId10" cstate="email">
            <a:extLst>
              <a:ext uri="{28A0092B-C50C-407E-A947-70E740481C1C}">
                <a14:useLocalDpi xmlns:a14="http://schemas.microsoft.com/office/drawing/2010/main"/>
              </a:ext>
            </a:extLst>
          </a:blip>
          <a:stretch>
            <a:fillRect/>
          </a:stretch>
        </p:blipFill>
        <p:spPr bwMode="ltGray">
          <a:xfrm>
            <a:off x="0" y="0"/>
            <a:ext cx="12191999" cy="6857999"/>
          </a:xfrm>
          <a:prstGeom prst="rect">
            <a:avLst/>
          </a:prstGeom>
        </p:spPr>
      </p:pic>
      <p:sp>
        <p:nvSpPr>
          <p:cNvPr id="5" name="2. Slide Title">
            <a:extLst>
              <a:ext uri="{FF2B5EF4-FFF2-40B4-BE49-F238E27FC236}">
                <a16:creationId xmlns:a16="http://schemas.microsoft.com/office/drawing/2014/main" id="{983FECE0-0F55-91F6-800F-5FF06BE90D25}"/>
              </a:ext>
            </a:extLst>
          </p:cNvPr>
          <p:cNvSpPr>
            <a:spLocks noGrp="1"/>
          </p:cNvSpPr>
          <p:nvPr>
            <p:ph type="title"/>
            <p:custDataLst>
              <p:tags r:id="rId2"/>
            </p:custDataLst>
          </p:nvPr>
        </p:nvSpPr>
        <p:spPr bwMode="ltGray">
          <a:xfrm>
            <a:off x="823909" y="3483346"/>
            <a:ext cx="4357692" cy="2769989"/>
          </a:xfrm>
        </p:spPr>
        <p:txBody>
          <a:bodyPr vert="horz" anchor="ctr">
            <a:spAutoFit/>
          </a:bodyPr>
          <a:lstStyle>
            <a:lvl1pPr rtl="0">
              <a:lnSpc>
                <a:spcPct val="100000"/>
              </a:lnSpc>
              <a:defRPr sz="6000">
                <a:solidFill>
                  <a:schemeClr val="tx2"/>
                </a:solidFill>
              </a:defRPr>
            </a:lvl1pPr>
          </a:lstStyle>
          <a:p>
            <a:r>
              <a:rPr lang="en-US"/>
              <a:t>Click to edit Master title style</a:t>
            </a:r>
          </a:p>
        </p:txBody>
      </p:sp>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bg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249706314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699640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18882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3" name="Picture 2">
            <a:extLst>
              <a:ext uri="{FF2B5EF4-FFF2-40B4-BE49-F238E27FC236}">
                <a16:creationId xmlns:a16="http://schemas.microsoft.com/office/drawing/2014/main" id="{1D481F61-8ADC-7A3A-0EEB-7A59ECB16482}"/>
              </a:ext>
            </a:extLst>
          </p:cNvPr>
          <p:cNvPicPr>
            <a:picLocks noChangeAspect="1"/>
          </p:cNvPicPr>
          <p:nvPr userDrawn="1"/>
        </p:nvPicPr>
        <p:blipFill>
          <a:blip r:embed="rId8"/>
          <a:srcRect l="13114" t="38701" r="12969" b="36443"/>
          <a:stretch>
            <a:fillRect/>
          </a:stretch>
        </p:blipFill>
        <p:spPr bwMode="ltGray">
          <a:xfrm>
            <a:off x="554736" y="6254067"/>
            <a:ext cx="1211306" cy="246221"/>
          </a:xfrm>
          <a:prstGeom prst="rect">
            <a:avLst/>
          </a:prstGeom>
        </p:spPr>
      </p:pic>
      <p:pic>
        <p:nvPicPr>
          <p:cNvPr id="4" name="Picture 3">
            <a:extLst>
              <a:ext uri="{FF2B5EF4-FFF2-40B4-BE49-F238E27FC236}">
                <a16:creationId xmlns:a16="http://schemas.microsoft.com/office/drawing/2014/main" id="{17C5116D-5BCB-92D8-6974-B45593542804}"/>
              </a:ext>
            </a:extLst>
          </p:cNvPr>
          <p:cNvPicPr>
            <a:picLocks noChangeAspect="1"/>
          </p:cNvPicPr>
          <p:nvPr userDrawn="1"/>
        </p:nvPicPr>
        <p:blipFill>
          <a:blip r:embed="rId9" cstate="print">
            <a:extLst>
              <a:ext uri="{28A0092B-C50C-407E-A947-70E740481C1C}">
                <a14:useLocalDpi xmlns:a14="http://schemas.microsoft.com/office/drawing/2010/main" val="0"/>
              </a:ext>
            </a:extLst>
          </a:blip>
          <a:srcRect/>
          <a:stretch/>
        </p:blipFill>
        <p:spPr bwMode="ltGray">
          <a:xfrm>
            <a:off x="10936538" y="183978"/>
            <a:ext cx="712156" cy="361189"/>
          </a:xfrm>
          <a:prstGeom prst="rect">
            <a:avLst/>
          </a:prstGeom>
        </p:spPr>
      </p:pic>
    </p:spTree>
    <p:extLst>
      <p:ext uri="{BB962C8B-B14F-4D97-AF65-F5344CB8AC3E}">
        <p14:creationId xmlns:p14="http://schemas.microsoft.com/office/powerpoint/2010/main" val="280463420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25868815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C30F1E85-6B47-0CE0-2766-B610661BBA0D}"/>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bwMode="ltGray">
          <a:xfrm>
            <a:off x="547688" y="6195047"/>
            <a:ext cx="849311" cy="327592"/>
          </a:xfrm>
          <a:prstGeom prst="rect">
            <a:avLst/>
          </a:prstGeom>
        </p:spPr>
      </p:pic>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18882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pic>
        <p:nvPicPr>
          <p:cNvPr id="3" name="Picture 2">
            <a:extLst>
              <a:ext uri="{FF2B5EF4-FFF2-40B4-BE49-F238E27FC236}">
                <a16:creationId xmlns:a16="http://schemas.microsoft.com/office/drawing/2014/main" id="{7F12A7C9-B89D-240F-325D-B8AAFD44ABB1}"/>
              </a:ext>
            </a:extLst>
          </p:cNvPr>
          <p:cNvPicPr>
            <a:picLocks noChangeAspect="1"/>
          </p:cNvPicPr>
          <p:nvPr userDrawn="1"/>
        </p:nvPicPr>
        <p:blipFill>
          <a:blip r:embed="rId8"/>
          <a:srcRect l="13114" t="38701" r="12969" b="36443"/>
          <a:stretch>
            <a:fillRect/>
          </a:stretch>
        </p:blipFill>
        <p:spPr bwMode="ltGray">
          <a:xfrm>
            <a:off x="1532636" y="6254067"/>
            <a:ext cx="1211306" cy="246221"/>
          </a:xfrm>
          <a:prstGeom prst="rect">
            <a:avLst/>
          </a:prstGeom>
        </p:spPr>
      </p:pic>
      <p:pic>
        <p:nvPicPr>
          <p:cNvPr id="6" name="Picture 5">
            <a:extLst>
              <a:ext uri="{FF2B5EF4-FFF2-40B4-BE49-F238E27FC236}">
                <a16:creationId xmlns:a16="http://schemas.microsoft.com/office/drawing/2014/main" id="{5AC3073D-FB6F-2AD7-60D2-AD828C66DB64}"/>
              </a:ext>
            </a:extLst>
          </p:cNvPr>
          <p:cNvPicPr>
            <a:picLocks noChangeAspect="1"/>
          </p:cNvPicPr>
          <p:nvPr userDrawn="1"/>
        </p:nvPicPr>
        <p:blipFill>
          <a:blip r:embed="rId9" cstate="print">
            <a:extLst>
              <a:ext uri="{28A0092B-C50C-407E-A947-70E740481C1C}">
                <a14:useLocalDpi xmlns:a14="http://schemas.microsoft.com/office/drawing/2010/main" val="0"/>
              </a:ext>
            </a:extLst>
          </a:blip>
          <a:srcRect l="16032"/>
          <a:stretch/>
        </p:blipFill>
        <p:spPr bwMode="ltGray">
          <a:xfrm>
            <a:off x="10139804" y="157471"/>
            <a:ext cx="1836332" cy="1311910"/>
          </a:xfrm>
          <a:prstGeom prst="rect">
            <a:avLst/>
          </a:prstGeom>
        </p:spPr>
      </p:pic>
      <p:sp>
        <p:nvSpPr>
          <p:cNvPr id="9" name="TextBox 8">
            <a:extLst>
              <a:ext uri="{FF2B5EF4-FFF2-40B4-BE49-F238E27FC236}">
                <a16:creationId xmlns:a16="http://schemas.microsoft.com/office/drawing/2014/main" id="{D9D04E5D-F84A-1AED-5039-F8C66B58A0FA}"/>
              </a:ext>
            </a:extLst>
          </p:cNvPr>
          <p:cNvSpPr txBox="1">
            <a:spLocks/>
          </p:cNvSpPr>
          <p:nvPr userDrawn="1">
            <p:custDataLst>
              <p:tags r:id="rId3"/>
            </p:custDataLst>
          </p:nvPr>
        </p:nvSpPr>
        <p:spPr bwMode="ltGray">
          <a:xfrm>
            <a:off x="7959625" y="5656302"/>
            <a:ext cx="3675163" cy="1107996"/>
          </a:xfrm>
          <a:prstGeom prst="rect">
            <a:avLst/>
          </a:prstGeom>
        </p:spPr>
        <p:txBody>
          <a:bodyPr vert="horz" wrap="square" lIns="0" tIns="0" rIns="0" bIns="0" rtlCol="0" anchor="ctr" anchorCtr="0">
            <a:spAutoFit/>
          </a:bodyPr>
          <a:lstStyle>
            <a:lvl1pPr lvl="0" indent="0" defTabSz="397290">
              <a:lnSpc>
                <a:spcPct val="100000"/>
              </a:lnSpc>
              <a:spcBef>
                <a:spcPts val="130"/>
              </a:spcBef>
              <a:spcAft>
                <a:spcPts val="130"/>
              </a:spcAft>
              <a:buClr>
                <a:schemeClr val="tx1"/>
              </a:buClr>
              <a:buSzPct val="100000"/>
              <a:buFont typeface="Segoe UI" panose="020B0502040204020203" pitchFamily="34" charset="0"/>
              <a:buChar char="​"/>
              <a:defRPr lang="en-US" sz="735" dirty="0">
                <a:cs typeface="Arial" panose="020B0604020202020204" pitchFamily="34" charset="0"/>
              </a:defRPr>
            </a:lvl1pPr>
            <a:lvl2pPr marL="100102" lvl="1" indent="-98538" defTabSz="397290">
              <a:lnSpc>
                <a:spcPct val="100000"/>
              </a:lnSpc>
              <a:spcBef>
                <a:spcPts val="0"/>
              </a:spcBef>
              <a:spcAft>
                <a:spcPts val="130"/>
              </a:spcAft>
              <a:buClr>
                <a:schemeClr val="tx1"/>
              </a:buClr>
              <a:buSzPct val="110000"/>
              <a:buFont typeface="Wingdings" panose="05000000000000000000" pitchFamily="2" charset="2"/>
              <a:buChar char=""/>
              <a:defRPr lang="en-US" sz="735" dirty="0"/>
            </a:lvl2pPr>
            <a:lvl3pPr marL="192386" lvl="2" indent="-93847" defTabSz="397290">
              <a:lnSpc>
                <a:spcPct val="100000"/>
              </a:lnSpc>
              <a:spcBef>
                <a:spcPts val="0"/>
              </a:spcBef>
              <a:spcAft>
                <a:spcPts val="130"/>
              </a:spcAft>
              <a:buClr>
                <a:schemeClr val="tx1"/>
              </a:buClr>
              <a:buSzPct val="110000"/>
              <a:buFont typeface="Arial" panose="020B0604020202020204" pitchFamily="34" charset="0"/>
              <a:buChar char="‒"/>
              <a:defRPr lang="en-US" sz="735" dirty="0"/>
            </a:lvl3pPr>
            <a:lvl4pPr marL="259641" lvl="3" indent="-65692" defTabSz="397290">
              <a:lnSpc>
                <a:spcPct val="100000"/>
              </a:lnSpc>
              <a:spcBef>
                <a:spcPts val="0"/>
              </a:spcBef>
              <a:spcAft>
                <a:spcPts val="130"/>
              </a:spcAft>
              <a:buClr>
                <a:schemeClr val="tx1"/>
              </a:buClr>
              <a:buSzPct val="100000"/>
              <a:buFont typeface="Arial" panose="020B0604020202020204" pitchFamily="34" charset="0"/>
              <a:buChar char="•"/>
              <a:defRPr lang="en-US" sz="735" dirty="0"/>
            </a:lvl4pPr>
            <a:lvl5pPr marL="355051" lvl="4" indent="-64128" defTabSz="397290">
              <a:lnSpc>
                <a:spcPct val="100000"/>
              </a:lnSpc>
              <a:spcBef>
                <a:spcPts val="0"/>
              </a:spcBef>
              <a:spcAft>
                <a:spcPts val="130"/>
              </a:spcAft>
              <a:buClr>
                <a:schemeClr val="tx1"/>
              </a:buClr>
              <a:buSzPct val="100000"/>
              <a:buFont typeface="Arial" panose="020B0604020202020204" pitchFamily="34" charset="0"/>
              <a:buChar char="̶"/>
              <a:defRPr lang="en-US" sz="735" dirty="0"/>
            </a:lvl5pPr>
            <a:lvl6pPr marL="471780" indent="-74492" defTabSz="397290">
              <a:lnSpc>
                <a:spcPct val="100000"/>
              </a:lnSpc>
              <a:spcBef>
                <a:spcPts val="0"/>
              </a:spcBef>
              <a:spcAft>
                <a:spcPts val="130"/>
              </a:spcAft>
              <a:buSzPct val="100000"/>
              <a:buFont typeface="Arial" panose="020B0604020202020204" pitchFamily="34" charset="0"/>
              <a:buChar char="▫"/>
              <a:defRPr sz="694">
                <a:cs typeface="Arial" panose="020B0604020202020204" pitchFamily="34" charset="0"/>
              </a:defRPr>
            </a:lvl6pPr>
            <a:lvl7pPr marL="471780" indent="-74492" defTabSz="397290">
              <a:lnSpc>
                <a:spcPct val="100000"/>
              </a:lnSpc>
              <a:spcBef>
                <a:spcPts val="0"/>
              </a:spcBef>
              <a:spcAft>
                <a:spcPts val="130"/>
              </a:spcAft>
              <a:buSzPct val="100000"/>
              <a:buFont typeface="Arial" panose="020B0604020202020204" pitchFamily="34" charset="0"/>
              <a:buChar char="▫"/>
              <a:defRPr sz="694">
                <a:cs typeface="Arial" panose="020B0604020202020204" pitchFamily="34" charset="0"/>
              </a:defRPr>
            </a:lvl7pPr>
            <a:lvl8pPr marL="471780" indent="-74492" defTabSz="397290">
              <a:lnSpc>
                <a:spcPct val="100000"/>
              </a:lnSpc>
              <a:spcBef>
                <a:spcPts val="0"/>
              </a:spcBef>
              <a:spcAft>
                <a:spcPts val="130"/>
              </a:spcAft>
              <a:buSzPct val="100000"/>
              <a:buFont typeface="Arial" panose="020B0604020202020204" pitchFamily="34" charset="0"/>
              <a:buChar char="▫"/>
              <a:defRPr sz="694">
                <a:cs typeface="Arial" panose="020B0604020202020204" pitchFamily="34" charset="0"/>
              </a:defRPr>
            </a:lvl8pPr>
            <a:lvl9pPr marL="471780" indent="-74492" defTabSz="397290">
              <a:lnSpc>
                <a:spcPct val="100000"/>
              </a:lnSpc>
              <a:spcBef>
                <a:spcPts val="0"/>
              </a:spcBef>
              <a:spcAft>
                <a:spcPts val="130"/>
              </a:spcAft>
              <a:buSzPct val="100000"/>
              <a:buFont typeface="Arial" panose="020B0604020202020204" pitchFamily="34" charset="0"/>
              <a:buChar char="▫"/>
              <a:defRPr sz="694">
                <a:cs typeface="Arial" panose="020B0604020202020204" pitchFamily="34" charset="0"/>
              </a:defRPr>
            </a:lvl9pPr>
          </a:lstStyle>
          <a:p>
            <a:pPr marL="0" marR="0" lvl="0" indent="0" algn="r" defTabSz="397290" rtl="0" eaLnBrk="1" fontAlgn="auto" latinLnBrk="0" hangingPunct="1">
              <a:lnSpc>
                <a:spcPct val="100000"/>
              </a:lnSpc>
              <a:spcBef>
                <a:spcPts val="0"/>
              </a:spcBef>
              <a:spcAft>
                <a:spcPts val="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Kenya Investment Authority</a:t>
            </a:r>
            <a:endPar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a:p>
            <a:pPr marL="0" marR="0" lvl="0" indent="0" algn="r" defTabSz="397290" rtl="0" eaLnBrk="1" fontAlgn="auto" latinLnBrk="0" hangingPunct="1">
              <a:lnSpc>
                <a:spcPct val="100000"/>
              </a:lnSpc>
              <a:spcBef>
                <a:spcPts val="0"/>
              </a:spcBef>
              <a:spcAft>
                <a:spcPts val="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15th</a:t>
            </a:r>
            <a:r>
              <a:rPr kumimoji="0" lang="en-US" sz="1200" b="0" i="0" u="none" strike="noStrike" kern="1200" cap="none" spc="0" normalizeH="0" baseline="30000" noProof="0">
                <a:ln>
                  <a:noFill/>
                </a:ln>
                <a:solidFill>
                  <a:srgbClr val="000000"/>
                </a:solidFill>
                <a:effectLst/>
                <a:uLnTx/>
                <a:uFillTx/>
                <a:latin typeface="Arial"/>
                <a:ea typeface="+mn-ea"/>
                <a:cs typeface="Arial" panose="020B0604020202020204" pitchFamily="34" charset="0"/>
              </a:rPr>
              <a:t> </a:t>
            </a:r>
            <a:r>
              <a:rPr kumimoji="0" lang="en-US" sz="12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floor, Old Mutual Tower, Upper Hill Road</a:t>
            </a:r>
          </a:p>
          <a:p>
            <a:pPr marL="0" marR="0" lvl="0" indent="0" algn="r" defTabSz="397290" rtl="0" eaLnBrk="1" fontAlgn="auto" latinLnBrk="0" hangingPunct="1">
              <a:lnSpc>
                <a:spcPct val="100000"/>
              </a:lnSpc>
              <a:spcBef>
                <a:spcPts val="0"/>
              </a:spcBef>
              <a:spcAft>
                <a:spcPts val="12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P.O. Box 55704-00200, Nairobi</a:t>
            </a:r>
          </a:p>
          <a:p>
            <a:pPr marL="0" marR="0" lvl="0" indent="0" algn="r" defTabSz="397290" rtl="0" eaLnBrk="1" fontAlgn="auto" latinLnBrk="0" hangingPunct="1">
              <a:lnSpc>
                <a:spcPct val="100000"/>
              </a:lnSpc>
              <a:spcBef>
                <a:spcPts val="0"/>
              </a:spcBef>
              <a:spcAft>
                <a:spcPts val="0"/>
              </a:spcAft>
              <a:buClr>
                <a:srgbClr val="000000"/>
              </a:buClr>
              <a:buSzPct val="100000"/>
              <a:buFont typeface="Segoe UI" panose="020B0502040204020203" pitchFamily="34" charset="0"/>
              <a:buChar char="​"/>
              <a:tabLst/>
              <a:defRPr/>
            </a:pPr>
            <a:r>
              <a:rPr kumimoji="0" lang="en-US" sz="12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Telephone: </a:t>
            </a:r>
            <a:r>
              <a:rPr kumimoji="0" lang="en-US" sz="12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254 (0) 730 104 200</a:t>
            </a:r>
          </a:p>
          <a:p>
            <a:pPr marL="0" marR="0" lvl="0" indent="0" algn="r" defTabSz="397290" rtl="0" eaLnBrk="1" fontAlgn="auto" latinLnBrk="0" hangingPunct="1">
              <a:lnSpc>
                <a:spcPct val="100000"/>
              </a:lnSpc>
              <a:spcBef>
                <a:spcPts val="0"/>
              </a:spcBef>
              <a:spcAft>
                <a:spcPts val="0"/>
              </a:spcAft>
              <a:buClr>
                <a:srgbClr val="000000"/>
              </a:buClr>
              <a:buSzPct val="100000"/>
              <a:buFont typeface="Segoe UI" panose="020B0502040204020203" pitchFamily="34" charset="0"/>
              <a:buChar char="​"/>
              <a:tabLst/>
              <a:defRPr/>
            </a:pPr>
            <a:r>
              <a:rPr kumimoji="0" lang="fr-FR" sz="12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Email:</a:t>
            </a:r>
            <a:r>
              <a:rPr kumimoji="0" lang="fr-FR" sz="12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 info@investkenya.go.ke</a:t>
            </a:r>
            <a:endParaRPr kumimoji="0" lang="en-US" sz="12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grpSp>
        <p:nvGrpSpPr>
          <p:cNvPr id="10" name="Group 9">
            <a:extLst>
              <a:ext uri="{FF2B5EF4-FFF2-40B4-BE49-F238E27FC236}">
                <a16:creationId xmlns:a16="http://schemas.microsoft.com/office/drawing/2014/main" id="{F071D08D-DA25-148B-BED5-8028C8E922B1}"/>
              </a:ext>
            </a:extLst>
          </p:cNvPr>
          <p:cNvGrpSpPr>
            <a:grpSpLocks/>
          </p:cNvGrpSpPr>
          <p:nvPr userDrawn="1"/>
        </p:nvGrpSpPr>
        <p:grpSpPr bwMode="ltGray">
          <a:xfrm>
            <a:off x="3367136" y="1632209"/>
            <a:ext cx="2592691" cy="3674883"/>
            <a:chOff x="3057516" y="1305556"/>
            <a:chExt cx="2078941" cy="3674883"/>
          </a:xfrm>
        </p:grpSpPr>
        <p:cxnSp>
          <p:nvCxnSpPr>
            <p:cNvPr id="11" name="Straight Connector 10">
              <a:extLst>
                <a:ext uri="{FF2B5EF4-FFF2-40B4-BE49-F238E27FC236}">
                  <a16:creationId xmlns:a16="http://schemas.microsoft.com/office/drawing/2014/main" id="{60EB65D6-1136-C235-613A-C17EC970AD34}"/>
                </a:ext>
              </a:extLst>
            </p:cNvPr>
            <p:cNvCxnSpPr>
              <a:cxnSpLocks/>
            </p:cNvCxnSpPr>
            <p:nvPr/>
          </p:nvCxnSpPr>
          <p:spPr bwMode="ltGray">
            <a:xfrm flipH="1">
              <a:off x="3057516" y="4980439"/>
              <a:ext cx="2078941" cy="0"/>
            </a:xfrm>
            <a:prstGeom prst="line">
              <a:avLst/>
            </a:prstGeom>
            <a:ln w="38100" cap="flat">
              <a:solidFill>
                <a:srgbClr val="88B59D"/>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87AE635F-6881-7375-E681-838948DFA53F}"/>
                </a:ext>
              </a:extLst>
            </p:cNvPr>
            <p:cNvCxnSpPr>
              <a:cxnSpLocks/>
            </p:cNvCxnSpPr>
            <p:nvPr/>
          </p:nvCxnSpPr>
          <p:spPr bwMode="ltGray">
            <a:xfrm flipH="1">
              <a:off x="3057516" y="1305556"/>
              <a:ext cx="1925964" cy="0"/>
            </a:xfrm>
            <a:prstGeom prst="line">
              <a:avLst/>
            </a:prstGeom>
            <a:ln w="38100" cap="flat">
              <a:solidFill>
                <a:srgbClr val="D61118"/>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5E636325-B2AE-77B3-19CD-B3077658D1B8}"/>
                </a:ext>
              </a:extLst>
            </p:cNvPr>
            <p:cNvCxnSpPr>
              <a:cxnSpLocks/>
            </p:cNvCxnSpPr>
            <p:nvPr/>
          </p:nvCxnSpPr>
          <p:spPr bwMode="ltGray">
            <a:xfrm flipH="1">
              <a:off x="3057516" y="2530517"/>
              <a:ext cx="807268" cy="0"/>
            </a:xfrm>
            <a:prstGeom prst="line">
              <a:avLst/>
            </a:prstGeom>
            <a:ln w="38100" cap="flat">
              <a:solidFill>
                <a:srgbClr val="F47477"/>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CDF0A4A-8E5B-8DF4-99FD-FB2C9726F05D}"/>
                </a:ext>
              </a:extLst>
            </p:cNvPr>
            <p:cNvCxnSpPr>
              <a:cxnSpLocks/>
            </p:cNvCxnSpPr>
            <p:nvPr/>
          </p:nvCxnSpPr>
          <p:spPr bwMode="ltGray">
            <a:xfrm flipH="1">
              <a:off x="3057516" y="3755478"/>
              <a:ext cx="807268" cy="0"/>
            </a:xfrm>
            <a:prstGeom prst="line">
              <a:avLst/>
            </a:prstGeom>
            <a:ln w="38100" cap="flat">
              <a:solidFill>
                <a:srgbClr val="D0D0D0"/>
              </a:solidFill>
              <a:prstDash val="solid"/>
              <a:miter lim="800000"/>
              <a:tailEnd type="none"/>
            </a:ln>
          </p:spPr>
          <p:style>
            <a:lnRef idx="1">
              <a:schemeClr val="accent1"/>
            </a:lnRef>
            <a:fillRef idx="0">
              <a:schemeClr val="accent1"/>
            </a:fillRef>
            <a:effectRef idx="0">
              <a:schemeClr val="accent1"/>
            </a:effectRef>
            <a:fontRef idx="minor">
              <a:schemeClr val="tx1"/>
            </a:fontRef>
          </p:style>
        </p:cxnSp>
      </p:grpSp>
      <p:cxnSp>
        <p:nvCxnSpPr>
          <p:cNvPr id="15" name="Straight Connector 14">
            <a:extLst>
              <a:ext uri="{FF2B5EF4-FFF2-40B4-BE49-F238E27FC236}">
                <a16:creationId xmlns:a16="http://schemas.microsoft.com/office/drawing/2014/main" id="{64163DE6-99B4-1B0C-F46A-94739838A72E}"/>
              </a:ext>
            </a:extLst>
          </p:cNvPr>
          <p:cNvCxnSpPr>
            <a:cxnSpLocks/>
          </p:cNvCxnSpPr>
          <p:nvPr userDrawn="1"/>
        </p:nvCxnSpPr>
        <p:spPr bwMode="ltGray">
          <a:xfrm>
            <a:off x="6126459" y="5307092"/>
            <a:ext cx="2592691" cy="0"/>
          </a:xfrm>
          <a:prstGeom prst="line">
            <a:avLst/>
          </a:prstGeom>
          <a:ln w="38100" cap="flat">
            <a:solidFill>
              <a:srgbClr val="076533"/>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E923C9C0-C775-2E8D-92B5-2BED20B6C75C}"/>
              </a:ext>
            </a:extLst>
          </p:cNvPr>
          <p:cNvCxnSpPr>
            <a:cxnSpLocks/>
          </p:cNvCxnSpPr>
          <p:nvPr userDrawn="1"/>
        </p:nvCxnSpPr>
        <p:spPr bwMode="ltGray">
          <a:xfrm>
            <a:off x="6317240" y="1632209"/>
            <a:ext cx="2401910" cy="0"/>
          </a:xfrm>
          <a:prstGeom prst="line">
            <a:avLst/>
          </a:prstGeom>
          <a:ln w="38100" cap="flat">
            <a:solidFill>
              <a:srgbClr val="A00D12"/>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CA2F96A-1D42-7164-D06C-97D63849DCBE}"/>
              </a:ext>
            </a:extLst>
          </p:cNvPr>
          <p:cNvCxnSpPr>
            <a:cxnSpLocks/>
          </p:cNvCxnSpPr>
          <p:nvPr userDrawn="1"/>
        </p:nvCxnSpPr>
        <p:spPr bwMode="ltGray">
          <a:xfrm>
            <a:off x="7712389" y="2857170"/>
            <a:ext cx="1006761" cy="0"/>
          </a:xfrm>
          <a:prstGeom prst="line">
            <a:avLst/>
          </a:prstGeom>
          <a:ln w="38100" cap="flat">
            <a:solidFill>
              <a:srgbClr val="F74B00"/>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E7868B5C-0494-205A-F721-1AEED151B291}"/>
              </a:ext>
            </a:extLst>
          </p:cNvPr>
          <p:cNvCxnSpPr>
            <a:cxnSpLocks/>
          </p:cNvCxnSpPr>
          <p:nvPr userDrawn="1"/>
        </p:nvCxnSpPr>
        <p:spPr bwMode="ltGray">
          <a:xfrm>
            <a:off x="7712389" y="4082131"/>
            <a:ext cx="1006761" cy="0"/>
          </a:xfrm>
          <a:prstGeom prst="line">
            <a:avLst/>
          </a:prstGeom>
          <a:ln w="38100" cap="flat">
            <a:solidFill>
              <a:srgbClr val="FF9A6D"/>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19" name="Oval 18">
            <a:extLst>
              <a:ext uri="{FF2B5EF4-FFF2-40B4-BE49-F238E27FC236}">
                <a16:creationId xmlns:a16="http://schemas.microsoft.com/office/drawing/2014/main" id="{DDE4DCC2-1D89-F3DE-B119-41A645858E66}"/>
              </a:ext>
            </a:extLst>
          </p:cNvPr>
          <p:cNvSpPr>
            <a:spLocks/>
          </p:cNvSpPr>
          <p:nvPr userDrawn="1"/>
        </p:nvSpPr>
        <p:spPr bwMode="ltGray">
          <a:xfrm>
            <a:off x="4585514" y="2074512"/>
            <a:ext cx="2903380" cy="2836111"/>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grpSp>
        <p:nvGrpSpPr>
          <p:cNvPr id="20" name="Group 19">
            <a:extLst>
              <a:ext uri="{FF2B5EF4-FFF2-40B4-BE49-F238E27FC236}">
                <a16:creationId xmlns:a16="http://schemas.microsoft.com/office/drawing/2014/main" id="{433C6317-61F6-4CCD-08DC-C96931E9CEAA}"/>
              </a:ext>
            </a:extLst>
          </p:cNvPr>
          <p:cNvGrpSpPr/>
          <p:nvPr userDrawn="1"/>
        </p:nvGrpSpPr>
        <p:grpSpPr bwMode="ltGray">
          <a:xfrm>
            <a:off x="3818671" y="1326164"/>
            <a:ext cx="4437067" cy="4332807"/>
            <a:chOff x="3741738" y="1106488"/>
            <a:chExt cx="4708525" cy="4706937"/>
          </a:xfrm>
        </p:grpSpPr>
        <p:sp>
          <p:nvSpPr>
            <p:cNvPr id="21" name="Freeform 5">
              <a:extLst>
                <a:ext uri="{FF2B5EF4-FFF2-40B4-BE49-F238E27FC236}">
                  <a16:creationId xmlns:a16="http://schemas.microsoft.com/office/drawing/2014/main" id="{A791F388-B1DE-A70C-1769-3C6F7E20FD01}"/>
                </a:ext>
              </a:extLst>
            </p:cNvPr>
            <p:cNvSpPr>
              <a:spLocks/>
            </p:cNvSpPr>
            <p:nvPr/>
          </p:nvSpPr>
          <p:spPr bwMode="ltGray">
            <a:xfrm>
              <a:off x="6096001" y="1106488"/>
              <a:ext cx="1665288" cy="1239837"/>
            </a:xfrm>
            <a:custGeom>
              <a:avLst/>
              <a:gdLst>
                <a:gd name="T0" fmla="*/ 0 w 8733"/>
                <a:gd name="T1" fmla="*/ 0 h 6499"/>
                <a:gd name="T2" fmla="*/ 8733 w 8733"/>
                <a:gd name="T3" fmla="*/ 3617 h 6499"/>
                <a:gd name="T4" fmla="*/ 5851 w 8733"/>
                <a:gd name="T5" fmla="*/ 6499 h 6499"/>
                <a:gd name="T6" fmla="*/ 0 w 8733"/>
                <a:gd name="T7" fmla="*/ 4075 h 6499"/>
                <a:gd name="T8" fmla="*/ 0 w 8733"/>
                <a:gd name="T9" fmla="*/ 0 h 6499"/>
              </a:gdLst>
              <a:ahLst/>
              <a:cxnLst>
                <a:cxn ang="0">
                  <a:pos x="T0" y="T1"/>
                </a:cxn>
                <a:cxn ang="0">
                  <a:pos x="T2" y="T3"/>
                </a:cxn>
                <a:cxn ang="0">
                  <a:pos x="T4" y="T5"/>
                </a:cxn>
                <a:cxn ang="0">
                  <a:pos x="T6" y="T7"/>
                </a:cxn>
                <a:cxn ang="0">
                  <a:pos x="T8" y="T9"/>
                </a:cxn>
              </a:cxnLst>
              <a:rect l="0" t="0" r="r" b="b"/>
              <a:pathLst>
                <a:path w="8733" h="6499">
                  <a:moveTo>
                    <a:pt x="0" y="0"/>
                  </a:moveTo>
                  <a:cubicBezTo>
                    <a:pt x="3276" y="0"/>
                    <a:pt x="6417" y="1301"/>
                    <a:pt x="8733" y="3617"/>
                  </a:cubicBezTo>
                  <a:lnTo>
                    <a:pt x="5851" y="6499"/>
                  </a:lnTo>
                  <a:cubicBezTo>
                    <a:pt x="4300" y="4947"/>
                    <a:pt x="2195" y="4075"/>
                    <a:pt x="0" y="4075"/>
                  </a:cubicBezTo>
                  <a:lnTo>
                    <a:pt x="0" y="0"/>
                  </a:lnTo>
                  <a:close/>
                </a:path>
              </a:pathLst>
            </a:custGeom>
            <a:solidFill>
              <a:srgbClr val="A00D12"/>
            </a:solidFill>
            <a:ln w="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Freeform 7">
              <a:extLst>
                <a:ext uri="{FF2B5EF4-FFF2-40B4-BE49-F238E27FC236}">
                  <a16:creationId xmlns:a16="http://schemas.microsoft.com/office/drawing/2014/main" id="{51F4556A-0E5D-70EF-6F1B-473F34F9137C}"/>
                </a:ext>
              </a:extLst>
            </p:cNvPr>
            <p:cNvSpPr>
              <a:spLocks/>
            </p:cNvSpPr>
            <p:nvPr/>
          </p:nvSpPr>
          <p:spPr bwMode="ltGray">
            <a:xfrm>
              <a:off x="7212013" y="1797050"/>
              <a:ext cx="1238250" cy="1663700"/>
            </a:xfrm>
            <a:custGeom>
              <a:avLst/>
              <a:gdLst>
                <a:gd name="T0" fmla="*/ 2882 w 6499"/>
                <a:gd name="T1" fmla="*/ 0 h 8733"/>
                <a:gd name="T2" fmla="*/ 6499 w 6499"/>
                <a:gd name="T3" fmla="*/ 8733 h 8733"/>
                <a:gd name="T4" fmla="*/ 2424 w 6499"/>
                <a:gd name="T5" fmla="*/ 8733 h 8733"/>
                <a:gd name="T6" fmla="*/ 0 w 6499"/>
                <a:gd name="T7" fmla="*/ 2882 h 8733"/>
                <a:gd name="T8" fmla="*/ 2882 w 6499"/>
                <a:gd name="T9" fmla="*/ 0 h 8733"/>
              </a:gdLst>
              <a:ahLst/>
              <a:cxnLst>
                <a:cxn ang="0">
                  <a:pos x="T0" y="T1"/>
                </a:cxn>
                <a:cxn ang="0">
                  <a:pos x="T2" y="T3"/>
                </a:cxn>
                <a:cxn ang="0">
                  <a:pos x="T4" y="T5"/>
                </a:cxn>
                <a:cxn ang="0">
                  <a:pos x="T6" y="T7"/>
                </a:cxn>
                <a:cxn ang="0">
                  <a:pos x="T8" y="T9"/>
                </a:cxn>
              </a:cxnLst>
              <a:rect l="0" t="0" r="r" b="b"/>
              <a:pathLst>
                <a:path w="6499" h="8733">
                  <a:moveTo>
                    <a:pt x="2882" y="0"/>
                  </a:moveTo>
                  <a:cubicBezTo>
                    <a:pt x="5198" y="2316"/>
                    <a:pt x="6499" y="5457"/>
                    <a:pt x="6499" y="8733"/>
                  </a:cubicBezTo>
                  <a:lnTo>
                    <a:pt x="2424" y="8733"/>
                  </a:lnTo>
                  <a:cubicBezTo>
                    <a:pt x="2424" y="6538"/>
                    <a:pt x="1552" y="4434"/>
                    <a:pt x="0" y="2882"/>
                  </a:cubicBezTo>
                  <a:lnTo>
                    <a:pt x="2882" y="0"/>
                  </a:lnTo>
                  <a:close/>
                </a:path>
              </a:pathLst>
            </a:custGeom>
            <a:solidFill>
              <a:srgbClr val="F74B00"/>
            </a:solidFill>
            <a:ln w="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Freeform 9">
              <a:extLst>
                <a:ext uri="{FF2B5EF4-FFF2-40B4-BE49-F238E27FC236}">
                  <a16:creationId xmlns:a16="http://schemas.microsoft.com/office/drawing/2014/main" id="{B897C17A-8DBE-BF3E-9706-BBE4E861FB65}"/>
                </a:ext>
              </a:extLst>
            </p:cNvPr>
            <p:cNvSpPr>
              <a:spLocks/>
            </p:cNvSpPr>
            <p:nvPr/>
          </p:nvSpPr>
          <p:spPr bwMode="ltGray">
            <a:xfrm>
              <a:off x="7212013" y="3460750"/>
              <a:ext cx="1238250" cy="1663700"/>
            </a:xfrm>
            <a:custGeom>
              <a:avLst/>
              <a:gdLst>
                <a:gd name="T0" fmla="*/ 6499 w 6499"/>
                <a:gd name="T1" fmla="*/ 0 h 8733"/>
                <a:gd name="T2" fmla="*/ 2882 w 6499"/>
                <a:gd name="T3" fmla="*/ 8733 h 8733"/>
                <a:gd name="T4" fmla="*/ 0 w 6499"/>
                <a:gd name="T5" fmla="*/ 5851 h 8733"/>
                <a:gd name="T6" fmla="*/ 2424 w 6499"/>
                <a:gd name="T7" fmla="*/ 0 h 8733"/>
                <a:gd name="T8" fmla="*/ 6499 w 6499"/>
                <a:gd name="T9" fmla="*/ 0 h 8733"/>
              </a:gdLst>
              <a:ahLst/>
              <a:cxnLst>
                <a:cxn ang="0">
                  <a:pos x="T0" y="T1"/>
                </a:cxn>
                <a:cxn ang="0">
                  <a:pos x="T2" y="T3"/>
                </a:cxn>
                <a:cxn ang="0">
                  <a:pos x="T4" y="T5"/>
                </a:cxn>
                <a:cxn ang="0">
                  <a:pos x="T6" y="T7"/>
                </a:cxn>
                <a:cxn ang="0">
                  <a:pos x="T8" y="T9"/>
                </a:cxn>
              </a:cxnLst>
              <a:rect l="0" t="0" r="r" b="b"/>
              <a:pathLst>
                <a:path w="6499" h="8733">
                  <a:moveTo>
                    <a:pt x="6499" y="0"/>
                  </a:moveTo>
                  <a:cubicBezTo>
                    <a:pt x="6499" y="3275"/>
                    <a:pt x="5198" y="6416"/>
                    <a:pt x="2882" y="8733"/>
                  </a:cubicBezTo>
                  <a:lnTo>
                    <a:pt x="0" y="5851"/>
                  </a:lnTo>
                  <a:cubicBezTo>
                    <a:pt x="1552" y="4299"/>
                    <a:pt x="2424" y="2194"/>
                    <a:pt x="2424" y="0"/>
                  </a:cubicBezTo>
                  <a:lnTo>
                    <a:pt x="6499" y="0"/>
                  </a:lnTo>
                  <a:close/>
                </a:path>
              </a:pathLst>
            </a:custGeom>
            <a:solidFill>
              <a:srgbClr val="FF9A6D"/>
            </a:solidFill>
            <a:ln w="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Freeform 11">
              <a:extLst>
                <a:ext uri="{FF2B5EF4-FFF2-40B4-BE49-F238E27FC236}">
                  <a16:creationId xmlns:a16="http://schemas.microsoft.com/office/drawing/2014/main" id="{571C8896-99F0-0646-CC98-7B0F88883194}"/>
                </a:ext>
              </a:extLst>
            </p:cNvPr>
            <p:cNvSpPr>
              <a:spLocks/>
            </p:cNvSpPr>
            <p:nvPr/>
          </p:nvSpPr>
          <p:spPr bwMode="ltGray">
            <a:xfrm>
              <a:off x="6096001" y="4575175"/>
              <a:ext cx="1665288" cy="1238250"/>
            </a:xfrm>
            <a:custGeom>
              <a:avLst/>
              <a:gdLst>
                <a:gd name="T0" fmla="*/ 8733 w 8733"/>
                <a:gd name="T1" fmla="*/ 2882 h 6499"/>
                <a:gd name="T2" fmla="*/ 0 w 8733"/>
                <a:gd name="T3" fmla="*/ 6499 h 6499"/>
                <a:gd name="T4" fmla="*/ 0 w 8733"/>
                <a:gd name="T5" fmla="*/ 2423 h 6499"/>
                <a:gd name="T6" fmla="*/ 5851 w 8733"/>
                <a:gd name="T7" fmla="*/ 0 h 6499"/>
                <a:gd name="T8" fmla="*/ 8733 w 8733"/>
                <a:gd name="T9" fmla="*/ 2882 h 6499"/>
              </a:gdLst>
              <a:ahLst/>
              <a:cxnLst>
                <a:cxn ang="0">
                  <a:pos x="T0" y="T1"/>
                </a:cxn>
                <a:cxn ang="0">
                  <a:pos x="T2" y="T3"/>
                </a:cxn>
                <a:cxn ang="0">
                  <a:pos x="T4" y="T5"/>
                </a:cxn>
                <a:cxn ang="0">
                  <a:pos x="T6" y="T7"/>
                </a:cxn>
                <a:cxn ang="0">
                  <a:pos x="T8" y="T9"/>
                </a:cxn>
              </a:cxnLst>
              <a:rect l="0" t="0" r="r" b="b"/>
              <a:pathLst>
                <a:path w="8733" h="6499">
                  <a:moveTo>
                    <a:pt x="8733" y="2882"/>
                  </a:moveTo>
                  <a:cubicBezTo>
                    <a:pt x="6417" y="5198"/>
                    <a:pt x="3276" y="6499"/>
                    <a:pt x="0" y="6499"/>
                  </a:cubicBezTo>
                  <a:lnTo>
                    <a:pt x="0" y="2423"/>
                  </a:lnTo>
                  <a:cubicBezTo>
                    <a:pt x="2195" y="2423"/>
                    <a:pt x="4300" y="1552"/>
                    <a:pt x="5851" y="0"/>
                  </a:cubicBezTo>
                  <a:lnTo>
                    <a:pt x="8733" y="2882"/>
                  </a:lnTo>
                  <a:close/>
                </a:path>
              </a:pathLst>
            </a:custGeom>
            <a:solidFill>
              <a:srgbClr val="076533"/>
            </a:solidFill>
            <a:ln w="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13">
              <a:extLst>
                <a:ext uri="{FF2B5EF4-FFF2-40B4-BE49-F238E27FC236}">
                  <a16:creationId xmlns:a16="http://schemas.microsoft.com/office/drawing/2014/main" id="{AF6E12EE-FD9D-D151-EE7C-9DDFF063A480}"/>
                </a:ext>
              </a:extLst>
            </p:cNvPr>
            <p:cNvSpPr>
              <a:spLocks/>
            </p:cNvSpPr>
            <p:nvPr/>
          </p:nvSpPr>
          <p:spPr bwMode="ltGray">
            <a:xfrm>
              <a:off x="4432301" y="4575175"/>
              <a:ext cx="1663700" cy="1238250"/>
            </a:xfrm>
            <a:custGeom>
              <a:avLst/>
              <a:gdLst>
                <a:gd name="T0" fmla="*/ 8732 w 8732"/>
                <a:gd name="T1" fmla="*/ 6499 h 6499"/>
                <a:gd name="T2" fmla="*/ 0 w 8732"/>
                <a:gd name="T3" fmla="*/ 2882 h 6499"/>
                <a:gd name="T4" fmla="*/ 2882 w 8732"/>
                <a:gd name="T5" fmla="*/ 0 h 6499"/>
                <a:gd name="T6" fmla="*/ 8732 w 8732"/>
                <a:gd name="T7" fmla="*/ 2423 h 6499"/>
                <a:gd name="T8" fmla="*/ 8732 w 8732"/>
                <a:gd name="T9" fmla="*/ 6499 h 6499"/>
              </a:gdLst>
              <a:ahLst/>
              <a:cxnLst>
                <a:cxn ang="0">
                  <a:pos x="T0" y="T1"/>
                </a:cxn>
                <a:cxn ang="0">
                  <a:pos x="T2" y="T3"/>
                </a:cxn>
                <a:cxn ang="0">
                  <a:pos x="T4" y="T5"/>
                </a:cxn>
                <a:cxn ang="0">
                  <a:pos x="T6" y="T7"/>
                </a:cxn>
                <a:cxn ang="0">
                  <a:pos x="T8" y="T9"/>
                </a:cxn>
              </a:cxnLst>
              <a:rect l="0" t="0" r="r" b="b"/>
              <a:pathLst>
                <a:path w="8732" h="6499">
                  <a:moveTo>
                    <a:pt x="8732" y="6499"/>
                  </a:moveTo>
                  <a:cubicBezTo>
                    <a:pt x="5457" y="6499"/>
                    <a:pt x="2316" y="5198"/>
                    <a:pt x="0" y="2882"/>
                  </a:cubicBezTo>
                  <a:lnTo>
                    <a:pt x="2882" y="0"/>
                  </a:lnTo>
                  <a:cubicBezTo>
                    <a:pt x="4433" y="1552"/>
                    <a:pt x="6538" y="2423"/>
                    <a:pt x="8732" y="2423"/>
                  </a:cubicBezTo>
                  <a:lnTo>
                    <a:pt x="8732" y="6499"/>
                  </a:lnTo>
                  <a:close/>
                </a:path>
              </a:pathLst>
            </a:custGeom>
            <a:solidFill>
              <a:srgbClr val="88B59D"/>
            </a:solidFill>
            <a:ln w="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15">
              <a:extLst>
                <a:ext uri="{FF2B5EF4-FFF2-40B4-BE49-F238E27FC236}">
                  <a16:creationId xmlns:a16="http://schemas.microsoft.com/office/drawing/2014/main" id="{40F2DD11-9E50-CB0C-A29E-179487AE561C}"/>
                </a:ext>
              </a:extLst>
            </p:cNvPr>
            <p:cNvSpPr>
              <a:spLocks/>
            </p:cNvSpPr>
            <p:nvPr/>
          </p:nvSpPr>
          <p:spPr bwMode="ltGray">
            <a:xfrm>
              <a:off x="3741738" y="3460750"/>
              <a:ext cx="1239838" cy="1663700"/>
            </a:xfrm>
            <a:custGeom>
              <a:avLst/>
              <a:gdLst>
                <a:gd name="T0" fmla="*/ 3618 w 6500"/>
                <a:gd name="T1" fmla="*/ 8733 h 8733"/>
                <a:gd name="T2" fmla="*/ 0 w 6500"/>
                <a:gd name="T3" fmla="*/ 0 h 8733"/>
                <a:gd name="T4" fmla="*/ 4076 w 6500"/>
                <a:gd name="T5" fmla="*/ 0 h 8733"/>
                <a:gd name="T6" fmla="*/ 6500 w 6500"/>
                <a:gd name="T7" fmla="*/ 5851 h 8733"/>
                <a:gd name="T8" fmla="*/ 3618 w 6500"/>
                <a:gd name="T9" fmla="*/ 8733 h 8733"/>
              </a:gdLst>
              <a:ahLst/>
              <a:cxnLst>
                <a:cxn ang="0">
                  <a:pos x="T0" y="T1"/>
                </a:cxn>
                <a:cxn ang="0">
                  <a:pos x="T2" y="T3"/>
                </a:cxn>
                <a:cxn ang="0">
                  <a:pos x="T4" y="T5"/>
                </a:cxn>
                <a:cxn ang="0">
                  <a:pos x="T6" y="T7"/>
                </a:cxn>
                <a:cxn ang="0">
                  <a:pos x="T8" y="T9"/>
                </a:cxn>
              </a:cxnLst>
              <a:rect l="0" t="0" r="r" b="b"/>
              <a:pathLst>
                <a:path w="6500" h="8733">
                  <a:moveTo>
                    <a:pt x="3618" y="8733"/>
                  </a:moveTo>
                  <a:cubicBezTo>
                    <a:pt x="1302" y="6416"/>
                    <a:pt x="0" y="3275"/>
                    <a:pt x="0" y="0"/>
                  </a:cubicBezTo>
                  <a:lnTo>
                    <a:pt x="4076" y="0"/>
                  </a:lnTo>
                  <a:cubicBezTo>
                    <a:pt x="4076" y="2194"/>
                    <a:pt x="4948" y="4299"/>
                    <a:pt x="6500" y="5851"/>
                  </a:cubicBezTo>
                  <a:lnTo>
                    <a:pt x="3618" y="8733"/>
                  </a:lnTo>
                  <a:close/>
                </a:path>
              </a:pathLst>
            </a:custGeom>
            <a:solidFill>
              <a:srgbClr val="D0D0D0"/>
            </a:solidFill>
            <a:ln w="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17">
              <a:extLst>
                <a:ext uri="{FF2B5EF4-FFF2-40B4-BE49-F238E27FC236}">
                  <a16:creationId xmlns:a16="http://schemas.microsoft.com/office/drawing/2014/main" id="{A1F288C8-97D7-FF47-93BE-F5D4BBF16B3E}"/>
                </a:ext>
              </a:extLst>
            </p:cNvPr>
            <p:cNvSpPr>
              <a:spLocks/>
            </p:cNvSpPr>
            <p:nvPr/>
          </p:nvSpPr>
          <p:spPr bwMode="ltGray">
            <a:xfrm>
              <a:off x="3741738" y="1797050"/>
              <a:ext cx="1239838" cy="1663700"/>
            </a:xfrm>
            <a:custGeom>
              <a:avLst/>
              <a:gdLst>
                <a:gd name="T0" fmla="*/ 0 w 12999"/>
                <a:gd name="T1" fmla="*/ 17465 h 17465"/>
                <a:gd name="T2" fmla="*/ 7235 w 12999"/>
                <a:gd name="T3" fmla="*/ 0 h 17465"/>
                <a:gd name="T4" fmla="*/ 12999 w 12999"/>
                <a:gd name="T5" fmla="*/ 5763 h 17465"/>
                <a:gd name="T6" fmla="*/ 8151 w 12999"/>
                <a:gd name="T7" fmla="*/ 17465 h 17465"/>
                <a:gd name="T8" fmla="*/ 0 w 12999"/>
                <a:gd name="T9" fmla="*/ 17465 h 17465"/>
              </a:gdLst>
              <a:ahLst/>
              <a:cxnLst>
                <a:cxn ang="0">
                  <a:pos x="T0" y="T1"/>
                </a:cxn>
                <a:cxn ang="0">
                  <a:pos x="T2" y="T3"/>
                </a:cxn>
                <a:cxn ang="0">
                  <a:pos x="T4" y="T5"/>
                </a:cxn>
                <a:cxn ang="0">
                  <a:pos x="T6" y="T7"/>
                </a:cxn>
                <a:cxn ang="0">
                  <a:pos x="T8" y="T9"/>
                </a:cxn>
              </a:cxnLst>
              <a:rect l="0" t="0" r="r" b="b"/>
              <a:pathLst>
                <a:path w="12999" h="17465">
                  <a:moveTo>
                    <a:pt x="0" y="17465"/>
                  </a:moveTo>
                  <a:cubicBezTo>
                    <a:pt x="0" y="10914"/>
                    <a:pt x="2603" y="4632"/>
                    <a:pt x="7235" y="0"/>
                  </a:cubicBezTo>
                  <a:lnTo>
                    <a:pt x="12999" y="5763"/>
                  </a:lnTo>
                  <a:cubicBezTo>
                    <a:pt x="9895" y="8867"/>
                    <a:pt x="8151" y="13076"/>
                    <a:pt x="8151" y="17465"/>
                  </a:cubicBezTo>
                  <a:lnTo>
                    <a:pt x="0" y="17465"/>
                  </a:lnTo>
                  <a:close/>
                </a:path>
              </a:pathLst>
            </a:custGeom>
            <a:solidFill>
              <a:srgbClr val="F47477"/>
            </a:solidFill>
            <a:ln w="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19">
              <a:extLst>
                <a:ext uri="{FF2B5EF4-FFF2-40B4-BE49-F238E27FC236}">
                  <a16:creationId xmlns:a16="http://schemas.microsoft.com/office/drawing/2014/main" id="{CD2A5CEC-3942-BAC8-8B7F-DC092AC2130E}"/>
                </a:ext>
              </a:extLst>
            </p:cNvPr>
            <p:cNvSpPr>
              <a:spLocks/>
            </p:cNvSpPr>
            <p:nvPr/>
          </p:nvSpPr>
          <p:spPr bwMode="ltGray">
            <a:xfrm>
              <a:off x="4430713" y="1106488"/>
              <a:ext cx="1665288" cy="1238250"/>
            </a:xfrm>
            <a:custGeom>
              <a:avLst/>
              <a:gdLst>
                <a:gd name="T0" fmla="*/ 0 w 17465"/>
                <a:gd name="T1" fmla="*/ 7235 h 12998"/>
                <a:gd name="T2" fmla="*/ 17465 w 17465"/>
                <a:gd name="T3" fmla="*/ 0 h 12998"/>
                <a:gd name="T4" fmla="*/ 17465 w 17465"/>
                <a:gd name="T5" fmla="*/ 8151 h 12998"/>
                <a:gd name="T6" fmla="*/ 5764 w 17465"/>
                <a:gd name="T7" fmla="*/ 12998 h 12998"/>
                <a:gd name="T8" fmla="*/ 0 w 17465"/>
                <a:gd name="T9" fmla="*/ 7235 h 12998"/>
              </a:gdLst>
              <a:ahLst/>
              <a:cxnLst>
                <a:cxn ang="0">
                  <a:pos x="T0" y="T1"/>
                </a:cxn>
                <a:cxn ang="0">
                  <a:pos x="T2" y="T3"/>
                </a:cxn>
                <a:cxn ang="0">
                  <a:pos x="T4" y="T5"/>
                </a:cxn>
                <a:cxn ang="0">
                  <a:pos x="T6" y="T7"/>
                </a:cxn>
                <a:cxn ang="0">
                  <a:pos x="T8" y="T9"/>
                </a:cxn>
              </a:cxnLst>
              <a:rect l="0" t="0" r="r" b="b"/>
              <a:pathLst>
                <a:path w="17465" h="12998">
                  <a:moveTo>
                    <a:pt x="0" y="7235"/>
                  </a:moveTo>
                  <a:cubicBezTo>
                    <a:pt x="4632" y="2602"/>
                    <a:pt x="10915" y="0"/>
                    <a:pt x="17465" y="0"/>
                  </a:cubicBezTo>
                  <a:lnTo>
                    <a:pt x="17465" y="8151"/>
                  </a:lnTo>
                  <a:cubicBezTo>
                    <a:pt x="13076" y="8151"/>
                    <a:pt x="8867" y="9895"/>
                    <a:pt x="5764" y="12998"/>
                  </a:cubicBezTo>
                  <a:lnTo>
                    <a:pt x="0" y="7235"/>
                  </a:lnTo>
                  <a:close/>
                </a:path>
              </a:pathLst>
            </a:custGeom>
            <a:solidFill>
              <a:srgbClr val="D61118"/>
            </a:solidFill>
            <a:ln w="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9" name="object 41">
            <a:extLst>
              <a:ext uri="{FF2B5EF4-FFF2-40B4-BE49-F238E27FC236}">
                <a16:creationId xmlns:a16="http://schemas.microsoft.com/office/drawing/2014/main" id="{89CC138D-232D-C810-A1D8-0E3112D10391}"/>
              </a:ext>
            </a:extLst>
          </p:cNvPr>
          <p:cNvSpPr txBox="1"/>
          <p:nvPr userDrawn="1"/>
        </p:nvSpPr>
        <p:spPr bwMode="ltGray">
          <a:xfrm>
            <a:off x="5103122" y="2308181"/>
            <a:ext cx="1929939" cy="659796"/>
          </a:xfrm>
          <a:prstGeom prst="rect">
            <a:avLst/>
          </a:prstGeom>
        </p:spPr>
        <p:txBody>
          <a:bodyPr vert="horz" wrap="square" lIns="0" tIns="13335" rIns="0" bIns="0" rtlCol="0" anchor="t">
            <a:spAutoFit/>
          </a:bodyPr>
          <a:lstStyle/>
          <a:p>
            <a:pPr marL="12700" marR="5080" algn="ctr" rtl="0">
              <a:spcBef>
                <a:spcPts val="105"/>
              </a:spcBef>
              <a:buClr>
                <a:schemeClr val="tx1"/>
              </a:buClr>
            </a:pPr>
            <a:r>
              <a:rPr lang="en-US" sz="1400" b="1" spc="-25">
                <a:solidFill>
                  <a:schemeClr val="bg1"/>
                </a:solidFill>
                <a:latin typeface="Arial"/>
                <a:cs typeface="Arial"/>
              </a:rPr>
              <a:t>Begin your journey</a:t>
            </a:r>
            <a:r>
              <a:rPr lang="en-US" sz="1400" b="1">
                <a:solidFill>
                  <a:schemeClr val="bg1"/>
                </a:solidFill>
                <a:latin typeface="Arial"/>
                <a:cs typeface="Arial"/>
              </a:rPr>
              <a:t> </a:t>
            </a:r>
            <a:r>
              <a:rPr lang="en-US" sz="1400" b="1" spc="-20">
                <a:solidFill>
                  <a:schemeClr val="bg1"/>
                </a:solidFill>
                <a:latin typeface="Arial"/>
                <a:cs typeface="Arial"/>
              </a:rPr>
              <a:t>with </a:t>
            </a:r>
            <a:r>
              <a:rPr lang="en-US" sz="1400" b="1" spc="-10">
                <a:solidFill>
                  <a:schemeClr val="bg1"/>
                </a:solidFill>
                <a:latin typeface="Arial"/>
                <a:cs typeface="Arial"/>
              </a:rPr>
              <a:t>Kenya’s one-stop center</a:t>
            </a:r>
            <a:endParaRPr lang="en-US" sz="1400">
              <a:solidFill>
                <a:schemeClr val="bg1"/>
              </a:solidFill>
              <a:latin typeface="Arial"/>
              <a:cs typeface="Arial"/>
            </a:endParaRPr>
          </a:p>
        </p:txBody>
      </p:sp>
      <p:pic>
        <p:nvPicPr>
          <p:cNvPr id="30" name="object 11">
            <a:extLst>
              <a:ext uri="{FF2B5EF4-FFF2-40B4-BE49-F238E27FC236}">
                <a16:creationId xmlns:a16="http://schemas.microsoft.com/office/drawing/2014/main" id="{3C212CCC-8DFD-BF37-D963-0ED60D69594D}"/>
              </a:ext>
            </a:extLst>
          </p:cNvPr>
          <p:cNvPicPr/>
          <p:nvPr userDrawn="1"/>
        </p:nvPicPr>
        <p:blipFill>
          <a:blip r:embed="rId10" cstate="print"/>
          <a:stretch>
            <a:fillRect/>
          </a:stretch>
        </p:blipFill>
        <p:spPr bwMode="ltGray">
          <a:xfrm>
            <a:off x="5388968" y="3004322"/>
            <a:ext cx="1296473" cy="1298448"/>
          </a:xfrm>
          <a:prstGeom prst="rect">
            <a:avLst/>
          </a:prstGeom>
        </p:spPr>
      </p:pic>
      <p:sp>
        <p:nvSpPr>
          <p:cNvPr id="31" name="object 9">
            <a:extLst>
              <a:ext uri="{FF2B5EF4-FFF2-40B4-BE49-F238E27FC236}">
                <a16:creationId xmlns:a16="http://schemas.microsoft.com/office/drawing/2014/main" id="{35A4B684-7D32-354B-4E70-0EC36390BB61}"/>
              </a:ext>
            </a:extLst>
          </p:cNvPr>
          <p:cNvSpPr txBox="1"/>
          <p:nvPr userDrawn="1"/>
        </p:nvSpPr>
        <p:spPr bwMode="ltGray">
          <a:xfrm>
            <a:off x="5072234" y="4351686"/>
            <a:ext cx="1929939" cy="197490"/>
          </a:xfrm>
          <a:prstGeom prst="rect">
            <a:avLst/>
          </a:prstGeom>
        </p:spPr>
        <p:txBody>
          <a:bodyPr vert="horz" wrap="square" lIns="0" tIns="12700" rIns="0" bIns="0" rtlCol="0">
            <a:spAutoFit/>
          </a:bodyPr>
          <a:lstStyle/>
          <a:p>
            <a:pPr marL="12700" algn="ctr" rtl="0">
              <a:lnSpc>
                <a:spcPct val="100000"/>
              </a:lnSpc>
              <a:spcBef>
                <a:spcPts val="100"/>
              </a:spcBef>
              <a:buClr>
                <a:schemeClr val="tx2"/>
              </a:buClr>
            </a:pPr>
            <a:r>
              <a:rPr lang="en-US" sz="1200" b="1" spc="-95">
                <a:solidFill>
                  <a:schemeClr val="tx2"/>
                </a:solidFill>
                <a:uFill>
                  <a:solidFill>
                    <a:srgbClr val="FFFFFF"/>
                  </a:solidFill>
                </a:uFill>
                <a:latin typeface="Arial" panose="020B0604020202020204" pitchFamily="34" charset="0"/>
                <a:cs typeface="Arial" panose="020B0604020202020204" pitchFamily="34" charset="0"/>
              </a:rPr>
              <a:t>www.investkenya.go.ke</a:t>
            </a:r>
            <a:endParaRPr lang="en-US" sz="1200">
              <a:solidFill>
                <a:schemeClr val="tx2"/>
              </a:solidFill>
              <a:latin typeface="Arial" panose="020B0604020202020204" pitchFamily="34" charset="0"/>
              <a:cs typeface="Arial" panose="020B0604020202020204" pitchFamily="34" charset="0"/>
            </a:endParaRPr>
          </a:p>
        </p:txBody>
      </p:sp>
      <p:pic>
        <p:nvPicPr>
          <p:cNvPr id="32" name="preEnclosure">
            <a:extLst>
              <a:ext uri="{FF2B5EF4-FFF2-40B4-BE49-F238E27FC236}">
                <a16:creationId xmlns:a16="http://schemas.microsoft.com/office/drawing/2014/main" id="{BE77720A-DC78-5DC4-CD17-43CBEA8025BB}"/>
              </a:ext>
            </a:extLst>
          </p:cNvPr>
          <p:cNvPicPr>
            <a:picLocks noChangeAspect="1"/>
          </p:cNvPicPr>
          <p:nvPr userDrawn="1"/>
        </p:nvPicPr>
        <p:blipFill>
          <a:blip>
            <a:extLst>
              <a:ext uri="{96DAC541-7B7A-43D3-8B79-37D633B846F1}">
                <asvg:svgBlip xmlns:asvg="http://schemas.microsoft.com/office/drawing/2016/SVG/main" r:embed="rId11"/>
              </a:ext>
            </a:extLst>
          </a:blip>
          <a:stretch>
            <a:fillRect/>
          </a:stretch>
        </p:blipFill>
        <p:spPr bwMode="ltGray">
          <a:xfrm>
            <a:off x="7551867" y="2636828"/>
            <a:ext cx="441499" cy="431125"/>
          </a:xfrm>
          <a:prstGeom prst="rect">
            <a:avLst/>
          </a:prstGeom>
        </p:spPr>
      </p:pic>
      <p:pic>
        <p:nvPicPr>
          <p:cNvPr id="33" name="preEnclosure">
            <a:extLst>
              <a:ext uri="{FF2B5EF4-FFF2-40B4-BE49-F238E27FC236}">
                <a16:creationId xmlns:a16="http://schemas.microsoft.com/office/drawing/2014/main" id="{E87E692B-A293-8838-4F3F-7C03E653AD37}"/>
              </a:ext>
            </a:extLst>
          </p:cNvPr>
          <p:cNvPicPr>
            <a:picLocks noChangeAspect="1"/>
          </p:cNvPicPr>
          <p:nvPr userDrawn="1"/>
        </p:nvPicPr>
        <p:blipFill>
          <a:blip>
            <a:extLst>
              <a:ext uri="{96DAC541-7B7A-43D3-8B79-37D633B846F1}">
                <asvg:svgBlip xmlns:asvg="http://schemas.microsoft.com/office/drawing/2016/SVG/main" r:embed="rId12"/>
              </a:ext>
            </a:extLst>
          </a:blip>
          <a:stretch>
            <a:fillRect/>
          </a:stretch>
        </p:blipFill>
        <p:spPr bwMode="ltGray">
          <a:xfrm>
            <a:off x="7522841" y="3972766"/>
            <a:ext cx="441499" cy="431125"/>
          </a:xfrm>
          <a:prstGeom prst="rect">
            <a:avLst/>
          </a:prstGeom>
        </p:spPr>
      </p:pic>
      <p:pic>
        <p:nvPicPr>
          <p:cNvPr id="34" name="preEnclosure">
            <a:extLst>
              <a:ext uri="{FF2B5EF4-FFF2-40B4-BE49-F238E27FC236}">
                <a16:creationId xmlns:a16="http://schemas.microsoft.com/office/drawing/2014/main" id="{B21B6EF6-4C5C-E978-4C8E-C47E53686996}"/>
              </a:ext>
            </a:extLst>
          </p:cNvPr>
          <p:cNvPicPr>
            <a:picLocks noChangeAspect="1"/>
          </p:cNvPicPr>
          <p:nvPr userDrawn="1"/>
        </p:nvPicPr>
        <p:blipFill>
          <a:blip>
            <a:extLst>
              <a:ext uri="{96DAC541-7B7A-43D3-8B79-37D633B846F1}">
                <asvg:svgBlip xmlns:asvg="http://schemas.microsoft.com/office/drawing/2016/SVG/main" r:embed="rId13"/>
              </a:ext>
            </a:extLst>
          </a:blip>
          <a:stretch>
            <a:fillRect/>
          </a:stretch>
        </p:blipFill>
        <p:spPr bwMode="ltGray">
          <a:xfrm>
            <a:off x="5059349" y="4938643"/>
            <a:ext cx="441499" cy="431125"/>
          </a:xfrm>
          <a:prstGeom prst="rect">
            <a:avLst/>
          </a:prstGeom>
        </p:spPr>
      </p:pic>
      <p:pic>
        <p:nvPicPr>
          <p:cNvPr id="35" name="preEnclosure">
            <a:extLst>
              <a:ext uri="{FF2B5EF4-FFF2-40B4-BE49-F238E27FC236}">
                <a16:creationId xmlns:a16="http://schemas.microsoft.com/office/drawing/2014/main" id="{B637C6D3-A778-9E40-9E5D-1F310D90A12A}"/>
              </a:ext>
            </a:extLst>
          </p:cNvPr>
          <p:cNvPicPr>
            <a:picLocks noChangeAspect="1"/>
          </p:cNvPicPr>
          <p:nvPr userDrawn="1"/>
        </p:nvPicPr>
        <p:blipFill>
          <a:blip>
            <a:extLst>
              <a:ext uri="{96DAC541-7B7A-43D3-8B79-37D633B846F1}">
                <asvg:svgBlip xmlns:asvg="http://schemas.microsoft.com/office/drawing/2016/SVG/main" r:embed="rId14"/>
              </a:ext>
            </a:extLst>
          </a:blip>
          <a:stretch>
            <a:fillRect/>
          </a:stretch>
        </p:blipFill>
        <p:spPr bwMode="ltGray">
          <a:xfrm>
            <a:off x="4117295" y="3969028"/>
            <a:ext cx="441499" cy="431125"/>
          </a:xfrm>
          <a:prstGeom prst="rect">
            <a:avLst/>
          </a:prstGeom>
        </p:spPr>
      </p:pic>
      <p:pic>
        <p:nvPicPr>
          <p:cNvPr id="36" name="preEnclosure">
            <a:extLst>
              <a:ext uri="{FF2B5EF4-FFF2-40B4-BE49-F238E27FC236}">
                <a16:creationId xmlns:a16="http://schemas.microsoft.com/office/drawing/2014/main" id="{B3C01D56-019F-3A9D-B12D-9369CF40F6DA}"/>
              </a:ext>
            </a:extLst>
          </p:cNvPr>
          <p:cNvPicPr>
            <a:picLocks noChangeAspect="1"/>
          </p:cNvPicPr>
          <p:nvPr userDrawn="1"/>
        </p:nvPicPr>
        <p:blipFill>
          <a:blip>
            <a:extLst>
              <a:ext uri="{96DAC541-7B7A-43D3-8B79-37D633B846F1}">
                <asvg:svgBlip xmlns:asvg="http://schemas.microsoft.com/office/drawing/2016/SVG/main" r:embed="rId15"/>
              </a:ext>
            </a:extLst>
          </a:blip>
          <a:stretch>
            <a:fillRect/>
          </a:stretch>
        </p:blipFill>
        <p:spPr bwMode="ltGray">
          <a:xfrm>
            <a:off x="4086497" y="2636828"/>
            <a:ext cx="441499" cy="431125"/>
          </a:xfrm>
          <a:prstGeom prst="rect">
            <a:avLst/>
          </a:prstGeom>
        </p:spPr>
      </p:pic>
      <p:pic>
        <p:nvPicPr>
          <p:cNvPr id="37" name="preEnclosure">
            <a:extLst>
              <a:ext uri="{FF2B5EF4-FFF2-40B4-BE49-F238E27FC236}">
                <a16:creationId xmlns:a16="http://schemas.microsoft.com/office/drawing/2014/main" id="{5AF04294-AD90-C65F-706E-0273A1E1FAB6}"/>
              </a:ext>
            </a:extLst>
          </p:cNvPr>
          <p:cNvPicPr>
            <a:picLocks noChangeAspect="1"/>
          </p:cNvPicPr>
          <p:nvPr userDrawn="1"/>
        </p:nvPicPr>
        <p:blipFill>
          <a:blip>
            <a:extLst>
              <a:ext uri="{96DAC541-7B7A-43D3-8B79-37D633B846F1}">
                <asvg:svgBlip xmlns:asvg="http://schemas.microsoft.com/office/drawing/2016/SVG/main" r:embed="rId16"/>
              </a:ext>
            </a:extLst>
          </a:blip>
          <a:stretch>
            <a:fillRect/>
          </a:stretch>
        </p:blipFill>
        <p:spPr bwMode="ltGray">
          <a:xfrm>
            <a:off x="5109420" y="1614213"/>
            <a:ext cx="441499" cy="404453"/>
          </a:xfrm>
          <a:prstGeom prst="rect">
            <a:avLst/>
          </a:prstGeom>
        </p:spPr>
      </p:pic>
      <p:pic>
        <p:nvPicPr>
          <p:cNvPr id="38" name="preEnclosure">
            <a:extLst>
              <a:ext uri="{FF2B5EF4-FFF2-40B4-BE49-F238E27FC236}">
                <a16:creationId xmlns:a16="http://schemas.microsoft.com/office/drawing/2014/main" id="{A265457C-D022-C27A-904F-DE668F5190FA}"/>
              </a:ext>
            </a:extLst>
          </p:cNvPr>
          <p:cNvPicPr>
            <a:picLocks noChangeAspect="1"/>
          </p:cNvPicPr>
          <p:nvPr userDrawn="1"/>
        </p:nvPicPr>
        <p:blipFill>
          <a:blip>
            <a:extLst>
              <a:ext uri="{96DAC541-7B7A-43D3-8B79-37D633B846F1}">
                <asvg:svgBlip xmlns:asvg="http://schemas.microsoft.com/office/drawing/2016/SVG/main" r:embed="rId17"/>
              </a:ext>
            </a:extLst>
          </a:blip>
          <a:stretch>
            <a:fillRect/>
          </a:stretch>
        </p:blipFill>
        <p:spPr bwMode="ltGray">
          <a:xfrm>
            <a:off x="6560674" y="1602106"/>
            <a:ext cx="441499" cy="431125"/>
          </a:xfrm>
          <a:prstGeom prst="rect">
            <a:avLst/>
          </a:prstGeom>
        </p:spPr>
      </p:pic>
      <p:pic>
        <p:nvPicPr>
          <p:cNvPr id="39" name="preEnclosure">
            <a:extLst>
              <a:ext uri="{FF2B5EF4-FFF2-40B4-BE49-F238E27FC236}">
                <a16:creationId xmlns:a16="http://schemas.microsoft.com/office/drawing/2014/main" id="{319EB5F5-A9BC-EA57-7769-8C58F04D6EF7}"/>
              </a:ext>
            </a:extLst>
          </p:cNvPr>
          <p:cNvPicPr>
            <a:picLocks noChangeAspect="1"/>
          </p:cNvPicPr>
          <p:nvPr userDrawn="1"/>
        </p:nvPicPr>
        <p:blipFill>
          <a:blip>
            <a:extLst>
              <a:ext uri="{96DAC541-7B7A-43D3-8B79-37D633B846F1}">
                <asvg:svgBlip xmlns:asvg="http://schemas.microsoft.com/office/drawing/2016/SVG/main" r:embed="rId18"/>
              </a:ext>
            </a:extLst>
          </a:blip>
          <a:stretch>
            <a:fillRect/>
          </a:stretch>
        </p:blipFill>
        <p:spPr bwMode="ltGray">
          <a:xfrm>
            <a:off x="6554813" y="4942840"/>
            <a:ext cx="441499" cy="431125"/>
          </a:xfrm>
          <a:prstGeom prst="rect">
            <a:avLst/>
          </a:prstGeom>
        </p:spPr>
      </p:pic>
      <p:sp>
        <p:nvSpPr>
          <p:cNvPr id="40" name="TextBox 39">
            <a:extLst>
              <a:ext uri="{FF2B5EF4-FFF2-40B4-BE49-F238E27FC236}">
                <a16:creationId xmlns:a16="http://schemas.microsoft.com/office/drawing/2014/main" id="{07606E6F-824A-D9E5-0469-BDC4622FE509}"/>
              </a:ext>
            </a:extLst>
          </p:cNvPr>
          <p:cNvSpPr txBox="1">
            <a:spLocks/>
          </p:cNvSpPr>
          <p:nvPr userDrawn="1"/>
        </p:nvSpPr>
        <p:spPr bwMode="ltGray">
          <a:xfrm>
            <a:off x="1946682" y="1416765"/>
            <a:ext cx="1309153" cy="430887"/>
          </a:xfrm>
          <a:prstGeom prst="rect">
            <a:avLst/>
          </a:prstGeom>
        </p:spPr>
        <p:txBody>
          <a:bodyPr vert="horz" wrap="square" lIns="0" tIns="0" rIns="0" bIns="0" rtlCol="0" anchor="ctr" anchorCtr="0">
            <a:noAutofit/>
          </a:bodyPr>
          <a:lstStyle>
            <a:lvl1pPr lvl="0" indent="0" defTabSz="397290">
              <a:lnSpc>
                <a:spcPct val="100000"/>
              </a:lnSpc>
              <a:spcBef>
                <a:spcPts val="130"/>
              </a:spcBef>
              <a:spcAft>
                <a:spcPts val="130"/>
              </a:spcAft>
              <a:buClr>
                <a:schemeClr val="tx1"/>
              </a:buClr>
              <a:buSzPct val="100000"/>
              <a:buFont typeface="Segoe UI" panose="020B0502040204020203" pitchFamily="34" charset="0"/>
              <a:buChar char="​"/>
              <a:defRPr lang="en-US" sz="735" dirty="0">
                <a:cs typeface="Arial" panose="020B0604020202020204" pitchFamily="34" charset="0"/>
              </a:defRPr>
            </a:lvl1pPr>
            <a:lvl2pPr marL="100102" lvl="1" indent="-98538" defTabSz="397290">
              <a:lnSpc>
                <a:spcPct val="100000"/>
              </a:lnSpc>
              <a:spcBef>
                <a:spcPts val="0"/>
              </a:spcBef>
              <a:spcAft>
                <a:spcPts val="130"/>
              </a:spcAft>
              <a:buClr>
                <a:schemeClr val="tx1"/>
              </a:buClr>
              <a:buSzPct val="110000"/>
              <a:buFont typeface="Wingdings" panose="05000000000000000000" pitchFamily="2" charset="2"/>
              <a:buChar char=""/>
              <a:defRPr lang="en-US" sz="735" dirty="0"/>
            </a:lvl2pPr>
            <a:lvl3pPr marL="192386" lvl="2" indent="-93847" defTabSz="397290">
              <a:lnSpc>
                <a:spcPct val="100000"/>
              </a:lnSpc>
              <a:spcBef>
                <a:spcPts val="0"/>
              </a:spcBef>
              <a:spcAft>
                <a:spcPts val="130"/>
              </a:spcAft>
              <a:buClr>
                <a:schemeClr val="tx1"/>
              </a:buClr>
              <a:buSzPct val="110000"/>
              <a:buFont typeface="Arial" panose="020B0604020202020204" pitchFamily="34" charset="0"/>
              <a:buChar char="‒"/>
              <a:defRPr lang="en-US" sz="735" dirty="0"/>
            </a:lvl3pPr>
            <a:lvl4pPr marL="259641" lvl="3" indent="-65692" defTabSz="397290">
              <a:lnSpc>
                <a:spcPct val="100000"/>
              </a:lnSpc>
              <a:spcBef>
                <a:spcPts val="0"/>
              </a:spcBef>
              <a:spcAft>
                <a:spcPts val="130"/>
              </a:spcAft>
              <a:buClr>
                <a:schemeClr val="tx1"/>
              </a:buClr>
              <a:buSzPct val="100000"/>
              <a:buFont typeface="Arial" panose="020B0604020202020204" pitchFamily="34" charset="0"/>
              <a:buChar char="•"/>
              <a:defRPr lang="en-US" sz="735" dirty="0"/>
            </a:lvl4pPr>
            <a:lvl5pPr marL="355051" lvl="4" indent="-64128" defTabSz="397290">
              <a:lnSpc>
                <a:spcPct val="100000"/>
              </a:lnSpc>
              <a:spcBef>
                <a:spcPts val="0"/>
              </a:spcBef>
              <a:spcAft>
                <a:spcPts val="130"/>
              </a:spcAft>
              <a:buClr>
                <a:schemeClr val="tx1"/>
              </a:buClr>
              <a:buSzPct val="100000"/>
              <a:buFont typeface="Arial" panose="020B0604020202020204" pitchFamily="34" charset="0"/>
              <a:buChar char="̶"/>
              <a:defRPr lang="en-US" sz="735" dirty="0"/>
            </a:lvl5pPr>
            <a:lvl6pPr marL="471780" indent="-74492" defTabSz="397290">
              <a:lnSpc>
                <a:spcPct val="100000"/>
              </a:lnSpc>
              <a:spcBef>
                <a:spcPts val="0"/>
              </a:spcBef>
              <a:spcAft>
                <a:spcPts val="130"/>
              </a:spcAft>
              <a:buSzPct val="100000"/>
              <a:buFont typeface="Arial" panose="020B0604020202020204" pitchFamily="34" charset="0"/>
              <a:buChar char="▫"/>
              <a:defRPr sz="694">
                <a:cs typeface="Arial" panose="020B0604020202020204" pitchFamily="34" charset="0"/>
              </a:defRPr>
            </a:lvl6pPr>
            <a:lvl7pPr marL="471780" indent="-74492" defTabSz="397290">
              <a:lnSpc>
                <a:spcPct val="100000"/>
              </a:lnSpc>
              <a:spcBef>
                <a:spcPts val="0"/>
              </a:spcBef>
              <a:spcAft>
                <a:spcPts val="130"/>
              </a:spcAft>
              <a:buSzPct val="100000"/>
              <a:buFont typeface="Arial" panose="020B0604020202020204" pitchFamily="34" charset="0"/>
              <a:buChar char="▫"/>
              <a:defRPr sz="694">
                <a:cs typeface="Arial" panose="020B0604020202020204" pitchFamily="34" charset="0"/>
              </a:defRPr>
            </a:lvl7pPr>
            <a:lvl8pPr marL="471780" indent="-74492" defTabSz="397290">
              <a:lnSpc>
                <a:spcPct val="100000"/>
              </a:lnSpc>
              <a:spcBef>
                <a:spcPts val="0"/>
              </a:spcBef>
              <a:spcAft>
                <a:spcPts val="130"/>
              </a:spcAft>
              <a:buSzPct val="100000"/>
              <a:buFont typeface="Arial" panose="020B0604020202020204" pitchFamily="34" charset="0"/>
              <a:buChar char="▫"/>
              <a:defRPr sz="694">
                <a:cs typeface="Arial" panose="020B0604020202020204" pitchFamily="34" charset="0"/>
              </a:defRPr>
            </a:lvl8pPr>
            <a:lvl9pPr marL="471780" indent="-74492" defTabSz="397290">
              <a:lnSpc>
                <a:spcPct val="100000"/>
              </a:lnSpc>
              <a:spcBef>
                <a:spcPts val="0"/>
              </a:spcBef>
              <a:spcAft>
                <a:spcPts val="130"/>
              </a:spcAft>
              <a:buSzPct val="100000"/>
              <a:buFont typeface="Arial" panose="020B0604020202020204" pitchFamily="34" charset="0"/>
              <a:buChar char="▫"/>
              <a:defRPr sz="694">
                <a:cs typeface="Arial" panose="020B0604020202020204" pitchFamily="34" charset="0"/>
              </a:defRPr>
            </a:lvl9pPr>
          </a:lstStyle>
          <a:p>
            <a:pPr marL="0" marR="0" lvl="0" indent="0" algn="l" defTabSz="397290" rtl="0" eaLnBrk="1" fontAlgn="auto" latinLnBrk="0" hangingPunct="1">
              <a:lnSpc>
                <a:spcPct val="100000"/>
              </a:lnSpc>
              <a:spcBef>
                <a:spcPts val="130"/>
              </a:spcBef>
              <a:spcAft>
                <a:spcPts val="130"/>
              </a:spcAft>
              <a:buClr>
                <a:srgbClr val="000000"/>
              </a:buClr>
              <a:buSzPct val="100000"/>
              <a:buFont typeface="Segoe UI" panose="020B0502040204020203"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1 Source of Investment Data</a:t>
            </a:r>
          </a:p>
        </p:txBody>
      </p:sp>
      <p:sp>
        <p:nvSpPr>
          <p:cNvPr id="41" name="TextBox 40">
            <a:extLst>
              <a:ext uri="{FF2B5EF4-FFF2-40B4-BE49-F238E27FC236}">
                <a16:creationId xmlns:a16="http://schemas.microsoft.com/office/drawing/2014/main" id="{EC70A385-F554-FCB0-2470-63E1224E06CC}"/>
              </a:ext>
            </a:extLst>
          </p:cNvPr>
          <p:cNvSpPr txBox="1">
            <a:spLocks/>
          </p:cNvSpPr>
          <p:nvPr userDrawn="1"/>
        </p:nvSpPr>
        <p:spPr bwMode="ltGray">
          <a:xfrm>
            <a:off x="1946682" y="2643363"/>
            <a:ext cx="1309153" cy="430887"/>
          </a:xfrm>
          <a:prstGeom prst="rect">
            <a:avLst/>
          </a:prstGeom>
        </p:spPr>
        <p:txBody>
          <a:bodyPr vert="horz" wrap="square" lIns="0" tIns="0" rIns="0" bIns="0" rtlCol="0" anchor="ctr" anchorCtr="0">
            <a:noAutofit/>
          </a:bodyPr>
          <a:lstStyle>
            <a:lvl1pPr lvl="0" indent="0" defTabSz="397290">
              <a:lnSpc>
                <a:spcPct val="100000"/>
              </a:lnSpc>
              <a:spcBef>
                <a:spcPts val="130"/>
              </a:spcBef>
              <a:spcAft>
                <a:spcPts val="130"/>
              </a:spcAft>
              <a:buClr>
                <a:schemeClr val="tx1"/>
              </a:buClr>
              <a:buSzPct val="100000"/>
              <a:buFont typeface="Segoe UI" panose="020B0502040204020203" pitchFamily="34" charset="0"/>
              <a:buChar char="​"/>
              <a:defRPr lang="en-US" sz="735" dirty="0">
                <a:cs typeface="Arial" panose="020B0604020202020204" pitchFamily="34" charset="0"/>
              </a:defRPr>
            </a:lvl1pPr>
            <a:lvl2pPr marL="100102" lvl="1" indent="-98538" defTabSz="397290">
              <a:lnSpc>
                <a:spcPct val="100000"/>
              </a:lnSpc>
              <a:spcBef>
                <a:spcPts val="0"/>
              </a:spcBef>
              <a:spcAft>
                <a:spcPts val="130"/>
              </a:spcAft>
              <a:buClr>
                <a:schemeClr val="tx1"/>
              </a:buClr>
              <a:buSzPct val="110000"/>
              <a:buFont typeface="Wingdings" panose="05000000000000000000" pitchFamily="2" charset="2"/>
              <a:buChar char=""/>
              <a:defRPr lang="en-US" sz="735" dirty="0"/>
            </a:lvl2pPr>
            <a:lvl3pPr marL="192386" lvl="2" indent="-93847" defTabSz="397290">
              <a:lnSpc>
                <a:spcPct val="100000"/>
              </a:lnSpc>
              <a:spcBef>
                <a:spcPts val="0"/>
              </a:spcBef>
              <a:spcAft>
                <a:spcPts val="130"/>
              </a:spcAft>
              <a:buClr>
                <a:schemeClr val="tx1"/>
              </a:buClr>
              <a:buSzPct val="110000"/>
              <a:buFont typeface="Arial" panose="020B0604020202020204" pitchFamily="34" charset="0"/>
              <a:buChar char="‒"/>
              <a:defRPr lang="en-US" sz="735" dirty="0"/>
            </a:lvl3pPr>
            <a:lvl4pPr marL="259641" lvl="3" indent="-65692" defTabSz="397290">
              <a:lnSpc>
                <a:spcPct val="100000"/>
              </a:lnSpc>
              <a:spcBef>
                <a:spcPts val="0"/>
              </a:spcBef>
              <a:spcAft>
                <a:spcPts val="130"/>
              </a:spcAft>
              <a:buClr>
                <a:schemeClr val="tx1"/>
              </a:buClr>
              <a:buSzPct val="100000"/>
              <a:buFont typeface="Arial" panose="020B0604020202020204" pitchFamily="34" charset="0"/>
              <a:buChar char="•"/>
              <a:defRPr lang="en-US" sz="735" dirty="0"/>
            </a:lvl4pPr>
            <a:lvl5pPr marL="355051" lvl="4" indent="-64128" defTabSz="397290">
              <a:lnSpc>
                <a:spcPct val="100000"/>
              </a:lnSpc>
              <a:spcBef>
                <a:spcPts val="0"/>
              </a:spcBef>
              <a:spcAft>
                <a:spcPts val="130"/>
              </a:spcAft>
              <a:buClr>
                <a:schemeClr val="tx1"/>
              </a:buClr>
              <a:buSzPct val="100000"/>
              <a:buFont typeface="Arial" panose="020B0604020202020204" pitchFamily="34" charset="0"/>
              <a:buChar char="̶"/>
              <a:defRPr lang="en-US" sz="735" dirty="0"/>
            </a:lvl5pPr>
            <a:lvl6pPr marL="471780" indent="-74492" defTabSz="397290">
              <a:lnSpc>
                <a:spcPct val="100000"/>
              </a:lnSpc>
              <a:spcBef>
                <a:spcPts val="0"/>
              </a:spcBef>
              <a:spcAft>
                <a:spcPts val="130"/>
              </a:spcAft>
              <a:buSzPct val="100000"/>
              <a:buFont typeface="Arial" panose="020B0604020202020204" pitchFamily="34" charset="0"/>
              <a:buChar char="▫"/>
              <a:defRPr sz="694">
                <a:cs typeface="Arial" panose="020B0604020202020204" pitchFamily="34" charset="0"/>
              </a:defRPr>
            </a:lvl6pPr>
            <a:lvl7pPr marL="471780" indent="-74492" defTabSz="397290">
              <a:lnSpc>
                <a:spcPct val="100000"/>
              </a:lnSpc>
              <a:spcBef>
                <a:spcPts val="0"/>
              </a:spcBef>
              <a:spcAft>
                <a:spcPts val="130"/>
              </a:spcAft>
              <a:buSzPct val="100000"/>
              <a:buFont typeface="Arial" panose="020B0604020202020204" pitchFamily="34" charset="0"/>
              <a:buChar char="▫"/>
              <a:defRPr sz="694">
                <a:cs typeface="Arial" panose="020B0604020202020204" pitchFamily="34" charset="0"/>
              </a:defRPr>
            </a:lvl7pPr>
            <a:lvl8pPr marL="471780" indent="-74492" defTabSz="397290">
              <a:lnSpc>
                <a:spcPct val="100000"/>
              </a:lnSpc>
              <a:spcBef>
                <a:spcPts val="0"/>
              </a:spcBef>
              <a:spcAft>
                <a:spcPts val="130"/>
              </a:spcAft>
              <a:buSzPct val="100000"/>
              <a:buFont typeface="Arial" panose="020B0604020202020204" pitchFamily="34" charset="0"/>
              <a:buChar char="▫"/>
              <a:defRPr sz="694">
                <a:cs typeface="Arial" panose="020B0604020202020204" pitchFamily="34" charset="0"/>
              </a:defRPr>
            </a:lvl8pPr>
            <a:lvl9pPr marL="471780" indent="-74492" defTabSz="397290">
              <a:lnSpc>
                <a:spcPct val="100000"/>
              </a:lnSpc>
              <a:spcBef>
                <a:spcPts val="0"/>
              </a:spcBef>
              <a:spcAft>
                <a:spcPts val="130"/>
              </a:spcAft>
              <a:buSzPct val="100000"/>
              <a:buFont typeface="Arial" panose="020B0604020202020204" pitchFamily="34" charset="0"/>
              <a:buChar char="▫"/>
              <a:defRPr sz="694">
                <a:cs typeface="Arial" panose="020B0604020202020204" pitchFamily="34" charset="0"/>
              </a:defRPr>
            </a:lvl9pPr>
          </a:lstStyle>
          <a:p>
            <a:pPr marL="0" marR="0" lvl="0" indent="0" algn="l" defTabSz="397290" rtl="0" eaLnBrk="1" fontAlgn="auto" latinLnBrk="0" hangingPunct="1">
              <a:lnSpc>
                <a:spcPct val="100000"/>
              </a:lnSpc>
              <a:spcBef>
                <a:spcPts val="130"/>
              </a:spcBef>
              <a:spcAft>
                <a:spcPts val="130"/>
              </a:spcAft>
              <a:buClr>
                <a:srgbClr val="000000"/>
              </a:buClr>
              <a:buSzPct val="100000"/>
              <a:buFont typeface="Segoe UI" panose="020B0502040204020203"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Business Climate support</a:t>
            </a:r>
          </a:p>
        </p:txBody>
      </p:sp>
      <p:sp>
        <p:nvSpPr>
          <p:cNvPr id="42" name="TextBox 41">
            <a:extLst>
              <a:ext uri="{FF2B5EF4-FFF2-40B4-BE49-F238E27FC236}">
                <a16:creationId xmlns:a16="http://schemas.microsoft.com/office/drawing/2014/main" id="{D6BC0ACA-12F1-69D1-5B79-74744BC9A43C}"/>
              </a:ext>
            </a:extLst>
          </p:cNvPr>
          <p:cNvSpPr txBox="1">
            <a:spLocks/>
          </p:cNvSpPr>
          <p:nvPr userDrawn="1"/>
        </p:nvSpPr>
        <p:spPr bwMode="ltGray">
          <a:xfrm>
            <a:off x="1946682" y="3869961"/>
            <a:ext cx="1309153" cy="430887"/>
          </a:xfrm>
          <a:prstGeom prst="rect">
            <a:avLst/>
          </a:prstGeom>
        </p:spPr>
        <p:txBody>
          <a:bodyPr vert="horz" wrap="square" lIns="0" tIns="0" rIns="0" bIns="0" rtlCol="0" anchor="ctr" anchorCtr="0">
            <a:noAutofit/>
          </a:bodyPr>
          <a:lstStyle>
            <a:lvl1pPr lvl="0" indent="0" defTabSz="397290">
              <a:lnSpc>
                <a:spcPct val="100000"/>
              </a:lnSpc>
              <a:spcBef>
                <a:spcPts val="130"/>
              </a:spcBef>
              <a:spcAft>
                <a:spcPts val="130"/>
              </a:spcAft>
              <a:buClr>
                <a:schemeClr val="tx1"/>
              </a:buClr>
              <a:buSzPct val="100000"/>
              <a:buFont typeface="Segoe UI" panose="020B0502040204020203" pitchFamily="34" charset="0"/>
              <a:buChar char="​"/>
              <a:defRPr lang="en-US" sz="735" dirty="0">
                <a:cs typeface="Arial" panose="020B0604020202020204" pitchFamily="34" charset="0"/>
              </a:defRPr>
            </a:lvl1pPr>
            <a:lvl2pPr marL="100102" lvl="1" indent="-98538" defTabSz="397290">
              <a:lnSpc>
                <a:spcPct val="100000"/>
              </a:lnSpc>
              <a:spcBef>
                <a:spcPts val="0"/>
              </a:spcBef>
              <a:spcAft>
                <a:spcPts val="130"/>
              </a:spcAft>
              <a:buClr>
                <a:schemeClr val="tx1"/>
              </a:buClr>
              <a:buSzPct val="110000"/>
              <a:buFont typeface="Wingdings" panose="05000000000000000000" pitchFamily="2" charset="2"/>
              <a:buChar char=""/>
              <a:defRPr lang="en-US" sz="735" dirty="0"/>
            </a:lvl2pPr>
            <a:lvl3pPr marL="192386" lvl="2" indent="-93847" defTabSz="397290">
              <a:lnSpc>
                <a:spcPct val="100000"/>
              </a:lnSpc>
              <a:spcBef>
                <a:spcPts val="0"/>
              </a:spcBef>
              <a:spcAft>
                <a:spcPts val="130"/>
              </a:spcAft>
              <a:buClr>
                <a:schemeClr val="tx1"/>
              </a:buClr>
              <a:buSzPct val="110000"/>
              <a:buFont typeface="Arial" panose="020B0604020202020204" pitchFamily="34" charset="0"/>
              <a:buChar char="‒"/>
              <a:defRPr lang="en-US" sz="735" dirty="0"/>
            </a:lvl3pPr>
            <a:lvl4pPr marL="259641" lvl="3" indent="-65692" defTabSz="397290">
              <a:lnSpc>
                <a:spcPct val="100000"/>
              </a:lnSpc>
              <a:spcBef>
                <a:spcPts val="0"/>
              </a:spcBef>
              <a:spcAft>
                <a:spcPts val="130"/>
              </a:spcAft>
              <a:buClr>
                <a:schemeClr val="tx1"/>
              </a:buClr>
              <a:buSzPct val="100000"/>
              <a:buFont typeface="Arial" panose="020B0604020202020204" pitchFamily="34" charset="0"/>
              <a:buChar char="•"/>
              <a:defRPr lang="en-US" sz="735" dirty="0"/>
            </a:lvl4pPr>
            <a:lvl5pPr marL="355051" lvl="4" indent="-64128" defTabSz="397290">
              <a:lnSpc>
                <a:spcPct val="100000"/>
              </a:lnSpc>
              <a:spcBef>
                <a:spcPts val="0"/>
              </a:spcBef>
              <a:spcAft>
                <a:spcPts val="130"/>
              </a:spcAft>
              <a:buClr>
                <a:schemeClr val="tx1"/>
              </a:buClr>
              <a:buSzPct val="100000"/>
              <a:buFont typeface="Arial" panose="020B0604020202020204" pitchFamily="34" charset="0"/>
              <a:buChar char="̶"/>
              <a:defRPr lang="en-US" sz="735" dirty="0"/>
            </a:lvl5pPr>
            <a:lvl6pPr marL="471780" indent="-74492" defTabSz="397290">
              <a:lnSpc>
                <a:spcPct val="100000"/>
              </a:lnSpc>
              <a:spcBef>
                <a:spcPts val="0"/>
              </a:spcBef>
              <a:spcAft>
                <a:spcPts val="130"/>
              </a:spcAft>
              <a:buSzPct val="100000"/>
              <a:buFont typeface="Arial" panose="020B0604020202020204" pitchFamily="34" charset="0"/>
              <a:buChar char="▫"/>
              <a:defRPr sz="694">
                <a:cs typeface="Arial" panose="020B0604020202020204" pitchFamily="34" charset="0"/>
              </a:defRPr>
            </a:lvl6pPr>
            <a:lvl7pPr marL="471780" indent="-74492" defTabSz="397290">
              <a:lnSpc>
                <a:spcPct val="100000"/>
              </a:lnSpc>
              <a:spcBef>
                <a:spcPts val="0"/>
              </a:spcBef>
              <a:spcAft>
                <a:spcPts val="130"/>
              </a:spcAft>
              <a:buSzPct val="100000"/>
              <a:buFont typeface="Arial" panose="020B0604020202020204" pitchFamily="34" charset="0"/>
              <a:buChar char="▫"/>
              <a:defRPr sz="694">
                <a:cs typeface="Arial" panose="020B0604020202020204" pitchFamily="34" charset="0"/>
              </a:defRPr>
            </a:lvl7pPr>
            <a:lvl8pPr marL="471780" indent="-74492" defTabSz="397290">
              <a:lnSpc>
                <a:spcPct val="100000"/>
              </a:lnSpc>
              <a:spcBef>
                <a:spcPts val="0"/>
              </a:spcBef>
              <a:spcAft>
                <a:spcPts val="130"/>
              </a:spcAft>
              <a:buSzPct val="100000"/>
              <a:buFont typeface="Arial" panose="020B0604020202020204" pitchFamily="34" charset="0"/>
              <a:buChar char="▫"/>
              <a:defRPr sz="694">
                <a:cs typeface="Arial" panose="020B0604020202020204" pitchFamily="34" charset="0"/>
              </a:defRPr>
            </a:lvl8pPr>
            <a:lvl9pPr marL="471780" indent="-74492" defTabSz="397290">
              <a:lnSpc>
                <a:spcPct val="100000"/>
              </a:lnSpc>
              <a:spcBef>
                <a:spcPts val="0"/>
              </a:spcBef>
              <a:spcAft>
                <a:spcPts val="130"/>
              </a:spcAft>
              <a:buSzPct val="100000"/>
              <a:buFont typeface="Arial" panose="020B0604020202020204" pitchFamily="34" charset="0"/>
              <a:buChar char="▫"/>
              <a:defRPr sz="694">
                <a:cs typeface="Arial" panose="020B0604020202020204" pitchFamily="34" charset="0"/>
              </a:defRPr>
            </a:lvl9pPr>
          </a:lstStyle>
          <a:p>
            <a:pPr marL="0" marR="0" lvl="0" indent="0" algn="l" defTabSz="397290" rtl="0" eaLnBrk="1" fontAlgn="auto" latinLnBrk="0" hangingPunct="1">
              <a:lnSpc>
                <a:spcPct val="100000"/>
              </a:lnSpc>
              <a:spcBef>
                <a:spcPts val="130"/>
              </a:spcBef>
              <a:spcAft>
                <a:spcPts val="130"/>
              </a:spcAft>
              <a:buClr>
                <a:srgbClr val="000000"/>
              </a:buClr>
              <a:buSzPct val="100000"/>
              <a:buFont typeface="Segoe UI" panose="020B0502040204020203"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Investment Deal-room</a:t>
            </a:r>
          </a:p>
        </p:txBody>
      </p:sp>
      <p:sp>
        <p:nvSpPr>
          <p:cNvPr id="43" name="TextBox 42">
            <a:extLst>
              <a:ext uri="{FF2B5EF4-FFF2-40B4-BE49-F238E27FC236}">
                <a16:creationId xmlns:a16="http://schemas.microsoft.com/office/drawing/2014/main" id="{26C74B97-1067-7AE4-0749-675664E20AF4}"/>
              </a:ext>
            </a:extLst>
          </p:cNvPr>
          <p:cNvSpPr txBox="1">
            <a:spLocks/>
          </p:cNvSpPr>
          <p:nvPr userDrawn="1"/>
        </p:nvSpPr>
        <p:spPr bwMode="ltGray">
          <a:xfrm>
            <a:off x="1946682" y="5096558"/>
            <a:ext cx="1309153" cy="430887"/>
          </a:xfrm>
          <a:prstGeom prst="rect">
            <a:avLst/>
          </a:prstGeom>
        </p:spPr>
        <p:txBody>
          <a:bodyPr vert="horz" wrap="square" lIns="0" tIns="0" rIns="0" bIns="0" rtlCol="0" anchor="ctr" anchorCtr="0">
            <a:noAutofit/>
          </a:bodyPr>
          <a:lstStyle>
            <a:lvl1pPr lvl="0" indent="0" defTabSz="397290">
              <a:lnSpc>
                <a:spcPct val="100000"/>
              </a:lnSpc>
              <a:spcBef>
                <a:spcPts val="130"/>
              </a:spcBef>
              <a:spcAft>
                <a:spcPts val="130"/>
              </a:spcAft>
              <a:buClr>
                <a:schemeClr val="tx1"/>
              </a:buClr>
              <a:buSzPct val="100000"/>
              <a:buFont typeface="Segoe UI" panose="020B0502040204020203" pitchFamily="34" charset="0"/>
              <a:buChar char="​"/>
              <a:defRPr lang="en-US" sz="735" dirty="0">
                <a:cs typeface="Arial" panose="020B0604020202020204" pitchFamily="34" charset="0"/>
              </a:defRPr>
            </a:lvl1pPr>
            <a:lvl2pPr marL="100102" lvl="1" indent="-98538" defTabSz="397290">
              <a:lnSpc>
                <a:spcPct val="100000"/>
              </a:lnSpc>
              <a:spcBef>
                <a:spcPts val="0"/>
              </a:spcBef>
              <a:spcAft>
                <a:spcPts val="130"/>
              </a:spcAft>
              <a:buClr>
                <a:schemeClr val="tx1"/>
              </a:buClr>
              <a:buSzPct val="110000"/>
              <a:buFont typeface="Wingdings" panose="05000000000000000000" pitchFamily="2" charset="2"/>
              <a:buChar char=""/>
              <a:defRPr lang="en-US" sz="735" dirty="0"/>
            </a:lvl2pPr>
            <a:lvl3pPr marL="192386" lvl="2" indent="-93847" defTabSz="397290">
              <a:lnSpc>
                <a:spcPct val="100000"/>
              </a:lnSpc>
              <a:spcBef>
                <a:spcPts val="0"/>
              </a:spcBef>
              <a:spcAft>
                <a:spcPts val="130"/>
              </a:spcAft>
              <a:buClr>
                <a:schemeClr val="tx1"/>
              </a:buClr>
              <a:buSzPct val="110000"/>
              <a:buFont typeface="Arial" panose="020B0604020202020204" pitchFamily="34" charset="0"/>
              <a:buChar char="‒"/>
              <a:defRPr lang="en-US" sz="735" dirty="0"/>
            </a:lvl3pPr>
            <a:lvl4pPr marL="259641" lvl="3" indent="-65692" defTabSz="397290">
              <a:lnSpc>
                <a:spcPct val="100000"/>
              </a:lnSpc>
              <a:spcBef>
                <a:spcPts val="0"/>
              </a:spcBef>
              <a:spcAft>
                <a:spcPts val="130"/>
              </a:spcAft>
              <a:buClr>
                <a:schemeClr val="tx1"/>
              </a:buClr>
              <a:buSzPct val="100000"/>
              <a:buFont typeface="Arial" panose="020B0604020202020204" pitchFamily="34" charset="0"/>
              <a:buChar char="•"/>
              <a:defRPr lang="en-US" sz="735" dirty="0"/>
            </a:lvl4pPr>
            <a:lvl5pPr marL="355051" lvl="4" indent="-64128" defTabSz="397290">
              <a:lnSpc>
                <a:spcPct val="100000"/>
              </a:lnSpc>
              <a:spcBef>
                <a:spcPts val="0"/>
              </a:spcBef>
              <a:spcAft>
                <a:spcPts val="130"/>
              </a:spcAft>
              <a:buClr>
                <a:schemeClr val="tx1"/>
              </a:buClr>
              <a:buSzPct val="100000"/>
              <a:buFont typeface="Arial" panose="020B0604020202020204" pitchFamily="34" charset="0"/>
              <a:buChar char="̶"/>
              <a:defRPr lang="en-US" sz="735" dirty="0"/>
            </a:lvl5pPr>
            <a:lvl6pPr marL="471780" indent="-74492" defTabSz="397290">
              <a:lnSpc>
                <a:spcPct val="100000"/>
              </a:lnSpc>
              <a:spcBef>
                <a:spcPts val="0"/>
              </a:spcBef>
              <a:spcAft>
                <a:spcPts val="130"/>
              </a:spcAft>
              <a:buSzPct val="100000"/>
              <a:buFont typeface="Arial" panose="020B0604020202020204" pitchFamily="34" charset="0"/>
              <a:buChar char="▫"/>
              <a:defRPr sz="694">
                <a:cs typeface="Arial" panose="020B0604020202020204" pitchFamily="34" charset="0"/>
              </a:defRPr>
            </a:lvl6pPr>
            <a:lvl7pPr marL="471780" indent="-74492" defTabSz="397290">
              <a:lnSpc>
                <a:spcPct val="100000"/>
              </a:lnSpc>
              <a:spcBef>
                <a:spcPts val="0"/>
              </a:spcBef>
              <a:spcAft>
                <a:spcPts val="130"/>
              </a:spcAft>
              <a:buSzPct val="100000"/>
              <a:buFont typeface="Arial" panose="020B0604020202020204" pitchFamily="34" charset="0"/>
              <a:buChar char="▫"/>
              <a:defRPr sz="694">
                <a:cs typeface="Arial" panose="020B0604020202020204" pitchFamily="34" charset="0"/>
              </a:defRPr>
            </a:lvl7pPr>
            <a:lvl8pPr marL="471780" indent="-74492" defTabSz="397290">
              <a:lnSpc>
                <a:spcPct val="100000"/>
              </a:lnSpc>
              <a:spcBef>
                <a:spcPts val="0"/>
              </a:spcBef>
              <a:spcAft>
                <a:spcPts val="130"/>
              </a:spcAft>
              <a:buSzPct val="100000"/>
              <a:buFont typeface="Arial" panose="020B0604020202020204" pitchFamily="34" charset="0"/>
              <a:buChar char="▫"/>
              <a:defRPr sz="694">
                <a:cs typeface="Arial" panose="020B0604020202020204" pitchFamily="34" charset="0"/>
              </a:defRPr>
            </a:lvl8pPr>
            <a:lvl9pPr marL="471780" indent="-74492" defTabSz="397290">
              <a:lnSpc>
                <a:spcPct val="100000"/>
              </a:lnSpc>
              <a:spcBef>
                <a:spcPts val="0"/>
              </a:spcBef>
              <a:spcAft>
                <a:spcPts val="130"/>
              </a:spcAft>
              <a:buSzPct val="100000"/>
              <a:buFont typeface="Arial" panose="020B0604020202020204" pitchFamily="34" charset="0"/>
              <a:buChar char="▫"/>
              <a:defRPr sz="694">
                <a:cs typeface="Arial" panose="020B0604020202020204" pitchFamily="34" charset="0"/>
              </a:defRPr>
            </a:lvl9pPr>
          </a:lstStyle>
          <a:p>
            <a:pPr marL="0" marR="0" lvl="0" indent="0" algn="l" defTabSz="397290" rtl="0" eaLnBrk="1" fontAlgn="auto" latinLnBrk="0" hangingPunct="1">
              <a:lnSpc>
                <a:spcPct val="100000"/>
              </a:lnSpc>
              <a:spcBef>
                <a:spcPts val="130"/>
              </a:spcBef>
              <a:spcAft>
                <a:spcPts val="130"/>
              </a:spcAft>
              <a:buClr>
                <a:srgbClr val="000000"/>
              </a:buClr>
              <a:buSzPct val="100000"/>
              <a:buFont typeface="Segoe UI" panose="020B0502040204020203"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EPZ and SEZ set up</a:t>
            </a:r>
          </a:p>
        </p:txBody>
      </p:sp>
      <p:sp>
        <p:nvSpPr>
          <p:cNvPr id="44" name="TextBox 43">
            <a:extLst>
              <a:ext uri="{FF2B5EF4-FFF2-40B4-BE49-F238E27FC236}">
                <a16:creationId xmlns:a16="http://schemas.microsoft.com/office/drawing/2014/main" id="{4C80D260-D53E-E909-CBCB-A28EAB32F2E0}"/>
              </a:ext>
            </a:extLst>
          </p:cNvPr>
          <p:cNvSpPr txBox="1">
            <a:spLocks/>
          </p:cNvSpPr>
          <p:nvPr userDrawn="1"/>
        </p:nvSpPr>
        <p:spPr bwMode="ltGray">
          <a:xfrm>
            <a:off x="8936164" y="1416765"/>
            <a:ext cx="1309153" cy="430887"/>
          </a:xfrm>
          <a:prstGeom prst="rect">
            <a:avLst/>
          </a:prstGeom>
        </p:spPr>
        <p:txBody>
          <a:bodyPr vert="horz" wrap="square" lIns="0" tIns="0" rIns="0" bIns="0" rtlCol="0" anchor="ctr" anchorCtr="0">
            <a:noAutofit/>
          </a:bodyPr>
          <a:lstStyle>
            <a:lvl1pPr lvl="0" indent="0" defTabSz="397290">
              <a:lnSpc>
                <a:spcPct val="100000"/>
              </a:lnSpc>
              <a:spcBef>
                <a:spcPts val="130"/>
              </a:spcBef>
              <a:spcAft>
                <a:spcPts val="130"/>
              </a:spcAft>
              <a:buClr>
                <a:schemeClr val="tx1"/>
              </a:buClr>
              <a:buSzPct val="100000"/>
              <a:buFont typeface="Segoe UI" panose="020B0502040204020203" pitchFamily="34" charset="0"/>
              <a:buChar char="​"/>
              <a:defRPr lang="en-US" sz="735" dirty="0">
                <a:cs typeface="Arial" panose="020B0604020202020204" pitchFamily="34" charset="0"/>
              </a:defRPr>
            </a:lvl1pPr>
            <a:lvl2pPr marL="100102" lvl="1" indent="-98538" defTabSz="397290">
              <a:lnSpc>
                <a:spcPct val="100000"/>
              </a:lnSpc>
              <a:spcBef>
                <a:spcPts val="0"/>
              </a:spcBef>
              <a:spcAft>
                <a:spcPts val="130"/>
              </a:spcAft>
              <a:buClr>
                <a:schemeClr val="tx1"/>
              </a:buClr>
              <a:buSzPct val="110000"/>
              <a:buFont typeface="Wingdings" panose="05000000000000000000" pitchFamily="2" charset="2"/>
              <a:buChar char=""/>
              <a:defRPr lang="en-US" sz="735" dirty="0"/>
            </a:lvl2pPr>
            <a:lvl3pPr marL="192386" lvl="2" indent="-93847" defTabSz="397290">
              <a:lnSpc>
                <a:spcPct val="100000"/>
              </a:lnSpc>
              <a:spcBef>
                <a:spcPts val="0"/>
              </a:spcBef>
              <a:spcAft>
                <a:spcPts val="130"/>
              </a:spcAft>
              <a:buClr>
                <a:schemeClr val="tx1"/>
              </a:buClr>
              <a:buSzPct val="110000"/>
              <a:buFont typeface="Arial" panose="020B0604020202020204" pitchFamily="34" charset="0"/>
              <a:buChar char="‒"/>
              <a:defRPr lang="en-US" sz="735" dirty="0"/>
            </a:lvl3pPr>
            <a:lvl4pPr marL="259641" lvl="3" indent="-65692" defTabSz="397290">
              <a:lnSpc>
                <a:spcPct val="100000"/>
              </a:lnSpc>
              <a:spcBef>
                <a:spcPts val="0"/>
              </a:spcBef>
              <a:spcAft>
                <a:spcPts val="130"/>
              </a:spcAft>
              <a:buClr>
                <a:schemeClr val="tx1"/>
              </a:buClr>
              <a:buSzPct val="100000"/>
              <a:buFont typeface="Arial" panose="020B0604020202020204" pitchFamily="34" charset="0"/>
              <a:buChar char="•"/>
              <a:defRPr lang="en-US" sz="735" dirty="0"/>
            </a:lvl4pPr>
            <a:lvl5pPr marL="355051" lvl="4" indent="-64128" defTabSz="397290">
              <a:lnSpc>
                <a:spcPct val="100000"/>
              </a:lnSpc>
              <a:spcBef>
                <a:spcPts val="0"/>
              </a:spcBef>
              <a:spcAft>
                <a:spcPts val="130"/>
              </a:spcAft>
              <a:buClr>
                <a:schemeClr val="tx1"/>
              </a:buClr>
              <a:buSzPct val="100000"/>
              <a:buFont typeface="Arial" panose="020B0604020202020204" pitchFamily="34" charset="0"/>
              <a:buChar char="̶"/>
              <a:defRPr lang="en-US" sz="735" dirty="0"/>
            </a:lvl5pPr>
            <a:lvl6pPr marL="471780" indent="-74492" defTabSz="397290">
              <a:lnSpc>
                <a:spcPct val="100000"/>
              </a:lnSpc>
              <a:spcBef>
                <a:spcPts val="0"/>
              </a:spcBef>
              <a:spcAft>
                <a:spcPts val="130"/>
              </a:spcAft>
              <a:buSzPct val="100000"/>
              <a:buFont typeface="Arial" panose="020B0604020202020204" pitchFamily="34" charset="0"/>
              <a:buChar char="▫"/>
              <a:defRPr sz="694">
                <a:cs typeface="Arial" panose="020B0604020202020204" pitchFamily="34" charset="0"/>
              </a:defRPr>
            </a:lvl6pPr>
            <a:lvl7pPr marL="471780" indent="-74492" defTabSz="397290">
              <a:lnSpc>
                <a:spcPct val="100000"/>
              </a:lnSpc>
              <a:spcBef>
                <a:spcPts val="0"/>
              </a:spcBef>
              <a:spcAft>
                <a:spcPts val="130"/>
              </a:spcAft>
              <a:buSzPct val="100000"/>
              <a:buFont typeface="Arial" panose="020B0604020202020204" pitchFamily="34" charset="0"/>
              <a:buChar char="▫"/>
              <a:defRPr sz="694">
                <a:cs typeface="Arial" panose="020B0604020202020204" pitchFamily="34" charset="0"/>
              </a:defRPr>
            </a:lvl7pPr>
            <a:lvl8pPr marL="471780" indent="-74492" defTabSz="397290">
              <a:lnSpc>
                <a:spcPct val="100000"/>
              </a:lnSpc>
              <a:spcBef>
                <a:spcPts val="0"/>
              </a:spcBef>
              <a:spcAft>
                <a:spcPts val="130"/>
              </a:spcAft>
              <a:buSzPct val="100000"/>
              <a:buFont typeface="Arial" panose="020B0604020202020204" pitchFamily="34" charset="0"/>
              <a:buChar char="▫"/>
              <a:defRPr sz="694">
                <a:cs typeface="Arial" panose="020B0604020202020204" pitchFamily="34" charset="0"/>
              </a:defRPr>
            </a:lvl8pPr>
            <a:lvl9pPr marL="471780" indent="-74492" defTabSz="397290">
              <a:lnSpc>
                <a:spcPct val="100000"/>
              </a:lnSpc>
              <a:spcBef>
                <a:spcPts val="0"/>
              </a:spcBef>
              <a:spcAft>
                <a:spcPts val="130"/>
              </a:spcAft>
              <a:buSzPct val="100000"/>
              <a:buFont typeface="Arial" panose="020B0604020202020204" pitchFamily="34" charset="0"/>
              <a:buChar char="▫"/>
              <a:defRPr sz="694">
                <a:cs typeface="Arial" panose="020B0604020202020204" pitchFamily="34" charset="0"/>
              </a:defRPr>
            </a:lvl9pPr>
          </a:lstStyle>
          <a:p>
            <a:pPr marL="0" marR="0" lvl="0" indent="0" algn="l" defTabSz="397290" rtl="0" eaLnBrk="1" fontAlgn="auto" latinLnBrk="0" hangingPunct="1">
              <a:lnSpc>
                <a:spcPct val="100000"/>
              </a:lnSpc>
              <a:spcBef>
                <a:spcPts val="130"/>
              </a:spcBef>
              <a:spcAft>
                <a:spcPts val="130"/>
              </a:spcAft>
              <a:buClr>
                <a:srgbClr val="000000"/>
              </a:buClr>
              <a:buSzPct val="100000"/>
              <a:buFont typeface="Segoe UI" panose="020B0502040204020203"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Company Registration</a:t>
            </a:r>
          </a:p>
        </p:txBody>
      </p:sp>
      <p:sp>
        <p:nvSpPr>
          <p:cNvPr id="45" name="TextBox 44">
            <a:extLst>
              <a:ext uri="{FF2B5EF4-FFF2-40B4-BE49-F238E27FC236}">
                <a16:creationId xmlns:a16="http://schemas.microsoft.com/office/drawing/2014/main" id="{ABDCE2CD-CC52-E435-A5AA-611557C5EE04}"/>
              </a:ext>
            </a:extLst>
          </p:cNvPr>
          <p:cNvSpPr txBox="1">
            <a:spLocks/>
          </p:cNvSpPr>
          <p:nvPr userDrawn="1"/>
        </p:nvSpPr>
        <p:spPr bwMode="ltGray">
          <a:xfrm>
            <a:off x="8936164" y="2643363"/>
            <a:ext cx="1309153" cy="430887"/>
          </a:xfrm>
          <a:prstGeom prst="rect">
            <a:avLst/>
          </a:prstGeom>
        </p:spPr>
        <p:txBody>
          <a:bodyPr vert="horz" wrap="square" lIns="0" tIns="0" rIns="0" bIns="0" rtlCol="0" anchor="ctr" anchorCtr="0">
            <a:noAutofit/>
          </a:bodyPr>
          <a:lstStyle>
            <a:lvl1pPr lvl="0" indent="0" defTabSz="397290">
              <a:lnSpc>
                <a:spcPct val="100000"/>
              </a:lnSpc>
              <a:spcBef>
                <a:spcPts val="130"/>
              </a:spcBef>
              <a:spcAft>
                <a:spcPts val="130"/>
              </a:spcAft>
              <a:buClr>
                <a:schemeClr val="tx1"/>
              </a:buClr>
              <a:buSzPct val="100000"/>
              <a:buFont typeface="Segoe UI" panose="020B0502040204020203" pitchFamily="34" charset="0"/>
              <a:buChar char="​"/>
              <a:defRPr lang="en-US" sz="735" dirty="0">
                <a:cs typeface="Arial" panose="020B0604020202020204" pitchFamily="34" charset="0"/>
              </a:defRPr>
            </a:lvl1pPr>
            <a:lvl2pPr marL="100102" lvl="1" indent="-98538" defTabSz="397290">
              <a:lnSpc>
                <a:spcPct val="100000"/>
              </a:lnSpc>
              <a:spcBef>
                <a:spcPts val="0"/>
              </a:spcBef>
              <a:spcAft>
                <a:spcPts val="130"/>
              </a:spcAft>
              <a:buClr>
                <a:schemeClr val="tx1"/>
              </a:buClr>
              <a:buSzPct val="110000"/>
              <a:buFont typeface="Wingdings" panose="05000000000000000000" pitchFamily="2" charset="2"/>
              <a:buChar char=""/>
              <a:defRPr lang="en-US" sz="735" dirty="0"/>
            </a:lvl2pPr>
            <a:lvl3pPr marL="192386" lvl="2" indent="-93847" defTabSz="397290">
              <a:lnSpc>
                <a:spcPct val="100000"/>
              </a:lnSpc>
              <a:spcBef>
                <a:spcPts val="0"/>
              </a:spcBef>
              <a:spcAft>
                <a:spcPts val="130"/>
              </a:spcAft>
              <a:buClr>
                <a:schemeClr val="tx1"/>
              </a:buClr>
              <a:buSzPct val="110000"/>
              <a:buFont typeface="Arial" panose="020B0604020202020204" pitchFamily="34" charset="0"/>
              <a:buChar char="‒"/>
              <a:defRPr lang="en-US" sz="735" dirty="0"/>
            </a:lvl3pPr>
            <a:lvl4pPr marL="259641" lvl="3" indent="-65692" defTabSz="397290">
              <a:lnSpc>
                <a:spcPct val="100000"/>
              </a:lnSpc>
              <a:spcBef>
                <a:spcPts val="0"/>
              </a:spcBef>
              <a:spcAft>
                <a:spcPts val="130"/>
              </a:spcAft>
              <a:buClr>
                <a:schemeClr val="tx1"/>
              </a:buClr>
              <a:buSzPct val="100000"/>
              <a:buFont typeface="Arial" panose="020B0604020202020204" pitchFamily="34" charset="0"/>
              <a:buChar char="•"/>
              <a:defRPr lang="en-US" sz="735" dirty="0"/>
            </a:lvl4pPr>
            <a:lvl5pPr marL="355051" lvl="4" indent="-64128" defTabSz="397290">
              <a:lnSpc>
                <a:spcPct val="100000"/>
              </a:lnSpc>
              <a:spcBef>
                <a:spcPts val="0"/>
              </a:spcBef>
              <a:spcAft>
                <a:spcPts val="130"/>
              </a:spcAft>
              <a:buClr>
                <a:schemeClr val="tx1"/>
              </a:buClr>
              <a:buSzPct val="100000"/>
              <a:buFont typeface="Arial" panose="020B0604020202020204" pitchFamily="34" charset="0"/>
              <a:buChar char="̶"/>
              <a:defRPr lang="en-US" sz="735" dirty="0"/>
            </a:lvl5pPr>
            <a:lvl6pPr marL="471780" indent="-74492" defTabSz="397290">
              <a:lnSpc>
                <a:spcPct val="100000"/>
              </a:lnSpc>
              <a:spcBef>
                <a:spcPts val="0"/>
              </a:spcBef>
              <a:spcAft>
                <a:spcPts val="130"/>
              </a:spcAft>
              <a:buSzPct val="100000"/>
              <a:buFont typeface="Arial" panose="020B0604020202020204" pitchFamily="34" charset="0"/>
              <a:buChar char="▫"/>
              <a:defRPr sz="694">
                <a:cs typeface="Arial" panose="020B0604020202020204" pitchFamily="34" charset="0"/>
              </a:defRPr>
            </a:lvl6pPr>
            <a:lvl7pPr marL="471780" indent="-74492" defTabSz="397290">
              <a:lnSpc>
                <a:spcPct val="100000"/>
              </a:lnSpc>
              <a:spcBef>
                <a:spcPts val="0"/>
              </a:spcBef>
              <a:spcAft>
                <a:spcPts val="130"/>
              </a:spcAft>
              <a:buSzPct val="100000"/>
              <a:buFont typeface="Arial" panose="020B0604020202020204" pitchFamily="34" charset="0"/>
              <a:buChar char="▫"/>
              <a:defRPr sz="694">
                <a:cs typeface="Arial" panose="020B0604020202020204" pitchFamily="34" charset="0"/>
              </a:defRPr>
            </a:lvl7pPr>
            <a:lvl8pPr marL="471780" indent="-74492" defTabSz="397290">
              <a:lnSpc>
                <a:spcPct val="100000"/>
              </a:lnSpc>
              <a:spcBef>
                <a:spcPts val="0"/>
              </a:spcBef>
              <a:spcAft>
                <a:spcPts val="130"/>
              </a:spcAft>
              <a:buSzPct val="100000"/>
              <a:buFont typeface="Arial" panose="020B0604020202020204" pitchFamily="34" charset="0"/>
              <a:buChar char="▫"/>
              <a:defRPr sz="694">
                <a:cs typeface="Arial" panose="020B0604020202020204" pitchFamily="34" charset="0"/>
              </a:defRPr>
            </a:lvl8pPr>
            <a:lvl9pPr marL="471780" indent="-74492" defTabSz="397290">
              <a:lnSpc>
                <a:spcPct val="100000"/>
              </a:lnSpc>
              <a:spcBef>
                <a:spcPts val="0"/>
              </a:spcBef>
              <a:spcAft>
                <a:spcPts val="130"/>
              </a:spcAft>
              <a:buSzPct val="100000"/>
              <a:buFont typeface="Arial" panose="020B0604020202020204" pitchFamily="34" charset="0"/>
              <a:buChar char="▫"/>
              <a:defRPr sz="694">
                <a:cs typeface="Arial" panose="020B0604020202020204" pitchFamily="34" charset="0"/>
              </a:defRPr>
            </a:lvl9pPr>
          </a:lstStyle>
          <a:p>
            <a:pPr marL="0" marR="0" lvl="0" indent="0" algn="l" defTabSz="397290" rtl="0" eaLnBrk="1" fontAlgn="auto" latinLnBrk="0" hangingPunct="1">
              <a:lnSpc>
                <a:spcPct val="100000"/>
              </a:lnSpc>
              <a:spcBef>
                <a:spcPts val="130"/>
              </a:spcBef>
              <a:spcAft>
                <a:spcPts val="130"/>
              </a:spcAft>
              <a:buClr>
                <a:srgbClr val="000000"/>
              </a:buClr>
              <a:buSzPct val="100000"/>
              <a:buFont typeface="Segoe UI" panose="020B0502040204020203"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Access to Land and Power</a:t>
            </a:r>
          </a:p>
        </p:txBody>
      </p:sp>
      <p:sp>
        <p:nvSpPr>
          <p:cNvPr id="46" name="TextBox 45">
            <a:extLst>
              <a:ext uri="{FF2B5EF4-FFF2-40B4-BE49-F238E27FC236}">
                <a16:creationId xmlns:a16="http://schemas.microsoft.com/office/drawing/2014/main" id="{4D26A9FA-F2B9-A610-8D06-02AB6A1CE069}"/>
              </a:ext>
            </a:extLst>
          </p:cNvPr>
          <p:cNvSpPr txBox="1">
            <a:spLocks/>
          </p:cNvSpPr>
          <p:nvPr userDrawn="1"/>
        </p:nvSpPr>
        <p:spPr bwMode="ltGray">
          <a:xfrm>
            <a:off x="8936164" y="3869961"/>
            <a:ext cx="1309153" cy="430887"/>
          </a:xfrm>
          <a:prstGeom prst="rect">
            <a:avLst/>
          </a:prstGeom>
        </p:spPr>
        <p:txBody>
          <a:bodyPr vert="horz" wrap="square" lIns="0" tIns="0" rIns="0" bIns="0" rtlCol="0" anchor="ctr" anchorCtr="0">
            <a:noAutofit/>
          </a:bodyPr>
          <a:lstStyle>
            <a:lvl1pPr lvl="0" indent="0" defTabSz="397290">
              <a:lnSpc>
                <a:spcPct val="100000"/>
              </a:lnSpc>
              <a:spcBef>
                <a:spcPts val="130"/>
              </a:spcBef>
              <a:spcAft>
                <a:spcPts val="130"/>
              </a:spcAft>
              <a:buClr>
                <a:schemeClr val="tx1"/>
              </a:buClr>
              <a:buSzPct val="100000"/>
              <a:buFont typeface="Segoe UI" panose="020B0502040204020203" pitchFamily="34" charset="0"/>
              <a:buChar char="​"/>
              <a:defRPr lang="en-US" sz="735" dirty="0">
                <a:cs typeface="Arial" panose="020B0604020202020204" pitchFamily="34" charset="0"/>
              </a:defRPr>
            </a:lvl1pPr>
            <a:lvl2pPr marL="100102" lvl="1" indent="-98538" defTabSz="397290">
              <a:lnSpc>
                <a:spcPct val="100000"/>
              </a:lnSpc>
              <a:spcBef>
                <a:spcPts val="0"/>
              </a:spcBef>
              <a:spcAft>
                <a:spcPts val="130"/>
              </a:spcAft>
              <a:buClr>
                <a:schemeClr val="tx1"/>
              </a:buClr>
              <a:buSzPct val="110000"/>
              <a:buFont typeface="Wingdings" panose="05000000000000000000" pitchFamily="2" charset="2"/>
              <a:buChar char=""/>
              <a:defRPr lang="en-US" sz="735" dirty="0"/>
            </a:lvl2pPr>
            <a:lvl3pPr marL="192386" lvl="2" indent="-93847" defTabSz="397290">
              <a:lnSpc>
                <a:spcPct val="100000"/>
              </a:lnSpc>
              <a:spcBef>
                <a:spcPts val="0"/>
              </a:spcBef>
              <a:spcAft>
                <a:spcPts val="130"/>
              </a:spcAft>
              <a:buClr>
                <a:schemeClr val="tx1"/>
              </a:buClr>
              <a:buSzPct val="110000"/>
              <a:buFont typeface="Arial" panose="020B0604020202020204" pitchFamily="34" charset="0"/>
              <a:buChar char="‒"/>
              <a:defRPr lang="en-US" sz="735" dirty="0"/>
            </a:lvl3pPr>
            <a:lvl4pPr marL="259641" lvl="3" indent="-65692" defTabSz="397290">
              <a:lnSpc>
                <a:spcPct val="100000"/>
              </a:lnSpc>
              <a:spcBef>
                <a:spcPts val="0"/>
              </a:spcBef>
              <a:spcAft>
                <a:spcPts val="130"/>
              </a:spcAft>
              <a:buClr>
                <a:schemeClr val="tx1"/>
              </a:buClr>
              <a:buSzPct val="100000"/>
              <a:buFont typeface="Arial" panose="020B0604020202020204" pitchFamily="34" charset="0"/>
              <a:buChar char="•"/>
              <a:defRPr lang="en-US" sz="735" dirty="0"/>
            </a:lvl4pPr>
            <a:lvl5pPr marL="355051" lvl="4" indent="-64128" defTabSz="397290">
              <a:lnSpc>
                <a:spcPct val="100000"/>
              </a:lnSpc>
              <a:spcBef>
                <a:spcPts val="0"/>
              </a:spcBef>
              <a:spcAft>
                <a:spcPts val="130"/>
              </a:spcAft>
              <a:buClr>
                <a:schemeClr val="tx1"/>
              </a:buClr>
              <a:buSzPct val="100000"/>
              <a:buFont typeface="Arial" panose="020B0604020202020204" pitchFamily="34" charset="0"/>
              <a:buChar char="̶"/>
              <a:defRPr lang="en-US" sz="735" dirty="0"/>
            </a:lvl5pPr>
            <a:lvl6pPr marL="471780" indent="-74492" defTabSz="397290">
              <a:lnSpc>
                <a:spcPct val="100000"/>
              </a:lnSpc>
              <a:spcBef>
                <a:spcPts val="0"/>
              </a:spcBef>
              <a:spcAft>
                <a:spcPts val="130"/>
              </a:spcAft>
              <a:buSzPct val="100000"/>
              <a:buFont typeface="Arial" panose="020B0604020202020204" pitchFamily="34" charset="0"/>
              <a:buChar char="▫"/>
              <a:defRPr sz="694">
                <a:cs typeface="Arial" panose="020B0604020202020204" pitchFamily="34" charset="0"/>
              </a:defRPr>
            </a:lvl6pPr>
            <a:lvl7pPr marL="471780" indent="-74492" defTabSz="397290">
              <a:lnSpc>
                <a:spcPct val="100000"/>
              </a:lnSpc>
              <a:spcBef>
                <a:spcPts val="0"/>
              </a:spcBef>
              <a:spcAft>
                <a:spcPts val="130"/>
              </a:spcAft>
              <a:buSzPct val="100000"/>
              <a:buFont typeface="Arial" panose="020B0604020202020204" pitchFamily="34" charset="0"/>
              <a:buChar char="▫"/>
              <a:defRPr sz="694">
                <a:cs typeface="Arial" panose="020B0604020202020204" pitchFamily="34" charset="0"/>
              </a:defRPr>
            </a:lvl7pPr>
            <a:lvl8pPr marL="471780" indent="-74492" defTabSz="397290">
              <a:lnSpc>
                <a:spcPct val="100000"/>
              </a:lnSpc>
              <a:spcBef>
                <a:spcPts val="0"/>
              </a:spcBef>
              <a:spcAft>
                <a:spcPts val="130"/>
              </a:spcAft>
              <a:buSzPct val="100000"/>
              <a:buFont typeface="Arial" panose="020B0604020202020204" pitchFamily="34" charset="0"/>
              <a:buChar char="▫"/>
              <a:defRPr sz="694">
                <a:cs typeface="Arial" panose="020B0604020202020204" pitchFamily="34" charset="0"/>
              </a:defRPr>
            </a:lvl8pPr>
            <a:lvl9pPr marL="471780" indent="-74492" defTabSz="397290">
              <a:lnSpc>
                <a:spcPct val="100000"/>
              </a:lnSpc>
              <a:spcBef>
                <a:spcPts val="0"/>
              </a:spcBef>
              <a:spcAft>
                <a:spcPts val="130"/>
              </a:spcAft>
              <a:buSzPct val="100000"/>
              <a:buFont typeface="Arial" panose="020B0604020202020204" pitchFamily="34" charset="0"/>
              <a:buChar char="▫"/>
              <a:defRPr sz="694">
                <a:cs typeface="Arial" panose="020B0604020202020204" pitchFamily="34" charset="0"/>
              </a:defRPr>
            </a:lvl9pPr>
          </a:lstStyle>
          <a:p>
            <a:pPr marL="0" marR="0" lvl="0" indent="0" algn="l" defTabSz="397290" rtl="0" eaLnBrk="1" fontAlgn="auto" latinLnBrk="0" hangingPunct="1">
              <a:lnSpc>
                <a:spcPct val="100000"/>
              </a:lnSpc>
              <a:spcBef>
                <a:spcPts val="130"/>
              </a:spcBef>
              <a:spcAft>
                <a:spcPts val="130"/>
              </a:spcAft>
              <a:buClr>
                <a:srgbClr val="000000"/>
              </a:buClr>
              <a:buSzPct val="100000"/>
              <a:buFont typeface="Segoe UI" panose="020B0502040204020203"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Work Permits</a:t>
            </a:r>
          </a:p>
        </p:txBody>
      </p:sp>
      <p:sp>
        <p:nvSpPr>
          <p:cNvPr id="47" name="TextBox 46">
            <a:extLst>
              <a:ext uri="{FF2B5EF4-FFF2-40B4-BE49-F238E27FC236}">
                <a16:creationId xmlns:a16="http://schemas.microsoft.com/office/drawing/2014/main" id="{8B04F9A2-AF6F-518E-C5EF-9C38A516B3DF}"/>
              </a:ext>
            </a:extLst>
          </p:cNvPr>
          <p:cNvSpPr txBox="1">
            <a:spLocks/>
          </p:cNvSpPr>
          <p:nvPr userDrawn="1"/>
        </p:nvSpPr>
        <p:spPr bwMode="ltGray">
          <a:xfrm>
            <a:off x="8936165" y="5096559"/>
            <a:ext cx="1309153" cy="384722"/>
          </a:xfrm>
          <a:prstGeom prst="rect">
            <a:avLst/>
          </a:prstGeom>
        </p:spPr>
        <p:txBody>
          <a:bodyPr vert="horz" wrap="none" lIns="0" tIns="0" rIns="0" bIns="0" rtlCol="0" anchor="ctr" anchorCtr="0">
            <a:noAutofit/>
          </a:bodyPr>
          <a:lstStyle>
            <a:lvl1pPr lvl="0" indent="0" defTabSz="397290">
              <a:lnSpc>
                <a:spcPct val="100000"/>
              </a:lnSpc>
              <a:spcBef>
                <a:spcPts val="130"/>
              </a:spcBef>
              <a:spcAft>
                <a:spcPts val="130"/>
              </a:spcAft>
              <a:buClr>
                <a:schemeClr val="tx1"/>
              </a:buClr>
              <a:buSzPct val="100000"/>
              <a:buFont typeface="Segoe UI" panose="020B0502040204020203" pitchFamily="34" charset="0"/>
              <a:buChar char="​"/>
              <a:defRPr lang="en-US" sz="735" dirty="0">
                <a:cs typeface="Arial" panose="020B0604020202020204" pitchFamily="34" charset="0"/>
              </a:defRPr>
            </a:lvl1pPr>
            <a:lvl2pPr marL="100102" lvl="1" indent="-98538" defTabSz="397290">
              <a:lnSpc>
                <a:spcPct val="100000"/>
              </a:lnSpc>
              <a:spcBef>
                <a:spcPts val="0"/>
              </a:spcBef>
              <a:spcAft>
                <a:spcPts val="130"/>
              </a:spcAft>
              <a:buClr>
                <a:schemeClr val="tx1"/>
              </a:buClr>
              <a:buSzPct val="110000"/>
              <a:buFont typeface="Wingdings" panose="05000000000000000000" pitchFamily="2" charset="2"/>
              <a:buChar char=""/>
              <a:defRPr lang="en-US" sz="735" dirty="0"/>
            </a:lvl2pPr>
            <a:lvl3pPr marL="192386" lvl="2" indent="-93847" defTabSz="397290">
              <a:lnSpc>
                <a:spcPct val="100000"/>
              </a:lnSpc>
              <a:spcBef>
                <a:spcPts val="0"/>
              </a:spcBef>
              <a:spcAft>
                <a:spcPts val="130"/>
              </a:spcAft>
              <a:buClr>
                <a:schemeClr val="tx1"/>
              </a:buClr>
              <a:buSzPct val="110000"/>
              <a:buFont typeface="Arial" panose="020B0604020202020204" pitchFamily="34" charset="0"/>
              <a:buChar char="‒"/>
              <a:defRPr lang="en-US" sz="735" dirty="0"/>
            </a:lvl3pPr>
            <a:lvl4pPr marL="259641" lvl="3" indent="-65692" defTabSz="397290">
              <a:lnSpc>
                <a:spcPct val="100000"/>
              </a:lnSpc>
              <a:spcBef>
                <a:spcPts val="0"/>
              </a:spcBef>
              <a:spcAft>
                <a:spcPts val="130"/>
              </a:spcAft>
              <a:buClr>
                <a:schemeClr val="tx1"/>
              </a:buClr>
              <a:buSzPct val="100000"/>
              <a:buFont typeface="Arial" panose="020B0604020202020204" pitchFamily="34" charset="0"/>
              <a:buChar char="•"/>
              <a:defRPr lang="en-US" sz="735" dirty="0"/>
            </a:lvl4pPr>
            <a:lvl5pPr marL="355051" lvl="4" indent="-64128" defTabSz="397290">
              <a:lnSpc>
                <a:spcPct val="100000"/>
              </a:lnSpc>
              <a:spcBef>
                <a:spcPts val="0"/>
              </a:spcBef>
              <a:spcAft>
                <a:spcPts val="130"/>
              </a:spcAft>
              <a:buClr>
                <a:schemeClr val="tx1"/>
              </a:buClr>
              <a:buSzPct val="100000"/>
              <a:buFont typeface="Arial" panose="020B0604020202020204" pitchFamily="34" charset="0"/>
              <a:buChar char="̶"/>
              <a:defRPr lang="en-US" sz="735" dirty="0"/>
            </a:lvl5pPr>
            <a:lvl6pPr marL="471780" indent="-74492" defTabSz="397290">
              <a:lnSpc>
                <a:spcPct val="100000"/>
              </a:lnSpc>
              <a:spcBef>
                <a:spcPts val="0"/>
              </a:spcBef>
              <a:spcAft>
                <a:spcPts val="130"/>
              </a:spcAft>
              <a:buSzPct val="100000"/>
              <a:buFont typeface="Arial" panose="020B0604020202020204" pitchFamily="34" charset="0"/>
              <a:buChar char="▫"/>
              <a:defRPr sz="694">
                <a:cs typeface="Arial" panose="020B0604020202020204" pitchFamily="34" charset="0"/>
              </a:defRPr>
            </a:lvl6pPr>
            <a:lvl7pPr marL="471780" indent="-74492" defTabSz="397290">
              <a:lnSpc>
                <a:spcPct val="100000"/>
              </a:lnSpc>
              <a:spcBef>
                <a:spcPts val="0"/>
              </a:spcBef>
              <a:spcAft>
                <a:spcPts val="130"/>
              </a:spcAft>
              <a:buSzPct val="100000"/>
              <a:buFont typeface="Arial" panose="020B0604020202020204" pitchFamily="34" charset="0"/>
              <a:buChar char="▫"/>
              <a:defRPr sz="694">
                <a:cs typeface="Arial" panose="020B0604020202020204" pitchFamily="34" charset="0"/>
              </a:defRPr>
            </a:lvl7pPr>
            <a:lvl8pPr marL="471780" indent="-74492" defTabSz="397290">
              <a:lnSpc>
                <a:spcPct val="100000"/>
              </a:lnSpc>
              <a:spcBef>
                <a:spcPts val="0"/>
              </a:spcBef>
              <a:spcAft>
                <a:spcPts val="130"/>
              </a:spcAft>
              <a:buSzPct val="100000"/>
              <a:buFont typeface="Arial" panose="020B0604020202020204" pitchFamily="34" charset="0"/>
              <a:buChar char="▫"/>
              <a:defRPr sz="694">
                <a:cs typeface="Arial" panose="020B0604020202020204" pitchFamily="34" charset="0"/>
              </a:defRPr>
            </a:lvl8pPr>
            <a:lvl9pPr marL="471780" indent="-74492" defTabSz="397290">
              <a:lnSpc>
                <a:spcPct val="100000"/>
              </a:lnSpc>
              <a:spcBef>
                <a:spcPts val="0"/>
              </a:spcBef>
              <a:spcAft>
                <a:spcPts val="130"/>
              </a:spcAft>
              <a:buSzPct val="100000"/>
              <a:buFont typeface="Arial" panose="020B0604020202020204" pitchFamily="34" charset="0"/>
              <a:buChar char="▫"/>
              <a:defRPr sz="694">
                <a:cs typeface="Arial" panose="020B0604020202020204" pitchFamily="34" charset="0"/>
              </a:defRPr>
            </a:lvl9pPr>
          </a:lstStyle>
          <a:p>
            <a:pPr marL="0" marR="0" lvl="0" indent="0" algn="l" defTabSz="397290" rtl="0" eaLnBrk="1" fontAlgn="auto" latinLnBrk="0" hangingPunct="1">
              <a:lnSpc>
                <a:spcPct val="100000"/>
              </a:lnSpc>
              <a:spcBef>
                <a:spcPts val="130"/>
              </a:spcBef>
              <a:spcAft>
                <a:spcPts val="130"/>
              </a:spcAft>
              <a:buClr>
                <a:srgbClr val="000000"/>
              </a:buClr>
              <a:buSzPct val="100000"/>
              <a:buFont typeface="Segoe UI" panose="020B0502040204020203"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Applicable Licenses</a:t>
            </a:r>
          </a:p>
        </p:txBody>
      </p:sp>
      <p:sp>
        <p:nvSpPr>
          <p:cNvPr id="48" name="TextBox 47">
            <a:extLst>
              <a:ext uri="{FF2B5EF4-FFF2-40B4-BE49-F238E27FC236}">
                <a16:creationId xmlns:a16="http://schemas.microsoft.com/office/drawing/2014/main" id="{ECF4687F-E7C6-F6D5-3761-9AFF4457E195}"/>
              </a:ext>
            </a:extLst>
          </p:cNvPr>
          <p:cNvSpPr txBox="1"/>
          <p:nvPr userDrawn="1"/>
        </p:nvSpPr>
        <p:spPr bwMode="ltGray">
          <a:xfrm>
            <a:off x="547688" y="390698"/>
            <a:ext cx="9344457" cy="384721"/>
          </a:xfrm>
          <a:prstGeom prst="rect">
            <a:avLst/>
          </a:prstGeom>
          <a:ln w="6350">
            <a:noFill/>
            <a:miter lim="800000"/>
          </a:ln>
        </p:spPr>
        <p:txBody>
          <a:bodyPr vert="horz" wrap="square" lIns="0" tIns="0" rIns="0" bIns="0" rtlCol="0">
            <a:spAutoFit/>
          </a:bodyPr>
          <a:lstStyle/>
          <a:p>
            <a:pPr algn="l" defTabSz="914400" rtl="0" eaLnBrk="1" latinLnBrk="0" hangingPunct="1">
              <a:lnSpc>
                <a:spcPct val="100000"/>
              </a:lnSpc>
              <a:spcBef>
                <a:spcPct val="0"/>
              </a:spcBef>
              <a:spcAft>
                <a:spcPts val="300"/>
              </a:spcAft>
              <a:buNone/>
            </a:pPr>
            <a:r>
              <a:rPr lang="en-US" sz="2500" b="1" kern="1200" spc="0" baseline="0">
                <a:ln w="6350" cap="flat">
                  <a:noFill/>
                  <a:miter lim="800000"/>
                </a:ln>
                <a:solidFill>
                  <a:schemeClr val="accent1"/>
                </a:solidFill>
                <a:latin typeface="+mj-lt"/>
                <a:ea typeface="+mj-ea"/>
                <a:cs typeface="+mj-cs"/>
              </a:rPr>
              <a:t>Partner with KenInvest – Your Gateway to Investing in Kenya</a:t>
            </a:r>
            <a:endParaRPr lang="en-CA" sz="2500" b="1" kern="1200" spc="0" baseline="0">
              <a:ln w="6350" cap="flat">
                <a:noFill/>
                <a:miter lim="800000"/>
              </a:ln>
              <a:solidFill>
                <a:schemeClr val="accent1"/>
              </a:solidFill>
              <a:latin typeface="+mj-lt"/>
              <a:ea typeface="+mj-ea"/>
              <a:cs typeface="+mj-cs"/>
            </a:endParaRPr>
          </a:p>
        </p:txBody>
      </p:sp>
    </p:spTree>
    <p:extLst>
      <p:ext uri="{BB962C8B-B14F-4D97-AF65-F5344CB8AC3E}">
        <p14:creationId xmlns:p14="http://schemas.microsoft.com/office/powerpoint/2010/main" val="28619395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type="obj">
  <p:cSld name="Title and Content">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548543" y="391633"/>
            <a:ext cx="0" cy="257993"/>
          </a:xfrm>
          <a:custGeom>
            <a:avLst/>
            <a:gdLst/>
            <a:ahLst/>
            <a:cxnLst/>
            <a:rect l="l" t="t" r="r" b="b"/>
            <a:pathLst>
              <a:path h="425450">
                <a:moveTo>
                  <a:pt x="0" y="425248"/>
                </a:moveTo>
                <a:lnTo>
                  <a:pt x="0" y="0"/>
                </a:lnTo>
              </a:path>
            </a:pathLst>
          </a:custGeom>
          <a:ln w="86519">
            <a:solidFill>
              <a:srgbClr val="000000"/>
            </a:solidFill>
          </a:ln>
        </p:spPr>
        <p:txBody>
          <a:bodyPr wrap="square" lIns="0" tIns="0" rIns="0" bIns="0" rtlCol="0"/>
          <a:lstStyle/>
          <a:p>
            <a:endParaRPr sz="1092"/>
          </a:p>
        </p:txBody>
      </p:sp>
      <p:sp>
        <p:nvSpPr>
          <p:cNvPr id="2" name="Holder 2"/>
          <p:cNvSpPr>
            <a:spLocks noGrp="1"/>
          </p:cNvSpPr>
          <p:nvPr>
            <p:ph type="title"/>
          </p:nvPr>
        </p:nvSpPr>
        <p:spPr>
          <a:xfrm>
            <a:off x="554736" y="172212"/>
            <a:ext cx="10197083" cy="321948"/>
          </a:xfrm>
        </p:spPr>
        <p:txBody>
          <a:bodyPr lIns="0" tIns="0" rIns="0" bIns="0"/>
          <a:lstStyle>
            <a:lvl1pPr>
              <a:defRPr sz="2092" b="1" i="0">
                <a:solidFill>
                  <a:srgbClr val="0E1626"/>
                </a:solidFill>
                <a:latin typeface="Arial"/>
                <a:cs typeface="Arial"/>
              </a:defRPr>
            </a:lvl1pPr>
          </a:lstStyle>
          <a:p>
            <a:endParaRPr/>
          </a:p>
        </p:txBody>
      </p:sp>
      <p:sp>
        <p:nvSpPr>
          <p:cNvPr id="3" name="Holder 3"/>
          <p:cNvSpPr>
            <a:spLocks noGrp="1"/>
          </p:cNvSpPr>
          <p:nvPr>
            <p:ph type="body" idx="1"/>
          </p:nvPr>
        </p:nvSpPr>
        <p:spPr>
          <a:xfrm>
            <a:off x="554736" y="2170800"/>
            <a:ext cx="2484655" cy="246221"/>
          </a:xfrm>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BF3C8D76-6DEE-4E82-9DED-9FE775E65620}" type="datetime1">
              <a:rPr lang="en-US" smtClean="0"/>
              <a:t>7/8/2026</a:t>
            </a:fld>
            <a:endParaRPr lang="en-US"/>
          </a:p>
        </p:txBody>
      </p:sp>
      <p:sp>
        <p:nvSpPr>
          <p:cNvPr id="6" name="Holder 6"/>
          <p:cNvSpPr>
            <a:spLocks noGrp="1"/>
          </p:cNvSpPr>
          <p:nvPr>
            <p:ph type="sldNum" sz="quarter" idx="7"/>
          </p:nvPr>
        </p:nvSpPr>
        <p:spPr/>
        <p:txBody>
          <a:bodyPr lIns="0" tIns="0" rIns="0" bIns="0"/>
          <a:lstStyle>
            <a:lvl1pPr>
              <a:defRPr sz="879" b="0" i="0">
                <a:solidFill>
                  <a:srgbClr val="777E8A"/>
                </a:solidFill>
                <a:latin typeface="Arial"/>
                <a:cs typeface="Arial"/>
              </a:defRPr>
            </a:lvl1pPr>
          </a:lstStyle>
          <a:p>
            <a:pPr marL="65461">
              <a:lnSpc>
                <a:spcPts val="1013"/>
              </a:lnSpc>
            </a:pPr>
            <a:r>
              <a:rPr lang="en-US" sz="758">
                <a:solidFill>
                  <a:srgbClr val="6E727E"/>
                </a:solidFill>
              </a:rPr>
              <a:t>Slide</a:t>
            </a:r>
            <a:r>
              <a:rPr lang="en-US" sz="758" spc="-39">
                <a:solidFill>
                  <a:srgbClr val="6E727E"/>
                </a:solidFill>
              </a:rPr>
              <a:t> </a:t>
            </a:r>
            <a:fld id="{81D60167-4931-47E6-BA6A-407CBD079E47}" type="slidenum">
              <a:rPr sz="849" spc="45" smtClean="0">
                <a:solidFill>
                  <a:srgbClr val="6E727E"/>
                </a:solidFill>
              </a:rPr>
              <a:pPr marL="65461">
                <a:lnSpc>
                  <a:spcPts val="1013"/>
                </a:lnSpc>
              </a:pPr>
              <a:t>‹#›</a:t>
            </a:fld>
            <a:r>
              <a:rPr sz="849" spc="45">
                <a:solidFill>
                  <a:srgbClr val="6E727E"/>
                </a:solidFill>
              </a:rPr>
              <a:t>of</a:t>
            </a:r>
            <a:r>
              <a:rPr sz="849" spc="52">
                <a:solidFill>
                  <a:srgbClr val="6E727E"/>
                </a:solidFill>
              </a:rPr>
              <a:t> </a:t>
            </a:r>
            <a:r>
              <a:rPr sz="849" spc="-15">
                <a:solidFill>
                  <a:srgbClr val="6E727E"/>
                </a:solidFill>
              </a:rPr>
              <a:t>30</a:t>
            </a:r>
            <a:endParaRPr sz="849"/>
          </a:p>
        </p:txBody>
      </p:sp>
    </p:spTree>
    <p:extLst>
      <p:ext uri="{BB962C8B-B14F-4D97-AF65-F5344CB8AC3E}">
        <p14:creationId xmlns:p14="http://schemas.microsoft.com/office/powerpoint/2010/main" val="27611067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26829244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nchor="b">
            <a:spAutoFit/>
          </a:bodyPr>
          <a:lstStyle>
            <a:lvl1pPr rtl="0">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24116976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4217303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FFE7E7"/>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7"/>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BD1E8CEA-59CA-420E-955C-4C9FBA24773C}"/>
              </a:ext>
            </a:extLst>
          </p:cNvPr>
          <p:cNvSpPr>
            <a:spLocks noGrp="1"/>
          </p:cNvSpPr>
          <p:nvPr>
            <p:ph type="title"/>
            <p:custDataLst>
              <p:tags r:id="rId8"/>
            </p:custDataLst>
          </p:nvPr>
        </p:nvSpPr>
        <p:spPr>
          <a:xfrm>
            <a:off x="554736" y="2744369"/>
            <a:ext cx="2514600" cy="769441"/>
          </a:xfrm>
          <a:prstGeom prst="rect">
            <a:avLst/>
          </a:prstGeom>
        </p:spPr>
        <p:txBody>
          <a:bodyPr vert="horz" wrap="square" lIns="0" tIns="0" rIns="0" bIns="0" rtlCol="0" anchor="b" anchorCtr="0">
            <a:noAutofit/>
          </a:bodyPr>
          <a:lstStyle>
            <a:lvl1pPr rtl="0">
              <a:defRPr/>
            </a:lvl1pPr>
          </a:lstStyle>
          <a:p>
            <a:pPr lvl="0"/>
            <a:r>
              <a:rPr lang="en-US"/>
              <a:t>Click to edit Master title style</a:t>
            </a:r>
          </a:p>
        </p:txBody>
      </p:sp>
      <p:pic>
        <p:nvPicPr>
          <p:cNvPr id="8" name="Google Shape;64;p16">
            <a:extLst>
              <a:ext uri="{FF2B5EF4-FFF2-40B4-BE49-F238E27FC236}">
                <a16:creationId xmlns:a16="http://schemas.microsoft.com/office/drawing/2014/main" id="{6F6A4A98-3FA0-A9C5-C2ED-9AAFE40CA890}"/>
              </a:ext>
            </a:extLst>
          </p:cNvPr>
          <p:cNvPicPr preferRelativeResize="0"/>
          <p:nvPr userDrawn="1"/>
        </p:nvPicPr>
        <p:blipFill rotWithShape="1">
          <a:blip r:embed="rId12" cstate="email">
            <a:alphaModFix/>
            <a:extLst>
              <a:ext uri="{28A0092B-C50C-407E-A947-70E740481C1C}">
                <a14:useLocalDpi xmlns:a14="http://schemas.microsoft.com/office/drawing/2010/main"/>
              </a:ext>
            </a:extLst>
          </a:blip>
          <a:srcRect/>
          <a:stretch/>
        </p:blipFill>
        <p:spPr bwMode="ltGray">
          <a:xfrm>
            <a:off x="10128282" y="-14875"/>
            <a:ext cx="2063718" cy="1950355"/>
          </a:xfrm>
          <a:prstGeom prst="rect">
            <a:avLst/>
          </a:prstGeom>
          <a:noFill/>
          <a:ln>
            <a:noFill/>
          </a:ln>
        </p:spPr>
      </p:pic>
      <p:grpSp>
        <p:nvGrpSpPr>
          <p:cNvPr id="2" name="Group 1">
            <a:extLst>
              <a:ext uri="{FF2B5EF4-FFF2-40B4-BE49-F238E27FC236}">
                <a16:creationId xmlns:a16="http://schemas.microsoft.com/office/drawing/2014/main" id="{1DBC0EB8-E290-9513-9F27-9FC78D171331}"/>
              </a:ext>
            </a:extLst>
          </p:cNvPr>
          <p:cNvGrpSpPr/>
          <p:nvPr userDrawn="1"/>
        </p:nvGrpSpPr>
        <p:grpSpPr>
          <a:xfrm>
            <a:off x="10644663" y="172212"/>
            <a:ext cx="1269969" cy="353548"/>
            <a:chOff x="-770028" y="-2797529"/>
            <a:chExt cx="9308599" cy="2591427"/>
          </a:xfrm>
        </p:grpSpPr>
        <p:sp>
          <p:nvSpPr>
            <p:cNvPr id="5" name="Freeform: Shape 4">
              <a:extLst>
                <a:ext uri="{FF2B5EF4-FFF2-40B4-BE49-F238E27FC236}">
                  <a16:creationId xmlns:a16="http://schemas.microsoft.com/office/drawing/2014/main" id="{65CBF88A-F7AD-FEFB-3365-C51EE112CA37}"/>
                </a:ext>
              </a:extLst>
            </p:cNvPr>
            <p:cNvSpPr/>
            <p:nvPr/>
          </p:nvSpPr>
          <p:spPr>
            <a:xfrm>
              <a:off x="2457429" y="-1765355"/>
              <a:ext cx="687427" cy="1091288"/>
            </a:xfrm>
            <a:custGeom>
              <a:avLst/>
              <a:gdLst>
                <a:gd name="connsiteX0" fmla="*/ 687811 w 687427"/>
                <a:gd name="connsiteY0" fmla="*/ 1091442 h 1091288"/>
                <a:gd name="connsiteX1" fmla="*/ 569781 w 687427"/>
                <a:gd name="connsiteY1" fmla="*/ 1091442 h 1091288"/>
                <a:gd name="connsiteX2" fmla="*/ 430557 w 687427"/>
                <a:gd name="connsiteY2" fmla="*/ 1045722 h 1091288"/>
                <a:gd name="connsiteX3" fmla="*/ 370271 w 687427"/>
                <a:gd name="connsiteY3" fmla="*/ 931739 h 1091288"/>
                <a:gd name="connsiteX4" fmla="*/ 370271 w 687427"/>
                <a:gd name="connsiteY4" fmla="*/ 714490 h 1091288"/>
                <a:gd name="connsiteX5" fmla="*/ 346538 w 687427"/>
                <a:gd name="connsiteY5" fmla="*/ 612414 h 1091288"/>
                <a:gd name="connsiteX6" fmla="*/ 257043 w 687427"/>
                <a:gd name="connsiteY6" fmla="*/ 585029 h 1091288"/>
                <a:gd name="connsiteX7" fmla="*/ 218030 w 687427"/>
                <a:gd name="connsiteY7" fmla="*/ 585029 h 1091288"/>
                <a:gd name="connsiteX8" fmla="*/ 218030 w 687427"/>
                <a:gd name="connsiteY8" fmla="*/ 1091442 h 1091288"/>
                <a:gd name="connsiteX9" fmla="*/ 384 w 687427"/>
                <a:gd name="connsiteY9" fmla="*/ 1091442 h 1091288"/>
                <a:gd name="connsiteX10" fmla="*/ 384 w 687427"/>
                <a:gd name="connsiteY10" fmla="*/ 154 h 1091288"/>
                <a:gd name="connsiteX11" fmla="*/ 218030 w 687427"/>
                <a:gd name="connsiteY11" fmla="*/ 154 h 1091288"/>
                <a:gd name="connsiteX12" fmla="*/ 218030 w 687427"/>
                <a:gd name="connsiteY12" fmla="*/ 462911 h 1091288"/>
                <a:gd name="connsiteX13" fmla="*/ 272997 w 687427"/>
                <a:gd name="connsiteY13" fmla="*/ 464260 h 1091288"/>
                <a:gd name="connsiteX14" fmla="*/ 317368 w 687427"/>
                <a:gd name="connsiteY14" fmla="*/ 447710 h 1091288"/>
                <a:gd name="connsiteX15" fmla="*/ 338164 w 687427"/>
                <a:gd name="connsiteY15" fmla="*/ 356191 h 1091288"/>
                <a:gd name="connsiteX16" fmla="*/ 353563 w 687427"/>
                <a:gd name="connsiteY16" fmla="*/ 154 h 1091288"/>
                <a:gd name="connsiteX17" fmla="*/ 557874 w 687427"/>
                <a:gd name="connsiteY17" fmla="*/ 154 h 1091288"/>
                <a:gd name="connsiteX18" fmla="*/ 542436 w 687427"/>
                <a:gd name="connsiteY18" fmla="*/ 324441 h 1091288"/>
                <a:gd name="connsiteX19" fmla="*/ 506042 w 687427"/>
                <a:gd name="connsiteY19" fmla="*/ 437709 h 1091288"/>
                <a:gd name="connsiteX20" fmla="*/ 410118 w 687427"/>
                <a:gd name="connsiteY20" fmla="*/ 486207 h 1091288"/>
                <a:gd name="connsiteX21" fmla="*/ 536165 w 687427"/>
                <a:gd name="connsiteY21" fmla="*/ 544270 h 1091288"/>
                <a:gd name="connsiteX22" fmla="*/ 578988 w 687427"/>
                <a:gd name="connsiteY22" fmla="*/ 668175 h 1091288"/>
                <a:gd name="connsiteX23" fmla="*/ 578988 w 687427"/>
                <a:gd name="connsiteY23" fmla="*/ 829425 h 1091288"/>
                <a:gd name="connsiteX24" fmla="*/ 602364 w 687427"/>
                <a:gd name="connsiteY24" fmla="*/ 947575 h 1091288"/>
                <a:gd name="connsiteX25" fmla="*/ 687811 w 687427"/>
                <a:gd name="connsiteY25" fmla="*/ 968252 h 1091288"/>
                <a:gd name="connsiteX26" fmla="*/ 687811 w 687427"/>
                <a:gd name="connsiteY26" fmla="*/ 1091442 h 1091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87427" h="1091288">
                  <a:moveTo>
                    <a:pt x="687811" y="1091442"/>
                  </a:moveTo>
                  <a:lnTo>
                    <a:pt x="569781" y="1091442"/>
                  </a:lnTo>
                  <a:cubicBezTo>
                    <a:pt x="517115" y="1091442"/>
                    <a:pt x="470760" y="1076202"/>
                    <a:pt x="430557" y="1045722"/>
                  </a:cubicBezTo>
                  <a:cubicBezTo>
                    <a:pt x="390314" y="1015242"/>
                    <a:pt x="370271" y="977182"/>
                    <a:pt x="370271" y="931739"/>
                  </a:cubicBezTo>
                  <a:lnTo>
                    <a:pt x="370271" y="714490"/>
                  </a:lnTo>
                  <a:cubicBezTo>
                    <a:pt x="370271" y="664761"/>
                    <a:pt x="362294" y="630709"/>
                    <a:pt x="346538" y="612414"/>
                  </a:cubicBezTo>
                  <a:cubicBezTo>
                    <a:pt x="330743" y="594157"/>
                    <a:pt x="300898" y="585029"/>
                    <a:pt x="257043" y="585029"/>
                  </a:cubicBezTo>
                  <a:lnTo>
                    <a:pt x="218030" y="585029"/>
                  </a:lnTo>
                  <a:lnTo>
                    <a:pt x="218030" y="1091442"/>
                  </a:lnTo>
                  <a:lnTo>
                    <a:pt x="384" y="1091442"/>
                  </a:lnTo>
                  <a:lnTo>
                    <a:pt x="384" y="154"/>
                  </a:lnTo>
                  <a:lnTo>
                    <a:pt x="218030" y="154"/>
                  </a:lnTo>
                  <a:lnTo>
                    <a:pt x="218030" y="462911"/>
                  </a:lnTo>
                  <a:lnTo>
                    <a:pt x="272997" y="464260"/>
                  </a:lnTo>
                  <a:cubicBezTo>
                    <a:pt x="291293" y="464697"/>
                    <a:pt x="306057" y="459140"/>
                    <a:pt x="317368" y="447710"/>
                  </a:cubicBezTo>
                  <a:cubicBezTo>
                    <a:pt x="328639" y="436320"/>
                    <a:pt x="335584" y="405800"/>
                    <a:pt x="338164" y="356191"/>
                  </a:cubicBezTo>
                  <a:lnTo>
                    <a:pt x="353563" y="154"/>
                  </a:lnTo>
                  <a:lnTo>
                    <a:pt x="557874" y="154"/>
                  </a:lnTo>
                  <a:lnTo>
                    <a:pt x="542436" y="324441"/>
                  </a:lnTo>
                  <a:cubicBezTo>
                    <a:pt x="539539" y="377543"/>
                    <a:pt x="527355" y="415167"/>
                    <a:pt x="506042" y="437709"/>
                  </a:cubicBezTo>
                  <a:cubicBezTo>
                    <a:pt x="484770" y="460172"/>
                    <a:pt x="452782" y="476285"/>
                    <a:pt x="410118" y="486207"/>
                  </a:cubicBezTo>
                  <a:cubicBezTo>
                    <a:pt x="465561" y="493549"/>
                    <a:pt x="507551" y="512838"/>
                    <a:pt x="536165" y="544270"/>
                  </a:cubicBezTo>
                  <a:cubicBezTo>
                    <a:pt x="564740" y="575703"/>
                    <a:pt x="578988" y="617017"/>
                    <a:pt x="578988" y="668175"/>
                  </a:cubicBezTo>
                  <a:lnTo>
                    <a:pt x="578988" y="829425"/>
                  </a:lnTo>
                  <a:cubicBezTo>
                    <a:pt x="578988" y="894433"/>
                    <a:pt x="586807" y="933803"/>
                    <a:pt x="602364" y="947575"/>
                  </a:cubicBezTo>
                  <a:cubicBezTo>
                    <a:pt x="617922" y="961346"/>
                    <a:pt x="646417" y="968252"/>
                    <a:pt x="687811" y="968252"/>
                  </a:cubicBezTo>
                  <a:lnTo>
                    <a:pt x="687811" y="1091442"/>
                  </a:lnTo>
                  <a:close/>
                </a:path>
              </a:pathLst>
            </a:custGeom>
            <a:solidFill>
              <a:srgbClr val="007236"/>
            </a:solidFill>
            <a:ln w="39688" cap="flat">
              <a:noFill/>
              <a:prstDash val="solid"/>
              <a:round/>
            </a:ln>
          </p:spPr>
          <p:txBody>
            <a:bodyPr rtlCol="0" anchor="ctr"/>
            <a:lstStyle/>
            <a:p>
              <a:pPr rtl="0"/>
              <a:endParaRPr lang="en-US"/>
            </a:p>
          </p:txBody>
        </p:sp>
        <p:sp>
          <p:nvSpPr>
            <p:cNvPr id="7" name="Freeform: Shape 6">
              <a:extLst>
                <a:ext uri="{FF2B5EF4-FFF2-40B4-BE49-F238E27FC236}">
                  <a16:creationId xmlns:a16="http://schemas.microsoft.com/office/drawing/2014/main" id="{0013DBD7-40E8-99A7-A961-1D07281A8A6C}"/>
                </a:ext>
              </a:extLst>
            </p:cNvPr>
            <p:cNvSpPr/>
            <p:nvPr/>
          </p:nvSpPr>
          <p:spPr>
            <a:xfrm>
              <a:off x="3171844" y="-1521035"/>
              <a:ext cx="509826" cy="854829"/>
            </a:xfrm>
            <a:custGeom>
              <a:avLst/>
              <a:gdLst>
                <a:gd name="connsiteX0" fmla="*/ 341398 w 509826"/>
                <a:gd name="connsiteY0" fmla="*/ 319510 h 854829"/>
                <a:gd name="connsiteX1" fmla="*/ 329810 w 509826"/>
                <a:gd name="connsiteY1" fmla="*/ 169530 h 854829"/>
                <a:gd name="connsiteX2" fmla="*/ 276470 w 509826"/>
                <a:gd name="connsiteY2" fmla="*/ 129049 h 854829"/>
                <a:gd name="connsiteX3" fmla="*/ 224360 w 509826"/>
                <a:gd name="connsiteY3" fmla="*/ 164927 h 854829"/>
                <a:gd name="connsiteX4" fmla="*/ 212136 w 509826"/>
                <a:gd name="connsiteY4" fmla="*/ 319510 h 854829"/>
                <a:gd name="connsiteX5" fmla="*/ 341398 w 509826"/>
                <a:gd name="connsiteY5" fmla="*/ 319510 h 854829"/>
                <a:gd name="connsiteX6" fmla="*/ 510269 w 509826"/>
                <a:gd name="connsiteY6" fmla="*/ 439366 h 854829"/>
                <a:gd name="connsiteX7" fmla="*/ 211501 w 509826"/>
                <a:gd name="connsiteY7" fmla="*/ 439366 h 854829"/>
                <a:gd name="connsiteX8" fmla="*/ 225511 w 509826"/>
                <a:gd name="connsiteY8" fmla="*/ 675427 h 854829"/>
                <a:gd name="connsiteX9" fmla="*/ 284248 w 509826"/>
                <a:gd name="connsiteY9" fmla="*/ 726148 h 854829"/>
                <a:gd name="connsiteX10" fmla="*/ 328976 w 509826"/>
                <a:gd name="connsiteY10" fmla="*/ 706979 h 854829"/>
                <a:gd name="connsiteX11" fmla="*/ 343661 w 509826"/>
                <a:gd name="connsiteY11" fmla="*/ 639907 h 854829"/>
                <a:gd name="connsiteX12" fmla="*/ 490227 w 509826"/>
                <a:gd name="connsiteY12" fmla="*/ 639907 h 854829"/>
                <a:gd name="connsiteX13" fmla="*/ 434545 w 509826"/>
                <a:gd name="connsiteY13" fmla="*/ 802705 h 854829"/>
                <a:gd name="connsiteX14" fmla="*/ 262301 w 509826"/>
                <a:gd name="connsiteY14" fmla="*/ 855013 h 854829"/>
                <a:gd name="connsiteX15" fmla="*/ 67038 w 509826"/>
                <a:gd name="connsiteY15" fmla="*/ 747301 h 854829"/>
                <a:gd name="connsiteX16" fmla="*/ 443 w 509826"/>
                <a:gd name="connsiteY16" fmla="*/ 426904 h 854829"/>
                <a:gd name="connsiteX17" fmla="*/ 69618 w 509826"/>
                <a:gd name="connsiteY17" fmla="*/ 107856 h 854829"/>
                <a:gd name="connsiteX18" fmla="*/ 277819 w 509826"/>
                <a:gd name="connsiteY18" fmla="*/ 184 h 854829"/>
                <a:gd name="connsiteX19" fmla="*/ 453833 w 509826"/>
                <a:gd name="connsiteY19" fmla="*/ 86425 h 854829"/>
                <a:gd name="connsiteX20" fmla="*/ 510269 w 509826"/>
                <a:gd name="connsiteY20" fmla="*/ 345068 h 854829"/>
                <a:gd name="connsiteX21" fmla="*/ 510269 w 509826"/>
                <a:gd name="connsiteY21" fmla="*/ 439366 h 854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09826" h="854829">
                  <a:moveTo>
                    <a:pt x="341398" y="319510"/>
                  </a:moveTo>
                  <a:cubicBezTo>
                    <a:pt x="341398" y="246485"/>
                    <a:pt x="337588" y="196478"/>
                    <a:pt x="329810" y="169530"/>
                  </a:cubicBezTo>
                  <a:cubicBezTo>
                    <a:pt x="322071" y="142503"/>
                    <a:pt x="304330" y="129049"/>
                    <a:pt x="276470" y="129049"/>
                  </a:cubicBezTo>
                  <a:cubicBezTo>
                    <a:pt x="249879" y="129049"/>
                    <a:pt x="232496" y="140955"/>
                    <a:pt x="224360" y="164927"/>
                  </a:cubicBezTo>
                  <a:cubicBezTo>
                    <a:pt x="216224" y="188938"/>
                    <a:pt x="212136" y="240412"/>
                    <a:pt x="212136" y="319510"/>
                  </a:cubicBezTo>
                  <a:lnTo>
                    <a:pt x="341398" y="319510"/>
                  </a:lnTo>
                  <a:close/>
                  <a:moveTo>
                    <a:pt x="510269" y="439366"/>
                  </a:moveTo>
                  <a:lnTo>
                    <a:pt x="211501" y="439366"/>
                  </a:lnTo>
                  <a:cubicBezTo>
                    <a:pt x="211501" y="562953"/>
                    <a:pt x="216145" y="641574"/>
                    <a:pt x="225511" y="675427"/>
                  </a:cubicBezTo>
                  <a:cubicBezTo>
                    <a:pt x="234877" y="709241"/>
                    <a:pt x="254483" y="726148"/>
                    <a:pt x="284248" y="726148"/>
                  </a:cubicBezTo>
                  <a:cubicBezTo>
                    <a:pt x="304291" y="726148"/>
                    <a:pt x="319213" y="719719"/>
                    <a:pt x="328976" y="706979"/>
                  </a:cubicBezTo>
                  <a:cubicBezTo>
                    <a:pt x="338779" y="694081"/>
                    <a:pt x="343661" y="671697"/>
                    <a:pt x="343661" y="639907"/>
                  </a:cubicBezTo>
                  <a:lnTo>
                    <a:pt x="490227" y="639907"/>
                  </a:lnTo>
                  <a:cubicBezTo>
                    <a:pt x="490227" y="713567"/>
                    <a:pt x="471772" y="767820"/>
                    <a:pt x="434545" y="802705"/>
                  </a:cubicBezTo>
                  <a:cubicBezTo>
                    <a:pt x="397397" y="837551"/>
                    <a:pt x="340009" y="855013"/>
                    <a:pt x="262301" y="855013"/>
                  </a:cubicBezTo>
                  <a:cubicBezTo>
                    <a:pt x="176536" y="855013"/>
                    <a:pt x="111449" y="819096"/>
                    <a:pt x="67038" y="747301"/>
                  </a:cubicBezTo>
                  <a:cubicBezTo>
                    <a:pt x="22668" y="675546"/>
                    <a:pt x="443" y="568747"/>
                    <a:pt x="443" y="426904"/>
                  </a:cubicBezTo>
                  <a:cubicBezTo>
                    <a:pt x="443" y="285974"/>
                    <a:pt x="23541" y="179611"/>
                    <a:pt x="69618" y="107856"/>
                  </a:cubicBezTo>
                  <a:cubicBezTo>
                    <a:pt x="115735" y="36061"/>
                    <a:pt x="185109" y="184"/>
                    <a:pt x="277819" y="184"/>
                  </a:cubicBezTo>
                  <a:cubicBezTo>
                    <a:pt x="357591" y="184"/>
                    <a:pt x="416328" y="28917"/>
                    <a:pt x="453833" y="86425"/>
                  </a:cubicBezTo>
                  <a:cubicBezTo>
                    <a:pt x="491457" y="143892"/>
                    <a:pt x="510269" y="230133"/>
                    <a:pt x="510269" y="345068"/>
                  </a:cubicBezTo>
                  <a:lnTo>
                    <a:pt x="510269" y="439366"/>
                  </a:lnTo>
                  <a:close/>
                </a:path>
              </a:pathLst>
            </a:custGeom>
            <a:solidFill>
              <a:srgbClr val="007236"/>
            </a:solidFill>
            <a:ln w="39688" cap="flat">
              <a:noFill/>
              <a:prstDash val="solid"/>
              <a:round/>
            </a:ln>
          </p:spPr>
          <p:txBody>
            <a:bodyPr rtlCol="0" anchor="ctr"/>
            <a:lstStyle/>
            <a:p>
              <a:pPr rtl="0"/>
              <a:endParaRPr lang="en-US"/>
            </a:p>
          </p:txBody>
        </p:sp>
        <p:sp>
          <p:nvSpPr>
            <p:cNvPr id="14" name="Freeform: Shape 13">
              <a:extLst>
                <a:ext uri="{FF2B5EF4-FFF2-40B4-BE49-F238E27FC236}">
                  <a16:creationId xmlns:a16="http://schemas.microsoft.com/office/drawing/2014/main" id="{D3878380-8D4D-2BA3-22FE-F34EA45B8031}"/>
                </a:ext>
              </a:extLst>
            </p:cNvPr>
            <p:cNvSpPr/>
            <p:nvPr/>
          </p:nvSpPr>
          <p:spPr>
            <a:xfrm>
              <a:off x="3776682" y="-1521039"/>
              <a:ext cx="545267" cy="846971"/>
            </a:xfrm>
            <a:custGeom>
              <a:avLst/>
              <a:gdLst>
                <a:gd name="connsiteX0" fmla="*/ 545780 w 545267"/>
                <a:gd name="connsiteY0" fmla="*/ 847142 h 846971"/>
                <a:gd name="connsiteX1" fmla="*/ 341429 w 545267"/>
                <a:gd name="connsiteY1" fmla="*/ 847142 h 846971"/>
                <a:gd name="connsiteX2" fmla="*/ 341429 w 545267"/>
                <a:gd name="connsiteY2" fmla="*/ 208688 h 846971"/>
                <a:gd name="connsiteX3" fmla="*/ 321982 w 545267"/>
                <a:gd name="connsiteY3" fmla="*/ 154316 h 846971"/>
                <a:gd name="connsiteX4" fmla="*/ 268920 w 545267"/>
                <a:gd name="connsiteY4" fmla="*/ 136854 h 846971"/>
                <a:gd name="connsiteX5" fmla="*/ 235542 w 545267"/>
                <a:gd name="connsiteY5" fmla="*/ 139791 h 846971"/>
                <a:gd name="connsiteX6" fmla="*/ 204824 w 545267"/>
                <a:gd name="connsiteY6" fmla="*/ 147808 h 846971"/>
                <a:gd name="connsiteX7" fmla="*/ 204824 w 545267"/>
                <a:gd name="connsiteY7" fmla="*/ 847142 h 846971"/>
                <a:gd name="connsiteX8" fmla="*/ 513 w 545267"/>
                <a:gd name="connsiteY8" fmla="*/ 847142 h 846971"/>
                <a:gd name="connsiteX9" fmla="*/ 513 w 545267"/>
                <a:gd name="connsiteY9" fmla="*/ 11282 h 846971"/>
                <a:gd name="connsiteX10" fmla="*/ 168153 w 545267"/>
                <a:gd name="connsiteY10" fmla="*/ 11282 h 846971"/>
                <a:gd name="connsiteX11" fmla="*/ 180456 w 545267"/>
                <a:gd name="connsiteY11" fmla="*/ 47279 h 846971"/>
                <a:gd name="connsiteX12" fmla="*/ 261062 w 545267"/>
                <a:gd name="connsiteY12" fmla="*/ 10806 h 846971"/>
                <a:gd name="connsiteX13" fmla="*/ 347422 w 545267"/>
                <a:gd name="connsiteY13" fmla="*/ 170 h 846971"/>
                <a:gd name="connsiteX14" fmla="*/ 493472 w 545267"/>
                <a:gd name="connsiteY14" fmla="*/ 52200 h 846971"/>
                <a:gd name="connsiteX15" fmla="*/ 545780 w 545267"/>
                <a:gd name="connsiteY15" fmla="*/ 200592 h 846971"/>
                <a:gd name="connsiteX16" fmla="*/ 545780 w 545267"/>
                <a:gd name="connsiteY16" fmla="*/ 847142 h 846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45267" h="846971">
                  <a:moveTo>
                    <a:pt x="545780" y="847142"/>
                  </a:moveTo>
                  <a:lnTo>
                    <a:pt x="341429" y="847142"/>
                  </a:lnTo>
                  <a:lnTo>
                    <a:pt x="341429" y="208688"/>
                  </a:lnTo>
                  <a:cubicBezTo>
                    <a:pt x="341429" y="184042"/>
                    <a:pt x="334960" y="165945"/>
                    <a:pt x="321982" y="154316"/>
                  </a:cubicBezTo>
                  <a:cubicBezTo>
                    <a:pt x="309083" y="142648"/>
                    <a:pt x="291343" y="136854"/>
                    <a:pt x="268920" y="136854"/>
                  </a:cubicBezTo>
                  <a:cubicBezTo>
                    <a:pt x="258958" y="136854"/>
                    <a:pt x="247885" y="137767"/>
                    <a:pt x="235542" y="139791"/>
                  </a:cubicBezTo>
                  <a:cubicBezTo>
                    <a:pt x="223239" y="141656"/>
                    <a:pt x="213000" y="144355"/>
                    <a:pt x="204824" y="147808"/>
                  </a:cubicBezTo>
                  <a:lnTo>
                    <a:pt x="204824" y="847142"/>
                  </a:lnTo>
                  <a:lnTo>
                    <a:pt x="513" y="847142"/>
                  </a:lnTo>
                  <a:lnTo>
                    <a:pt x="513" y="11282"/>
                  </a:lnTo>
                  <a:lnTo>
                    <a:pt x="168153" y="11282"/>
                  </a:lnTo>
                  <a:lnTo>
                    <a:pt x="180456" y="47279"/>
                  </a:lnTo>
                  <a:cubicBezTo>
                    <a:pt x="209190" y="30134"/>
                    <a:pt x="236019" y="17910"/>
                    <a:pt x="261062" y="10806"/>
                  </a:cubicBezTo>
                  <a:cubicBezTo>
                    <a:pt x="286065" y="3662"/>
                    <a:pt x="314878" y="170"/>
                    <a:pt x="347422" y="170"/>
                  </a:cubicBezTo>
                  <a:cubicBezTo>
                    <a:pt x="409850" y="170"/>
                    <a:pt x="458547" y="17474"/>
                    <a:pt x="493472" y="52200"/>
                  </a:cubicBezTo>
                  <a:cubicBezTo>
                    <a:pt x="528357" y="86887"/>
                    <a:pt x="545780" y="136377"/>
                    <a:pt x="545780" y="200592"/>
                  </a:cubicBezTo>
                  <a:lnTo>
                    <a:pt x="545780" y="847142"/>
                  </a:lnTo>
                  <a:close/>
                </a:path>
              </a:pathLst>
            </a:custGeom>
            <a:solidFill>
              <a:srgbClr val="007236"/>
            </a:solidFill>
            <a:ln w="39688" cap="flat">
              <a:noFill/>
              <a:prstDash val="solid"/>
              <a:round/>
            </a:ln>
          </p:spPr>
          <p:txBody>
            <a:bodyPr rtlCol="0" anchor="ctr"/>
            <a:lstStyle/>
            <a:p>
              <a:pPr rtl="0"/>
              <a:endParaRPr lang="en-US"/>
            </a:p>
          </p:txBody>
        </p:sp>
        <p:sp>
          <p:nvSpPr>
            <p:cNvPr id="15" name="Freeform: Shape 14">
              <a:extLst>
                <a:ext uri="{FF2B5EF4-FFF2-40B4-BE49-F238E27FC236}">
                  <a16:creationId xmlns:a16="http://schemas.microsoft.com/office/drawing/2014/main" id="{380F02CD-99DB-2D70-B02F-DA68AF46B8C1}"/>
                </a:ext>
              </a:extLst>
            </p:cNvPr>
            <p:cNvSpPr/>
            <p:nvPr/>
          </p:nvSpPr>
          <p:spPr>
            <a:xfrm rot="10800000" flipV="1">
              <a:off x="4477405" y="-1765343"/>
              <a:ext cx="217686" cy="1091288"/>
            </a:xfrm>
            <a:custGeom>
              <a:avLst/>
              <a:gdLst>
                <a:gd name="connsiteX0" fmla="*/ 417 w 217686"/>
                <a:gd name="connsiteY0" fmla="*/ 129 h 1091288"/>
                <a:gd name="connsiteX1" fmla="*/ 218103 w 217686"/>
                <a:gd name="connsiteY1" fmla="*/ 129 h 1091288"/>
                <a:gd name="connsiteX2" fmla="*/ 218103 w 217686"/>
                <a:gd name="connsiteY2" fmla="*/ 1091417 h 1091288"/>
                <a:gd name="connsiteX3" fmla="*/ 417 w 217686"/>
                <a:gd name="connsiteY3" fmla="*/ 1091417 h 1091288"/>
              </a:gdLst>
              <a:ahLst/>
              <a:cxnLst>
                <a:cxn ang="0">
                  <a:pos x="connsiteX0" y="connsiteY0"/>
                </a:cxn>
                <a:cxn ang="0">
                  <a:pos x="connsiteX1" y="connsiteY1"/>
                </a:cxn>
                <a:cxn ang="0">
                  <a:pos x="connsiteX2" y="connsiteY2"/>
                </a:cxn>
                <a:cxn ang="0">
                  <a:pos x="connsiteX3" y="connsiteY3"/>
                </a:cxn>
              </a:cxnLst>
              <a:rect l="l" t="t" r="r" b="b"/>
              <a:pathLst>
                <a:path w="217686" h="1091288">
                  <a:moveTo>
                    <a:pt x="417" y="129"/>
                  </a:moveTo>
                  <a:lnTo>
                    <a:pt x="218103" y="129"/>
                  </a:lnTo>
                  <a:lnTo>
                    <a:pt x="218103" y="1091417"/>
                  </a:lnTo>
                  <a:lnTo>
                    <a:pt x="417" y="1091417"/>
                  </a:lnTo>
                  <a:close/>
                </a:path>
              </a:pathLst>
            </a:custGeom>
            <a:solidFill>
              <a:srgbClr val="DA2128"/>
            </a:solidFill>
            <a:ln w="39688" cap="flat">
              <a:noFill/>
              <a:prstDash val="solid"/>
              <a:round/>
            </a:ln>
          </p:spPr>
          <p:txBody>
            <a:bodyPr rtlCol="0" anchor="ctr"/>
            <a:lstStyle/>
            <a:p>
              <a:pPr rtl="0"/>
              <a:endParaRPr lang="en-US"/>
            </a:p>
          </p:txBody>
        </p:sp>
        <p:sp>
          <p:nvSpPr>
            <p:cNvPr id="16" name="Freeform: Shape 15">
              <a:extLst>
                <a:ext uri="{FF2B5EF4-FFF2-40B4-BE49-F238E27FC236}">
                  <a16:creationId xmlns:a16="http://schemas.microsoft.com/office/drawing/2014/main" id="{2BAEB4A1-8D34-7D55-FC26-37186DF87126}"/>
                </a:ext>
              </a:extLst>
            </p:cNvPr>
            <p:cNvSpPr/>
            <p:nvPr/>
          </p:nvSpPr>
          <p:spPr>
            <a:xfrm>
              <a:off x="4852175" y="-1521039"/>
              <a:ext cx="545306" cy="846971"/>
            </a:xfrm>
            <a:custGeom>
              <a:avLst/>
              <a:gdLst>
                <a:gd name="connsiteX0" fmla="*/ 545932 w 545306"/>
                <a:gd name="connsiteY0" fmla="*/ 847142 h 846971"/>
                <a:gd name="connsiteX1" fmla="*/ 341581 w 545306"/>
                <a:gd name="connsiteY1" fmla="*/ 847142 h 846971"/>
                <a:gd name="connsiteX2" fmla="*/ 341581 w 545306"/>
                <a:gd name="connsiteY2" fmla="*/ 208688 h 846971"/>
                <a:gd name="connsiteX3" fmla="*/ 322174 w 545306"/>
                <a:gd name="connsiteY3" fmla="*/ 154316 h 846971"/>
                <a:gd name="connsiteX4" fmla="*/ 269072 w 545306"/>
                <a:gd name="connsiteY4" fmla="*/ 136854 h 846971"/>
                <a:gd name="connsiteX5" fmla="*/ 235735 w 545306"/>
                <a:gd name="connsiteY5" fmla="*/ 139791 h 846971"/>
                <a:gd name="connsiteX6" fmla="*/ 204937 w 545306"/>
                <a:gd name="connsiteY6" fmla="*/ 147808 h 846971"/>
                <a:gd name="connsiteX7" fmla="*/ 204937 w 545306"/>
                <a:gd name="connsiteY7" fmla="*/ 847142 h 846971"/>
                <a:gd name="connsiteX8" fmla="*/ 626 w 545306"/>
                <a:gd name="connsiteY8" fmla="*/ 847142 h 846971"/>
                <a:gd name="connsiteX9" fmla="*/ 626 w 545306"/>
                <a:gd name="connsiteY9" fmla="*/ 11282 h 846971"/>
                <a:gd name="connsiteX10" fmla="*/ 168306 w 545306"/>
                <a:gd name="connsiteY10" fmla="*/ 11282 h 846971"/>
                <a:gd name="connsiteX11" fmla="*/ 180648 w 545306"/>
                <a:gd name="connsiteY11" fmla="*/ 47279 h 846971"/>
                <a:gd name="connsiteX12" fmla="*/ 261174 w 545306"/>
                <a:gd name="connsiteY12" fmla="*/ 10806 h 846971"/>
                <a:gd name="connsiteX13" fmla="*/ 347534 w 545306"/>
                <a:gd name="connsiteY13" fmla="*/ 170 h 846971"/>
                <a:gd name="connsiteX14" fmla="*/ 493624 w 545306"/>
                <a:gd name="connsiteY14" fmla="*/ 52200 h 846971"/>
                <a:gd name="connsiteX15" fmla="*/ 545932 w 545306"/>
                <a:gd name="connsiteY15" fmla="*/ 200592 h 846971"/>
                <a:gd name="connsiteX16" fmla="*/ 545932 w 545306"/>
                <a:gd name="connsiteY16" fmla="*/ 847142 h 846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45306" h="846971">
                  <a:moveTo>
                    <a:pt x="545932" y="847142"/>
                  </a:moveTo>
                  <a:lnTo>
                    <a:pt x="341581" y="847142"/>
                  </a:lnTo>
                  <a:lnTo>
                    <a:pt x="341581" y="208688"/>
                  </a:lnTo>
                  <a:cubicBezTo>
                    <a:pt x="341581" y="184042"/>
                    <a:pt x="335112" y="165945"/>
                    <a:pt x="322174" y="154316"/>
                  </a:cubicBezTo>
                  <a:cubicBezTo>
                    <a:pt x="309276" y="142648"/>
                    <a:pt x="291535" y="136854"/>
                    <a:pt x="269072" y="136854"/>
                  </a:cubicBezTo>
                  <a:cubicBezTo>
                    <a:pt x="259150" y="136854"/>
                    <a:pt x="247998" y="137767"/>
                    <a:pt x="235735" y="139791"/>
                  </a:cubicBezTo>
                  <a:cubicBezTo>
                    <a:pt x="223432" y="141656"/>
                    <a:pt x="213152" y="144355"/>
                    <a:pt x="204937" y="147808"/>
                  </a:cubicBezTo>
                  <a:lnTo>
                    <a:pt x="204937" y="847142"/>
                  </a:lnTo>
                  <a:lnTo>
                    <a:pt x="626" y="847142"/>
                  </a:lnTo>
                  <a:lnTo>
                    <a:pt x="626" y="11282"/>
                  </a:lnTo>
                  <a:lnTo>
                    <a:pt x="168306" y="11282"/>
                  </a:lnTo>
                  <a:lnTo>
                    <a:pt x="180648" y="47279"/>
                  </a:lnTo>
                  <a:cubicBezTo>
                    <a:pt x="209263" y="30134"/>
                    <a:pt x="236092" y="17910"/>
                    <a:pt x="261174" y="10806"/>
                  </a:cubicBezTo>
                  <a:cubicBezTo>
                    <a:pt x="286217" y="3662"/>
                    <a:pt x="315030" y="170"/>
                    <a:pt x="347534" y="170"/>
                  </a:cubicBezTo>
                  <a:cubicBezTo>
                    <a:pt x="410042" y="170"/>
                    <a:pt x="458739" y="17474"/>
                    <a:pt x="493624" y="52200"/>
                  </a:cubicBezTo>
                  <a:cubicBezTo>
                    <a:pt x="528510" y="86887"/>
                    <a:pt x="545932" y="136377"/>
                    <a:pt x="545932" y="200592"/>
                  </a:cubicBezTo>
                  <a:lnTo>
                    <a:pt x="545932" y="847142"/>
                  </a:lnTo>
                  <a:close/>
                </a:path>
              </a:pathLst>
            </a:custGeom>
            <a:solidFill>
              <a:srgbClr val="DA2128"/>
            </a:solidFill>
            <a:ln w="39688" cap="flat">
              <a:noFill/>
              <a:prstDash val="solid"/>
              <a:round/>
            </a:ln>
          </p:spPr>
          <p:txBody>
            <a:bodyPr rtlCol="0" anchor="ctr"/>
            <a:lstStyle/>
            <a:p>
              <a:pPr rtl="0"/>
              <a:endParaRPr lang="en-US"/>
            </a:p>
          </p:txBody>
        </p:sp>
        <p:sp>
          <p:nvSpPr>
            <p:cNvPr id="18" name="Freeform: Shape 17">
              <a:extLst>
                <a:ext uri="{FF2B5EF4-FFF2-40B4-BE49-F238E27FC236}">
                  <a16:creationId xmlns:a16="http://schemas.microsoft.com/office/drawing/2014/main" id="{E58D8C1F-0AC0-3D41-3512-34611B821151}"/>
                </a:ext>
              </a:extLst>
            </p:cNvPr>
            <p:cNvSpPr/>
            <p:nvPr/>
          </p:nvSpPr>
          <p:spPr>
            <a:xfrm>
              <a:off x="5503011" y="-1509922"/>
              <a:ext cx="545306" cy="835859"/>
            </a:xfrm>
            <a:custGeom>
              <a:avLst/>
              <a:gdLst>
                <a:gd name="connsiteX0" fmla="*/ 546001 w 545306"/>
                <a:gd name="connsiteY0" fmla="*/ 470517 h 835859"/>
                <a:gd name="connsiteX1" fmla="*/ 535801 w 545306"/>
                <a:gd name="connsiteY1" fmla="*/ 551519 h 835859"/>
                <a:gd name="connsiteX2" fmla="*/ 501709 w 545306"/>
                <a:gd name="connsiteY2" fmla="*/ 612519 h 835859"/>
                <a:gd name="connsiteX3" fmla="*/ 322719 w 545306"/>
                <a:gd name="connsiteY3" fmla="*/ 836039 h 835859"/>
                <a:gd name="connsiteX4" fmla="*/ 223976 w 545306"/>
                <a:gd name="connsiteY4" fmla="*/ 836039 h 835859"/>
                <a:gd name="connsiteX5" fmla="*/ 694 w 545306"/>
                <a:gd name="connsiteY5" fmla="*/ 571204 h 835859"/>
                <a:gd name="connsiteX6" fmla="*/ 694 w 545306"/>
                <a:gd name="connsiteY6" fmla="*/ 180 h 835859"/>
                <a:gd name="connsiteX7" fmla="*/ 205045 w 545306"/>
                <a:gd name="connsiteY7" fmla="*/ 180 h 835859"/>
                <a:gd name="connsiteX8" fmla="*/ 205045 w 545306"/>
                <a:gd name="connsiteY8" fmla="*/ 584738 h 835859"/>
                <a:gd name="connsiteX9" fmla="*/ 297200 w 545306"/>
                <a:gd name="connsiteY9" fmla="*/ 697172 h 835859"/>
                <a:gd name="connsiteX10" fmla="*/ 341689 w 545306"/>
                <a:gd name="connsiteY10" fmla="*/ 635180 h 835859"/>
                <a:gd name="connsiteX11" fmla="*/ 341689 w 545306"/>
                <a:gd name="connsiteY11" fmla="*/ 180 h 835859"/>
                <a:gd name="connsiteX12" fmla="*/ 546001 w 545306"/>
                <a:gd name="connsiteY12" fmla="*/ 180 h 835859"/>
                <a:gd name="connsiteX13" fmla="*/ 546001 w 545306"/>
                <a:gd name="connsiteY13" fmla="*/ 470517 h 835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45306" h="835859">
                  <a:moveTo>
                    <a:pt x="546001" y="470517"/>
                  </a:moveTo>
                  <a:cubicBezTo>
                    <a:pt x="546001" y="503656"/>
                    <a:pt x="542588" y="530683"/>
                    <a:pt x="535801" y="551519"/>
                  </a:cubicBezTo>
                  <a:cubicBezTo>
                    <a:pt x="528895" y="572474"/>
                    <a:pt x="517585" y="592834"/>
                    <a:pt x="501709" y="612519"/>
                  </a:cubicBezTo>
                  <a:lnTo>
                    <a:pt x="322719" y="836039"/>
                  </a:lnTo>
                  <a:lnTo>
                    <a:pt x="223976" y="836039"/>
                  </a:lnTo>
                  <a:lnTo>
                    <a:pt x="694" y="571204"/>
                  </a:lnTo>
                  <a:lnTo>
                    <a:pt x="694" y="180"/>
                  </a:lnTo>
                  <a:lnTo>
                    <a:pt x="205045" y="180"/>
                  </a:lnTo>
                  <a:lnTo>
                    <a:pt x="205045" y="584738"/>
                  </a:lnTo>
                  <a:lnTo>
                    <a:pt x="297200" y="697172"/>
                  </a:lnTo>
                  <a:lnTo>
                    <a:pt x="341689" y="635180"/>
                  </a:lnTo>
                  <a:lnTo>
                    <a:pt x="341689" y="180"/>
                  </a:lnTo>
                  <a:lnTo>
                    <a:pt x="546001" y="180"/>
                  </a:lnTo>
                  <a:lnTo>
                    <a:pt x="546001" y="470517"/>
                  </a:lnTo>
                  <a:close/>
                </a:path>
              </a:pathLst>
            </a:custGeom>
            <a:solidFill>
              <a:srgbClr val="DA2128"/>
            </a:solidFill>
            <a:ln w="39688" cap="flat">
              <a:noFill/>
              <a:prstDash val="solid"/>
              <a:round/>
            </a:ln>
          </p:spPr>
          <p:txBody>
            <a:bodyPr rtlCol="0" anchor="ctr"/>
            <a:lstStyle/>
            <a:p>
              <a:pPr rtl="0"/>
              <a:endParaRPr lang="en-US"/>
            </a:p>
          </p:txBody>
        </p:sp>
        <p:sp>
          <p:nvSpPr>
            <p:cNvPr id="19" name="Freeform: Shape 18">
              <a:extLst>
                <a:ext uri="{FF2B5EF4-FFF2-40B4-BE49-F238E27FC236}">
                  <a16:creationId xmlns:a16="http://schemas.microsoft.com/office/drawing/2014/main" id="{52D512CA-1BD8-B193-0D1C-17941575E380}"/>
                </a:ext>
              </a:extLst>
            </p:cNvPr>
            <p:cNvSpPr/>
            <p:nvPr/>
          </p:nvSpPr>
          <p:spPr>
            <a:xfrm>
              <a:off x="6133249" y="-1521035"/>
              <a:ext cx="509706" cy="854829"/>
            </a:xfrm>
            <a:custGeom>
              <a:avLst/>
              <a:gdLst>
                <a:gd name="connsiteX0" fmla="*/ 341630 w 509706"/>
                <a:gd name="connsiteY0" fmla="*/ 319510 h 854829"/>
                <a:gd name="connsiteX1" fmla="*/ 330081 w 509706"/>
                <a:gd name="connsiteY1" fmla="*/ 169530 h 854829"/>
                <a:gd name="connsiteX2" fmla="*/ 276701 w 509706"/>
                <a:gd name="connsiteY2" fmla="*/ 129049 h 854829"/>
                <a:gd name="connsiteX3" fmla="*/ 224591 w 509706"/>
                <a:gd name="connsiteY3" fmla="*/ 164927 h 854829"/>
                <a:gd name="connsiteX4" fmla="*/ 212368 w 509706"/>
                <a:gd name="connsiteY4" fmla="*/ 319510 h 854829"/>
                <a:gd name="connsiteX5" fmla="*/ 341630 w 509706"/>
                <a:gd name="connsiteY5" fmla="*/ 319510 h 854829"/>
                <a:gd name="connsiteX6" fmla="*/ 510461 w 509706"/>
                <a:gd name="connsiteY6" fmla="*/ 439366 h 854829"/>
                <a:gd name="connsiteX7" fmla="*/ 211693 w 509706"/>
                <a:gd name="connsiteY7" fmla="*/ 439366 h 854829"/>
                <a:gd name="connsiteX8" fmla="*/ 225703 w 509706"/>
                <a:gd name="connsiteY8" fmla="*/ 675427 h 854829"/>
                <a:gd name="connsiteX9" fmla="*/ 284440 w 509706"/>
                <a:gd name="connsiteY9" fmla="*/ 726148 h 854829"/>
                <a:gd name="connsiteX10" fmla="*/ 329208 w 509706"/>
                <a:gd name="connsiteY10" fmla="*/ 706979 h 854829"/>
                <a:gd name="connsiteX11" fmla="*/ 343892 w 509706"/>
                <a:gd name="connsiteY11" fmla="*/ 639907 h 854829"/>
                <a:gd name="connsiteX12" fmla="*/ 490538 w 509706"/>
                <a:gd name="connsiteY12" fmla="*/ 639907 h 854829"/>
                <a:gd name="connsiteX13" fmla="*/ 434777 w 509706"/>
                <a:gd name="connsiteY13" fmla="*/ 802705 h 854829"/>
                <a:gd name="connsiteX14" fmla="*/ 262612 w 509706"/>
                <a:gd name="connsiteY14" fmla="*/ 855013 h 854829"/>
                <a:gd name="connsiteX15" fmla="*/ 67270 w 509706"/>
                <a:gd name="connsiteY15" fmla="*/ 747301 h 854829"/>
                <a:gd name="connsiteX16" fmla="*/ 754 w 509706"/>
                <a:gd name="connsiteY16" fmla="*/ 426904 h 854829"/>
                <a:gd name="connsiteX17" fmla="*/ 69850 w 509706"/>
                <a:gd name="connsiteY17" fmla="*/ 107856 h 854829"/>
                <a:gd name="connsiteX18" fmla="*/ 277971 w 509706"/>
                <a:gd name="connsiteY18" fmla="*/ 184 h 854829"/>
                <a:gd name="connsiteX19" fmla="*/ 454104 w 509706"/>
                <a:gd name="connsiteY19" fmla="*/ 86425 h 854829"/>
                <a:gd name="connsiteX20" fmla="*/ 510461 w 509706"/>
                <a:gd name="connsiteY20" fmla="*/ 345068 h 854829"/>
                <a:gd name="connsiteX21" fmla="*/ 510461 w 509706"/>
                <a:gd name="connsiteY21" fmla="*/ 439366 h 854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09706" h="854829">
                  <a:moveTo>
                    <a:pt x="341630" y="319510"/>
                  </a:moveTo>
                  <a:cubicBezTo>
                    <a:pt x="341630" y="246485"/>
                    <a:pt x="337780" y="196478"/>
                    <a:pt x="330081" y="169530"/>
                  </a:cubicBezTo>
                  <a:cubicBezTo>
                    <a:pt x="322342" y="142503"/>
                    <a:pt x="304482" y="129049"/>
                    <a:pt x="276701" y="129049"/>
                  </a:cubicBezTo>
                  <a:cubicBezTo>
                    <a:pt x="250110" y="129049"/>
                    <a:pt x="232727" y="140955"/>
                    <a:pt x="224591" y="164927"/>
                  </a:cubicBezTo>
                  <a:cubicBezTo>
                    <a:pt x="216416" y="188938"/>
                    <a:pt x="212368" y="240412"/>
                    <a:pt x="212368" y="319510"/>
                  </a:cubicBezTo>
                  <a:lnTo>
                    <a:pt x="341630" y="319510"/>
                  </a:lnTo>
                  <a:close/>
                  <a:moveTo>
                    <a:pt x="510461" y="439366"/>
                  </a:moveTo>
                  <a:lnTo>
                    <a:pt x="211693" y="439366"/>
                  </a:lnTo>
                  <a:cubicBezTo>
                    <a:pt x="211693" y="562953"/>
                    <a:pt x="216376" y="641574"/>
                    <a:pt x="225703" y="675427"/>
                  </a:cubicBezTo>
                  <a:cubicBezTo>
                    <a:pt x="235109" y="709241"/>
                    <a:pt x="254754" y="726148"/>
                    <a:pt x="284440" y="726148"/>
                  </a:cubicBezTo>
                  <a:cubicBezTo>
                    <a:pt x="304482" y="726148"/>
                    <a:pt x="319445" y="719719"/>
                    <a:pt x="329208" y="706979"/>
                  </a:cubicBezTo>
                  <a:cubicBezTo>
                    <a:pt x="338971" y="694081"/>
                    <a:pt x="343892" y="671697"/>
                    <a:pt x="343892" y="639907"/>
                  </a:cubicBezTo>
                  <a:lnTo>
                    <a:pt x="490538" y="639907"/>
                  </a:lnTo>
                  <a:cubicBezTo>
                    <a:pt x="490538" y="713567"/>
                    <a:pt x="471884" y="767820"/>
                    <a:pt x="434777" y="802705"/>
                  </a:cubicBezTo>
                  <a:cubicBezTo>
                    <a:pt x="397669" y="837551"/>
                    <a:pt x="340201" y="855013"/>
                    <a:pt x="262612" y="855013"/>
                  </a:cubicBezTo>
                  <a:cubicBezTo>
                    <a:pt x="176808" y="855013"/>
                    <a:pt x="111641" y="819096"/>
                    <a:pt x="67270" y="747301"/>
                  </a:cubicBezTo>
                  <a:cubicBezTo>
                    <a:pt x="22939" y="675546"/>
                    <a:pt x="754" y="568747"/>
                    <a:pt x="754" y="426904"/>
                  </a:cubicBezTo>
                  <a:cubicBezTo>
                    <a:pt x="754" y="285974"/>
                    <a:pt x="23772" y="179611"/>
                    <a:pt x="69850" y="107856"/>
                  </a:cubicBezTo>
                  <a:cubicBezTo>
                    <a:pt x="115927" y="36061"/>
                    <a:pt x="185340" y="184"/>
                    <a:pt x="277971" y="184"/>
                  </a:cubicBezTo>
                  <a:cubicBezTo>
                    <a:pt x="357822" y="184"/>
                    <a:pt x="416520" y="28917"/>
                    <a:pt x="454104" y="86425"/>
                  </a:cubicBezTo>
                  <a:cubicBezTo>
                    <a:pt x="491649" y="143892"/>
                    <a:pt x="510461" y="230133"/>
                    <a:pt x="510461" y="345068"/>
                  </a:cubicBezTo>
                  <a:lnTo>
                    <a:pt x="510461" y="439366"/>
                  </a:lnTo>
                  <a:close/>
                </a:path>
              </a:pathLst>
            </a:custGeom>
            <a:solidFill>
              <a:srgbClr val="DA2128"/>
            </a:solidFill>
            <a:ln w="39688" cap="flat">
              <a:noFill/>
              <a:prstDash val="solid"/>
              <a:round/>
            </a:ln>
          </p:spPr>
          <p:txBody>
            <a:bodyPr rtlCol="0" anchor="ctr"/>
            <a:lstStyle/>
            <a:p>
              <a:pPr rtl="0"/>
              <a:endParaRPr lang="en-US"/>
            </a:p>
          </p:txBody>
        </p:sp>
        <p:sp>
          <p:nvSpPr>
            <p:cNvPr id="22" name="Freeform: Shape 21">
              <a:extLst>
                <a:ext uri="{FF2B5EF4-FFF2-40B4-BE49-F238E27FC236}">
                  <a16:creationId xmlns:a16="http://schemas.microsoft.com/office/drawing/2014/main" id="{8B6B6069-DC9C-BED9-E33D-D022CF9A9F79}"/>
                </a:ext>
              </a:extLst>
            </p:cNvPr>
            <p:cNvSpPr/>
            <p:nvPr/>
          </p:nvSpPr>
          <p:spPr>
            <a:xfrm>
              <a:off x="6713480" y="-1521035"/>
              <a:ext cx="469781" cy="854829"/>
            </a:xfrm>
            <a:custGeom>
              <a:avLst/>
              <a:gdLst>
                <a:gd name="connsiteX0" fmla="*/ 470598 w 469781"/>
                <a:gd name="connsiteY0" fmla="*/ 630493 h 854829"/>
                <a:gd name="connsiteX1" fmla="*/ 408050 w 469781"/>
                <a:gd name="connsiteY1" fmla="*/ 795752 h 854829"/>
                <a:gd name="connsiteX2" fmla="*/ 236640 w 469781"/>
                <a:gd name="connsiteY2" fmla="*/ 855006 h 854829"/>
                <a:gd name="connsiteX3" fmla="*/ 60030 w 469781"/>
                <a:gd name="connsiteY3" fmla="*/ 799800 h 854829"/>
                <a:gd name="connsiteX4" fmla="*/ 816 w 469781"/>
                <a:gd name="connsiteY4" fmla="*/ 634264 h 854829"/>
                <a:gd name="connsiteX5" fmla="*/ 166234 w 469781"/>
                <a:gd name="connsiteY5" fmla="*/ 634264 h 854829"/>
                <a:gd name="connsiteX6" fmla="*/ 182665 w 469781"/>
                <a:gd name="connsiteY6" fmla="*/ 699946 h 854829"/>
                <a:gd name="connsiteX7" fmla="*/ 231242 w 469781"/>
                <a:gd name="connsiteY7" fmla="*/ 720584 h 854829"/>
                <a:gd name="connsiteX8" fmla="*/ 277478 w 469781"/>
                <a:gd name="connsiteY8" fmla="*/ 704352 h 854829"/>
                <a:gd name="connsiteX9" fmla="*/ 292956 w 469781"/>
                <a:gd name="connsiteY9" fmla="*/ 655695 h 854829"/>
                <a:gd name="connsiteX10" fmla="*/ 260531 w 469781"/>
                <a:gd name="connsiteY10" fmla="*/ 591004 h 854829"/>
                <a:gd name="connsiteX11" fmla="*/ 154407 w 469781"/>
                <a:gd name="connsiteY11" fmla="*/ 491984 h 854829"/>
                <a:gd name="connsiteX12" fmla="*/ 35781 w 469781"/>
                <a:gd name="connsiteY12" fmla="*/ 350220 h 854829"/>
                <a:gd name="connsiteX13" fmla="*/ 10778 w 469781"/>
                <a:gd name="connsiteY13" fmla="*/ 201352 h 854829"/>
                <a:gd name="connsiteX14" fmla="*/ 73960 w 469781"/>
                <a:gd name="connsiteY14" fmla="*/ 54826 h 854829"/>
                <a:gd name="connsiteX15" fmla="*/ 240331 w 469781"/>
                <a:gd name="connsiteY15" fmla="*/ 176 h 854829"/>
                <a:gd name="connsiteX16" fmla="*/ 408923 w 469781"/>
                <a:gd name="connsiteY16" fmla="*/ 56453 h 854829"/>
                <a:gd name="connsiteX17" fmla="*/ 467264 w 469781"/>
                <a:gd name="connsiteY17" fmla="*/ 216433 h 854829"/>
                <a:gd name="connsiteX18" fmla="*/ 303989 w 469781"/>
                <a:gd name="connsiteY18" fmla="*/ 216433 h 854829"/>
                <a:gd name="connsiteX19" fmla="*/ 287400 w 469781"/>
                <a:gd name="connsiteY19" fmla="*/ 155632 h 854829"/>
                <a:gd name="connsiteX20" fmla="*/ 241521 w 469781"/>
                <a:gd name="connsiteY20" fmla="*/ 132375 h 854829"/>
                <a:gd name="connsiteX21" fmla="*/ 200365 w 469781"/>
                <a:gd name="connsiteY21" fmla="*/ 147536 h 854829"/>
                <a:gd name="connsiteX22" fmla="*/ 184014 w 469781"/>
                <a:gd name="connsiteY22" fmla="*/ 191033 h 854829"/>
                <a:gd name="connsiteX23" fmla="*/ 202945 w 469781"/>
                <a:gd name="connsiteY23" fmla="*/ 257391 h 854829"/>
                <a:gd name="connsiteX24" fmla="*/ 319071 w 469781"/>
                <a:gd name="connsiteY24" fmla="*/ 375501 h 854829"/>
                <a:gd name="connsiteX25" fmla="*/ 437736 w 469781"/>
                <a:gd name="connsiteY25" fmla="*/ 506549 h 854829"/>
                <a:gd name="connsiteX26" fmla="*/ 470598 w 469781"/>
                <a:gd name="connsiteY26" fmla="*/ 630493 h 854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69781" h="854829">
                  <a:moveTo>
                    <a:pt x="470598" y="630493"/>
                  </a:moveTo>
                  <a:cubicBezTo>
                    <a:pt x="470598" y="701177"/>
                    <a:pt x="449762" y="756342"/>
                    <a:pt x="408050" y="795752"/>
                  </a:cubicBezTo>
                  <a:cubicBezTo>
                    <a:pt x="366418" y="835281"/>
                    <a:pt x="309347" y="855006"/>
                    <a:pt x="236640" y="855006"/>
                  </a:cubicBezTo>
                  <a:cubicBezTo>
                    <a:pt x="158455" y="855006"/>
                    <a:pt x="99559" y="836630"/>
                    <a:pt x="60030" y="799800"/>
                  </a:cubicBezTo>
                  <a:cubicBezTo>
                    <a:pt x="20501" y="763050"/>
                    <a:pt x="816" y="707884"/>
                    <a:pt x="816" y="634264"/>
                  </a:cubicBezTo>
                  <a:lnTo>
                    <a:pt x="166234" y="634264"/>
                  </a:lnTo>
                  <a:cubicBezTo>
                    <a:pt x="166234" y="664347"/>
                    <a:pt x="171790" y="686254"/>
                    <a:pt x="182665" y="699946"/>
                  </a:cubicBezTo>
                  <a:cubicBezTo>
                    <a:pt x="193618" y="713718"/>
                    <a:pt x="209731" y="720584"/>
                    <a:pt x="231242" y="720584"/>
                  </a:cubicBezTo>
                  <a:cubicBezTo>
                    <a:pt x="251721" y="720584"/>
                    <a:pt x="267159" y="715226"/>
                    <a:pt x="277478" y="704352"/>
                  </a:cubicBezTo>
                  <a:cubicBezTo>
                    <a:pt x="287797" y="693517"/>
                    <a:pt x="292956" y="677325"/>
                    <a:pt x="292956" y="655695"/>
                  </a:cubicBezTo>
                  <a:cubicBezTo>
                    <a:pt x="292956" y="635851"/>
                    <a:pt x="282082" y="614261"/>
                    <a:pt x="260531" y="591004"/>
                  </a:cubicBezTo>
                  <a:cubicBezTo>
                    <a:pt x="238902" y="567668"/>
                    <a:pt x="203540" y="534727"/>
                    <a:pt x="154407" y="491984"/>
                  </a:cubicBezTo>
                  <a:cubicBezTo>
                    <a:pt x="92058" y="437652"/>
                    <a:pt x="52450" y="390344"/>
                    <a:pt x="35781" y="350220"/>
                  </a:cubicBezTo>
                  <a:cubicBezTo>
                    <a:pt x="19152" y="310135"/>
                    <a:pt x="10778" y="260486"/>
                    <a:pt x="10778" y="201352"/>
                  </a:cubicBezTo>
                  <a:cubicBezTo>
                    <a:pt x="10778" y="140074"/>
                    <a:pt x="31852" y="91298"/>
                    <a:pt x="73960" y="54826"/>
                  </a:cubicBezTo>
                  <a:cubicBezTo>
                    <a:pt x="116029" y="18392"/>
                    <a:pt x="171512" y="176"/>
                    <a:pt x="240331" y="176"/>
                  </a:cubicBezTo>
                  <a:cubicBezTo>
                    <a:pt x="313792" y="176"/>
                    <a:pt x="370029" y="18948"/>
                    <a:pt x="408923" y="56453"/>
                  </a:cubicBezTo>
                  <a:cubicBezTo>
                    <a:pt x="447857" y="94077"/>
                    <a:pt x="467264" y="147258"/>
                    <a:pt x="467264" y="216433"/>
                  </a:cubicBezTo>
                  <a:lnTo>
                    <a:pt x="303989" y="216433"/>
                  </a:lnTo>
                  <a:cubicBezTo>
                    <a:pt x="303989" y="191430"/>
                    <a:pt x="298473" y="171150"/>
                    <a:pt x="287400" y="155632"/>
                  </a:cubicBezTo>
                  <a:cubicBezTo>
                    <a:pt x="276287" y="140074"/>
                    <a:pt x="261047" y="132375"/>
                    <a:pt x="241521" y="132375"/>
                  </a:cubicBezTo>
                  <a:cubicBezTo>
                    <a:pt x="224892" y="132375"/>
                    <a:pt x="211120" y="137455"/>
                    <a:pt x="200365" y="147536"/>
                  </a:cubicBezTo>
                  <a:cubicBezTo>
                    <a:pt x="189491" y="157656"/>
                    <a:pt x="184014" y="172221"/>
                    <a:pt x="184014" y="191033"/>
                  </a:cubicBezTo>
                  <a:cubicBezTo>
                    <a:pt x="184014" y="213933"/>
                    <a:pt x="190324" y="236039"/>
                    <a:pt x="202945" y="257391"/>
                  </a:cubicBezTo>
                  <a:cubicBezTo>
                    <a:pt x="215526" y="278703"/>
                    <a:pt x="254221" y="318113"/>
                    <a:pt x="319071" y="375501"/>
                  </a:cubicBezTo>
                  <a:cubicBezTo>
                    <a:pt x="376141" y="425944"/>
                    <a:pt x="415710" y="469640"/>
                    <a:pt x="437736" y="506549"/>
                  </a:cubicBezTo>
                  <a:cubicBezTo>
                    <a:pt x="459644" y="543419"/>
                    <a:pt x="470598" y="584773"/>
                    <a:pt x="470598" y="630493"/>
                  </a:cubicBezTo>
                </a:path>
              </a:pathLst>
            </a:custGeom>
            <a:solidFill>
              <a:srgbClr val="DA2128"/>
            </a:solidFill>
            <a:ln w="39688" cap="flat">
              <a:noFill/>
              <a:prstDash val="solid"/>
              <a:round/>
            </a:ln>
          </p:spPr>
          <p:txBody>
            <a:bodyPr rtlCol="0" anchor="ctr"/>
            <a:lstStyle/>
            <a:p>
              <a:pPr rtl="0"/>
              <a:endParaRPr lang="en-US"/>
            </a:p>
          </p:txBody>
        </p:sp>
        <p:sp>
          <p:nvSpPr>
            <p:cNvPr id="23" name="Freeform: Shape 22">
              <a:extLst>
                <a:ext uri="{FF2B5EF4-FFF2-40B4-BE49-F238E27FC236}">
                  <a16:creationId xmlns:a16="http://schemas.microsoft.com/office/drawing/2014/main" id="{98E8E36F-5144-E6C9-8DA4-ECD434D9FDD8}"/>
                </a:ext>
              </a:extLst>
            </p:cNvPr>
            <p:cNvSpPr/>
            <p:nvPr/>
          </p:nvSpPr>
          <p:spPr>
            <a:xfrm>
              <a:off x="7211916" y="-1765332"/>
              <a:ext cx="410924" cy="1091248"/>
            </a:xfrm>
            <a:custGeom>
              <a:avLst/>
              <a:gdLst>
                <a:gd name="connsiteX0" fmla="*/ 411789 w 410924"/>
                <a:gd name="connsiteY0" fmla="*/ 362043 h 1091248"/>
                <a:gd name="connsiteX1" fmla="*/ 285226 w 410924"/>
                <a:gd name="connsiteY1" fmla="*/ 362043 h 1091248"/>
                <a:gd name="connsiteX2" fmla="*/ 285226 w 410924"/>
                <a:gd name="connsiteY2" fmla="*/ 882585 h 1091248"/>
                <a:gd name="connsiteX3" fmla="*/ 308007 w 410924"/>
                <a:gd name="connsiteY3" fmla="*/ 959777 h 1091248"/>
                <a:gd name="connsiteX4" fmla="*/ 395160 w 410924"/>
                <a:gd name="connsiteY4" fmla="*/ 979383 h 1091248"/>
                <a:gd name="connsiteX5" fmla="*/ 395160 w 410924"/>
                <a:gd name="connsiteY5" fmla="*/ 1091421 h 1091248"/>
                <a:gd name="connsiteX6" fmla="*/ 278558 w 410924"/>
                <a:gd name="connsiteY6" fmla="*/ 1091421 h 1091248"/>
                <a:gd name="connsiteX7" fmla="*/ 129254 w 410924"/>
                <a:gd name="connsiteY7" fmla="*/ 1042049 h 1091248"/>
                <a:gd name="connsiteX8" fmla="*/ 78573 w 410924"/>
                <a:gd name="connsiteY8" fmla="*/ 890761 h 1091248"/>
                <a:gd name="connsiteX9" fmla="*/ 78573 w 410924"/>
                <a:gd name="connsiteY9" fmla="*/ 360932 h 1091248"/>
                <a:gd name="connsiteX10" fmla="*/ 865 w 410924"/>
                <a:gd name="connsiteY10" fmla="*/ 360932 h 1091248"/>
                <a:gd name="connsiteX11" fmla="*/ 865 w 410924"/>
                <a:gd name="connsiteY11" fmla="*/ 255601 h 1091248"/>
                <a:gd name="connsiteX12" fmla="*/ 78573 w 410924"/>
                <a:gd name="connsiteY12" fmla="*/ 255601 h 1091248"/>
                <a:gd name="connsiteX13" fmla="*/ 78573 w 410924"/>
                <a:gd name="connsiteY13" fmla="*/ 172 h 1091248"/>
                <a:gd name="connsiteX14" fmla="*/ 285226 w 410924"/>
                <a:gd name="connsiteY14" fmla="*/ 172 h 1091248"/>
                <a:gd name="connsiteX15" fmla="*/ 285226 w 410924"/>
                <a:gd name="connsiteY15" fmla="*/ 255601 h 1091248"/>
                <a:gd name="connsiteX16" fmla="*/ 411789 w 410924"/>
                <a:gd name="connsiteY16" fmla="*/ 255601 h 1091248"/>
                <a:gd name="connsiteX17" fmla="*/ 411789 w 410924"/>
                <a:gd name="connsiteY17" fmla="*/ 362043 h 1091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10924" h="1091248">
                  <a:moveTo>
                    <a:pt x="411789" y="362043"/>
                  </a:moveTo>
                  <a:lnTo>
                    <a:pt x="285226" y="362043"/>
                  </a:lnTo>
                  <a:lnTo>
                    <a:pt x="285226" y="882585"/>
                  </a:lnTo>
                  <a:cubicBezTo>
                    <a:pt x="285226" y="920804"/>
                    <a:pt x="292846" y="946601"/>
                    <a:pt x="308007" y="959777"/>
                  </a:cubicBezTo>
                  <a:cubicBezTo>
                    <a:pt x="323286" y="972834"/>
                    <a:pt x="352258" y="979383"/>
                    <a:pt x="395160" y="979383"/>
                  </a:cubicBezTo>
                  <a:lnTo>
                    <a:pt x="395160" y="1091421"/>
                  </a:lnTo>
                  <a:lnTo>
                    <a:pt x="278558" y="1091421"/>
                  </a:lnTo>
                  <a:cubicBezTo>
                    <a:pt x="212717" y="1091421"/>
                    <a:pt x="162949" y="1074990"/>
                    <a:pt x="129254" y="1042049"/>
                  </a:cubicBezTo>
                  <a:cubicBezTo>
                    <a:pt x="95480" y="1009188"/>
                    <a:pt x="78573" y="958785"/>
                    <a:pt x="78573" y="890761"/>
                  </a:cubicBezTo>
                  <a:lnTo>
                    <a:pt x="78573" y="360932"/>
                  </a:lnTo>
                  <a:lnTo>
                    <a:pt x="865" y="360932"/>
                  </a:lnTo>
                  <a:lnTo>
                    <a:pt x="865" y="255601"/>
                  </a:lnTo>
                  <a:lnTo>
                    <a:pt x="78573" y="255601"/>
                  </a:lnTo>
                  <a:lnTo>
                    <a:pt x="78573" y="172"/>
                  </a:lnTo>
                  <a:lnTo>
                    <a:pt x="285226" y="172"/>
                  </a:lnTo>
                  <a:lnTo>
                    <a:pt x="285226" y="255601"/>
                  </a:lnTo>
                  <a:lnTo>
                    <a:pt x="411789" y="255601"/>
                  </a:lnTo>
                  <a:lnTo>
                    <a:pt x="411789" y="362043"/>
                  </a:lnTo>
                  <a:close/>
                </a:path>
              </a:pathLst>
            </a:custGeom>
            <a:solidFill>
              <a:srgbClr val="DA2128"/>
            </a:solidFill>
            <a:ln w="39688" cap="flat">
              <a:noFill/>
              <a:prstDash val="solid"/>
              <a:round/>
            </a:ln>
          </p:spPr>
          <p:txBody>
            <a:bodyPr rtlCol="0" anchor="ctr"/>
            <a:lstStyle/>
            <a:p>
              <a:pPr rtl="0"/>
              <a:endParaRPr lang="en-US"/>
            </a:p>
          </p:txBody>
        </p:sp>
        <p:sp>
          <p:nvSpPr>
            <p:cNvPr id="24" name="Freeform: Shape 23">
              <a:extLst>
                <a:ext uri="{FF2B5EF4-FFF2-40B4-BE49-F238E27FC236}">
                  <a16:creationId xmlns:a16="http://schemas.microsoft.com/office/drawing/2014/main" id="{6875FE30-5AE1-2816-DD3C-7133D38B40B6}"/>
                </a:ext>
              </a:extLst>
            </p:cNvPr>
            <p:cNvSpPr/>
            <p:nvPr/>
          </p:nvSpPr>
          <p:spPr>
            <a:xfrm>
              <a:off x="7095830" y="-2797529"/>
              <a:ext cx="1383824" cy="1566070"/>
            </a:xfrm>
            <a:custGeom>
              <a:avLst/>
              <a:gdLst>
                <a:gd name="connsiteX0" fmla="*/ 1311793 w 1383824"/>
                <a:gd name="connsiteY0" fmla="*/ 1354685 h 1566070"/>
                <a:gd name="connsiteX1" fmla="*/ 1287584 w 1383824"/>
                <a:gd name="connsiteY1" fmla="*/ 1566140 h 1566070"/>
                <a:gd name="connsiteX2" fmla="*/ 1384739 w 1383824"/>
                <a:gd name="connsiteY2" fmla="*/ 1148508 h 1566070"/>
                <a:gd name="connsiteX3" fmla="*/ 914 w 1383824"/>
                <a:gd name="connsiteY3" fmla="*/ 70 h 1566070"/>
                <a:gd name="connsiteX4" fmla="*/ 34410 w 1383824"/>
                <a:gd name="connsiteY4" fmla="*/ 211962 h 1566070"/>
                <a:gd name="connsiteX5" fmla="*/ 1311793 w 1383824"/>
                <a:gd name="connsiteY5" fmla="*/ 1354685 h 1566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3824" h="1566070">
                  <a:moveTo>
                    <a:pt x="1311793" y="1354685"/>
                  </a:moveTo>
                  <a:cubicBezTo>
                    <a:pt x="1311793" y="1426876"/>
                    <a:pt x="1303459" y="1497600"/>
                    <a:pt x="1287584" y="1566140"/>
                  </a:cubicBezTo>
                  <a:cubicBezTo>
                    <a:pt x="1350330" y="1436679"/>
                    <a:pt x="1384739" y="1295868"/>
                    <a:pt x="1384739" y="1148508"/>
                  </a:cubicBezTo>
                  <a:cubicBezTo>
                    <a:pt x="1384739" y="525374"/>
                    <a:pt x="768987" y="18167"/>
                    <a:pt x="914" y="70"/>
                  </a:cubicBezTo>
                  <a:cubicBezTo>
                    <a:pt x="18694" y="68452"/>
                    <a:pt x="29807" y="139413"/>
                    <a:pt x="34410" y="211962"/>
                  </a:cubicBezTo>
                  <a:cubicBezTo>
                    <a:pt x="752159" y="271929"/>
                    <a:pt x="1311793" y="760642"/>
                    <a:pt x="1311793" y="1354685"/>
                  </a:cubicBezTo>
                </a:path>
              </a:pathLst>
            </a:custGeom>
            <a:solidFill>
              <a:srgbClr val="231F20"/>
            </a:solidFill>
            <a:ln w="39688" cap="flat">
              <a:noFill/>
              <a:prstDash val="solid"/>
              <a:round/>
            </a:ln>
          </p:spPr>
          <p:txBody>
            <a:bodyPr rtlCol="0" anchor="ctr"/>
            <a:lstStyle/>
            <a:p>
              <a:pPr rtl="0"/>
              <a:endParaRPr lang="en-US"/>
            </a:p>
          </p:txBody>
        </p:sp>
        <p:sp>
          <p:nvSpPr>
            <p:cNvPr id="25" name="Freeform: Shape 24">
              <a:extLst>
                <a:ext uri="{FF2B5EF4-FFF2-40B4-BE49-F238E27FC236}">
                  <a16:creationId xmlns:a16="http://schemas.microsoft.com/office/drawing/2014/main" id="{61842E61-C4E9-805E-A253-46C3B0FC217D}"/>
                </a:ext>
              </a:extLst>
            </p:cNvPr>
            <p:cNvSpPr/>
            <p:nvPr/>
          </p:nvSpPr>
          <p:spPr>
            <a:xfrm>
              <a:off x="5596475" y="-2319807"/>
              <a:ext cx="2625568" cy="1121519"/>
            </a:xfrm>
            <a:custGeom>
              <a:avLst/>
              <a:gdLst>
                <a:gd name="connsiteX0" fmla="*/ 1494808 w 2625568"/>
                <a:gd name="connsiteY0" fmla="*/ 270416 h 1121519"/>
                <a:gd name="connsiteX1" fmla="*/ 2424132 w 2625568"/>
                <a:gd name="connsiteY1" fmla="*/ 1091988 h 1121519"/>
                <a:gd name="connsiteX2" fmla="*/ 2626379 w 2625568"/>
                <a:gd name="connsiteY2" fmla="*/ 1121634 h 1121519"/>
                <a:gd name="connsiteX3" fmla="*/ 1631294 w 2625568"/>
                <a:gd name="connsiteY3" fmla="*/ 100156 h 1121519"/>
                <a:gd name="connsiteX4" fmla="*/ 811 w 2625568"/>
                <a:gd name="connsiteY4" fmla="*/ 517352 h 1121519"/>
                <a:gd name="connsiteX5" fmla="*/ 1494808 w 2625568"/>
                <a:gd name="connsiteY5" fmla="*/ 270416 h 1121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25568" h="1121519">
                  <a:moveTo>
                    <a:pt x="1494808" y="270416"/>
                  </a:moveTo>
                  <a:cubicBezTo>
                    <a:pt x="1938158" y="427102"/>
                    <a:pt x="2271414" y="738848"/>
                    <a:pt x="2424132" y="1091988"/>
                  </a:cubicBezTo>
                  <a:cubicBezTo>
                    <a:pt x="2493347" y="1097147"/>
                    <a:pt x="2561054" y="1106950"/>
                    <a:pt x="2626379" y="1121634"/>
                  </a:cubicBezTo>
                  <a:cubicBezTo>
                    <a:pt x="2527676" y="689437"/>
                    <a:pt x="2156757" y="285934"/>
                    <a:pt x="1631294" y="100156"/>
                  </a:cubicBezTo>
                  <a:cubicBezTo>
                    <a:pt x="972560" y="-132651"/>
                    <a:pt x="291998" y="54873"/>
                    <a:pt x="811" y="517352"/>
                  </a:cubicBezTo>
                  <a:cubicBezTo>
                    <a:pt x="336925" y="182587"/>
                    <a:pt x="924022" y="68684"/>
                    <a:pt x="1494808" y="270416"/>
                  </a:cubicBezTo>
                </a:path>
              </a:pathLst>
            </a:custGeom>
            <a:solidFill>
              <a:srgbClr val="007236"/>
            </a:solidFill>
            <a:ln w="39688" cap="flat">
              <a:noFill/>
              <a:prstDash val="solid"/>
              <a:round/>
            </a:ln>
          </p:spPr>
          <p:txBody>
            <a:bodyPr rtlCol="0" anchor="ctr"/>
            <a:lstStyle/>
            <a:p>
              <a:pPr rtl="0"/>
              <a:endParaRPr lang="en-US"/>
            </a:p>
          </p:txBody>
        </p:sp>
        <p:sp>
          <p:nvSpPr>
            <p:cNvPr id="26" name="Freeform: Shape 25">
              <a:extLst>
                <a:ext uri="{FF2B5EF4-FFF2-40B4-BE49-F238E27FC236}">
                  <a16:creationId xmlns:a16="http://schemas.microsoft.com/office/drawing/2014/main" id="{850E2DC6-EB57-2367-7D43-3FE30967B4E7}"/>
                </a:ext>
              </a:extLst>
            </p:cNvPr>
            <p:cNvSpPr/>
            <p:nvPr/>
          </p:nvSpPr>
          <p:spPr>
            <a:xfrm>
              <a:off x="6313073" y="-2555244"/>
              <a:ext cx="1683029" cy="679481"/>
            </a:xfrm>
            <a:custGeom>
              <a:avLst/>
              <a:gdLst>
                <a:gd name="connsiteX0" fmla="*/ 811 w 1683029"/>
                <a:gd name="connsiteY0" fmla="*/ 160513 h 679481"/>
                <a:gd name="connsiteX1" fmla="*/ 1459089 w 1683029"/>
                <a:gd name="connsiteY1" fmla="*/ 570445 h 679481"/>
                <a:gd name="connsiteX2" fmla="*/ 1561523 w 1683029"/>
                <a:gd name="connsiteY2" fmla="*/ 679546 h 679481"/>
                <a:gd name="connsiteX3" fmla="*/ 1683840 w 1683029"/>
                <a:gd name="connsiteY3" fmla="*/ 504048 h 679481"/>
                <a:gd name="connsiteX4" fmla="*/ 1653916 w 1683029"/>
                <a:gd name="connsiteY4" fmla="*/ 473885 h 679481"/>
                <a:gd name="connsiteX5" fmla="*/ 811 w 1683029"/>
                <a:gd name="connsiteY5" fmla="*/ 160513 h 679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83029" h="679481">
                  <a:moveTo>
                    <a:pt x="811" y="160513"/>
                  </a:moveTo>
                  <a:cubicBezTo>
                    <a:pt x="445271" y="-539"/>
                    <a:pt x="1025424" y="145273"/>
                    <a:pt x="1459089" y="570445"/>
                  </a:cubicBezTo>
                  <a:cubicBezTo>
                    <a:pt x="1495165" y="605727"/>
                    <a:pt x="1529297" y="642200"/>
                    <a:pt x="1561523" y="679546"/>
                  </a:cubicBezTo>
                  <a:cubicBezTo>
                    <a:pt x="1608354" y="624222"/>
                    <a:pt x="1649391" y="565603"/>
                    <a:pt x="1683840" y="504048"/>
                  </a:cubicBezTo>
                  <a:cubicBezTo>
                    <a:pt x="1674037" y="493888"/>
                    <a:pt x="1664115" y="483847"/>
                    <a:pt x="1653916" y="473885"/>
                  </a:cubicBezTo>
                  <a:cubicBezTo>
                    <a:pt x="1153496" y="-16851"/>
                    <a:pt x="457813" y="-135437"/>
                    <a:pt x="811" y="160513"/>
                  </a:cubicBezTo>
                </a:path>
              </a:pathLst>
            </a:custGeom>
            <a:solidFill>
              <a:srgbClr val="DA2128"/>
            </a:solidFill>
            <a:ln w="39688" cap="flat">
              <a:noFill/>
              <a:prstDash val="solid"/>
              <a:round/>
            </a:ln>
          </p:spPr>
          <p:txBody>
            <a:bodyPr rtlCol="0" anchor="ctr"/>
            <a:lstStyle/>
            <a:p>
              <a:pPr rtl="0"/>
              <a:endParaRPr lang="en-US"/>
            </a:p>
          </p:txBody>
        </p:sp>
        <p:pic>
          <p:nvPicPr>
            <p:cNvPr id="27" name="Picture 26">
              <a:extLst>
                <a:ext uri="{FF2B5EF4-FFF2-40B4-BE49-F238E27FC236}">
                  <a16:creationId xmlns:a16="http://schemas.microsoft.com/office/drawing/2014/main" id="{D418F2BC-33FB-046F-2D1B-434005421407}"/>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770028" y="-2460582"/>
              <a:ext cx="2368021" cy="2229311"/>
            </a:xfrm>
            <a:custGeom>
              <a:avLst/>
              <a:gdLst>
                <a:gd name="connsiteX0" fmla="*/ 0 w 2368021"/>
                <a:gd name="connsiteY0" fmla="*/ 37 h 2229311"/>
                <a:gd name="connsiteX1" fmla="*/ 2368021 w 2368021"/>
                <a:gd name="connsiteY1" fmla="*/ 37 h 2229311"/>
                <a:gd name="connsiteX2" fmla="*/ 2368021 w 2368021"/>
                <a:gd name="connsiteY2" fmla="*/ 2229348 h 2229311"/>
                <a:gd name="connsiteX3" fmla="*/ 0 w 2368021"/>
                <a:gd name="connsiteY3" fmla="*/ 2229348 h 2229311"/>
              </a:gdLst>
              <a:ahLst/>
              <a:cxnLst>
                <a:cxn ang="0">
                  <a:pos x="connsiteX0" y="connsiteY0"/>
                </a:cxn>
                <a:cxn ang="0">
                  <a:pos x="connsiteX1" y="connsiteY1"/>
                </a:cxn>
                <a:cxn ang="0">
                  <a:pos x="connsiteX2" y="connsiteY2"/>
                </a:cxn>
                <a:cxn ang="0">
                  <a:pos x="connsiteX3" y="connsiteY3"/>
                </a:cxn>
              </a:cxnLst>
              <a:rect l="l" t="t" r="r" b="b"/>
              <a:pathLst>
                <a:path w="2368021" h="2229311">
                  <a:moveTo>
                    <a:pt x="0" y="37"/>
                  </a:moveTo>
                  <a:lnTo>
                    <a:pt x="2368021" y="37"/>
                  </a:lnTo>
                  <a:lnTo>
                    <a:pt x="2368021" y="2229348"/>
                  </a:lnTo>
                  <a:lnTo>
                    <a:pt x="0" y="2229348"/>
                  </a:lnTo>
                  <a:close/>
                </a:path>
              </a:pathLst>
            </a:custGeom>
          </p:spPr>
        </p:pic>
        <p:grpSp>
          <p:nvGrpSpPr>
            <p:cNvPr id="28" name="Group 27">
              <a:extLst>
                <a:ext uri="{FF2B5EF4-FFF2-40B4-BE49-F238E27FC236}">
                  <a16:creationId xmlns:a16="http://schemas.microsoft.com/office/drawing/2014/main" id="{838C2708-E53C-3B61-9EE7-4B411754D2F6}"/>
                </a:ext>
              </a:extLst>
            </p:cNvPr>
            <p:cNvGrpSpPr/>
            <p:nvPr/>
          </p:nvGrpSpPr>
          <p:grpSpPr>
            <a:xfrm>
              <a:off x="1960283" y="-2545858"/>
              <a:ext cx="88879" cy="2339756"/>
              <a:chOff x="19825373" y="2859152"/>
              <a:chExt cx="88879" cy="2339756"/>
            </a:xfrm>
          </p:grpSpPr>
          <p:sp>
            <p:nvSpPr>
              <p:cNvPr id="55" name="Rectangle 54">
                <a:extLst>
                  <a:ext uri="{FF2B5EF4-FFF2-40B4-BE49-F238E27FC236}">
                    <a16:creationId xmlns:a16="http://schemas.microsoft.com/office/drawing/2014/main" id="{811CF0C6-1B5D-4C2F-E419-F3CBFA4837E3}"/>
                  </a:ext>
                </a:extLst>
              </p:cNvPr>
              <p:cNvSpPr/>
              <p:nvPr/>
            </p:nvSpPr>
            <p:spPr>
              <a:xfrm>
                <a:off x="19827693" y="2859152"/>
                <a:ext cx="86559" cy="737328"/>
              </a:xfrm>
              <a:prstGeom prst="rect">
                <a:avLst/>
              </a:prstGeom>
              <a:solidFill>
                <a:srgbClr val="00000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US" sz="1600">
                  <a:solidFill>
                    <a:schemeClr val="bg1"/>
                  </a:solidFill>
                </a:endParaRPr>
              </a:p>
            </p:txBody>
          </p:sp>
          <p:sp>
            <p:nvSpPr>
              <p:cNvPr id="56" name="Rectangle 55">
                <a:extLst>
                  <a:ext uri="{FF2B5EF4-FFF2-40B4-BE49-F238E27FC236}">
                    <a16:creationId xmlns:a16="http://schemas.microsoft.com/office/drawing/2014/main" id="{FC31ADB6-D170-D108-9EA3-DEB7D3412288}"/>
                  </a:ext>
                </a:extLst>
              </p:cNvPr>
              <p:cNvSpPr/>
              <p:nvPr/>
            </p:nvSpPr>
            <p:spPr>
              <a:xfrm>
                <a:off x="19825373" y="3671369"/>
                <a:ext cx="86559" cy="737328"/>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US" sz="1600">
                  <a:solidFill>
                    <a:schemeClr val="bg1"/>
                  </a:solidFill>
                </a:endParaRPr>
              </a:p>
            </p:txBody>
          </p:sp>
          <p:sp>
            <p:nvSpPr>
              <p:cNvPr id="57" name="Rectangle 56">
                <a:extLst>
                  <a:ext uri="{FF2B5EF4-FFF2-40B4-BE49-F238E27FC236}">
                    <a16:creationId xmlns:a16="http://schemas.microsoft.com/office/drawing/2014/main" id="{6873B7CF-61FD-DAFA-63DE-2599414A7533}"/>
                  </a:ext>
                </a:extLst>
              </p:cNvPr>
              <p:cNvSpPr/>
              <p:nvPr/>
            </p:nvSpPr>
            <p:spPr>
              <a:xfrm>
                <a:off x="19825373" y="4461580"/>
                <a:ext cx="86559" cy="737328"/>
              </a:xfrm>
              <a:prstGeom prst="rect">
                <a:avLst/>
              </a:prstGeom>
              <a:solidFill>
                <a:srgbClr val="00723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US" sz="1600">
                  <a:solidFill>
                    <a:schemeClr val="bg1"/>
                  </a:solidFill>
                </a:endParaRPr>
              </a:p>
            </p:txBody>
          </p:sp>
        </p:grpSp>
        <p:sp>
          <p:nvSpPr>
            <p:cNvPr id="29" name="TextBox 28">
              <a:extLst>
                <a:ext uri="{FF2B5EF4-FFF2-40B4-BE49-F238E27FC236}">
                  <a16:creationId xmlns:a16="http://schemas.microsoft.com/office/drawing/2014/main" id="{E43F6D5E-4248-25BE-0DD7-C223AAE21700}"/>
                </a:ext>
              </a:extLst>
            </p:cNvPr>
            <p:cNvSpPr txBox="1"/>
            <p:nvPr/>
          </p:nvSpPr>
          <p:spPr>
            <a:xfrm>
              <a:off x="7405086" y="-517694"/>
              <a:ext cx="241260" cy="261049"/>
            </a:xfrm>
            <a:custGeom>
              <a:avLst/>
              <a:gdLst/>
              <a:ahLst/>
              <a:cxnLst/>
              <a:rect l="l" t="t" r="r" b="b"/>
              <a:pathLst>
                <a:path w="241260" h="261049">
                  <a:moveTo>
                    <a:pt x="120802" y="0"/>
                  </a:moveTo>
                  <a:cubicBezTo>
                    <a:pt x="144091" y="0"/>
                    <a:pt x="165085" y="5564"/>
                    <a:pt x="183785" y="16692"/>
                  </a:cubicBezTo>
                  <a:cubicBezTo>
                    <a:pt x="202484" y="27820"/>
                    <a:pt x="216738" y="43336"/>
                    <a:pt x="226547" y="63240"/>
                  </a:cubicBezTo>
                  <a:cubicBezTo>
                    <a:pt x="236356" y="83144"/>
                    <a:pt x="241260" y="105716"/>
                    <a:pt x="241260" y="130955"/>
                  </a:cubicBezTo>
                  <a:cubicBezTo>
                    <a:pt x="241260" y="156538"/>
                    <a:pt x="236098" y="179425"/>
                    <a:pt x="225773" y="199616"/>
                  </a:cubicBezTo>
                  <a:cubicBezTo>
                    <a:pt x="215448" y="219807"/>
                    <a:pt x="200821" y="235093"/>
                    <a:pt x="181892" y="245476"/>
                  </a:cubicBezTo>
                  <a:cubicBezTo>
                    <a:pt x="162963" y="255858"/>
                    <a:pt x="142542" y="261049"/>
                    <a:pt x="120630" y="261049"/>
                  </a:cubicBezTo>
                  <a:cubicBezTo>
                    <a:pt x="96883" y="261049"/>
                    <a:pt x="75659" y="255313"/>
                    <a:pt x="56960" y="243841"/>
                  </a:cubicBezTo>
                  <a:cubicBezTo>
                    <a:pt x="38260" y="232369"/>
                    <a:pt x="24092" y="216709"/>
                    <a:pt x="14455" y="196862"/>
                  </a:cubicBezTo>
                  <a:cubicBezTo>
                    <a:pt x="4819" y="177015"/>
                    <a:pt x="0" y="156021"/>
                    <a:pt x="0" y="133880"/>
                  </a:cubicBezTo>
                  <a:cubicBezTo>
                    <a:pt x="0" y="92007"/>
                    <a:pt x="11243" y="59225"/>
                    <a:pt x="33729" y="35535"/>
                  </a:cubicBezTo>
                  <a:cubicBezTo>
                    <a:pt x="56214" y="11845"/>
                    <a:pt x="85239" y="0"/>
                    <a:pt x="120802" y="0"/>
                  </a:cubicBezTo>
                  <a:close/>
                  <a:moveTo>
                    <a:pt x="120974" y="28738"/>
                  </a:moveTo>
                  <a:cubicBezTo>
                    <a:pt x="97342" y="28738"/>
                    <a:pt x="77007" y="36854"/>
                    <a:pt x="59971" y="53087"/>
                  </a:cubicBezTo>
                  <a:cubicBezTo>
                    <a:pt x="42935" y="69320"/>
                    <a:pt x="34417" y="96423"/>
                    <a:pt x="34417" y="134396"/>
                  </a:cubicBezTo>
                  <a:cubicBezTo>
                    <a:pt x="34417" y="164798"/>
                    <a:pt x="42591" y="188746"/>
                    <a:pt x="58939" y="206241"/>
                  </a:cubicBezTo>
                  <a:cubicBezTo>
                    <a:pt x="75287" y="223736"/>
                    <a:pt x="95793" y="232483"/>
                    <a:pt x="120458" y="232483"/>
                  </a:cubicBezTo>
                  <a:cubicBezTo>
                    <a:pt x="145582" y="232483"/>
                    <a:pt x="166261" y="223650"/>
                    <a:pt x="182494" y="205983"/>
                  </a:cubicBezTo>
                  <a:cubicBezTo>
                    <a:pt x="198727" y="188316"/>
                    <a:pt x="206844" y="163249"/>
                    <a:pt x="206844" y="130783"/>
                  </a:cubicBezTo>
                  <a:cubicBezTo>
                    <a:pt x="206844" y="110247"/>
                    <a:pt x="203373" y="92322"/>
                    <a:pt x="196433" y="77007"/>
                  </a:cubicBezTo>
                  <a:cubicBezTo>
                    <a:pt x="189492" y="61691"/>
                    <a:pt x="179339" y="49818"/>
                    <a:pt x="165974" y="41386"/>
                  </a:cubicBezTo>
                  <a:cubicBezTo>
                    <a:pt x="152609" y="32954"/>
                    <a:pt x="137609" y="28738"/>
                    <a:pt x="120974" y="28738"/>
                  </a:cubicBez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30" name="TextBox 29">
              <a:extLst>
                <a:ext uri="{FF2B5EF4-FFF2-40B4-BE49-F238E27FC236}">
                  <a16:creationId xmlns:a16="http://schemas.microsoft.com/office/drawing/2014/main" id="{DB453F02-D9B6-BE35-AA46-A3AD31AE6234}"/>
                </a:ext>
              </a:extLst>
            </p:cNvPr>
            <p:cNvSpPr txBox="1"/>
            <p:nvPr/>
          </p:nvSpPr>
          <p:spPr>
            <a:xfrm>
              <a:off x="4723902" y="-517522"/>
              <a:ext cx="200820" cy="260877"/>
            </a:xfrm>
            <a:custGeom>
              <a:avLst/>
              <a:gdLst/>
              <a:ahLst/>
              <a:cxnLst/>
              <a:rect l="l" t="t" r="r" b="b"/>
              <a:pathLst>
                <a:path w="200820" h="260877">
                  <a:moveTo>
                    <a:pt x="98431" y="0"/>
                  </a:moveTo>
                  <a:cubicBezTo>
                    <a:pt x="117131" y="0"/>
                    <a:pt x="133622" y="3011"/>
                    <a:pt x="147905" y="9034"/>
                  </a:cubicBezTo>
                  <a:cubicBezTo>
                    <a:pt x="162188" y="15057"/>
                    <a:pt x="173172" y="23919"/>
                    <a:pt x="180859" y="35621"/>
                  </a:cubicBezTo>
                  <a:cubicBezTo>
                    <a:pt x="188545" y="47323"/>
                    <a:pt x="192675" y="60573"/>
                    <a:pt x="193249" y="75372"/>
                  </a:cubicBezTo>
                  <a:lnTo>
                    <a:pt x="161241" y="77781"/>
                  </a:lnTo>
                  <a:cubicBezTo>
                    <a:pt x="159520" y="61835"/>
                    <a:pt x="153698" y="49789"/>
                    <a:pt x="143775" y="41644"/>
                  </a:cubicBezTo>
                  <a:cubicBezTo>
                    <a:pt x="133851" y="33499"/>
                    <a:pt x="119196" y="29426"/>
                    <a:pt x="99808" y="29426"/>
                  </a:cubicBezTo>
                  <a:cubicBezTo>
                    <a:pt x="79617" y="29426"/>
                    <a:pt x="64904" y="33126"/>
                    <a:pt x="55669" y="40525"/>
                  </a:cubicBezTo>
                  <a:cubicBezTo>
                    <a:pt x="46433" y="47925"/>
                    <a:pt x="41816" y="56845"/>
                    <a:pt x="41816" y="67284"/>
                  </a:cubicBezTo>
                  <a:cubicBezTo>
                    <a:pt x="41816" y="76347"/>
                    <a:pt x="45085" y="83804"/>
                    <a:pt x="51625" y="89655"/>
                  </a:cubicBezTo>
                  <a:cubicBezTo>
                    <a:pt x="58049" y="95506"/>
                    <a:pt x="74827" y="101500"/>
                    <a:pt x="101959" y="107638"/>
                  </a:cubicBezTo>
                  <a:cubicBezTo>
                    <a:pt x="129090" y="113775"/>
                    <a:pt x="147704" y="119138"/>
                    <a:pt x="157800" y="123727"/>
                  </a:cubicBezTo>
                  <a:cubicBezTo>
                    <a:pt x="172484" y="130496"/>
                    <a:pt x="183325" y="139071"/>
                    <a:pt x="190323" y="149454"/>
                  </a:cubicBezTo>
                  <a:cubicBezTo>
                    <a:pt x="197321" y="159836"/>
                    <a:pt x="200820" y="171796"/>
                    <a:pt x="200820" y="185333"/>
                  </a:cubicBezTo>
                  <a:cubicBezTo>
                    <a:pt x="200820" y="198755"/>
                    <a:pt x="196977" y="211403"/>
                    <a:pt x="189291" y="223277"/>
                  </a:cubicBezTo>
                  <a:cubicBezTo>
                    <a:pt x="181604" y="235151"/>
                    <a:pt x="170562" y="244386"/>
                    <a:pt x="156165" y="250982"/>
                  </a:cubicBezTo>
                  <a:cubicBezTo>
                    <a:pt x="141767" y="257579"/>
                    <a:pt x="125563" y="260877"/>
                    <a:pt x="107551" y="260877"/>
                  </a:cubicBezTo>
                  <a:cubicBezTo>
                    <a:pt x="84722" y="260877"/>
                    <a:pt x="65592" y="257550"/>
                    <a:pt x="50162" y="250896"/>
                  </a:cubicBezTo>
                  <a:cubicBezTo>
                    <a:pt x="34732" y="244242"/>
                    <a:pt x="22629" y="234233"/>
                    <a:pt x="13852" y="220868"/>
                  </a:cubicBezTo>
                  <a:cubicBezTo>
                    <a:pt x="5076" y="207503"/>
                    <a:pt x="459" y="192388"/>
                    <a:pt x="0" y="175524"/>
                  </a:cubicBezTo>
                  <a:lnTo>
                    <a:pt x="31491" y="172771"/>
                  </a:lnTo>
                  <a:cubicBezTo>
                    <a:pt x="32982" y="185390"/>
                    <a:pt x="36453" y="195744"/>
                    <a:pt x="41902" y="203832"/>
                  </a:cubicBezTo>
                  <a:cubicBezTo>
                    <a:pt x="47351" y="211920"/>
                    <a:pt x="55812" y="218459"/>
                    <a:pt x="67284" y="223449"/>
                  </a:cubicBezTo>
                  <a:cubicBezTo>
                    <a:pt x="78756" y="228439"/>
                    <a:pt x="91662" y="230935"/>
                    <a:pt x="106003" y="230935"/>
                  </a:cubicBezTo>
                  <a:cubicBezTo>
                    <a:pt x="118737" y="230935"/>
                    <a:pt x="129979" y="229042"/>
                    <a:pt x="139731" y="225256"/>
                  </a:cubicBezTo>
                  <a:cubicBezTo>
                    <a:pt x="149482" y="221470"/>
                    <a:pt x="156738" y="216279"/>
                    <a:pt x="161499" y="209682"/>
                  </a:cubicBezTo>
                  <a:cubicBezTo>
                    <a:pt x="166260" y="203086"/>
                    <a:pt x="168641" y="195887"/>
                    <a:pt x="168641" y="188086"/>
                  </a:cubicBezTo>
                  <a:cubicBezTo>
                    <a:pt x="168641" y="180170"/>
                    <a:pt x="166346" y="173258"/>
                    <a:pt x="161757" y="167350"/>
                  </a:cubicBezTo>
                  <a:cubicBezTo>
                    <a:pt x="157169" y="161442"/>
                    <a:pt x="149597" y="156480"/>
                    <a:pt x="139043" y="152465"/>
                  </a:cubicBezTo>
                  <a:cubicBezTo>
                    <a:pt x="132274" y="149826"/>
                    <a:pt x="117303" y="145725"/>
                    <a:pt x="94129" y="140161"/>
                  </a:cubicBezTo>
                  <a:cubicBezTo>
                    <a:pt x="70955" y="134597"/>
                    <a:pt x="54722" y="129349"/>
                    <a:pt x="45430" y="124416"/>
                  </a:cubicBezTo>
                  <a:cubicBezTo>
                    <a:pt x="33384" y="118106"/>
                    <a:pt x="24407" y="110276"/>
                    <a:pt x="18499" y="100926"/>
                  </a:cubicBezTo>
                  <a:cubicBezTo>
                    <a:pt x="12591" y="91577"/>
                    <a:pt x="9636" y="81108"/>
                    <a:pt x="9636" y="69521"/>
                  </a:cubicBezTo>
                  <a:cubicBezTo>
                    <a:pt x="9636" y="56787"/>
                    <a:pt x="13250" y="44885"/>
                    <a:pt x="20478" y="33814"/>
                  </a:cubicBezTo>
                  <a:cubicBezTo>
                    <a:pt x="27705" y="22744"/>
                    <a:pt x="38260" y="14340"/>
                    <a:pt x="52141" y="8604"/>
                  </a:cubicBezTo>
                  <a:cubicBezTo>
                    <a:pt x="66022" y="2868"/>
                    <a:pt x="81452" y="0"/>
                    <a:pt x="98431" y="0"/>
                  </a:cubicBez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31" name="TextBox 30">
              <a:extLst>
                <a:ext uri="{FF2B5EF4-FFF2-40B4-BE49-F238E27FC236}">
                  <a16:creationId xmlns:a16="http://schemas.microsoft.com/office/drawing/2014/main" id="{D4ACDB42-96B0-3B31-6DD3-A386CAD75DA9}"/>
                </a:ext>
              </a:extLst>
            </p:cNvPr>
            <p:cNvSpPr txBox="1"/>
            <p:nvPr/>
          </p:nvSpPr>
          <p:spPr>
            <a:xfrm>
              <a:off x="2451810" y="-513220"/>
              <a:ext cx="208564" cy="252273"/>
            </a:xfrm>
            <a:custGeom>
              <a:avLst/>
              <a:gdLst/>
              <a:ahLst/>
              <a:cxnLst/>
              <a:rect l="l" t="t" r="r" b="b"/>
              <a:pathLst>
                <a:path w="208564" h="252273">
                  <a:moveTo>
                    <a:pt x="0" y="0"/>
                  </a:moveTo>
                  <a:lnTo>
                    <a:pt x="33384" y="0"/>
                  </a:lnTo>
                  <a:lnTo>
                    <a:pt x="33384" y="125104"/>
                  </a:lnTo>
                  <a:lnTo>
                    <a:pt x="158660" y="0"/>
                  </a:lnTo>
                  <a:lnTo>
                    <a:pt x="203917" y="0"/>
                  </a:lnTo>
                  <a:lnTo>
                    <a:pt x="98087" y="102217"/>
                  </a:lnTo>
                  <a:lnTo>
                    <a:pt x="208564" y="252273"/>
                  </a:lnTo>
                  <a:lnTo>
                    <a:pt x="164510" y="252273"/>
                  </a:lnTo>
                  <a:lnTo>
                    <a:pt x="74683" y="124588"/>
                  </a:lnTo>
                  <a:lnTo>
                    <a:pt x="33384" y="164855"/>
                  </a:lnTo>
                  <a:lnTo>
                    <a:pt x="33384" y="252273"/>
                  </a:lnTo>
                  <a:lnTo>
                    <a:pt x="0" y="252273"/>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32" name="TextBox 31">
              <a:extLst>
                <a:ext uri="{FF2B5EF4-FFF2-40B4-BE49-F238E27FC236}">
                  <a16:creationId xmlns:a16="http://schemas.microsoft.com/office/drawing/2014/main" id="{CA1D2F7F-32FD-DA9C-5615-0551B612E043}"/>
                </a:ext>
              </a:extLst>
            </p:cNvPr>
            <p:cNvSpPr txBox="1"/>
            <p:nvPr/>
          </p:nvSpPr>
          <p:spPr>
            <a:xfrm>
              <a:off x="2708351" y="-513220"/>
              <a:ext cx="188259" cy="252273"/>
            </a:xfrm>
            <a:custGeom>
              <a:avLst/>
              <a:gdLst/>
              <a:ahLst/>
              <a:cxnLst/>
              <a:rect l="l" t="t" r="r" b="b"/>
              <a:pathLst>
                <a:path w="188259" h="252273">
                  <a:moveTo>
                    <a:pt x="0" y="0"/>
                  </a:moveTo>
                  <a:lnTo>
                    <a:pt x="182408" y="0"/>
                  </a:lnTo>
                  <a:lnTo>
                    <a:pt x="182408" y="29770"/>
                  </a:lnTo>
                  <a:lnTo>
                    <a:pt x="33385" y="29770"/>
                  </a:lnTo>
                  <a:lnTo>
                    <a:pt x="33385" y="107035"/>
                  </a:lnTo>
                  <a:lnTo>
                    <a:pt x="172943" y="107035"/>
                  </a:lnTo>
                  <a:lnTo>
                    <a:pt x="172943" y="136634"/>
                  </a:lnTo>
                  <a:lnTo>
                    <a:pt x="33385" y="136634"/>
                  </a:lnTo>
                  <a:lnTo>
                    <a:pt x="33385" y="222503"/>
                  </a:lnTo>
                  <a:lnTo>
                    <a:pt x="188259" y="222503"/>
                  </a:lnTo>
                  <a:lnTo>
                    <a:pt x="188259" y="252273"/>
                  </a:lnTo>
                  <a:lnTo>
                    <a:pt x="0" y="252273"/>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33" name="TextBox 32">
              <a:extLst>
                <a:ext uri="{FF2B5EF4-FFF2-40B4-BE49-F238E27FC236}">
                  <a16:creationId xmlns:a16="http://schemas.microsoft.com/office/drawing/2014/main" id="{732976E9-9017-B079-7362-C63C0307F31C}"/>
                </a:ext>
              </a:extLst>
            </p:cNvPr>
            <p:cNvSpPr txBox="1"/>
            <p:nvPr/>
          </p:nvSpPr>
          <p:spPr>
            <a:xfrm>
              <a:off x="2961835" y="-513220"/>
              <a:ext cx="198755" cy="252273"/>
            </a:xfrm>
            <a:custGeom>
              <a:avLst/>
              <a:gdLst/>
              <a:ahLst/>
              <a:cxnLst/>
              <a:rect l="l" t="t" r="r" b="b"/>
              <a:pathLst>
                <a:path w="198755" h="252273">
                  <a:moveTo>
                    <a:pt x="0" y="0"/>
                  </a:moveTo>
                  <a:lnTo>
                    <a:pt x="34244" y="0"/>
                  </a:lnTo>
                  <a:lnTo>
                    <a:pt x="166748" y="198067"/>
                  </a:lnTo>
                  <a:lnTo>
                    <a:pt x="166748" y="0"/>
                  </a:lnTo>
                  <a:lnTo>
                    <a:pt x="198755" y="0"/>
                  </a:lnTo>
                  <a:lnTo>
                    <a:pt x="198755" y="252273"/>
                  </a:lnTo>
                  <a:lnTo>
                    <a:pt x="164511" y="252273"/>
                  </a:lnTo>
                  <a:lnTo>
                    <a:pt x="32007" y="54034"/>
                  </a:lnTo>
                  <a:lnTo>
                    <a:pt x="32007" y="252273"/>
                  </a:lnTo>
                  <a:lnTo>
                    <a:pt x="0" y="252273"/>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34" name="TextBox 33">
              <a:extLst>
                <a:ext uri="{FF2B5EF4-FFF2-40B4-BE49-F238E27FC236}">
                  <a16:creationId xmlns:a16="http://schemas.microsoft.com/office/drawing/2014/main" id="{E2A7A608-565E-CC62-B4D1-2BD06DB833BD}"/>
                </a:ext>
              </a:extLst>
            </p:cNvPr>
            <p:cNvSpPr txBox="1"/>
            <p:nvPr/>
          </p:nvSpPr>
          <p:spPr>
            <a:xfrm>
              <a:off x="3210225" y="-513220"/>
              <a:ext cx="231279" cy="252273"/>
            </a:xfrm>
            <a:custGeom>
              <a:avLst/>
              <a:gdLst/>
              <a:ahLst/>
              <a:cxnLst/>
              <a:rect l="l" t="t" r="r" b="b"/>
              <a:pathLst>
                <a:path w="231279" h="252273">
                  <a:moveTo>
                    <a:pt x="0" y="0"/>
                  </a:moveTo>
                  <a:lnTo>
                    <a:pt x="40611" y="0"/>
                  </a:lnTo>
                  <a:lnTo>
                    <a:pt x="90343" y="76060"/>
                  </a:lnTo>
                  <a:cubicBezTo>
                    <a:pt x="99521" y="90286"/>
                    <a:pt x="108067" y="104511"/>
                    <a:pt x="115983" y="118737"/>
                  </a:cubicBezTo>
                  <a:cubicBezTo>
                    <a:pt x="123555" y="105544"/>
                    <a:pt x="132733" y="90687"/>
                    <a:pt x="143516" y="74168"/>
                  </a:cubicBezTo>
                  <a:lnTo>
                    <a:pt x="192388" y="0"/>
                  </a:lnTo>
                  <a:lnTo>
                    <a:pt x="231279" y="0"/>
                  </a:lnTo>
                  <a:lnTo>
                    <a:pt x="130610" y="145410"/>
                  </a:lnTo>
                  <a:lnTo>
                    <a:pt x="130610" y="252273"/>
                  </a:lnTo>
                  <a:lnTo>
                    <a:pt x="97226" y="252273"/>
                  </a:lnTo>
                  <a:lnTo>
                    <a:pt x="97226" y="145410"/>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35" name="TextBox 34">
              <a:extLst>
                <a:ext uri="{FF2B5EF4-FFF2-40B4-BE49-F238E27FC236}">
                  <a16:creationId xmlns:a16="http://schemas.microsoft.com/office/drawing/2014/main" id="{276324E5-D69B-1C5C-1FE0-AC2057F5AF89}"/>
                </a:ext>
              </a:extLst>
            </p:cNvPr>
            <p:cNvSpPr txBox="1"/>
            <p:nvPr/>
          </p:nvSpPr>
          <p:spPr>
            <a:xfrm>
              <a:off x="3436679" y="-513220"/>
              <a:ext cx="235268" cy="252273"/>
            </a:xfrm>
            <a:custGeom>
              <a:avLst/>
              <a:gdLst/>
              <a:ahLst/>
              <a:cxnLst/>
              <a:rect l="l" t="t" r="r" b="b"/>
              <a:pathLst>
                <a:path w="235268" h="252273">
                  <a:moveTo>
                    <a:pt x="96882" y="0"/>
                  </a:moveTo>
                  <a:lnTo>
                    <a:pt x="132848" y="0"/>
                  </a:lnTo>
                  <a:lnTo>
                    <a:pt x="235268" y="250247"/>
                  </a:lnTo>
                  <a:lnTo>
                    <a:pt x="235268" y="252273"/>
                  </a:lnTo>
                  <a:lnTo>
                    <a:pt x="198067" y="252273"/>
                  </a:lnTo>
                  <a:lnTo>
                    <a:pt x="168641" y="175868"/>
                  </a:lnTo>
                  <a:lnTo>
                    <a:pt x="63154" y="175868"/>
                  </a:lnTo>
                  <a:lnTo>
                    <a:pt x="35449" y="252273"/>
                  </a:lnTo>
                  <a:lnTo>
                    <a:pt x="0" y="252273"/>
                  </a:lnTo>
                  <a:lnTo>
                    <a:pt x="96882" y="0"/>
                  </a:lnTo>
                  <a:close/>
                  <a:moveTo>
                    <a:pt x="114091" y="26501"/>
                  </a:moveTo>
                  <a:cubicBezTo>
                    <a:pt x="110878" y="42676"/>
                    <a:pt x="106347" y="58738"/>
                    <a:pt x="100496" y="74684"/>
                  </a:cubicBezTo>
                  <a:lnTo>
                    <a:pt x="72791" y="148679"/>
                  </a:lnTo>
                  <a:lnTo>
                    <a:pt x="158316" y="148679"/>
                  </a:lnTo>
                  <a:lnTo>
                    <a:pt x="131987" y="78814"/>
                  </a:lnTo>
                  <a:cubicBezTo>
                    <a:pt x="123957" y="57590"/>
                    <a:pt x="117991" y="40153"/>
                    <a:pt x="114091" y="26501"/>
                  </a:cubicBez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36" name="TextBox 35">
              <a:extLst>
                <a:ext uri="{FF2B5EF4-FFF2-40B4-BE49-F238E27FC236}">
                  <a16:creationId xmlns:a16="http://schemas.microsoft.com/office/drawing/2014/main" id="{394A6240-EAE7-74D7-6CB0-2FE70DAC8B1A}"/>
                </a:ext>
              </a:extLst>
            </p:cNvPr>
            <p:cNvSpPr txBox="1"/>
            <p:nvPr/>
          </p:nvSpPr>
          <p:spPr>
            <a:xfrm>
              <a:off x="3842253" y="-513220"/>
              <a:ext cx="33384" cy="252273"/>
            </a:xfrm>
            <a:custGeom>
              <a:avLst/>
              <a:gdLst/>
              <a:ahLst/>
              <a:cxnLst/>
              <a:rect l="l" t="t" r="r" b="b"/>
              <a:pathLst>
                <a:path w="33384" h="252273">
                  <a:moveTo>
                    <a:pt x="0" y="0"/>
                  </a:moveTo>
                  <a:lnTo>
                    <a:pt x="33384" y="0"/>
                  </a:lnTo>
                  <a:lnTo>
                    <a:pt x="33384" y="252273"/>
                  </a:lnTo>
                  <a:lnTo>
                    <a:pt x="0" y="252273"/>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37" name="TextBox 36">
              <a:extLst>
                <a:ext uri="{FF2B5EF4-FFF2-40B4-BE49-F238E27FC236}">
                  <a16:creationId xmlns:a16="http://schemas.microsoft.com/office/drawing/2014/main" id="{B5FC2624-A729-FB57-F42A-CBD3373A19B6}"/>
                </a:ext>
              </a:extLst>
            </p:cNvPr>
            <p:cNvSpPr txBox="1"/>
            <p:nvPr/>
          </p:nvSpPr>
          <p:spPr>
            <a:xfrm>
              <a:off x="3951722" y="-513220"/>
              <a:ext cx="198755" cy="252273"/>
            </a:xfrm>
            <a:custGeom>
              <a:avLst/>
              <a:gdLst/>
              <a:ahLst/>
              <a:cxnLst/>
              <a:rect l="l" t="t" r="r" b="b"/>
              <a:pathLst>
                <a:path w="198755" h="252273">
                  <a:moveTo>
                    <a:pt x="0" y="0"/>
                  </a:moveTo>
                  <a:lnTo>
                    <a:pt x="34244" y="0"/>
                  </a:lnTo>
                  <a:lnTo>
                    <a:pt x="166748" y="198067"/>
                  </a:lnTo>
                  <a:lnTo>
                    <a:pt x="166748" y="0"/>
                  </a:lnTo>
                  <a:lnTo>
                    <a:pt x="198755" y="0"/>
                  </a:lnTo>
                  <a:lnTo>
                    <a:pt x="198755" y="252273"/>
                  </a:lnTo>
                  <a:lnTo>
                    <a:pt x="164511" y="252273"/>
                  </a:lnTo>
                  <a:lnTo>
                    <a:pt x="32007" y="54034"/>
                  </a:lnTo>
                  <a:lnTo>
                    <a:pt x="32007" y="252273"/>
                  </a:lnTo>
                  <a:lnTo>
                    <a:pt x="0" y="252273"/>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38" name="TextBox 37">
              <a:extLst>
                <a:ext uri="{FF2B5EF4-FFF2-40B4-BE49-F238E27FC236}">
                  <a16:creationId xmlns:a16="http://schemas.microsoft.com/office/drawing/2014/main" id="{25937985-55DA-96E2-0074-091708E72CF8}"/>
                </a:ext>
              </a:extLst>
            </p:cNvPr>
            <p:cNvSpPr txBox="1"/>
            <p:nvPr/>
          </p:nvSpPr>
          <p:spPr>
            <a:xfrm>
              <a:off x="4200627" y="-513220"/>
              <a:ext cx="230763" cy="252273"/>
            </a:xfrm>
            <a:custGeom>
              <a:avLst/>
              <a:gdLst/>
              <a:ahLst/>
              <a:cxnLst/>
              <a:rect l="l" t="t" r="r" b="b"/>
              <a:pathLst>
                <a:path w="230763" h="252273">
                  <a:moveTo>
                    <a:pt x="0" y="0"/>
                  </a:moveTo>
                  <a:lnTo>
                    <a:pt x="36137" y="0"/>
                  </a:lnTo>
                  <a:lnTo>
                    <a:pt x="101701" y="183268"/>
                  </a:lnTo>
                  <a:cubicBezTo>
                    <a:pt x="106978" y="197952"/>
                    <a:pt x="111395" y="211719"/>
                    <a:pt x="114951" y="224568"/>
                  </a:cubicBezTo>
                  <a:cubicBezTo>
                    <a:pt x="118852" y="210801"/>
                    <a:pt x="123383" y="197034"/>
                    <a:pt x="128546" y="183268"/>
                  </a:cubicBezTo>
                  <a:lnTo>
                    <a:pt x="196690" y="0"/>
                  </a:lnTo>
                  <a:lnTo>
                    <a:pt x="230763" y="0"/>
                  </a:lnTo>
                  <a:lnTo>
                    <a:pt x="131987" y="252273"/>
                  </a:lnTo>
                  <a:lnTo>
                    <a:pt x="97743" y="252273"/>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39" name="TextBox 38">
              <a:extLst>
                <a:ext uri="{FF2B5EF4-FFF2-40B4-BE49-F238E27FC236}">
                  <a16:creationId xmlns:a16="http://schemas.microsoft.com/office/drawing/2014/main" id="{2CF3C0A8-9560-26F3-575F-7993B9A05516}"/>
                </a:ext>
              </a:extLst>
            </p:cNvPr>
            <p:cNvSpPr txBox="1"/>
            <p:nvPr/>
          </p:nvSpPr>
          <p:spPr>
            <a:xfrm>
              <a:off x="4481471" y="-513220"/>
              <a:ext cx="188258" cy="252273"/>
            </a:xfrm>
            <a:custGeom>
              <a:avLst/>
              <a:gdLst/>
              <a:ahLst/>
              <a:cxnLst/>
              <a:rect l="l" t="t" r="r" b="b"/>
              <a:pathLst>
                <a:path w="188258" h="252273">
                  <a:moveTo>
                    <a:pt x="0" y="0"/>
                  </a:moveTo>
                  <a:lnTo>
                    <a:pt x="182407" y="0"/>
                  </a:lnTo>
                  <a:lnTo>
                    <a:pt x="182407" y="29770"/>
                  </a:lnTo>
                  <a:lnTo>
                    <a:pt x="33384" y="29770"/>
                  </a:lnTo>
                  <a:lnTo>
                    <a:pt x="33384" y="107035"/>
                  </a:lnTo>
                  <a:lnTo>
                    <a:pt x="172943" y="107035"/>
                  </a:lnTo>
                  <a:lnTo>
                    <a:pt x="172943" y="136634"/>
                  </a:lnTo>
                  <a:lnTo>
                    <a:pt x="33384" y="136634"/>
                  </a:lnTo>
                  <a:lnTo>
                    <a:pt x="33384" y="222503"/>
                  </a:lnTo>
                  <a:lnTo>
                    <a:pt x="188258" y="222503"/>
                  </a:lnTo>
                  <a:lnTo>
                    <a:pt x="188258" y="252273"/>
                  </a:lnTo>
                  <a:lnTo>
                    <a:pt x="0" y="252273"/>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40" name="TextBox 39">
              <a:extLst>
                <a:ext uri="{FF2B5EF4-FFF2-40B4-BE49-F238E27FC236}">
                  <a16:creationId xmlns:a16="http://schemas.microsoft.com/office/drawing/2014/main" id="{672AE907-8906-A585-D81A-C7C51ADE0BB6}"/>
                </a:ext>
              </a:extLst>
            </p:cNvPr>
            <p:cNvSpPr txBox="1"/>
            <p:nvPr/>
          </p:nvSpPr>
          <p:spPr>
            <a:xfrm>
              <a:off x="4970846" y="-513220"/>
              <a:ext cx="199960" cy="252273"/>
            </a:xfrm>
            <a:custGeom>
              <a:avLst/>
              <a:gdLst/>
              <a:ahLst/>
              <a:cxnLst/>
              <a:rect l="l" t="t" r="r" b="b"/>
              <a:pathLst>
                <a:path w="199960" h="252273">
                  <a:moveTo>
                    <a:pt x="0" y="0"/>
                  </a:moveTo>
                  <a:lnTo>
                    <a:pt x="199960" y="0"/>
                  </a:lnTo>
                  <a:lnTo>
                    <a:pt x="199960" y="29770"/>
                  </a:lnTo>
                  <a:lnTo>
                    <a:pt x="116500" y="29770"/>
                  </a:lnTo>
                  <a:lnTo>
                    <a:pt x="116500" y="252273"/>
                  </a:lnTo>
                  <a:lnTo>
                    <a:pt x="83116" y="252273"/>
                  </a:lnTo>
                  <a:lnTo>
                    <a:pt x="83116" y="29770"/>
                  </a:lnTo>
                  <a:lnTo>
                    <a:pt x="0" y="29770"/>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41" name="TextBox 40">
              <a:extLst>
                <a:ext uri="{FF2B5EF4-FFF2-40B4-BE49-F238E27FC236}">
                  <a16:creationId xmlns:a16="http://schemas.microsoft.com/office/drawing/2014/main" id="{ACCDC95A-2311-1783-0CDB-4776DA49D52A}"/>
                </a:ext>
              </a:extLst>
            </p:cNvPr>
            <p:cNvSpPr txBox="1"/>
            <p:nvPr/>
          </p:nvSpPr>
          <p:spPr>
            <a:xfrm>
              <a:off x="5223177" y="-513220"/>
              <a:ext cx="240743" cy="252273"/>
            </a:xfrm>
            <a:custGeom>
              <a:avLst/>
              <a:gdLst/>
              <a:ahLst/>
              <a:cxnLst/>
              <a:rect l="l" t="t" r="r" b="b"/>
              <a:pathLst>
                <a:path w="240743" h="252273">
                  <a:moveTo>
                    <a:pt x="0" y="0"/>
                  </a:moveTo>
                  <a:lnTo>
                    <a:pt x="50248" y="0"/>
                  </a:lnTo>
                  <a:lnTo>
                    <a:pt x="109961" y="178622"/>
                  </a:lnTo>
                  <a:cubicBezTo>
                    <a:pt x="115467" y="195256"/>
                    <a:pt x="119482" y="207704"/>
                    <a:pt x="122006" y="215964"/>
                  </a:cubicBezTo>
                  <a:cubicBezTo>
                    <a:pt x="124874" y="206786"/>
                    <a:pt x="129348" y="193306"/>
                    <a:pt x="135429" y="175524"/>
                  </a:cubicBezTo>
                  <a:lnTo>
                    <a:pt x="195830" y="0"/>
                  </a:lnTo>
                  <a:lnTo>
                    <a:pt x="240743" y="0"/>
                  </a:lnTo>
                  <a:lnTo>
                    <a:pt x="240743" y="252273"/>
                  </a:lnTo>
                  <a:lnTo>
                    <a:pt x="208564" y="252273"/>
                  </a:lnTo>
                  <a:lnTo>
                    <a:pt x="208564" y="41128"/>
                  </a:lnTo>
                  <a:lnTo>
                    <a:pt x="135257" y="252273"/>
                  </a:lnTo>
                  <a:lnTo>
                    <a:pt x="105142" y="252273"/>
                  </a:lnTo>
                  <a:lnTo>
                    <a:pt x="32179" y="37514"/>
                  </a:lnTo>
                  <a:lnTo>
                    <a:pt x="32179" y="252273"/>
                  </a:lnTo>
                  <a:lnTo>
                    <a:pt x="0" y="252273"/>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42" name="TextBox 41">
              <a:extLst>
                <a:ext uri="{FF2B5EF4-FFF2-40B4-BE49-F238E27FC236}">
                  <a16:creationId xmlns:a16="http://schemas.microsoft.com/office/drawing/2014/main" id="{5895E455-C968-7795-565A-70D630209022}"/>
                </a:ext>
              </a:extLst>
            </p:cNvPr>
            <p:cNvSpPr txBox="1"/>
            <p:nvPr/>
          </p:nvSpPr>
          <p:spPr>
            <a:xfrm>
              <a:off x="5538668" y="-513220"/>
              <a:ext cx="188258" cy="252273"/>
            </a:xfrm>
            <a:custGeom>
              <a:avLst/>
              <a:gdLst/>
              <a:ahLst/>
              <a:cxnLst/>
              <a:rect l="l" t="t" r="r" b="b"/>
              <a:pathLst>
                <a:path w="188258" h="252273">
                  <a:moveTo>
                    <a:pt x="0" y="0"/>
                  </a:moveTo>
                  <a:lnTo>
                    <a:pt x="182407" y="0"/>
                  </a:lnTo>
                  <a:lnTo>
                    <a:pt x="182407" y="29770"/>
                  </a:lnTo>
                  <a:lnTo>
                    <a:pt x="33384" y="29770"/>
                  </a:lnTo>
                  <a:lnTo>
                    <a:pt x="33384" y="107035"/>
                  </a:lnTo>
                  <a:lnTo>
                    <a:pt x="172943" y="107035"/>
                  </a:lnTo>
                  <a:lnTo>
                    <a:pt x="172943" y="136634"/>
                  </a:lnTo>
                  <a:lnTo>
                    <a:pt x="33384" y="136634"/>
                  </a:lnTo>
                  <a:lnTo>
                    <a:pt x="33384" y="222503"/>
                  </a:lnTo>
                  <a:lnTo>
                    <a:pt x="188258" y="222503"/>
                  </a:lnTo>
                  <a:lnTo>
                    <a:pt x="188258" y="252273"/>
                  </a:lnTo>
                  <a:lnTo>
                    <a:pt x="0" y="252273"/>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43" name="TextBox 42">
              <a:extLst>
                <a:ext uri="{FF2B5EF4-FFF2-40B4-BE49-F238E27FC236}">
                  <a16:creationId xmlns:a16="http://schemas.microsoft.com/office/drawing/2014/main" id="{8F23D60C-BBBF-C071-2A78-77964E99D15F}"/>
                </a:ext>
              </a:extLst>
            </p:cNvPr>
            <p:cNvSpPr txBox="1"/>
            <p:nvPr/>
          </p:nvSpPr>
          <p:spPr>
            <a:xfrm>
              <a:off x="5792152" y="-513220"/>
              <a:ext cx="198755" cy="252273"/>
            </a:xfrm>
            <a:custGeom>
              <a:avLst/>
              <a:gdLst/>
              <a:ahLst/>
              <a:cxnLst/>
              <a:rect l="l" t="t" r="r" b="b"/>
              <a:pathLst>
                <a:path w="198755" h="252273">
                  <a:moveTo>
                    <a:pt x="0" y="0"/>
                  </a:moveTo>
                  <a:lnTo>
                    <a:pt x="34245" y="0"/>
                  </a:lnTo>
                  <a:lnTo>
                    <a:pt x="166748" y="198067"/>
                  </a:lnTo>
                  <a:lnTo>
                    <a:pt x="166748" y="0"/>
                  </a:lnTo>
                  <a:lnTo>
                    <a:pt x="198755" y="0"/>
                  </a:lnTo>
                  <a:lnTo>
                    <a:pt x="198755" y="252273"/>
                  </a:lnTo>
                  <a:lnTo>
                    <a:pt x="164511" y="252273"/>
                  </a:lnTo>
                  <a:lnTo>
                    <a:pt x="32007" y="54034"/>
                  </a:lnTo>
                  <a:lnTo>
                    <a:pt x="32007" y="252273"/>
                  </a:lnTo>
                  <a:lnTo>
                    <a:pt x="0" y="252273"/>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44" name="TextBox 43">
              <a:extLst>
                <a:ext uri="{FF2B5EF4-FFF2-40B4-BE49-F238E27FC236}">
                  <a16:creationId xmlns:a16="http://schemas.microsoft.com/office/drawing/2014/main" id="{C691DF63-516E-0A07-FDDD-8B40BC22E7A0}"/>
                </a:ext>
              </a:extLst>
            </p:cNvPr>
            <p:cNvSpPr txBox="1"/>
            <p:nvPr/>
          </p:nvSpPr>
          <p:spPr>
            <a:xfrm>
              <a:off x="6047767" y="-513220"/>
              <a:ext cx="199960" cy="252273"/>
            </a:xfrm>
            <a:custGeom>
              <a:avLst/>
              <a:gdLst/>
              <a:ahLst/>
              <a:cxnLst/>
              <a:rect l="l" t="t" r="r" b="b"/>
              <a:pathLst>
                <a:path w="199960" h="252273">
                  <a:moveTo>
                    <a:pt x="0" y="0"/>
                  </a:moveTo>
                  <a:lnTo>
                    <a:pt x="199960" y="0"/>
                  </a:lnTo>
                  <a:lnTo>
                    <a:pt x="199960" y="29770"/>
                  </a:lnTo>
                  <a:lnTo>
                    <a:pt x="116500" y="29770"/>
                  </a:lnTo>
                  <a:lnTo>
                    <a:pt x="116500" y="252273"/>
                  </a:lnTo>
                  <a:lnTo>
                    <a:pt x="83116" y="252273"/>
                  </a:lnTo>
                  <a:lnTo>
                    <a:pt x="83116" y="29770"/>
                  </a:lnTo>
                  <a:lnTo>
                    <a:pt x="0" y="29770"/>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45" name="TextBox 44">
              <a:extLst>
                <a:ext uri="{FF2B5EF4-FFF2-40B4-BE49-F238E27FC236}">
                  <a16:creationId xmlns:a16="http://schemas.microsoft.com/office/drawing/2014/main" id="{24C87CEA-AD5A-3AEF-26DD-78761923B5EF}"/>
                </a:ext>
              </a:extLst>
            </p:cNvPr>
            <p:cNvSpPr txBox="1"/>
            <p:nvPr/>
          </p:nvSpPr>
          <p:spPr>
            <a:xfrm>
              <a:off x="6366898" y="-513220"/>
              <a:ext cx="219380" cy="252273"/>
            </a:xfrm>
            <a:custGeom>
              <a:avLst/>
              <a:gdLst/>
              <a:ahLst/>
              <a:cxnLst/>
              <a:rect l="l" t="t" r="r" b="b"/>
              <a:pathLst>
                <a:path w="219380" h="252273">
                  <a:moveTo>
                    <a:pt x="80165" y="0"/>
                  </a:moveTo>
                  <a:lnTo>
                    <a:pt x="116131" y="0"/>
                  </a:lnTo>
                  <a:lnTo>
                    <a:pt x="219380" y="252273"/>
                  </a:lnTo>
                  <a:lnTo>
                    <a:pt x="181350" y="252273"/>
                  </a:lnTo>
                  <a:lnTo>
                    <a:pt x="151924" y="175868"/>
                  </a:lnTo>
                  <a:lnTo>
                    <a:pt x="46437" y="175868"/>
                  </a:lnTo>
                  <a:lnTo>
                    <a:pt x="18732" y="252273"/>
                  </a:lnTo>
                  <a:lnTo>
                    <a:pt x="0" y="252273"/>
                  </a:lnTo>
                  <a:lnTo>
                    <a:pt x="0" y="208743"/>
                  </a:lnTo>
                  <a:lnTo>
                    <a:pt x="80165" y="0"/>
                  </a:lnTo>
                  <a:close/>
                  <a:moveTo>
                    <a:pt x="97374" y="26501"/>
                  </a:moveTo>
                  <a:cubicBezTo>
                    <a:pt x="94161" y="42676"/>
                    <a:pt x="89630" y="58738"/>
                    <a:pt x="83779" y="74684"/>
                  </a:cubicBezTo>
                  <a:lnTo>
                    <a:pt x="56074" y="148679"/>
                  </a:lnTo>
                  <a:lnTo>
                    <a:pt x="141599" y="148679"/>
                  </a:lnTo>
                  <a:lnTo>
                    <a:pt x="115270" y="78814"/>
                  </a:lnTo>
                  <a:cubicBezTo>
                    <a:pt x="107240" y="57590"/>
                    <a:pt x="101274" y="40153"/>
                    <a:pt x="97374" y="26501"/>
                  </a:cubicBez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46" name="TextBox 45">
              <a:extLst>
                <a:ext uri="{FF2B5EF4-FFF2-40B4-BE49-F238E27FC236}">
                  <a16:creationId xmlns:a16="http://schemas.microsoft.com/office/drawing/2014/main" id="{EFDCE2CE-A436-FC19-5BC2-7EB10745412A}"/>
                </a:ext>
              </a:extLst>
            </p:cNvPr>
            <p:cNvSpPr txBox="1"/>
            <p:nvPr/>
          </p:nvSpPr>
          <p:spPr>
            <a:xfrm>
              <a:off x="6632880" y="-513220"/>
              <a:ext cx="198411" cy="256575"/>
            </a:xfrm>
            <a:custGeom>
              <a:avLst/>
              <a:gdLst/>
              <a:ahLst/>
              <a:cxnLst/>
              <a:rect l="l" t="t" r="r" b="b"/>
              <a:pathLst>
                <a:path w="198411" h="256575">
                  <a:moveTo>
                    <a:pt x="0" y="0"/>
                  </a:moveTo>
                  <a:lnTo>
                    <a:pt x="33384" y="0"/>
                  </a:lnTo>
                  <a:lnTo>
                    <a:pt x="33384" y="145582"/>
                  </a:lnTo>
                  <a:cubicBezTo>
                    <a:pt x="33384" y="167494"/>
                    <a:pt x="35420" y="183641"/>
                    <a:pt x="39492" y="194023"/>
                  </a:cubicBezTo>
                  <a:cubicBezTo>
                    <a:pt x="43565" y="204405"/>
                    <a:pt x="50563" y="212407"/>
                    <a:pt x="60487" y="218029"/>
                  </a:cubicBezTo>
                  <a:cubicBezTo>
                    <a:pt x="70410" y="223650"/>
                    <a:pt x="82542" y="226461"/>
                    <a:pt x="96882" y="226461"/>
                  </a:cubicBezTo>
                  <a:cubicBezTo>
                    <a:pt x="121432" y="226461"/>
                    <a:pt x="138927" y="220897"/>
                    <a:pt x="149367" y="209769"/>
                  </a:cubicBezTo>
                  <a:cubicBezTo>
                    <a:pt x="159807" y="198641"/>
                    <a:pt x="165027" y="177245"/>
                    <a:pt x="165027" y="145582"/>
                  </a:cubicBezTo>
                  <a:lnTo>
                    <a:pt x="165027" y="0"/>
                  </a:lnTo>
                  <a:lnTo>
                    <a:pt x="198411" y="0"/>
                  </a:lnTo>
                  <a:lnTo>
                    <a:pt x="198411" y="145754"/>
                  </a:lnTo>
                  <a:cubicBezTo>
                    <a:pt x="198411" y="171107"/>
                    <a:pt x="195543" y="191241"/>
                    <a:pt x="189807" y="206155"/>
                  </a:cubicBezTo>
                  <a:cubicBezTo>
                    <a:pt x="184070" y="221069"/>
                    <a:pt x="173717" y="233200"/>
                    <a:pt x="158746" y="242550"/>
                  </a:cubicBezTo>
                  <a:cubicBezTo>
                    <a:pt x="143774" y="251900"/>
                    <a:pt x="124128" y="256575"/>
                    <a:pt x="99807" y="256575"/>
                  </a:cubicBezTo>
                  <a:cubicBezTo>
                    <a:pt x="76175" y="256575"/>
                    <a:pt x="56844" y="252502"/>
                    <a:pt x="41816" y="244357"/>
                  </a:cubicBezTo>
                  <a:cubicBezTo>
                    <a:pt x="26787" y="236212"/>
                    <a:pt x="16061" y="224424"/>
                    <a:pt x="9636" y="208994"/>
                  </a:cubicBezTo>
                  <a:cubicBezTo>
                    <a:pt x="3212" y="193564"/>
                    <a:pt x="0" y="172484"/>
                    <a:pt x="0" y="145754"/>
                  </a:cubicBez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47" name="TextBox 46">
              <a:extLst>
                <a:ext uri="{FF2B5EF4-FFF2-40B4-BE49-F238E27FC236}">
                  <a16:creationId xmlns:a16="http://schemas.microsoft.com/office/drawing/2014/main" id="{3A5A9927-378B-3D44-2702-805A26FEA9ED}"/>
                </a:ext>
              </a:extLst>
            </p:cNvPr>
            <p:cNvSpPr txBox="1"/>
            <p:nvPr/>
          </p:nvSpPr>
          <p:spPr>
            <a:xfrm>
              <a:off x="6887634" y="-513220"/>
              <a:ext cx="199960" cy="252273"/>
            </a:xfrm>
            <a:custGeom>
              <a:avLst/>
              <a:gdLst/>
              <a:ahLst/>
              <a:cxnLst/>
              <a:rect l="l" t="t" r="r" b="b"/>
              <a:pathLst>
                <a:path w="199960" h="252273">
                  <a:moveTo>
                    <a:pt x="0" y="0"/>
                  </a:moveTo>
                  <a:lnTo>
                    <a:pt x="199960" y="0"/>
                  </a:lnTo>
                  <a:lnTo>
                    <a:pt x="199960" y="29770"/>
                  </a:lnTo>
                  <a:lnTo>
                    <a:pt x="116500" y="29770"/>
                  </a:lnTo>
                  <a:lnTo>
                    <a:pt x="116500" y="252273"/>
                  </a:lnTo>
                  <a:lnTo>
                    <a:pt x="83116" y="252273"/>
                  </a:lnTo>
                  <a:lnTo>
                    <a:pt x="83116" y="29770"/>
                  </a:lnTo>
                  <a:lnTo>
                    <a:pt x="0" y="29770"/>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48" name="TextBox 47">
              <a:extLst>
                <a:ext uri="{FF2B5EF4-FFF2-40B4-BE49-F238E27FC236}">
                  <a16:creationId xmlns:a16="http://schemas.microsoft.com/office/drawing/2014/main" id="{E4284C8B-9BE6-05D4-B07A-3585B249EDBB}"/>
                </a:ext>
              </a:extLst>
            </p:cNvPr>
            <p:cNvSpPr txBox="1"/>
            <p:nvPr/>
          </p:nvSpPr>
          <p:spPr>
            <a:xfrm>
              <a:off x="7142032" y="-513220"/>
              <a:ext cx="197895" cy="252273"/>
            </a:xfrm>
            <a:custGeom>
              <a:avLst/>
              <a:gdLst/>
              <a:ahLst/>
              <a:cxnLst/>
              <a:rect l="l" t="t" r="r" b="b"/>
              <a:pathLst>
                <a:path w="197895" h="252273">
                  <a:moveTo>
                    <a:pt x="0" y="0"/>
                  </a:moveTo>
                  <a:lnTo>
                    <a:pt x="33384" y="0"/>
                  </a:lnTo>
                  <a:lnTo>
                    <a:pt x="33384" y="103594"/>
                  </a:lnTo>
                  <a:lnTo>
                    <a:pt x="164511" y="103594"/>
                  </a:lnTo>
                  <a:lnTo>
                    <a:pt x="164511" y="0"/>
                  </a:lnTo>
                  <a:lnTo>
                    <a:pt x="197895" y="0"/>
                  </a:lnTo>
                  <a:lnTo>
                    <a:pt x="197895" y="252273"/>
                  </a:lnTo>
                  <a:lnTo>
                    <a:pt x="164511" y="252273"/>
                  </a:lnTo>
                  <a:lnTo>
                    <a:pt x="164511" y="133364"/>
                  </a:lnTo>
                  <a:lnTo>
                    <a:pt x="33384" y="133364"/>
                  </a:lnTo>
                  <a:lnTo>
                    <a:pt x="33384" y="252273"/>
                  </a:lnTo>
                  <a:lnTo>
                    <a:pt x="0" y="252273"/>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49" name="TextBox 48">
              <a:extLst>
                <a:ext uri="{FF2B5EF4-FFF2-40B4-BE49-F238E27FC236}">
                  <a16:creationId xmlns:a16="http://schemas.microsoft.com/office/drawing/2014/main" id="{9E9CFBDA-A5BA-4903-FDCA-D07C53A61610}"/>
                </a:ext>
              </a:extLst>
            </p:cNvPr>
            <p:cNvSpPr txBox="1"/>
            <p:nvPr/>
          </p:nvSpPr>
          <p:spPr>
            <a:xfrm>
              <a:off x="7709840" y="-513220"/>
              <a:ext cx="222330" cy="252273"/>
            </a:xfrm>
            <a:custGeom>
              <a:avLst/>
              <a:gdLst/>
              <a:ahLst/>
              <a:cxnLst/>
              <a:rect l="l" t="t" r="r" b="b"/>
              <a:pathLst>
                <a:path w="222330" h="252273">
                  <a:moveTo>
                    <a:pt x="0" y="0"/>
                  </a:moveTo>
                  <a:lnTo>
                    <a:pt x="111853" y="0"/>
                  </a:lnTo>
                  <a:cubicBezTo>
                    <a:pt x="134339" y="0"/>
                    <a:pt x="151432" y="2266"/>
                    <a:pt x="163134" y="6797"/>
                  </a:cubicBezTo>
                  <a:cubicBezTo>
                    <a:pt x="174835" y="11329"/>
                    <a:pt x="184185" y="19331"/>
                    <a:pt x="191183" y="30803"/>
                  </a:cubicBezTo>
                  <a:cubicBezTo>
                    <a:pt x="198181" y="42275"/>
                    <a:pt x="201680" y="54952"/>
                    <a:pt x="201680" y="68833"/>
                  </a:cubicBezTo>
                  <a:cubicBezTo>
                    <a:pt x="201680" y="86730"/>
                    <a:pt x="195887" y="101816"/>
                    <a:pt x="184300" y="114091"/>
                  </a:cubicBezTo>
                  <a:cubicBezTo>
                    <a:pt x="172713" y="126366"/>
                    <a:pt x="154816" y="134167"/>
                    <a:pt x="130610" y="137494"/>
                  </a:cubicBezTo>
                  <a:cubicBezTo>
                    <a:pt x="139444" y="141739"/>
                    <a:pt x="146155" y="145926"/>
                    <a:pt x="150744" y="150056"/>
                  </a:cubicBezTo>
                  <a:cubicBezTo>
                    <a:pt x="160495" y="159004"/>
                    <a:pt x="169730" y="170190"/>
                    <a:pt x="178449" y="183612"/>
                  </a:cubicBezTo>
                  <a:lnTo>
                    <a:pt x="222330" y="252273"/>
                  </a:lnTo>
                  <a:lnTo>
                    <a:pt x="180342" y="252273"/>
                  </a:lnTo>
                  <a:lnTo>
                    <a:pt x="146958" y="199788"/>
                  </a:lnTo>
                  <a:cubicBezTo>
                    <a:pt x="137207" y="184645"/>
                    <a:pt x="129176" y="173058"/>
                    <a:pt x="122866" y="165027"/>
                  </a:cubicBezTo>
                  <a:cubicBezTo>
                    <a:pt x="116557" y="156997"/>
                    <a:pt x="110907" y="151375"/>
                    <a:pt x="105916" y="148163"/>
                  </a:cubicBezTo>
                  <a:cubicBezTo>
                    <a:pt x="100926" y="144951"/>
                    <a:pt x="95849" y="142714"/>
                    <a:pt x="90687" y="141452"/>
                  </a:cubicBezTo>
                  <a:cubicBezTo>
                    <a:pt x="86901" y="140649"/>
                    <a:pt x="80706" y="140247"/>
                    <a:pt x="72102" y="140247"/>
                  </a:cubicBezTo>
                  <a:lnTo>
                    <a:pt x="33384" y="140247"/>
                  </a:lnTo>
                  <a:lnTo>
                    <a:pt x="33384" y="252273"/>
                  </a:lnTo>
                  <a:lnTo>
                    <a:pt x="0" y="252273"/>
                  </a:lnTo>
                  <a:lnTo>
                    <a:pt x="0" y="0"/>
                  </a:lnTo>
                  <a:close/>
                  <a:moveTo>
                    <a:pt x="33384" y="27877"/>
                  </a:moveTo>
                  <a:lnTo>
                    <a:pt x="33384" y="111337"/>
                  </a:lnTo>
                  <a:lnTo>
                    <a:pt x="105142" y="111337"/>
                  </a:lnTo>
                  <a:cubicBezTo>
                    <a:pt x="120400" y="111337"/>
                    <a:pt x="132331" y="109760"/>
                    <a:pt x="140935" y="106605"/>
                  </a:cubicBezTo>
                  <a:cubicBezTo>
                    <a:pt x="149539" y="103450"/>
                    <a:pt x="156078" y="98403"/>
                    <a:pt x="160553" y="91462"/>
                  </a:cubicBezTo>
                  <a:cubicBezTo>
                    <a:pt x="165027" y="84521"/>
                    <a:pt x="167264" y="76978"/>
                    <a:pt x="167264" y="68833"/>
                  </a:cubicBezTo>
                  <a:cubicBezTo>
                    <a:pt x="167264" y="56902"/>
                    <a:pt x="162933" y="47093"/>
                    <a:pt x="154272" y="39407"/>
                  </a:cubicBezTo>
                  <a:cubicBezTo>
                    <a:pt x="145610" y="31721"/>
                    <a:pt x="131929" y="27877"/>
                    <a:pt x="113230" y="27877"/>
                  </a:cubicBezTo>
                  <a:lnTo>
                    <a:pt x="33384" y="27877"/>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50" name="TextBox 49">
              <a:extLst>
                <a:ext uri="{FF2B5EF4-FFF2-40B4-BE49-F238E27FC236}">
                  <a16:creationId xmlns:a16="http://schemas.microsoft.com/office/drawing/2014/main" id="{5B2D2229-8F5A-3465-2088-003DE7EBF99A}"/>
                </a:ext>
              </a:extLst>
            </p:cNvPr>
            <p:cNvSpPr txBox="1"/>
            <p:nvPr/>
          </p:nvSpPr>
          <p:spPr>
            <a:xfrm>
              <a:off x="7989203" y="-513220"/>
              <a:ext cx="33384" cy="252273"/>
            </a:xfrm>
            <a:custGeom>
              <a:avLst/>
              <a:gdLst/>
              <a:ahLst/>
              <a:cxnLst/>
              <a:rect l="l" t="t" r="r" b="b"/>
              <a:pathLst>
                <a:path w="33384" h="252273">
                  <a:moveTo>
                    <a:pt x="0" y="0"/>
                  </a:moveTo>
                  <a:lnTo>
                    <a:pt x="33384" y="0"/>
                  </a:lnTo>
                  <a:lnTo>
                    <a:pt x="33384" y="252273"/>
                  </a:lnTo>
                  <a:lnTo>
                    <a:pt x="0" y="252273"/>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51" name="TextBox 50">
              <a:extLst>
                <a:ext uri="{FF2B5EF4-FFF2-40B4-BE49-F238E27FC236}">
                  <a16:creationId xmlns:a16="http://schemas.microsoft.com/office/drawing/2014/main" id="{470377B9-9059-F92E-52A5-CA7F58233BEC}"/>
                </a:ext>
              </a:extLst>
            </p:cNvPr>
            <p:cNvSpPr txBox="1"/>
            <p:nvPr/>
          </p:nvSpPr>
          <p:spPr>
            <a:xfrm>
              <a:off x="8080086" y="-513220"/>
              <a:ext cx="199960" cy="252273"/>
            </a:xfrm>
            <a:custGeom>
              <a:avLst/>
              <a:gdLst/>
              <a:ahLst/>
              <a:cxnLst/>
              <a:rect l="l" t="t" r="r" b="b"/>
              <a:pathLst>
                <a:path w="199960" h="252273">
                  <a:moveTo>
                    <a:pt x="0" y="0"/>
                  </a:moveTo>
                  <a:lnTo>
                    <a:pt x="199960" y="0"/>
                  </a:lnTo>
                  <a:lnTo>
                    <a:pt x="199960" y="29770"/>
                  </a:lnTo>
                  <a:lnTo>
                    <a:pt x="116500" y="29770"/>
                  </a:lnTo>
                  <a:lnTo>
                    <a:pt x="116500" y="252273"/>
                  </a:lnTo>
                  <a:lnTo>
                    <a:pt x="83116" y="252273"/>
                  </a:lnTo>
                  <a:lnTo>
                    <a:pt x="83116" y="29770"/>
                  </a:lnTo>
                  <a:lnTo>
                    <a:pt x="0" y="29770"/>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52" name="TextBox 51">
              <a:extLst>
                <a:ext uri="{FF2B5EF4-FFF2-40B4-BE49-F238E27FC236}">
                  <a16:creationId xmlns:a16="http://schemas.microsoft.com/office/drawing/2014/main" id="{A18D8CBE-273D-B43F-6E93-D1891C422962}"/>
                </a:ext>
              </a:extLst>
            </p:cNvPr>
            <p:cNvSpPr txBox="1"/>
            <p:nvPr/>
          </p:nvSpPr>
          <p:spPr>
            <a:xfrm>
              <a:off x="8307293" y="-513220"/>
              <a:ext cx="231278" cy="252273"/>
            </a:xfrm>
            <a:custGeom>
              <a:avLst/>
              <a:gdLst/>
              <a:ahLst/>
              <a:cxnLst/>
              <a:rect l="l" t="t" r="r" b="b"/>
              <a:pathLst>
                <a:path w="231278" h="252273">
                  <a:moveTo>
                    <a:pt x="0" y="0"/>
                  </a:moveTo>
                  <a:lnTo>
                    <a:pt x="40611" y="0"/>
                  </a:lnTo>
                  <a:lnTo>
                    <a:pt x="90343" y="76060"/>
                  </a:lnTo>
                  <a:cubicBezTo>
                    <a:pt x="99521" y="90286"/>
                    <a:pt x="108067" y="104511"/>
                    <a:pt x="115983" y="118737"/>
                  </a:cubicBezTo>
                  <a:cubicBezTo>
                    <a:pt x="123555" y="105544"/>
                    <a:pt x="132732" y="90687"/>
                    <a:pt x="143516" y="74168"/>
                  </a:cubicBezTo>
                  <a:lnTo>
                    <a:pt x="192388" y="0"/>
                  </a:lnTo>
                  <a:lnTo>
                    <a:pt x="231278" y="0"/>
                  </a:lnTo>
                  <a:lnTo>
                    <a:pt x="130610" y="145410"/>
                  </a:lnTo>
                  <a:lnTo>
                    <a:pt x="130610" y="252273"/>
                  </a:lnTo>
                  <a:lnTo>
                    <a:pt x="97226" y="252273"/>
                  </a:lnTo>
                  <a:lnTo>
                    <a:pt x="97226" y="145410"/>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53" name="TextBox 52">
              <a:extLst>
                <a:ext uri="{FF2B5EF4-FFF2-40B4-BE49-F238E27FC236}">
                  <a16:creationId xmlns:a16="http://schemas.microsoft.com/office/drawing/2014/main" id="{217CB6F1-1F7F-1F7D-FC64-7017F5F8C320}"/>
                </a:ext>
              </a:extLst>
            </p:cNvPr>
            <p:cNvSpPr txBox="1"/>
            <p:nvPr/>
          </p:nvSpPr>
          <p:spPr>
            <a:xfrm>
              <a:off x="6350182" y="-304477"/>
              <a:ext cx="16717" cy="43530"/>
            </a:xfrm>
            <a:custGeom>
              <a:avLst/>
              <a:gdLst/>
              <a:ahLst/>
              <a:cxnLst/>
              <a:rect l="l" t="t" r="r" b="b"/>
              <a:pathLst>
                <a:path w="16717" h="43530">
                  <a:moveTo>
                    <a:pt x="16717" y="0"/>
                  </a:moveTo>
                  <a:lnTo>
                    <a:pt x="16717" y="43530"/>
                  </a:lnTo>
                  <a:lnTo>
                    <a:pt x="0" y="43530"/>
                  </a:lnTo>
                  <a:lnTo>
                    <a:pt x="16717"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54" name="TextBox 53">
              <a:extLst>
                <a:ext uri="{FF2B5EF4-FFF2-40B4-BE49-F238E27FC236}">
                  <a16:creationId xmlns:a16="http://schemas.microsoft.com/office/drawing/2014/main" id="{236CA943-C269-5BB3-D52C-73B11C7D1AD7}"/>
                </a:ext>
              </a:extLst>
            </p:cNvPr>
            <p:cNvSpPr txBox="1"/>
            <p:nvPr/>
          </p:nvSpPr>
          <p:spPr>
            <a:xfrm>
              <a:off x="3671948" y="-262973"/>
              <a:ext cx="829" cy="2026"/>
            </a:xfrm>
            <a:custGeom>
              <a:avLst/>
              <a:gdLst/>
              <a:ahLst/>
              <a:cxnLst/>
              <a:rect l="l" t="t" r="r" b="b"/>
              <a:pathLst>
                <a:path w="829" h="2026">
                  <a:moveTo>
                    <a:pt x="0" y="0"/>
                  </a:moveTo>
                  <a:lnTo>
                    <a:pt x="829" y="2026"/>
                  </a:lnTo>
                  <a:lnTo>
                    <a:pt x="0" y="2026"/>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grpSp>
    </p:spTree>
    <p:extLst>
      <p:ext uri="{BB962C8B-B14F-4D97-AF65-F5344CB8AC3E}">
        <p14:creationId xmlns:p14="http://schemas.microsoft.com/office/powerpoint/2010/main" val="280941607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30537018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FFE7E7"/>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554735" y="41597"/>
            <a:ext cx="3465577"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B064DA18-FA54-43C0-B981-F306F40179F4}"/>
              </a:ext>
            </a:extLst>
          </p:cNvPr>
          <p:cNvSpPr>
            <a:spLocks noGrp="1"/>
          </p:cNvSpPr>
          <p:nvPr>
            <p:ph type="title"/>
            <p:custDataLst>
              <p:tags r:id="rId8"/>
            </p:custDataLst>
          </p:nvPr>
        </p:nvSpPr>
        <p:spPr>
          <a:xfrm>
            <a:off x="554736" y="2744369"/>
            <a:ext cx="3465574" cy="769441"/>
          </a:xfrm>
          <a:prstGeom prst="rect">
            <a:avLst/>
          </a:prstGeom>
        </p:spPr>
        <p:txBody>
          <a:bodyPr vert="horz" wrap="square" lIns="0" tIns="0" rIns="0" bIns="0" rtlCol="0" anchor="b" anchorCtr="0">
            <a:noAutofit/>
          </a:bodyPr>
          <a:lstStyle>
            <a:lvl1pPr rtl="0">
              <a:defRPr/>
            </a:lvl1pPr>
          </a:lstStyle>
          <a:p>
            <a:pPr lvl="0"/>
            <a:r>
              <a:rPr lang="en-US"/>
              <a:t>Click to edit Master title style</a:t>
            </a:r>
          </a:p>
        </p:txBody>
      </p:sp>
      <p:pic>
        <p:nvPicPr>
          <p:cNvPr id="8" name="Google Shape;64;p16">
            <a:extLst>
              <a:ext uri="{FF2B5EF4-FFF2-40B4-BE49-F238E27FC236}">
                <a16:creationId xmlns:a16="http://schemas.microsoft.com/office/drawing/2014/main" id="{27735570-3E87-E6C1-3F88-5D1F29E0DE99}"/>
              </a:ext>
            </a:extLst>
          </p:cNvPr>
          <p:cNvPicPr preferRelativeResize="0"/>
          <p:nvPr userDrawn="1"/>
        </p:nvPicPr>
        <p:blipFill rotWithShape="1">
          <a:blip r:embed="rId12" cstate="email">
            <a:alphaModFix/>
            <a:extLst>
              <a:ext uri="{28A0092B-C50C-407E-A947-70E740481C1C}">
                <a14:useLocalDpi xmlns:a14="http://schemas.microsoft.com/office/drawing/2010/main"/>
              </a:ext>
            </a:extLst>
          </a:blip>
          <a:srcRect/>
          <a:stretch/>
        </p:blipFill>
        <p:spPr bwMode="ltGray">
          <a:xfrm>
            <a:off x="10128282" y="-14875"/>
            <a:ext cx="2063718" cy="1950355"/>
          </a:xfrm>
          <a:prstGeom prst="rect">
            <a:avLst/>
          </a:prstGeom>
          <a:noFill/>
          <a:ln>
            <a:noFill/>
          </a:ln>
        </p:spPr>
      </p:pic>
      <p:grpSp>
        <p:nvGrpSpPr>
          <p:cNvPr id="2" name="Group 1">
            <a:extLst>
              <a:ext uri="{FF2B5EF4-FFF2-40B4-BE49-F238E27FC236}">
                <a16:creationId xmlns:a16="http://schemas.microsoft.com/office/drawing/2014/main" id="{EDB12892-3786-E546-B55B-8A30EC76C599}"/>
              </a:ext>
            </a:extLst>
          </p:cNvPr>
          <p:cNvGrpSpPr/>
          <p:nvPr userDrawn="1"/>
        </p:nvGrpSpPr>
        <p:grpSpPr>
          <a:xfrm>
            <a:off x="10644663" y="172212"/>
            <a:ext cx="1269969" cy="353548"/>
            <a:chOff x="-770028" y="-2797529"/>
            <a:chExt cx="9308599" cy="2591427"/>
          </a:xfrm>
        </p:grpSpPr>
        <p:sp>
          <p:nvSpPr>
            <p:cNvPr id="5" name="Freeform: Shape 4">
              <a:extLst>
                <a:ext uri="{FF2B5EF4-FFF2-40B4-BE49-F238E27FC236}">
                  <a16:creationId xmlns:a16="http://schemas.microsoft.com/office/drawing/2014/main" id="{8B6CF6F0-F2B3-A41E-4FBB-E4535AA70206}"/>
                </a:ext>
              </a:extLst>
            </p:cNvPr>
            <p:cNvSpPr/>
            <p:nvPr/>
          </p:nvSpPr>
          <p:spPr>
            <a:xfrm>
              <a:off x="2457429" y="-1765355"/>
              <a:ext cx="687427" cy="1091288"/>
            </a:xfrm>
            <a:custGeom>
              <a:avLst/>
              <a:gdLst>
                <a:gd name="connsiteX0" fmla="*/ 687811 w 687427"/>
                <a:gd name="connsiteY0" fmla="*/ 1091442 h 1091288"/>
                <a:gd name="connsiteX1" fmla="*/ 569781 w 687427"/>
                <a:gd name="connsiteY1" fmla="*/ 1091442 h 1091288"/>
                <a:gd name="connsiteX2" fmla="*/ 430557 w 687427"/>
                <a:gd name="connsiteY2" fmla="*/ 1045722 h 1091288"/>
                <a:gd name="connsiteX3" fmla="*/ 370271 w 687427"/>
                <a:gd name="connsiteY3" fmla="*/ 931739 h 1091288"/>
                <a:gd name="connsiteX4" fmla="*/ 370271 w 687427"/>
                <a:gd name="connsiteY4" fmla="*/ 714490 h 1091288"/>
                <a:gd name="connsiteX5" fmla="*/ 346538 w 687427"/>
                <a:gd name="connsiteY5" fmla="*/ 612414 h 1091288"/>
                <a:gd name="connsiteX6" fmla="*/ 257043 w 687427"/>
                <a:gd name="connsiteY6" fmla="*/ 585029 h 1091288"/>
                <a:gd name="connsiteX7" fmla="*/ 218030 w 687427"/>
                <a:gd name="connsiteY7" fmla="*/ 585029 h 1091288"/>
                <a:gd name="connsiteX8" fmla="*/ 218030 w 687427"/>
                <a:gd name="connsiteY8" fmla="*/ 1091442 h 1091288"/>
                <a:gd name="connsiteX9" fmla="*/ 384 w 687427"/>
                <a:gd name="connsiteY9" fmla="*/ 1091442 h 1091288"/>
                <a:gd name="connsiteX10" fmla="*/ 384 w 687427"/>
                <a:gd name="connsiteY10" fmla="*/ 154 h 1091288"/>
                <a:gd name="connsiteX11" fmla="*/ 218030 w 687427"/>
                <a:gd name="connsiteY11" fmla="*/ 154 h 1091288"/>
                <a:gd name="connsiteX12" fmla="*/ 218030 w 687427"/>
                <a:gd name="connsiteY12" fmla="*/ 462911 h 1091288"/>
                <a:gd name="connsiteX13" fmla="*/ 272997 w 687427"/>
                <a:gd name="connsiteY13" fmla="*/ 464260 h 1091288"/>
                <a:gd name="connsiteX14" fmla="*/ 317368 w 687427"/>
                <a:gd name="connsiteY14" fmla="*/ 447710 h 1091288"/>
                <a:gd name="connsiteX15" fmla="*/ 338164 w 687427"/>
                <a:gd name="connsiteY15" fmla="*/ 356191 h 1091288"/>
                <a:gd name="connsiteX16" fmla="*/ 353563 w 687427"/>
                <a:gd name="connsiteY16" fmla="*/ 154 h 1091288"/>
                <a:gd name="connsiteX17" fmla="*/ 557874 w 687427"/>
                <a:gd name="connsiteY17" fmla="*/ 154 h 1091288"/>
                <a:gd name="connsiteX18" fmla="*/ 542436 w 687427"/>
                <a:gd name="connsiteY18" fmla="*/ 324441 h 1091288"/>
                <a:gd name="connsiteX19" fmla="*/ 506042 w 687427"/>
                <a:gd name="connsiteY19" fmla="*/ 437709 h 1091288"/>
                <a:gd name="connsiteX20" fmla="*/ 410118 w 687427"/>
                <a:gd name="connsiteY20" fmla="*/ 486207 h 1091288"/>
                <a:gd name="connsiteX21" fmla="*/ 536165 w 687427"/>
                <a:gd name="connsiteY21" fmla="*/ 544270 h 1091288"/>
                <a:gd name="connsiteX22" fmla="*/ 578988 w 687427"/>
                <a:gd name="connsiteY22" fmla="*/ 668175 h 1091288"/>
                <a:gd name="connsiteX23" fmla="*/ 578988 w 687427"/>
                <a:gd name="connsiteY23" fmla="*/ 829425 h 1091288"/>
                <a:gd name="connsiteX24" fmla="*/ 602364 w 687427"/>
                <a:gd name="connsiteY24" fmla="*/ 947575 h 1091288"/>
                <a:gd name="connsiteX25" fmla="*/ 687811 w 687427"/>
                <a:gd name="connsiteY25" fmla="*/ 968252 h 1091288"/>
                <a:gd name="connsiteX26" fmla="*/ 687811 w 687427"/>
                <a:gd name="connsiteY26" fmla="*/ 1091442 h 1091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87427" h="1091288">
                  <a:moveTo>
                    <a:pt x="687811" y="1091442"/>
                  </a:moveTo>
                  <a:lnTo>
                    <a:pt x="569781" y="1091442"/>
                  </a:lnTo>
                  <a:cubicBezTo>
                    <a:pt x="517115" y="1091442"/>
                    <a:pt x="470760" y="1076202"/>
                    <a:pt x="430557" y="1045722"/>
                  </a:cubicBezTo>
                  <a:cubicBezTo>
                    <a:pt x="390314" y="1015242"/>
                    <a:pt x="370271" y="977182"/>
                    <a:pt x="370271" y="931739"/>
                  </a:cubicBezTo>
                  <a:lnTo>
                    <a:pt x="370271" y="714490"/>
                  </a:lnTo>
                  <a:cubicBezTo>
                    <a:pt x="370271" y="664761"/>
                    <a:pt x="362294" y="630709"/>
                    <a:pt x="346538" y="612414"/>
                  </a:cubicBezTo>
                  <a:cubicBezTo>
                    <a:pt x="330743" y="594157"/>
                    <a:pt x="300898" y="585029"/>
                    <a:pt x="257043" y="585029"/>
                  </a:cubicBezTo>
                  <a:lnTo>
                    <a:pt x="218030" y="585029"/>
                  </a:lnTo>
                  <a:lnTo>
                    <a:pt x="218030" y="1091442"/>
                  </a:lnTo>
                  <a:lnTo>
                    <a:pt x="384" y="1091442"/>
                  </a:lnTo>
                  <a:lnTo>
                    <a:pt x="384" y="154"/>
                  </a:lnTo>
                  <a:lnTo>
                    <a:pt x="218030" y="154"/>
                  </a:lnTo>
                  <a:lnTo>
                    <a:pt x="218030" y="462911"/>
                  </a:lnTo>
                  <a:lnTo>
                    <a:pt x="272997" y="464260"/>
                  </a:lnTo>
                  <a:cubicBezTo>
                    <a:pt x="291293" y="464697"/>
                    <a:pt x="306057" y="459140"/>
                    <a:pt x="317368" y="447710"/>
                  </a:cubicBezTo>
                  <a:cubicBezTo>
                    <a:pt x="328639" y="436320"/>
                    <a:pt x="335584" y="405800"/>
                    <a:pt x="338164" y="356191"/>
                  </a:cubicBezTo>
                  <a:lnTo>
                    <a:pt x="353563" y="154"/>
                  </a:lnTo>
                  <a:lnTo>
                    <a:pt x="557874" y="154"/>
                  </a:lnTo>
                  <a:lnTo>
                    <a:pt x="542436" y="324441"/>
                  </a:lnTo>
                  <a:cubicBezTo>
                    <a:pt x="539539" y="377543"/>
                    <a:pt x="527355" y="415167"/>
                    <a:pt x="506042" y="437709"/>
                  </a:cubicBezTo>
                  <a:cubicBezTo>
                    <a:pt x="484770" y="460172"/>
                    <a:pt x="452782" y="476285"/>
                    <a:pt x="410118" y="486207"/>
                  </a:cubicBezTo>
                  <a:cubicBezTo>
                    <a:pt x="465561" y="493549"/>
                    <a:pt x="507551" y="512838"/>
                    <a:pt x="536165" y="544270"/>
                  </a:cubicBezTo>
                  <a:cubicBezTo>
                    <a:pt x="564740" y="575703"/>
                    <a:pt x="578988" y="617017"/>
                    <a:pt x="578988" y="668175"/>
                  </a:cubicBezTo>
                  <a:lnTo>
                    <a:pt x="578988" y="829425"/>
                  </a:lnTo>
                  <a:cubicBezTo>
                    <a:pt x="578988" y="894433"/>
                    <a:pt x="586807" y="933803"/>
                    <a:pt x="602364" y="947575"/>
                  </a:cubicBezTo>
                  <a:cubicBezTo>
                    <a:pt x="617922" y="961346"/>
                    <a:pt x="646417" y="968252"/>
                    <a:pt x="687811" y="968252"/>
                  </a:cubicBezTo>
                  <a:lnTo>
                    <a:pt x="687811" y="1091442"/>
                  </a:lnTo>
                  <a:close/>
                </a:path>
              </a:pathLst>
            </a:custGeom>
            <a:solidFill>
              <a:srgbClr val="007236"/>
            </a:solidFill>
            <a:ln w="39688" cap="flat">
              <a:noFill/>
              <a:prstDash val="solid"/>
              <a:round/>
            </a:ln>
          </p:spPr>
          <p:txBody>
            <a:bodyPr rtlCol="0" anchor="ctr"/>
            <a:lstStyle/>
            <a:p>
              <a:pPr rtl="0"/>
              <a:endParaRPr lang="en-US"/>
            </a:p>
          </p:txBody>
        </p:sp>
        <p:sp>
          <p:nvSpPr>
            <p:cNvPr id="7" name="Freeform: Shape 6">
              <a:extLst>
                <a:ext uri="{FF2B5EF4-FFF2-40B4-BE49-F238E27FC236}">
                  <a16:creationId xmlns:a16="http://schemas.microsoft.com/office/drawing/2014/main" id="{53F79EB2-E634-9B99-BF10-BA9D9FBB5F02}"/>
                </a:ext>
              </a:extLst>
            </p:cNvPr>
            <p:cNvSpPr/>
            <p:nvPr/>
          </p:nvSpPr>
          <p:spPr>
            <a:xfrm>
              <a:off x="3171844" y="-1521035"/>
              <a:ext cx="509826" cy="854829"/>
            </a:xfrm>
            <a:custGeom>
              <a:avLst/>
              <a:gdLst>
                <a:gd name="connsiteX0" fmla="*/ 341398 w 509826"/>
                <a:gd name="connsiteY0" fmla="*/ 319510 h 854829"/>
                <a:gd name="connsiteX1" fmla="*/ 329810 w 509826"/>
                <a:gd name="connsiteY1" fmla="*/ 169530 h 854829"/>
                <a:gd name="connsiteX2" fmla="*/ 276470 w 509826"/>
                <a:gd name="connsiteY2" fmla="*/ 129049 h 854829"/>
                <a:gd name="connsiteX3" fmla="*/ 224360 w 509826"/>
                <a:gd name="connsiteY3" fmla="*/ 164927 h 854829"/>
                <a:gd name="connsiteX4" fmla="*/ 212136 w 509826"/>
                <a:gd name="connsiteY4" fmla="*/ 319510 h 854829"/>
                <a:gd name="connsiteX5" fmla="*/ 341398 w 509826"/>
                <a:gd name="connsiteY5" fmla="*/ 319510 h 854829"/>
                <a:gd name="connsiteX6" fmla="*/ 510269 w 509826"/>
                <a:gd name="connsiteY6" fmla="*/ 439366 h 854829"/>
                <a:gd name="connsiteX7" fmla="*/ 211501 w 509826"/>
                <a:gd name="connsiteY7" fmla="*/ 439366 h 854829"/>
                <a:gd name="connsiteX8" fmla="*/ 225511 w 509826"/>
                <a:gd name="connsiteY8" fmla="*/ 675427 h 854829"/>
                <a:gd name="connsiteX9" fmla="*/ 284248 w 509826"/>
                <a:gd name="connsiteY9" fmla="*/ 726148 h 854829"/>
                <a:gd name="connsiteX10" fmla="*/ 328976 w 509826"/>
                <a:gd name="connsiteY10" fmla="*/ 706979 h 854829"/>
                <a:gd name="connsiteX11" fmla="*/ 343661 w 509826"/>
                <a:gd name="connsiteY11" fmla="*/ 639907 h 854829"/>
                <a:gd name="connsiteX12" fmla="*/ 490227 w 509826"/>
                <a:gd name="connsiteY12" fmla="*/ 639907 h 854829"/>
                <a:gd name="connsiteX13" fmla="*/ 434545 w 509826"/>
                <a:gd name="connsiteY13" fmla="*/ 802705 h 854829"/>
                <a:gd name="connsiteX14" fmla="*/ 262301 w 509826"/>
                <a:gd name="connsiteY14" fmla="*/ 855013 h 854829"/>
                <a:gd name="connsiteX15" fmla="*/ 67038 w 509826"/>
                <a:gd name="connsiteY15" fmla="*/ 747301 h 854829"/>
                <a:gd name="connsiteX16" fmla="*/ 443 w 509826"/>
                <a:gd name="connsiteY16" fmla="*/ 426904 h 854829"/>
                <a:gd name="connsiteX17" fmla="*/ 69618 w 509826"/>
                <a:gd name="connsiteY17" fmla="*/ 107856 h 854829"/>
                <a:gd name="connsiteX18" fmla="*/ 277819 w 509826"/>
                <a:gd name="connsiteY18" fmla="*/ 184 h 854829"/>
                <a:gd name="connsiteX19" fmla="*/ 453833 w 509826"/>
                <a:gd name="connsiteY19" fmla="*/ 86425 h 854829"/>
                <a:gd name="connsiteX20" fmla="*/ 510269 w 509826"/>
                <a:gd name="connsiteY20" fmla="*/ 345068 h 854829"/>
                <a:gd name="connsiteX21" fmla="*/ 510269 w 509826"/>
                <a:gd name="connsiteY21" fmla="*/ 439366 h 854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09826" h="854829">
                  <a:moveTo>
                    <a:pt x="341398" y="319510"/>
                  </a:moveTo>
                  <a:cubicBezTo>
                    <a:pt x="341398" y="246485"/>
                    <a:pt x="337588" y="196478"/>
                    <a:pt x="329810" y="169530"/>
                  </a:cubicBezTo>
                  <a:cubicBezTo>
                    <a:pt x="322071" y="142503"/>
                    <a:pt x="304330" y="129049"/>
                    <a:pt x="276470" y="129049"/>
                  </a:cubicBezTo>
                  <a:cubicBezTo>
                    <a:pt x="249879" y="129049"/>
                    <a:pt x="232496" y="140955"/>
                    <a:pt x="224360" y="164927"/>
                  </a:cubicBezTo>
                  <a:cubicBezTo>
                    <a:pt x="216224" y="188938"/>
                    <a:pt x="212136" y="240412"/>
                    <a:pt x="212136" y="319510"/>
                  </a:cubicBezTo>
                  <a:lnTo>
                    <a:pt x="341398" y="319510"/>
                  </a:lnTo>
                  <a:close/>
                  <a:moveTo>
                    <a:pt x="510269" y="439366"/>
                  </a:moveTo>
                  <a:lnTo>
                    <a:pt x="211501" y="439366"/>
                  </a:lnTo>
                  <a:cubicBezTo>
                    <a:pt x="211501" y="562953"/>
                    <a:pt x="216145" y="641574"/>
                    <a:pt x="225511" y="675427"/>
                  </a:cubicBezTo>
                  <a:cubicBezTo>
                    <a:pt x="234877" y="709241"/>
                    <a:pt x="254483" y="726148"/>
                    <a:pt x="284248" y="726148"/>
                  </a:cubicBezTo>
                  <a:cubicBezTo>
                    <a:pt x="304291" y="726148"/>
                    <a:pt x="319213" y="719719"/>
                    <a:pt x="328976" y="706979"/>
                  </a:cubicBezTo>
                  <a:cubicBezTo>
                    <a:pt x="338779" y="694081"/>
                    <a:pt x="343661" y="671697"/>
                    <a:pt x="343661" y="639907"/>
                  </a:cubicBezTo>
                  <a:lnTo>
                    <a:pt x="490227" y="639907"/>
                  </a:lnTo>
                  <a:cubicBezTo>
                    <a:pt x="490227" y="713567"/>
                    <a:pt x="471772" y="767820"/>
                    <a:pt x="434545" y="802705"/>
                  </a:cubicBezTo>
                  <a:cubicBezTo>
                    <a:pt x="397397" y="837551"/>
                    <a:pt x="340009" y="855013"/>
                    <a:pt x="262301" y="855013"/>
                  </a:cubicBezTo>
                  <a:cubicBezTo>
                    <a:pt x="176536" y="855013"/>
                    <a:pt x="111449" y="819096"/>
                    <a:pt x="67038" y="747301"/>
                  </a:cubicBezTo>
                  <a:cubicBezTo>
                    <a:pt x="22668" y="675546"/>
                    <a:pt x="443" y="568747"/>
                    <a:pt x="443" y="426904"/>
                  </a:cubicBezTo>
                  <a:cubicBezTo>
                    <a:pt x="443" y="285974"/>
                    <a:pt x="23541" y="179611"/>
                    <a:pt x="69618" y="107856"/>
                  </a:cubicBezTo>
                  <a:cubicBezTo>
                    <a:pt x="115735" y="36061"/>
                    <a:pt x="185109" y="184"/>
                    <a:pt x="277819" y="184"/>
                  </a:cubicBezTo>
                  <a:cubicBezTo>
                    <a:pt x="357591" y="184"/>
                    <a:pt x="416328" y="28917"/>
                    <a:pt x="453833" y="86425"/>
                  </a:cubicBezTo>
                  <a:cubicBezTo>
                    <a:pt x="491457" y="143892"/>
                    <a:pt x="510269" y="230133"/>
                    <a:pt x="510269" y="345068"/>
                  </a:cubicBezTo>
                  <a:lnTo>
                    <a:pt x="510269" y="439366"/>
                  </a:lnTo>
                  <a:close/>
                </a:path>
              </a:pathLst>
            </a:custGeom>
            <a:solidFill>
              <a:srgbClr val="007236"/>
            </a:solidFill>
            <a:ln w="39688" cap="flat">
              <a:noFill/>
              <a:prstDash val="solid"/>
              <a:round/>
            </a:ln>
          </p:spPr>
          <p:txBody>
            <a:bodyPr rtlCol="0" anchor="ctr"/>
            <a:lstStyle/>
            <a:p>
              <a:pPr rtl="0"/>
              <a:endParaRPr lang="en-US"/>
            </a:p>
          </p:txBody>
        </p:sp>
        <p:sp>
          <p:nvSpPr>
            <p:cNvPr id="14" name="Freeform: Shape 13">
              <a:extLst>
                <a:ext uri="{FF2B5EF4-FFF2-40B4-BE49-F238E27FC236}">
                  <a16:creationId xmlns:a16="http://schemas.microsoft.com/office/drawing/2014/main" id="{0368828B-C05A-C9D9-6742-B8C9B8EBB568}"/>
                </a:ext>
              </a:extLst>
            </p:cNvPr>
            <p:cNvSpPr/>
            <p:nvPr/>
          </p:nvSpPr>
          <p:spPr>
            <a:xfrm>
              <a:off x="3776682" y="-1521039"/>
              <a:ext cx="545267" cy="846971"/>
            </a:xfrm>
            <a:custGeom>
              <a:avLst/>
              <a:gdLst>
                <a:gd name="connsiteX0" fmla="*/ 545780 w 545267"/>
                <a:gd name="connsiteY0" fmla="*/ 847142 h 846971"/>
                <a:gd name="connsiteX1" fmla="*/ 341429 w 545267"/>
                <a:gd name="connsiteY1" fmla="*/ 847142 h 846971"/>
                <a:gd name="connsiteX2" fmla="*/ 341429 w 545267"/>
                <a:gd name="connsiteY2" fmla="*/ 208688 h 846971"/>
                <a:gd name="connsiteX3" fmla="*/ 321982 w 545267"/>
                <a:gd name="connsiteY3" fmla="*/ 154316 h 846971"/>
                <a:gd name="connsiteX4" fmla="*/ 268920 w 545267"/>
                <a:gd name="connsiteY4" fmla="*/ 136854 h 846971"/>
                <a:gd name="connsiteX5" fmla="*/ 235542 w 545267"/>
                <a:gd name="connsiteY5" fmla="*/ 139791 h 846971"/>
                <a:gd name="connsiteX6" fmla="*/ 204824 w 545267"/>
                <a:gd name="connsiteY6" fmla="*/ 147808 h 846971"/>
                <a:gd name="connsiteX7" fmla="*/ 204824 w 545267"/>
                <a:gd name="connsiteY7" fmla="*/ 847142 h 846971"/>
                <a:gd name="connsiteX8" fmla="*/ 513 w 545267"/>
                <a:gd name="connsiteY8" fmla="*/ 847142 h 846971"/>
                <a:gd name="connsiteX9" fmla="*/ 513 w 545267"/>
                <a:gd name="connsiteY9" fmla="*/ 11282 h 846971"/>
                <a:gd name="connsiteX10" fmla="*/ 168153 w 545267"/>
                <a:gd name="connsiteY10" fmla="*/ 11282 h 846971"/>
                <a:gd name="connsiteX11" fmla="*/ 180456 w 545267"/>
                <a:gd name="connsiteY11" fmla="*/ 47279 h 846971"/>
                <a:gd name="connsiteX12" fmla="*/ 261062 w 545267"/>
                <a:gd name="connsiteY12" fmla="*/ 10806 h 846971"/>
                <a:gd name="connsiteX13" fmla="*/ 347422 w 545267"/>
                <a:gd name="connsiteY13" fmla="*/ 170 h 846971"/>
                <a:gd name="connsiteX14" fmla="*/ 493472 w 545267"/>
                <a:gd name="connsiteY14" fmla="*/ 52200 h 846971"/>
                <a:gd name="connsiteX15" fmla="*/ 545780 w 545267"/>
                <a:gd name="connsiteY15" fmla="*/ 200592 h 846971"/>
                <a:gd name="connsiteX16" fmla="*/ 545780 w 545267"/>
                <a:gd name="connsiteY16" fmla="*/ 847142 h 846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45267" h="846971">
                  <a:moveTo>
                    <a:pt x="545780" y="847142"/>
                  </a:moveTo>
                  <a:lnTo>
                    <a:pt x="341429" y="847142"/>
                  </a:lnTo>
                  <a:lnTo>
                    <a:pt x="341429" y="208688"/>
                  </a:lnTo>
                  <a:cubicBezTo>
                    <a:pt x="341429" y="184042"/>
                    <a:pt x="334960" y="165945"/>
                    <a:pt x="321982" y="154316"/>
                  </a:cubicBezTo>
                  <a:cubicBezTo>
                    <a:pt x="309083" y="142648"/>
                    <a:pt x="291343" y="136854"/>
                    <a:pt x="268920" y="136854"/>
                  </a:cubicBezTo>
                  <a:cubicBezTo>
                    <a:pt x="258958" y="136854"/>
                    <a:pt x="247885" y="137767"/>
                    <a:pt x="235542" y="139791"/>
                  </a:cubicBezTo>
                  <a:cubicBezTo>
                    <a:pt x="223239" y="141656"/>
                    <a:pt x="213000" y="144355"/>
                    <a:pt x="204824" y="147808"/>
                  </a:cubicBezTo>
                  <a:lnTo>
                    <a:pt x="204824" y="847142"/>
                  </a:lnTo>
                  <a:lnTo>
                    <a:pt x="513" y="847142"/>
                  </a:lnTo>
                  <a:lnTo>
                    <a:pt x="513" y="11282"/>
                  </a:lnTo>
                  <a:lnTo>
                    <a:pt x="168153" y="11282"/>
                  </a:lnTo>
                  <a:lnTo>
                    <a:pt x="180456" y="47279"/>
                  </a:lnTo>
                  <a:cubicBezTo>
                    <a:pt x="209190" y="30134"/>
                    <a:pt x="236019" y="17910"/>
                    <a:pt x="261062" y="10806"/>
                  </a:cubicBezTo>
                  <a:cubicBezTo>
                    <a:pt x="286065" y="3662"/>
                    <a:pt x="314878" y="170"/>
                    <a:pt x="347422" y="170"/>
                  </a:cubicBezTo>
                  <a:cubicBezTo>
                    <a:pt x="409850" y="170"/>
                    <a:pt x="458547" y="17474"/>
                    <a:pt x="493472" y="52200"/>
                  </a:cubicBezTo>
                  <a:cubicBezTo>
                    <a:pt x="528357" y="86887"/>
                    <a:pt x="545780" y="136377"/>
                    <a:pt x="545780" y="200592"/>
                  </a:cubicBezTo>
                  <a:lnTo>
                    <a:pt x="545780" y="847142"/>
                  </a:lnTo>
                  <a:close/>
                </a:path>
              </a:pathLst>
            </a:custGeom>
            <a:solidFill>
              <a:srgbClr val="007236"/>
            </a:solidFill>
            <a:ln w="39688" cap="flat">
              <a:noFill/>
              <a:prstDash val="solid"/>
              <a:round/>
            </a:ln>
          </p:spPr>
          <p:txBody>
            <a:bodyPr rtlCol="0" anchor="ctr"/>
            <a:lstStyle/>
            <a:p>
              <a:pPr rtl="0"/>
              <a:endParaRPr lang="en-US"/>
            </a:p>
          </p:txBody>
        </p:sp>
        <p:sp>
          <p:nvSpPr>
            <p:cNvPr id="15" name="Freeform: Shape 14">
              <a:extLst>
                <a:ext uri="{FF2B5EF4-FFF2-40B4-BE49-F238E27FC236}">
                  <a16:creationId xmlns:a16="http://schemas.microsoft.com/office/drawing/2014/main" id="{22CB1C88-8E11-87D7-FC33-4A724424828C}"/>
                </a:ext>
              </a:extLst>
            </p:cNvPr>
            <p:cNvSpPr/>
            <p:nvPr/>
          </p:nvSpPr>
          <p:spPr>
            <a:xfrm rot="10800000" flipV="1">
              <a:off x="4477405" y="-1765343"/>
              <a:ext cx="217686" cy="1091288"/>
            </a:xfrm>
            <a:custGeom>
              <a:avLst/>
              <a:gdLst>
                <a:gd name="connsiteX0" fmla="*/ 417 w 217686"/>
                <a:gd name="connsiteY0" fmla="*/ 129 h 1091288"/>
                <a:gd name="connsiteX1" fmla="*/ 218103 w 217686"/>
                <a:gd name="connsiteY1" fmla="*/ 129 h 1091288"/>
                <a:gd name="connsiteX2" fmla="*/ 218103 w 217686"/>
                <a:gd name="connsiteY2" fmla="*/ 1091417 h 1091288"/>
                <a:gd name="connsiteX3" fmla="*/ 417 w 217686"/>
                <a:gd name="connsiteY3" fmla="*/ 1091417 h 1091288"/>
              </a:gdLst>
              <a:ahLst/>
              <a:cxnLst>
                <a:cxn ang="0">
                  <a:pos x="connsiteX0" y="connsiteY0"/>
                </a:cxn>
                <a:cxn ang="0">
                  <a:pos x="connsiteX1" y="connsiteY1"/>
                </a:cxn>
                <a:cxn ang="0">
                  <a:pos x="connsiteX2" y="connsiteY2"/>
                </a:cxn>
                <a:cxn ang="0">
                  <a:pos x="connsiteX3" y="connsiteY3"/>
                </a:cxn>
              </a:cxnLst>
              <a:rect l="l" t="t" r="r" b="b"/>
              <a:pathLst>
                <a:path w="217686" h="1091288">
                  <a:moveTo>
                    <a:pt x="417" y="129"/>
                  </a:moveTo>
                  <a:lnTo>
                    <a:pt x="218103" y="129"/>
                  </a:lnTo>
                  <a:lnTo>
                    <a:pt x="218103" y="1091417"/>
                  </a:lnTo>
                  <a:lnTo>
                    <a:pt x="417" y="1091417"/>
                  </a:lnTo>
                  <a:close/>
                </a:path>
              </a:pathLst>
            </a:custGeom>
            <a:solidFill>
              <a:srgbClr val="DA2128"/>
            </a:solidFill>
            <a:ln w="39688" cap="flat">
              <a:noFill/>
              <a:prstDash val="solid"/>
              <a:round/>
            </a:ln>
          </p:spPr>
          <p:txBody>
            <a:bodyPr rtlCol="0" anchor="ctr"/>
            <a:lstStyle/>
            <a:p>
              <a:pPr rtl="0"/>
              <a:endParaRPr lang="en-US"/>
            </a:p>
          </p:txBody>
        </p:sp>
        <p:sp>
          <p:nvSpPr>
            <p:cNvPr id="16" name="Freeform: Shape 15">
              <a:extLst>
                <a:ext uri="{FF2B5EF4-FFF2-40B4-BE49-F238E27FC236}">
                  <a16:creationId xmlns:a16="http://schemas.microsoft.com/office/drawing/2014/main" id="{9015E42B-E4F9-82C6-72B5-8C21D839A3A1}"/>
                </a:ext>
              </a:extLst>
            </p:cNvPr>
            <p:cNvSpPr/>
            <p:nvPr/>
          </p:nvSpPr>
          <p:spPr>
            <a:xfrm>
              <a:off x="4852175" y="-1521039"/>
              <a:ext cx="545306" cy="846971"/>
            </a:xfrm>
            <a:custGeom>
              <a:avLst/>
              <a:gdLst>
                <a:gd name="connsiteX0" fmla="*/ 545932 w 545306"/>
                <a:gd name="connsiteY0" fmla="*/ 847142 h 846971"/>
                <a:gd name="connsiteX1" fmla="*/ 341581 w 545306"/>
                <a:gd name="connsiteY1" fmla="*/ 847142 h 846971"/>
                <a:gd name="connsiteX2" fmla="*/ 341581 w 545306"/>
                <a:gd name="connsiteY2" fmla="*/ 208688 h 846971"/>
                <a:gd name="connsiteX3" fmla="*/ 322174 w 545306"/>
                <a:gd name="connsiteY3" fmla="*/ 154316 h 846971"/>
                <a:gd name="connsiteX4" fmla="*/ 269072 w 545306"/>
                <a:gd name="connsiteY4" fmla="*/ 136854 h 846971"/>
                <a:gd name="connsiteX5" fmla="*/ 235735 w 545306"/>
                <a:gd name="connsiteY5" fmla="*/ 139791 h 846971"/>
                <a:gd name="connsiteX6" fmla="*/ 204937 w 545306"/>
                <a:gd name="connsiteY6" fmla="*/ 147808 h 846971"/>
                <a:gd name="connsiteX7" fmla="*/ 204937 w 545306"/>
                <a:gd name="connsiteY7" fmla="*/ 847142 h 846971"/>
                <a:gd name="connsiteX8" fmla="*/ 626 w 545306"/>
                <a:gd name="connsiteY8" fmla="*/ 847142 h 846971"/>
                <a:gd name="connsiteX9" fmla="*/ 626 w 545306"/>
                <a:gd name="connsiteY9" fmla="*/ 11282 h 846971"/>
                <a:gd name="connsiteX10" fmla="*/ 168306 w 545306"/>
                <a:gd name="connsiteY10" fmla="*/ 11282 h 846971"/>
                <a:gd name="connsiteX11" fmla="*/ 180648 w 545306"/>
                <a:gd name="connsiteY11" fmla="*/ 47279 h 846971"/>
                <a:gd name="connsiteX12" fmla="*/ 261174 w 545306"/>
                <a:gd name="connsiteY12" fmla="*/ 10806 h 846971"/>
                <a:gd name="connsiteX13" fmla="*/ 347534 w 545306"/>
                <a:gd name="connsiteY13" fmla="*/ 170 h 846971"/>
                <a:gd name="connsiteX14" fmla="*/ 493624 w 545306"/>
                <a:gd name="connsiteY14" fmla="*/ 52200 h 846971"/>
                <a:gd name="connsiteX15" fmla="*/ 545932 w 545306"/>
                <a:gd name="connsiteY15" fmla="*/ 200592 h 846971"/>
                <a:gd name="connsiteX16" fmla="*/ 545932 w 545306"/>
                <a:gd name="connsiteY16" fmla="*/ 847142 h 846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45306" h="846971">
                  <a:moveTo>
                    <a:pt x="545932" y="847142"/>
                  </a:moveTo>
                  <a:lnTo>
                    <a:pt x="341581" y="847142"/>
                  </a:lnTo>
                  <a:lnTo>
                    <a:pt x="341581" y="208688"/>
                  </a:lnTo>
                  <a:cubicBezTo>
                    <a:pt x="341581" y="184042"/>
                    <a:pt x="335112" y="165945"/>
                    <a:pt x="322174" y="154316"/>
                  </a:cubicBezTo>
                  <a:cubicBezTo>
                    <a:pt x="309276" y="142648"/>
                    <a:pt x="291535" y="136854"/>
                    <a:pt x="269072" y="136854"/>
                  </a:cubicBezTo>
                  <a:cubicBezTo>
                    <a:pt x="259150" y="136854"/>
                    <a:pt x="247998" y="137767"/>
                    <a:pt x="235735" y="139791"/>
                  </a:cubicBezTo>
                  <a:cubicBezTo>
                    <a:pt x="223432" y="141656"/>
                    <a:pt x="213152" y="144355"/>
                    <a:pt x="204937" y="147808"/>
                  </a:cubicBezTo>
                  <a:lnTo>
                    <a:pt x="204937" y="847142"/>
                  </a:lnTo>
                  <a:lnTo>
                    <a:pt x="626" y="847142"/>
                  </a:lnTo>
                  <a:lnTo>
                    <a:pt x="626" y="11282"/>
                  </a:lnTo>
                  <a:lnTo>
                    <a:pt x="168306" y="11282"/>
                  </a:lnTo>
                  <a:lnTo>
                    <a:pt x="180648" y="47279"/>
                  </a:lnTo>
                  <a:cubicBezTo>
                    <a:pt x="209263" y="30134"/>
                    <a:pt x="236092" y="17910"/>
                    <a:pt x="261174" y="10806"/>
                  </a:cubicBezTo>
                  <a:cubicBezTo>
                    <a:pt x="286217" y="3662"/>
                    <a:pt x="315030" y="170"/>
                    <a:pt x="347534" y="170"/>
                  </a:cubicBezTo>
                  <a:cubicBezTo>
                    <a:pt x="410042" y="170"/>
                    <a:pt x="458739" y="17474"/>
                    <a:pt x="493624" y="52200"/>
                  </a:cubicBezTo>
                  <a:cubicBezTo>
                    <a:pt x="528510" y="86887"/>
                    <a:pt x="545932" y="136377"/>
                    <a:pt x="545932" y="200592"/>
                  </a:cubicBezTo>
                  <a:lnTo>
                    <a:pt x="545932" y="847142"/>
                  </a:lnTo>
                  <a:close/>
                </a:path>
              </a:pathLst>
            </a:custGeom>
            <a:solidFill>
              <a:srgbClr val="DA2128"/>
            </a:solidFill>
            <a:ln w="39688" cap="flat">
              <a:noFill/>
              <a:prstDash val="solid"/>
              <a:round/>
            </a:ln>
          </p:spPr>
          <p:txBody>
            <a:bodyPr rtlCol="0" anchor="ctr"/>
            <a:lstStyle/>
            <a:p>
              <a:pPr rtl="0"/>
              <a:endParaRPr lang="en-US"/>
            </a:p>
          </p:txBody>
        </p:sp>
        <p:sp>
          <p:nvSpPr>
            <p:cNvPr id="18" name="Freeform: Shape 17">
              <a:extLst>
                <a:ext uri="{FF2B5EF4-FFF2-40B4-BE49-F238E27FC236}">
                  <a16:creationId xmlns:a16="http://schemas.microsoft.com/office/drawing/2014/main" id="{221D0A5D-EE93-9CBA-6AB4-D4EDFFBFA564}"/>
                </a:ext>
              </a:extLst>
            </p:cNvPr>
            <p:cNvSpPr/>
            <p:nvPr/>
          </p:nvSpPr>
          <p:spPr>
            <a:xfrm>
              <a:off x="5503011" y="-1509922"/>
              <a:ext cx="545306" cy="835859"/>
            </a:xfrm>
            <a:custGeom>
              <a:avLst/>
              <a:gdLst>
                <a:gd name="connsiteX0" fmla="*/ 546001 w 545306"/>
                <a:gd name="connsiteY0" fmla="*/ 470517 h 835859"/>
                <a:gd name="connsiteX1" fmla="*/ 535801 w 545306"/>
                <a:gd name="connsiteY1" fmla="*/ 551519 h 835859"/>
                <a:gd name="connsiteX2" fmla="*/ 501709 w 545306"/>
                <a:gd name="connsiteY2" fmla="*/ 612519 h 835859"/>
                <a:gd name="connsiteX3" fmla="*/ 322719 w 545306"/>
                <a:gd name="connsiteY3" fmla="*/ 836039 h 835859"/>
                <a:gd name="connsiteX4" fmla="*/ 223976 w 545306"/>
                <a:gd name="connsiteY4" fmla="*/ 836039 h 835859"/>
                <a:gd name="connsiteX5" fmla="*/ 694 w 545306"/>
                <a:gd name="connsiteY5" fmla="*/ 571204 h 835859"/>
                <a:gd name="connsiteX6" fmla="*/ 694 w 545306"/>
                <a:gd name="connsiteY6" fmla="*/ 180 h 835859"/>
                <a:gd name="connsiteX7" fmla="*/ 205045 w 545306"/>
                <a:gd name="connsiteY7" fmla="*/ 180 h 835859"/>
                <a:gd name="connsiteX8" fmla="*/ 205045 w 545306"/>
                <a:gd name="connsiteY8" fmla="*/ 584738 h 835859"/>
                <a:gd name="connsiteX9" fmla="*/ 297200 w 545306"/>
                <a:gd name="connsiteY9" fmla="*/ 697172 h 835859"/>
                <a:gd name="connsiteX10" fmla="*/ 341689 w 545306"/>
                <a:gd name="connsiteY10" fmla="*/ 635180 h 835859"/>
                <a:gd name="connsiteX11" fmla="*/ 341689 w 545306"/>
                <a:gd name="connsiteY11" fmla="*/ 180 h 835859"/>
                <a:gd name="connsiteX12" fmla="*/ 546001 w 545306"/>
                <a:gd name="connsiteY12" fmla="*/ 180 h 835859"/>
                <a:gd name="connsiteX13" fmla="*/ 546001 w 545306"/>
                <a:gd name="connsiteY13" fmla="*/ 470517 h 835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45306" h="835859">
                  <a:moveTo>
                    <a:pt x="546001" y="470517"/>
                  </a:moveTo>
                  <a:cubicBezTo>
                    <a:pt x="546001" y="503656"/>
                    <a:pt x="542588" y="530683"/>
                    <a:pt x="535801" y="551519"/>
                  </a:cubicBezTo>
                  <a:cubicBezTo>
                    <a:pt x="528895" y="572474"/>
                    <a:pt x="517585" y="592834"/>
                    <a:pt x="501709" y="612519"/>
                  </a:cubicBezTo>
                  <a:lnTo>
                    <a:pt x="322719" y="836039"/>
                  </a:lnTo>
                  <a:lnTo>
                    <a:pt x="223976" y="836039"/>
                  </a:lnTo>
                  <a:lnTo>
                    <a:pt x="694" y="571204"/>
                  </a:lnTo>
                  <a:lnTo>
                    <a:pt x="694" y="180"/>
                  </a:lnTo>
                  <a:lnTo>
                    <a:pt x="205045" y="180"/>
                  </a:lnTo>
                  <a:lnTo>
                    <a:pt x="205045" y="584738"/>
                  </a:lnTo>
                  <a:lnTo>
                    <a:pt x="297200" y="697172"/>
                  </a:lnTo>
                  <a:lnTo>
                    <a:pt x="341689" y="635180"/>
                  </a:lnTo>
                  <a:lnTo>
                    <a:pt x="341689" y="180"/>
                  </a:lnTo>
                  <a:lnTo>
                    <a:pt x="546001" y="180"/>
                  </a:lnTo>
                  <a:lnTo>
                    <a:pt x="546001" y="470517"/>
                  </a:lnTo>
                  <a:close/>
                </a:path>
              </a:pathLst>
            </a:custGeom>
            <a:solidFill>
              <a:srgbClr val="DA2128"/>
            </a:solidFill>
            <a:ln w="39688" cap="flat">
              <a:noFill/>
              <a:prstDash val="solid"/>
              <a:round/>
            </a:ln>
          </p:spPr>
          <p:txBody>
            <a:bodyPr rtlCol="0" anchor="ctr"/>
            <a:lstStyle/>
            <a:p>
              <a:pPr rtl="0"/>
              <a:endParaRPr lang="en-US"/>
            </a:p>
          </p:txBody>
        </p:sp>
        <p:sp>
          <p:nvSpPr>
            <p:cNvPr id="19" name="Freeform: Shape 18">
              <a:extLst>
                <a:ext uri="{FF2B5EF4-FFF2-40B4-BE49-F238E27FC236}">
                  <a16:creationId xmlns:a16="http://schemas.microsoft.com/office/drawing/2014/main" id="{E15895BF-845D-C15D-0592-C1ABC0A68D97}"/>
                </a:ext>
              </a:extLst>
            </p:cNvPr>
            <p:cNvSpPr/>
            <p:nvPr/>
          </p:nvSpPr>
          <p:spPr>
            <a:xfrm>
              <a:off x="6133249" y="-1521035"/>
              <a:ext cx="509706" cy="854829"/>
            </a:xfrm>
            <a:custGeom>
              <a:avLst/>
              <a:gdLst>
                <a:gd name="connsiteX0" fmla="*/ 341630 w 509706"/>
                <a:gd name="connsiteY0" fmla="*/ 319510 h 854829"/>
                <a:gd name="connsiteX1" fmla="*/ 330081 w 509706"/>
                <a:gd name="connsiteY1" fmla="*/ 169530 h 854829"/>
                <a:gd name="connsiteX2" fmla="*/ 276701 w 509706"/>
                <a:gd name="connsiteY2" fmla="*/ 129049 h 854829"/>
                <a:gd name="connsiteX3" fmla="*/ 224591 w 509706"/>
                <a:gd name="connsiteY3" fmla="*/ 164927 h 854829"/>
                <a:gd name="connsiteX4" fmla="*/ 212368 w 509706"/>
                <a:gd name="connsiteY4" fmla="*/ 319510 h 854829"/>
                <a:gd name="connsiteX5" fmla="*/ 341630 w 509706"/>
                <a:gd name="connsiteY5" fmla="*/ 319510 h 854829"/>
                <a:gd name="connsiteX6" fmla="*/ 510461 w 509706"/>
                <a:gd name="connsiteY6" fmla="*/ 439366 h 854829"/>
                <a:gd name="connsiteX7" fmla="*/ 211693 w 509706"/>
                <a:gd name="connsiteY7" fmla="*/ 439366 h 854829"/>
                <a:gd name="connsiteX8" fmla="*/ 225703 w 509706"/>
                <a:gd name="connsiteY8" fmla="*/ 675427 h 854829"/>
                <a:gd name="connsiteX9" fmla="*/ 284440 w 509706"/>
                <a:gd name="connsiteY9" fmla="*/ 726148 h 854829"/>
                <a:gd name="connsiteX10" fmla="*/ 329208 w 509706"/>
                <a:gd name="connsiteY10" fmla="*/ 706979 h 854829"/>
                <a:gd name="connsiteX11" fmla="*/ 343892 w 509706"/>
                <a:gd name="connsiteY11" fmla="*/ 639907 h 854829"/>
                <a:gd name="connsiteX12" fmla="*/ 490538 w 509706"/>
                <a:gd name="connsiteY12" fmla="*/ 639907 h 854829"/>
                <a:gd name="connsiteX13" fmla="*/ 434777 w 509706"/>
                <a:gd name="connsiteY13" fmla="*/ 802705 h 854829"/>
                <a:gd name="connsiteX14" fmla="*/ 262612 w 509706"/>
                <a:gd name="connsiteY14" fmla="*/ 855013 h 854829"/>
                <a:gd name="connsiteX15" fmla="*/ 67270 w 509706"/>
                <a:gd name="connsiteY15" fmla="*/ 747301 h 854829"/>
                <a:gd name="connsiteX16" fmla="*/ 754 w 509706"/>
                <a:gd name="connsiteY16" fmla="*/ 426904 h 854829"/>
                <a:gd name="connsiteX17" fmla="*/ 69850 w 509706"/>
                <a:gd name="connsiteY17" fmla="*/ 107856 h 854829"/>
                <a:gd name="connsiteX18" fmla="*/ 277971 w 509706"/>
                <a:gd name="connsiteY18" fmla="*/ 184 h 854829"/>
                <a:gd name="connsiteX19" fmla="*/ 454104 w 509706"/>
                <a:gd name="connsiteY19" fmla="*/ 86425 h 854829"/>
                <a:gd name="connsiteX20" fmla="*/ 510461 w 509706"/>
                <a:gd name="connsiteY20" fmla="*/ 345068 h 854829"/>
                <a:gd name="connsiteX21" fmla="*/ 510461 w 509706"/>
                <a:gd name="connsiteY21" fmla="*/ 439366 h 854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09706" h="854829">
                  <a:moveTo>
                    <a:pt x="341630" y="319510"/>
                  </a:moveTo>
                  <a:cubicBezTo>
                    <a:pt x="341630" y="246485"/>
                    <a:pt x="337780" y="196478"/>
                    <a:pt x="330081" y="169530"/>
                  </a:cubicBezTo>
                  <a:cubicBezTo>
                    <a:pt x="322342" y="142503"/>
                    <a:pt x="304482" y="129049"/>
                    <a:pt x="276701" y="129049"/>
                  </a:cubicBezTo>
                  <a:cubicBezTo>
                    <a:pt x="250110" y="129049"/>
                    <a:pt x="232727" y="140955"/>
                    <a:pt x="224591" y="164927"/>
                  </a:cubicBezTo>
                  <a:cubicBezTo>
                    <a:pt x="216416" y="188938"/>
                    <a:pt x="212368" y="240412"/>
                    <a:pt x="212368" y="319510"/>
                  </a:cubicBezTo>
                  <a:lnTo>
                    <a:pt x="341630" y="319510"/>
                  </a:lnTo>
                  <a:close/>
                  <a:moveTo>
                    <a:pt x="510461" y="439366"/>
                  </a:moveTo>
                  <a:lnTo>
                    <a:pt x="211693" y="439366"/>
                  </a:lnTo>
                  <a:cubicBezTo>
                    <a:pt x="211693" y="562953"/>
                    <a:pt x="216376" y="641574"/>
                    <a:pt x="225703" y="675427"/>
                  </a:cubicBezTo>
                  <a:cubicBezTo>
                    <a:pt x="235109" y="709241"/>
                    <a:pt x="254754" y="726148"/>
                    <a:pt x="284440" y="726148"/>
                  </a:cubicBezTo>
                  <a:cubicBezTo>
                    <a:pt x="304482" y="726148"/>
                    <a:pt x="319445" y="719719"/>
                    <a:pt x="329208" y="706979"/>
                  </a:cubicBezTo>
                  <a:cubicBezTo>
                    <a:pt x="338971" y="694081"/>
                    <a:pt x="343892" y="671697"/>
                    <a:pt x="343892" y="639907"/>
                  </a:cubicBezTo>
                  <a:lnTo>
                    <a:pt x="490538" y="639907"/>
                  </a:lnTo>
                  <a:cubicBezTo>
                    <a:pt x="490538" y="713567"/>
                    <a:pt x="471884" y="767820"/>
                    <a:pt x="434777" y="802705"/>
                  </a:cubicBezTo>
                  <a:cubicBezTo>
                    <a:pt x="397669" y="837551"/>
                    <a:pt x="340201" y="855013"/>
                    <a:pt x="262612" y="855013"/>
                  </a:cubicBezTo>
                  <a:cubicBezTo>
                    <a:pt x="176808" y="855013"/>
                    <a:pt x="111641" y="819096"/>
                    <a:pt x="67270" y="747301"/>
                  </a:cubicBezTo>
                  <a:cubicBezTo>
                    <a:pt x="22939" y="675546"/>
                    <a:pt x="754" y="568747"/>
                    <a:pt x="754" y="426904"/>
                  </a:cubicBezTo>
                  <a:cubicBezTo>
                    <a:pt x="754" y="285974"/>
                    <a:pt x="23772" y="179611"/>
                    <a:pt x="69850" y="107856"/>
                  </a:cubicBezTo>
                  <a:cubicBezTo>
                    <a:pt x="115927" y="36061"/>
                    <a:pt x="185340" y="184"/>
                    <a:pt x="277971" y="184"/>
                  </a:cubicBezTo>
                  <a:cubicBezTo>
                    <a:pt x="357822" y="184"/>
                    <a:pt x="416520" y="28917"/>
                    <a:pt x="454104" y="86425"/>
                  </a:cubicBezTo>
                  <a:cubicBezTo>
                    <a:pt x="491649" y="143892"/>
                    <a:pt x="510461" y="230133"/>
                    <a:pt x="510461" y="345068"/>
                  </a:cubicBezTo>
                  <a:lnTo>
                    <a:pt x="510461" y="439366"/>
                  </a:lnTo>
                  <a:close/>
                </a:path>
              </a:pathLst>
            </a:custGeom>
            <a:solidFill>
              <a:srgbClr val="DA2128"/>
            </a:solidFill>
            <a:ln w="39688" cap="flat">
              <a:noFill/>
              <a:prstDash val="solid"/>
              <a:round/>
            </a:ln>
          </p:spPr>
          <p:txBody>
            <a:bodyPr rtlCol="0" anchor="ctr"/>
            <a:lstStyle/>
            <a:p>
              <a:pPr rtl="0"/>
              <a:endParaRPr lang="en-US"/>
            </a:p>
          </p:txBody>
        </p:sp>
        <p:sp>
          <p:nvSpPr>
            <p:cNvPr id="22" name="Freeform: Shape 21">
              <a:extLst>
                <a:ext uri="{FF2B5EF4-FFF2-40B4-BE49-F238E27FC236}">
                  <a16:creationId xmlns:a16="http://schemas.microsoft.com/office/drawing/2014/main" id="{ACC008E3-5A3F-A95C-70FE-5440265634A7}"/>
                </a:ext>
              </a:extLst>
            </p:cNvPr>
            <p:cNvSpPr/>
            <p:nvPr/>
          </p:nvSpPr>
          <p:spPr>
            <a:xfrm>
              <a:off x="6713480" y="-1521035"/>
              <a:ext cx="469781" cy="854829"/>
            </a:xfrm>
            <a:custGeom>
              <a:avLst/>
              <a:gdLst>
                <a:gd name="connsiteX0" fmla="*/ 470598 w 469781"/>
                <a:gd name="connsiteY0" fmla="*/ 630493 h 854829"/>
                <a:gd name="connsiteX1" fmla="*/ 408050 w 469781"/>
                <a:gd name="connsiteY1" fmla="*/ 795752 h 854829"/>
                <a:gd name="connsiteX2" fmla="*/ 236640 w 469781"/>
                <a:gd name="connsiteY2" fmla="*/ 855006 h 854829"/>
                <a:gd name="connsiteX3" fmla="*/ 60030 w 469781"/>
                <a:gd name="connsiteY3" fmla="*/ 799800 h 854829"/>
                <a:gd name="connsiteX4" fmla="*/ 816 w 469781"/>
                <a:gd name="connsiteY4" fmla="*/ 634264 h 854829"/>
                <a:gd name="connsiteX5" fmla="*/ 166234 w 469781"/>
                <a:gd name="connsiteY5" fmla="*/ 634264 h 854829"/>
                <a:gd name="connsiteX6" fmla="*/ 182665 w 469781"/>
                <a:gd name="connsiteY6" fmla="*/ 699946 h 854829"/>
                <a:gd name="connsiteX7" fmla="*/ 231242 w 469781"/>
                <a:gd name="connsiteY7" fmla="*/ 720584 h 854829"/>
                <a:gd name="connsiteX8" fmla="*/ 277478 w 469781"/>
                <a:gd name="connsiteY8" fmla="*/ 704352 h 854829"/>
                <a:gd name="connsiteX9" fmla="*/ 292956 w 469781"/>
                <a:gd name="connsiteY9" fmla="*/ 655695 h 854829"/>
                <a:gd name="connsiteX10" fmla="*/ 260531 w 469781"/>
                <a:gd name="connsiteY10" fmla="*/ 591004 h 854829"/>
                <a:gd name="connsiteX11" fmla="*/ 154407 w 469781"/>
                <a:gd name="connsiteY11" fmla="*/ 491984 h 854829"/>
                <a:gd name="connsiteX12" fmla="*/ 35781 w 469781"/>
                <a:gd name="connsiteY12" fmla="*/ 350220 h 854829"/>
                <a:gd name="connsiteX13" fmla="*/ 10778 w 469781"/>
                <a:gd name="connsiteY13" fmla="*/ 201352 h 854829"/>
                <a:gd name="connsiteX14" fmla="*/ 73960 w 469781"/>
                <a:gd name="connsiteY14" fmla="*/ 54826 h 854829"/>
                <a:gd name="connsiteX15" fmla="*/ 240331 w 469781"/>
                <a:gd name="connsiteY15" fmla="*/ 176 h 854829"/>
                <a:gd name="connsiteX16" fmla="*/ 408923 w 469781"/>
                <a:gd name="connsiteY16" fmla="*/ 56453 h 854829"/>
                <a:gd name="connsiteX17" fmla="*/ 467264 w 469781"/>
                <a:gd name="connsiteY17" fmla="*/ 216433 h 854829"/>
                <a:gd name="connsiteX18" fmla="*/ 303989 w 469781"/>
                <a:gd name="connsiteY18" fmla="*/ 216433 h 854829"/>
                <a:gd name="connsiteX19" fmla="*/ 287400 w 469781"/>
                <a:gd name="connsiteY19" fmla="*/ 155632 h 854829"/>
                <a:gd name="connsiteX20" fmla="*/ 241521 w 469781"/>
                <a:gd name="connsiteY20" fmla="*/ 132375 h 854829"/>
                <a:gd name="connsiteX21" fmla="*/ 200365 w 469781"/>
                <a:gd name="connsiteY21" fmla="*/ 147536 h 854829"/>
                <a:gd name="connsiteX22" fmla="*/ 184014 w 469781"/>
                <a:gd name="connsiteY22" fmla="*/ 191033 h 854829"/>
                <a:gd name="connsiteX23" fmla="*/ 202945 w 469781"/>
                <a:gd name="connsiteY23" fmla="*/ 257391 h 854829"/>
                <a:gd name="connsiteX24" fmla="*/ 319071 w 469781"/>
                <a:gd name="connsiteY24" fmla="*/ 375501 h 854829"/>
                <a:gd name="connsiteX25" fmla="*/ 437736 w 469781"/>
                <a:gd name="connsiteY25" fmla="*/ 506549 h 854829"/>
                <a:gd name="connsiteX26" fmla="*/ 470598 w 469781"/>
                <a:gd name="connsiteY26" fmla="*/ 630493 h 854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69781" h="854829">
                  <a:moveTo>
                    <a:pt x="470598" y="630493"/>
                  </a:moveTo>
                  <a:cubicBezTo>
                    <a:pt x="470598" y="701177"/>
                    <a:pt x="449762" y="756342"/>
                    <a:pt x="408050" y="795752"/>
                  </a:cubicBezTo>
                  <a:cubicBezTo>
                    <a:pt x="366418" y="835281"/>
                    <a:pt x="309347" y="855006"/>
                    <a:pt x="236640" y="855006"/>
                  </a:cubicBezTo>
                  <a:cubicBezTo>
                    <a:pt x="158455" y="855006"/>
                    <a:pt x="99559" y="836630"/>
                    <a:pt x="60030" y="799800"/>
                  </a:cubicBezTo>
                  <a:cubicBezTo>
                    <a:pt x="20501" y="763050"/>
                    <a:pt x="816" y="707884"/>
                    <a:pt x="816" y="634264"/>
                  </a:cubicBezTo>
                  <a:lnTo>
                    <a:pt x="166234" y="634264"/>
                  </a:lnTo>
                  <a:cubicBezTo>
                    <a:pt x="166234" y="664347"/>
                    <a:pt x="171790" y="686254"/>
                    <a:pt x="182665" y="699946"/>
                  </a:cubicBezTo>
                  <a:cubicBezTo>
                    <a:pt x="193618" y="713718"/>
                    <a:pt x="209731" y="720584"/>
                    <a:pt x="231242" y="720584"/>
                  </a:cubicBezTo>
                  <a:cubicBezTo>
                    <a:pt x="251721" y="720584"/>
                    <a:pt x="267159" y="715226"/>
                    <a:pt x="277478" y="704352"/>
                  </a:cubicBezTo>
                  <a:cubicBezTo>
                    <a:pt x="287797" y="693517"/>
                    <a:pt x="292956" y="677325"/>
                    <a:pt x="292956" y="655695"/>
                  </a:cubicBezTo>
                  <a:cubicBezTo>
                    <a:pt x="292956" y="635851"/>
                    <a:pt x="282082" y="614261"/>
                    <a:pt x="260531" y="591004"/>
                  </a:cubicBezTo>
                  <a:cubicBezTo>
                    <a:pt x="238902" y="567668"/>
                    <a:pt x="203540" y="534727"/>
                    <a:pt x="154407" y="491984"/>
                  </a:cubicBezTo>
                  <a:cubicBezTo>
                    <a:pt x="92058" y="437652"/>
                    <a:pt x="52450" y="390344"/>
                    <a:pt x="35781" y="350220"/>
                  </a:cubicBezTo>
                  <a:cubicBezTo>
                    <a:pt x="19152" y="310135"/>
                    <a:pt x="10778" y="260486"/>
                    <a:pt x="10778" y="201352"/>
                  </a:cubicBezTo>
                  <a:cubicBezTo>
                    <a:pt x="10778" y="140074"/>
                    <a:pt x="31852" y="91298"/>
                    <a:pt x="73960" y="54826"/>
                  </a:cubicBezTo>
                  <a:cubicBezTo>
                    <a:pt x="116029" y="18392"/>
                    <a:pt x="171512" y="176"/>
                    <a:pt x="240331" y="176"/>
                  </a:cubicBezTo>
                  <a:cubicBezTo>
                    <a:pt x="313792" y="176"/>
                    <a:pt x="370029" y="18948"/>
                    <a:pt x="408923" y="56453"/>
                  </a:cubicBezTo>
                  <a:cubicBezTo>
                    <a:pt x="447857" y="94077"/>
                    <a:pt x="467264" y="147258"/>
                    <a:pt x="467264" y="216433"/>
                  </a:cubicBezTo>
                  <a:lnTo>
                    <a:pt x="303989" y="216433"/>
                  </a:lnTo>
                  <a:cubicBezTo>
                    <a:pt x="303989" y="191430"/>
                    <a:pt x="298473" y="171150"/>
                    <a:pt x="287400" y="155632"/>
                  </a:cubicBezTo>
                  <a:cubicBezTo>
                    <a:pt x="276287" y="140074"/>
                    <a:pt x="261047" y="132375"/>
                    <a:pt x="241521" y="132375"/>
                  </a:cubicBezTo>
                  <a:cubicBezTo>
                    <a:pt x="224892" y="132375"/>
                    <a:pt x="211120" y="137455"/>
                    <a:pt x="200365" y="147536"/>
                  </a:cubicBezTo>
                  <a:cubicBezTo>
                    <a:pt x="189491" y="157656"/>
                    <a:pt x="184014" y="172221"/>
                    <a:pt x="184014" y="191033"/>
                  </a:cubicBezTo>
                  <a:cubicBezTo>
                    <a:pt x="184014" y="213933"/>
                    <a:pt x="190324" y="236039"/>
                    <a:pt x="202945" y="257391"/>
                  </a:cubicBezTo>
                  <a:cubicBezTo>
                    <a:pt x="215526" y="278703"/>
                    <a:pt x="254221" y="318113"/>
                    <a:pt x="319071" y="375501"/>
                  </a:cubicBezTo>
                  <a:cubicBezTo>
                    <a:pt x="376141" y="425944"/>
                    <a:pt x="415710" y="469640"/>
                    <a:pt x="437736" y="506549"/>
                  </a:cubicBezTo>
                  <a:cubicBezTo>
                    <a:pt x="459644" y="543419"/>
                    <a:pt x="470598" y="584773"/>
                    <a:pt x="470598" y="630493"/>
                  </a:cubicBezTo>
                </a:path>
              </a:pathLst>
            </a:custGeom>
            <a:solidFill>
              <a:srgbClr val="DA2128"/>
            </a:solidFill>
            <a:ln w="39688" cap="flat">
              <a:noFill/>
              <a:prstDash val="solid"/>
              <a:round/>
            </a:ln>
          </p:spPr>
          <p:txBody>
            <a:bodyPr rtlCol="0" anchor="ctr"/>
            <a:lstStyle/>
            <a:p>
              <a:pPr rtl="0"/>
              <a:endParaRPr lang="en-US"/>
            </a:p>
          </p:txBody>
        </p:sp>
        <p:sp>
          <p:nvSpPr>
            <p:cNvPr id="23" name="Freeform: Shape 22">
              <a:extLst>
                <a:ext uri="{FF2B5EF4-FFF2-40B4-BE49-F238E27FC236}">
                  <a16:creationId xmlns:a16="http://schemas.microsoft.com/office/drawing/2014/main" id="{FA96E5E6-D2FF-E2D4-F800-7D9AFA8852A2}"/>
                </a:ext>
              </a:extLst>
            </p:cNvPr>
            <p:cNvSpPr/>
            <p:nvPr/>
          </p:nvSpPr>
          <p:spPr>
            <a:xfrm>
              <a:off x="7211916" y="-1765332"/>
              <a:ext cx="410924" cy="1091248"/>
            </a:xfrm>
            <a:custGeom>
              <a:avLst/>
              <a:gdLst>
                <a:gd name="connsiteX0" fmla="*/ 411789 w 410924"/>
                <a:gd name="connsiteY0" fmla="*/ 362043 h 1091248"/>
                <a:gd name="connsiteX1" fmla="*/ 285226 w 410924"/>
                <a:gd name="connsiteY1" fmla="*/ 362043 h 1091248"/>
                <a:gd name="connsiteX2" fmla="*/ 285226 w 410924"/>
                <a:gd name="connsiteY2" fmla="*/ 882585 h 1091248"/>
                <a:gd name="connsiteX3" fmla="*/ 308007 w 410924"/>
                <a:gd name="connsiteY3" fmla="*/ 959777 h 1091248"/>
                <a:gd name="connsiteX4" fmla="*/ 395160 w 410924"/>
                <a:gd name="connsiteY4" fmla="*/ 979383 h 1091248"/>
                <a:gd name="connsiteX5" fmla="*/ 395160 w 410924"/>
                <a:gd name="connsiteY5" fmla="*/ 1091421 h 1091248"/>
                <a:gd name="connsiteX6" fmla="*/ 278558 w 410924"/>
                <a:gd name="connsiteY6" fmla="*/ 1091421 h 1091248"/>
                <a:gd name="connsiteX7" fmla="*/ 129254 w 410924"/>
                <a:gd name="connsiteY7" fmla="*/ 1042049 h 1091248"/>
                <a:gd name="connsiteX8" fmla="*/ 78573 w 410924"/>
                <a:gd name="connsiteY8" fmla="*/ 890761 h 1091248"/>
                <a:gd name="connsiteX9" fmla="*/ 78573 w 410924"/>
                <a:gd name="connsiteY9" fmla="*/ 360932 h 1091248"/>
                <a:gd name="connsiteX10" fmla="*/ 865 w 410924"/>
                <a:gd name="connsiteY10" fmla="*/ 360932 h 1091248"/>
                <a:gd name="connsiteX11" fmla="*/ 865 w 410924"/>
                <a:gd name="connsiteY11" fmla="*/ 255601 h 1091248"/>
                <a:gd name="connsiteX12" fmla="*/ 78573 w 410924"/>
                <a:gd name="connsiteY12" fmla="*/ 255601 h 1091248"/>
                <a:gd name="connsiteX13" fmla="*/ 78573 w 410924"/>
                <a:gd name="connsiteY13" fmla="*/ 172 h 1091248"/>
                <a:gd name="connsiteX14" fmla="*/ 285226 w 410924"/>
                <a:gd name="connsiteY14" fmla="*/ 172 h 1091248"/>
                <a:gd name="connsiteX15" fmla="*/ 285226 w 410924"/>
                <a:gd name="connsiteY15" fmla="*/ 255601 h 1091248"/>
                <a:gd name="connsiteX16" fmla="*/ 411789 w 410924"/>
                <a:gd name="connsiteY16" fmla="*/ 255601 h 1091248"/>
                <a:gd name="connsiteX17" fmla="*/ 411789 w 410924"/>
                <a:gd name="connsiteY17" fmla="*/ 362043 h 1091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10924" h="1091248">
                  <a:moveTo>
                    <a:pt x="411789" y="362043"/>
                  </a:moveTo>
                  <a:lnTo>
                    <a:pt x="285226" y="362043"/>
                  </a:lnTo>
                  <a:lnTo>
                    <a:pt x="285226" y="882585"/>
                  </a:lnTo>
                  <a:cubicBezTo>
                    <a:pt x="285226" y="920804"/>
                    <a:pt x="292846" y="946601"/>
                    <a:pt x="308007" y="959777"/>
                  </a:cubicBezTo>
                  <a:cubicBezTo>
                    <a:pt x="323286" y="972834"/>
                    <a:pt x="352258" y="979383"/>
                    <a:pt x="395160" y="979383"/>
                  </a:cubicBezTo>
                  <a:lnTo>
                    <a:pt x="395160" y="1091421"/>
                  </a:lnTo>
                  <a:lnTo>
                    <a:pt x="278558" y="1091421"/>
                  </a:lnTo>
                  <a:cubicBezTo>
                    <a:pt x="212717" y="1091421"/>
                    <a:pt x="162949" y="1074990"/>
                    <a:pt x="129254" y="1042049"/>
                  </a:cubicBezTo>
                  <a:cubicBezTo>
                    <a:pt x="95480" y="1009188"/>
                    <a:pt x="78573" y="958785"/>
                    <a:pt x="78573" y="890761"/>
                  </a:cubicBezTo>
                  <a:lnTo>
                    <a:pt x="78573" y="360932"/>
                  </a:lnTo>
                  <a:lnTo>
                    <a:pt x="865" y="360932"/>
                  </a:lnTo>
                  <a:lnTo>
                    <a:pt x="865" y="255601"/>
                  </a:lnTo>
                  <a:lnTo>
                    <a:pt x="78573" y="255601"/>
                  </a:lnTo>
                  <a:lnTo>
                    <a:pt x="78573" y="172"/>
                  </a:lnTo>
                  <a:lnTo>
                    <a:pt x="285226" y="172"/>
                  </a:lnTo>
                  <a:lnTo>
                    <a:pt x="285226" y="255601"/>
                  </a:lnTo>
                  <a:lnTo>
                    <a:pt x="411789" y="255601"/>
                  </a:lnTo>
                  <a:lnTo>
                    <a:pt x="411789" y="362043"/>
                  </a:lnTo>
                  <a:close/>
                </a:path>
              </a:pathLst>
            </a:custGeom>
            <a:solidFill>
              <a:srgbClr val="DA2128"/>
            </a:solidFill>
            <a:ln w="39688" cap="flat">
              <a:noFill/>
              <a:prstDash val="solid"/>
              <a:round/>
            </a:ln>
          </p:spPr>
          <p:txBody>
            <a:bodyPr rtlCol="0" anchor="ctr"/>
            <a:lstStyle/>
            <a:p>
              <a:pPr rtl="0"/>
              <a:endParaRPr lang="en-US"/>
            </a:p>
          </p:txBody>
        </p:sp>
        <p:sp>
          <p:nvSpPr>
            <p:cNvPr id="24" name="Freeform: Shape 23">
              <a:extLst>
                <a:ext uri="{FF2B5EF4-FFF2-40B4-BE49-F238E27FC236}">
                  <a16:creationId xmlns:a16="http://schemas.microsoft.com/office/drawing/2014/main" id="{89B38A5D-F29A-DF01-A070-41A4A4850138}"/>
                </a:ext>
              </a:extLst>
            </p:cNvPr>
            <p:cNvSpPr/>
            <p:nvPr/>
          </p:nvSpPr>
          <p:spPr>
            <a:xfrm>
              <a:off x="7095830" y="-2797529"/>
              <a:ext cx="1383824" cy="1566070"/>
            </a:xfrm>
            <a:custGeom>
              <a:avLst/>
              <a:gdLst>
                <a:gd name="connsiteX0" fmla="*/ 1311793 w 1383824"/>
                <a:gd name="connsiteY0" fmla="*/ 1354685 h 1566070"/>
                <a:gd name="connsiteX1" fmla="*/ 1287584 w 1383824"/>
                <a:gd name="connsiteY1" fmla="*/ 1566140 h 1566070"/>
                <a:gd name="connsiteX2" fmla="*/ 1384739 w 1383824"/>
                <a:gd name="connsiteY2" fmla="*/ 1148508 h 1566070"/>
                <a:gd name="connsiteX3" fmla="*/ 914 w 1383824"/>
                <a:gd name="connsiteY3" fmla="*/ 70 h 1566070"/>
                <a:gd name="connsiteX4" fmla="*/ 34410 w 1383824"/>
                <a:gd name="connsiteY4" fmla="*/ 211962 h 1566070"/>
                <a:gd name="connsiteX5" fmla="*/ 1311793 w 1383824"/>
                <a:gd name="connsiteY5" fmla="*/ 1354685 h 1566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3824" h="1566070">
                  <a:moveTo>
                    <a:pt x="1311793" y="1354685"/>
                  </a:moveTo>
                  <a:cubicBezTo>
                    <a:pt x="1311793" y="1426876"/>
                    <a:pt x="1303459" y="1497600"/>
                    <a:pt x="1287584" y="1566140"/>
                  </a:cubicBezTo>
                  <a:cubicBezTo>
                    <a:pt x="1350330" y="1436679"/>
                    <a:pt x="1384739" y="1295868"/>
                    <a:pt x="1384739" y="1148508"/>
                  </a:cubicBezTo>
                  <a:cubicBezTo>
                    <a:pt x="1384739" y="525374"/>
                    <a:pt x="768987" y="18167"/>
                    <a:pt x="914" y="70"/>
                  </a:cubicBezTo>
                  <a:cubicBezTo>
                    <a:pt x="18694" y="68452"/>
                    <a:pt x="29807" y="139413"/>
                    <a:pt x="34410" y="211962"/>
                  </a:cubicBezTo>
                  <a:cubicBezTo>
                    <a:pt x="752159" y="271929"/>
                    <a:pt x="1311793" y="760642"/>
                    <a:pt x="1311793" y="1354685"/>
                  </a:cubicBezTo>
                </a:path>
              </a:pathLst>
            </a:custGeom>
            <a:solidFill>
              <a:srgbClr val="231F20"/>
            </a:solidFill>
            <a:ln w="39688" cap="flat">
              <a:noFill/>
              <a:prstDash val="solid"/>
              <a:round/>
            </a:ln>
          </p:spPr>
          <p:txBody>
            <a:bodyPr rtlCol="0" anchor="ctr"/>
            <a:lstStyle/>
            <a:p>
              <a:pPr rtl="0"/>
              <a:endParaRPr lang="en-US"/>
            </a:p>
          </p:txBody>
        </p:sp>
        <p:sp>
          <p:nvSpPr>
            <p:cNvPr id="25" name="Freeform: Shape 24">
              <a:extLst>
                <a:ext uri="{FF2B5EF4-FFF2-40B4-BE49-F238E27FC236}">
                  <a16:creationId xmlns:a16="http://schemas.microsoft.com/office/drawing/2014/main" id="{73D516CD-AA6C-F845-77F1-7E7FBF75229D}"/>
                </a:ext>
              </a:extLst>
            </p:cNvPr>
            <p:cNvSpPr/>
            <p:nvPr/>
          </p:nvSpPr>
          <p:spPr>
            <a:xfrm>
              <a:off x="5596475" y="-2319807"/>
              <a:ext cx="2625568" cy="1121519"/>
            </a:xfrm>
            <a:custGeom>
              <a:avLst/>
              <a:gdLst>
                <a:gd name="connsiteX0" fmla="*/ 1494808 w 2625568"/>
                <a:gd name="connsiteY0" fmla="*/ 270416 h 1121519"/>
                <a:gd name="connsiteX1" fmla="*/ 2424132 w 2625568"/>
                <a:gd name="connsiteY1" fmla="*/ 1091988 h 1121519"/>
                <a:gd name="connsiteX2" fmla="*/ 2626379 w 2625568"/>
                <a:gd name="connsiteY2" fmla="*/ 1121634 h 1121519"/>
                <a:gd name="connsiteX3" fmla="*/ 1631294 w 2625568"/>
                <a:gd name="connsiteY3" fmla="*/ 100156 h 1121519"/>
                <a:gd name="connsiteX4" fmla="*/ 811 w 2625568"/>
                <a:gd name="connsiteY4" fmla="*/ 517352 h 1121519"/>
                <a:gd name="connsiteX5" fmla="*/ 1494808 w 2625568"/>
                <a:gd name="connsiteY5" fmla="*/ 270416 h 1121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25568" h="1121519">
                  <a:moveTo>
                    <a:pt x="1494808" y="270416"/>
                  </a:moveTo>
                  <a:cubicBezTo>
                    <a:pt x="1938158" y="427102"/>
                    <a:pt x="2271414" y="738848"/>
                    <a:pt x="2424132" y="1091988"/>
                  </a:cubicBezTo>
                  <a:cubicBezTo>
                    <a:pt x="2493347" y="1097147"/>
                    <a:pt x="2561054" y="1106950"/>
                    <a:pt x="2626379" y="1121634"/>
                  </a:cubicBezTo>
                  <a:cubicBezTo>
                    <a:pt x="2527676" y="689437"/>
                    <a:pt x="2156757" y="285934"/>
                    <a:pt x="1631294" y="100156"/>
                  </a:cubicBezTo>
                  <a:cubicBezTo>
                    <a:pt x="972560" y="-132651"/>
                    <a:pt x="291998" y="54873"/>
                    <a:pt x="811" y="517352"/>
                  </a:cubicBezTo>
                  <a:cubicBezTo>
                    <a:pt x="336925" y="182587"/>
                    <a:pt x="924022" y="68684"/>
                    <a:pt x="1494808" y="270416"/>
                  </a:cubicBezTo>
                </a:path>
              </a:pathLst>
            </a:custGeom>
            <a:solidFill>
              <a:srgbClr val="007236"/>
            </a:solidFill>
            <a:ln w="39688" cap="flat">
              <a:noFill/>
              <a:prstDash val="solid"/>
              <a:round/>
            </a:ln>
          </p:spPr>
          <p:txBody>
            <a:bodyPr rtlCol="0" anchor="ctr"/>
            <a:lstStyle/>
            <a:p>
              <a:pPr rtl="0"/>
              <a:endParaRPr lang="en-US"/>
            </a:p>
          </p:txBody>
        </p:sp>
        <p:sp>
          <p:nvSpPr>
            <p:cNvPr id="26" name="Freeform: Shape 25">
              <a:extLst>
                <a:ext uri="{FF2B5EF4-FFF2-40B4-BE49-F238E27FC236}">
                  <a16:creationId xmlns:a16="http://schemas.microsoft.com/office/drawing/2014/main" id="{DB1966BC-BED9-B41D-9E87-B252EA53EF72}"/>
                </a:ext>
              </a:extLst>
            </p:cNvPr>
            <p:cNvSpPr/>
            <p:nvPr/>
          </p:nvSpPr>
          <p:spPr>
            <a:xfrm>
              <a:off x="6313073" y="-2555244"/>
              <a:ext cx="1683029" cy="679481"/>
            </a:xfrm>
            <a:custGeom>
              <a:avLst/>
              <a:gdLst>
                <a:gd name="connsiteX0" fmla="*/ 811 w 1683029"/>
                <a:gd name="connsiteY0" fmla="*/ 160513 h 679481"/>
                <a:gd name="connsiteX1" fmla="*/ 1459089 w 1683029"/>
                <a:gd name="connsiteY1" fmla="*/ 570445 h 679481"/>
                <a:gd name="connsiteX2" fmla="*/ 1561523 w 1683029"/>
                <a:gd name="connsiteY2" fmla="*/ 679546 h 679481"/>
                <a:gd name="connsiteX3" fmla="*/ 1683840 w 1683029"/>
                <a:gd name="connsiteY3" fmla="*/ 504048 h 679481"/>
                <a:gd name="connsiteX4" fmla="*/ 1653916 w 1683029"/>
                <a:gd name="connsiteY4" fmla="*/ 473885 h 679481"/>
                <a:gd name="connsiteX5" fmla="*/ 811 w 1683029"/>
                <a:gd name="connsiteY5" fmla="*/ 160513 h 679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83029" h="679481">
                  <a:moveTo>
                    <a:pt x="811" y="160513"/>
                  </a:moveTo>
                  <a:cubicBezTo>
                    <a:pt x="445271" y="-539"/>
                    <a:pt x="1025424" y="145273"/>
                    <a:pt x="1459089" y="570445"/>
                  </a:cubicBezTo>
                  <a:cubicBezTo>
                    <a:pt x="1495165" y="605727"/>
                    <a:pt x="1529297" y="642200"/>
                    <a:pt x="1561523" y="679546"/>
                  </a:cubicBezTo>
                  <a:cubicBezTo>
                    <a:pt x="1608354" y="624222"/>
                    <a:pt x="1649391" y="565603"/>
                    <a:pt x="1683840" y="504048"/>
                  </a:cubicBezTo>
                  <a:cubicBezTo>
                    <a:pt x="1674037" y="493888"/>
                    <a:pt x="1664115" y="483847"/>
                    <a:pt x="1653916" y="473885"/>
                  </a:cubicBezTo>
                  <a:cubicBezTo>
                    <a:pt x="1153496" y="-16851"/>
                    <a:pt x="457813" y="-135437"/>
                    <a:pt x="811" y="160513"/>
                  </a:cubicBezTo>
                </a:path>
              </a:pathLst>
            </a:custGeom>
            <a:solidFill>
              <a:srgbClr val="DA2128"/>
            </a:solidFill>
            <a:ln w="39688" cap="flat">
              <a:noFill/>
              <a:prstDash val="solid"/>
              <a:round/>
            </a:ln>
          </p:spPr>
          <p:txBody>
            <a:bodyPr rtlCol="0" anchor="ctr"/>
            <a:lstStyle/>
            <a:p>
              <a:pPr rtl="0"/>
              <a:endParaRPr lang="en-US"/>
            </a:p>
          </p:txBody>
        </p:sp>
        <p:pic>
          <p:nvPicPr>
            <p:cNvPr id="27" name="Picture 26">
              <a:extLst>
                <a:ext uri="{FF2B5EF4-FFF2-40B4-BE49-F238E27FC236}">
                  <a16:creationId xmlns:a16="http://schemas.microsoft.com/office/drawing/2014/main" id="{B11F8CEE-533E-E8B4-B1DB-37F0E96E20CA}"/>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770028" y="-2460582"/>
              <a:ext cx="2368021" cy="2229311"/>
            </a:xfrm>
            <a:custGeom>
              <a:avLst/>
              <a:gdLst>
                <a:gd name="connsiteX0" fmla="*/ 0 w 2368021"/>
                <a:gd name="connsiteY0" fmla="*/ 37 h 2229311"/>
                <a:gd name="connsiteX1" fmla="*/ 2368021 w 2368021"/>
                <a:gd name="connsiteY1" fmla="*/ 37 h 2229311"/>
                <a:gd name="connsiteX2" fmla="*/ 2368021 w 2368021"/>
                <a:gd name="connsiteY2" fmla="*/ 2229348 h 2229311"/>
                <a:gd name="connsiteX3" fmla="*/ 0 w 2368021"/>
                <a:gd name="connsiteY3" fmla="*/ 2229348 h 2229311"/>
              </a:gdLst>
              <a:ahLst/>
              <a:cxnLst>
                <a:cxn ang="0">
                  <a:pos x="connsiteX0" y="connsiteY0"/>
                </a:cxn>
                <a:cxn ang="0">
                  <a:pos x="connsiteX1" y="connsiteY1"/>
                </a:cxn>
                <a:cxn ang="0">
                  <a:pos x="connsiteX2" y="connsiteY2"/>
                </a:cxn>
                <a:cxn ang="0">
                  <a:pos x="connsiteX3" y="connsiteY3"/>
                </a:cxn>
              </a:cxnLst>
              <a:rect l="l" t="t" r="r" b="b"/>
              <a:pathLst>
                <a:path w="2368021" h="2229311">
                  <a:moveTo>
                    <a:pt x="0" y="37"/>
                  </a:moveTo>
                  <a:lnTo>
                    <a:pt x="2368021" y="37"/>
                  </a:lnTo>
                  <a:lnTo>
                    <a:pt x="2368021" y="2229348"/>
                  </a:lnTo>
                  <a:lnTo>
                    <a:pt x="0" y="2229348"/>
                  </a:lnTo>
                  <a:close/>
                </a:path>
              </a:pathLst>
            </a:custGeom>
          </p:spPr>
        </p:pic>
        <p:grpSp>
          <p:nvGrpSpPr>
            <p:cNvPr id="28" name="Group 27">
              <a:extLst>
                <a:ext uri="{FF2B5EF4-FFF2-40B4-BE49-F238E27FC236}">
                  <a16:creationId xmlns:a16="http://schemas.microsoft.com/office/drawing/2014/main" id="{482D3830-5315-4205-5507-D1D7C261FDF3}"/>
                </a:ext>
              </a:extLst>
            </p:cNvPr>
            <p:cNvGrpSpPr/>
            <p:nvPr/>
          </p:nvGrpSpPr>
          <p:grpSpPr>
            <a:xfrm>
              <a:off x="1960283" y="-2545858"/>
              <a:ext cx="88879" cy="2339756"/>
              <a:chOff x="19825373" y="2859152"/>
              <a:chExt cx="88879" cy="2339756"/>
            </a:xfrm>
          </p:grpSpPr>
          <p:sp>
            <p:nvSpPr>
              <p:cNvPr id="55" name="Rectangle 54">
                <a:extLst>
                  <a:ext uri="{FF2B5EF4-FFF2-40B4-BE49-F238E27FC236}">
                    <a16:creationId xmlns:a16="http://schemas.microsoft.com/office/drawing/2014/main" id="{8F191522-99BF-D7EF-E189-EFA35D17841D}"/>
                  </a:ext>
                </a:extLst>
              </p:cNvPr>
              <p:cNvSpPr/>
              <p:nvPr/>
            </p:nvSpPr>
            <p:spPr>
              <a:xfrm>
                <a:off x="19827693" y="2859152"/>
                <a:ext cx="86559" cy="737328"/>
              </a:xfrm>
              <a:prstGeom prst="rect">
                <a:avLst/>
              </a:prstGeom>
              <a:solidFill>
                <a:srgbClr val="00000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US" sz="1600">
                  <a:solidFill>
                    <a:schemeClr val="bg1"/>
                  </a:solidFill>
                </a:endParaRPr>
              </a:p>
            </p:txBody>
          </p:sp>
          <p:sp>
            <p:nvSpPr>
              <p:cNvPr id="56" name="Rectangle 55">
                <a:extLst>
                  <a:ext uri="{FF2B5EF4-FFF2-40B4-BE49-F238E27FC236}">
                    <a16:creationId xmlns:a16="http://schemas.microsoft.com/office/drawing/2014/main" id="{CBF68C68-AD9D-E759-C591-3460AD380BF6}"/>
                  </a:ext>
                </a:extLst>
              </p:cNvPr>
              <p:cNvSpPr/>
              <p:nvPr/>
            </p:nvSpPr>
            <p:spPr>
              <a:xfrm>
                <a:off x="19825373" y="3671369"/>
                <a:ext cx="86559" cy="737328"/>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US" sz="1600">
                  <a:solidFill>
                    <a:schemeClr val="bg1"/>
                  </a:solidFill>
                </a:endParaRPr>
              </a:p>
            </p:txBody>
          </p:sp>
          <p:sp>
            <p:nvSpPr>
              <p:cNvPr id="57" name="Rectangle 56">
                <a:extLst>
                  <a:ext uri="{FF2B5EF4-FFF2-40B4-BE49-F238E27FC236}">
                    <a16:creationId xmlns:a16="http://schemas.microsoft.com/office/drawing/2014/main" id="{7611644C-F62E-818D-90AB-638630F3C347}"/>
                  </a:ext>
                </a:extLst>
              </p:cNvPr>
              <p:cNvSpPr/>
              <p:nvPr/>
            </p:nvSpPr>
            <p:spPr>
              <a:xfrm>
                <a:off x="19825373" y="4461580"/>
                <a:ext cx="86559" cy="737328"/>
              </a:xfrm>
              <a:prstGeom prst="rect">
                <a:avLst/>
              </a:prstGeom>
              <a:solidFill>
                <a:srgbClr val="00723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US" sz="1600">
                  <a:solidFill>
                    <a:schemeClr val="bg1"/>
                  </a:solidFill>
                </a:endParaRPr>
              </a:p>
            </p:txBody>
          </p:sp>
        </p:grpSp>
        <p:sp>
          <p:nvSpPr>
            <p:cNvPr id="29" name="TextBox 28">
              <a:extLst>
                <a:ext uri="{FF2B5EF4-FFF2-40B4-BE49-F238E27FC236}">
                  <a16:creationId xmlns:a16="http://schemas.microsoft.com/office/drawing/2014/main" id="{3D7D2DE4-5D54-617C-5773-E5A4D21C08C5}"/>
                </a:ext>
              </a:extLst>
            </p:cNvPr>
            <p:cNvSpPr txBox="1"/>
            <p:nvPr/>
          </p:nvSpPr>
          <p:spPr>
            <a:xfrm>
              <a:off x="7405086" y="-517694"/>
              <a:ext cx="241260" cy="261049"/>
            </a:xfrm>
            <a:custGeom>
              <a:avLst/>
              <a:gdLst/>
              <a:ahLst/>
              <a:cxnLst/>
              <a:rect l="l" t="t" r="r" b="b"/>
              <a:pathLst>
                <a:path w="241260" h="261049">
                  <a:moveTo>
                    <a:pt x="120802" y="0"/>
                  </a:moveTo>
                  <a:cubicBezTo>
                    <a:pt x="144091" y="0"/>
                    <a:pt x="165085" y="5564"/>
                    <a:pt x="183785" y="16692"/>
                  </a:cubicBezTo>
                  <a:cubicBezTo>
                    <a:pt x="202484" y="27820"/>
                    <a:pt x="216738" y="43336"/>
                    <a:pt x="226547" y="63240"/>
                  </a:cubicBezTo>
                  <a:cubicBezTo>
                    <a:pt x="236356" y="83144"/>
                    <a:pt x="241260" y="105716"/>
                    <a:pt x="241260" y="130955"/>
                  </a:cubicBezTo>
                  <a:cubicBezTo>
                    <a:pt x="241260" y="156538"/>
                    <a:pt x="236098" y="179425"/>
                    <a:pt x="225773" y="199616"/>
                  </a:cubicBezTo>
                  <a:cubicBezTo>
                    <a:pt x="215448" y="219807"/>
                    <a:pt x="200821" y="235093"/>
                    <a:pt x="181892" y="245476"/>
                  </a:cubicBezTo>
                  <a:cubicBezTo>
                    <a:pt x="162963" y="255858"/>
                    <a:pt x="142542" y="261049"/>
                    <a:pt x="120630" y="261049"/>
                  </a:cubicBezTo>
                  <a:cubicBezTo>
                    <a:pt x="96883" y="261049"/>
                    <a:pt x="75659" y="255313"/>
                    <a:pt x="56960" y="243841"/>
                  </a:cubicBezTo>
                  <a:cubicBezTo>
                    <a:pt x="38260" y="232369"/>
                    <a:pt x="24092" y="216709"/>
                    <a:pt x="14455" y="196862"/>
                  </a:cubicBezTo>
                  <a:cubicBezTo>
                    <a:pt x="4819" y="177015"/>
                    <a:pt x="0" y="156021"/>
                    <a:pt x="0" y="133880"/>
                  </a:cubicBezTo>
                  <a:cubicBezTo>
                    <a:pt x="0" y="92007"/>
                    <a:pt x="11243" y="59225"/>
                    <a:pt x="33729" y="35535"/>
                  </a:cubicBezTo>
                  <a:cubicBezTo>
                    <a:pt x="56214" y="11845"/>
                    <a:pt x="85239" y="0"/>
                    <a:pt x="120802" y="0"/>
                  </a:cubicBezTo>
                  <a:close/>
                  <a:moveTo>
                    <a:pt x="120974" y="28738"/>
                  </a:moveTo>
                  <a:cubicBezTo>
                    <a:pt x="97342" y="28738"/>
                    <a:pt x="77007" y="36854"/>
                    <a:pt x="59971" y="53087"/>
                  </a:cubicBezTo>
                  <a:cubicBezTo>
                    <a:pt x="42935" y="69320"/>
                    <a:pt x="34417" y="96423"/>
                    <a:pt x="34417" y="134396"/>
                  </a:cubicBezTo>
                  <a:cubicBezTo>
                    <a:pt x="34417" y="164798"/>
                    <a:pt x="42591" y="188746"/>
                    <a:pt x="58939" y="206241"/>
                  </a:cubicBezTo>
                  <a:cubicBezTo>
                    <a:pt x="75287" y="223736"/>
                    <a:pt x="95793" y="232483"/>
                    <a:pt x="120458" y="232483"/>
                  </a:cubicBezTo>
                  <a:cubicBezTo>
                    <a:pt x="145582" y="232483"/>
                    <a:pt x="166261" y="223650"/>
                    <a:pt x="182494" y="205983"/>
                  </a:cubicBezTo>
                  <a:cubicBezTo>
                    <a:pt x="198727" y="188316"/>
                    <a:pt x="206844" y="163249"/>
                    <a:pt x="206844" y="130783"/>
                  </a:cubicBezTo>
                  <a:cubicBezTo>
                    <a:pt x="206844" y="110247"/>
                    <a:pt x="203373" y="92322"/>
                    <a:pt x="196433" y="77007"/>
                  </a:cubicBezTo>
                  <a:cubicBezTo>
                    <a:pt x="189492" y="61691"/>
                    <a:pt x="179339" y="49818"/>
                    <a:pt x="165974" y="41386"/>
                  </a:cubicBezTo>
                  <a:cubicBezTo>
                    <a:pt x="152609" y="32954"/>
                    <a:pt x="137609" y="28738"/>
                    <a:pt x="120974" y="28738"/>
                  </a:cubicBez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30" name="TextBox 29">
              <a:extLst>
                <a:ext uri="{FF2B5EF4-FFF2-40B4-BE49-F238E27FC236}">
                  <a16:creationId xmlns:a16="http://schemas.microsoft.com/office/drawing/2014/main" id="{8860EAC3-5C98-5E33-385E-B5ADA47ABE89}"/>
                </a:ext>
              </a:extLst>
            </p:cNvPr>
            <p:cNvSpPr txBox="1"/>
            <p:nvPr/>
          </p:nvSpPr>
          <p:spPr>
            <a:xfrm>
              <a:off x="4723902" y="-517522"/>
              <a:ext cx="200820" cy="260877"/>
            </a:xfrm>
            <a:custGeom>
              <a:avLst/>
              <a:gdLst/>
              <a:ahLst/>
              <a:cxnLst/>
              <a:rect l="l" t="t" r="r" b="b"/>
              <a:pathLst>
                <a:path w="200820" h="260877">
                  <a:moveTo>
                    <a:pt x="98431" y="0"/>
                  </a:moveTo>
                  <a:cubicBezTo>
                    <a:pt x="117131" y="0"/>
                    <a:pt x="133622" y="3011"/>
                    <a:pt x="147905" y="9034"/>
                  </a:cubicBezTo>
                  <a:cubicBezTo>
                    <a:pt x="162188" y="15057"/>
                    <a:pt x="173172" y="23919"/>
                    <a:pt x="180859" y="35621"/>
                  </a:cubicBezTo>
                  <a:cubicBezTo>
                    <a:pt x="188545" y="47323"/>
                    <a:pt x="192675" y="60573"/>
                    <a:pt x="193249" y="75372"/>
                  </a:cubicBezTo>
                  <a:lnTo>
                    <a:pt x="161241" y="77781"/>
                  </a:lnTo>
                  <a:cubicBezTo>
                    <a:pt x="159520" y="61835"/>
                    <a:pt x="153698" y="49789"/>
                    <a:pt x="143775" y="41644"/>
                  </a:cubicBezTo>
                  <a:cubicBezTo>
                    <a:pt x="133851" y="33499"/>
                    <a:pt x="119196" y="29426"/>
                    <a:pt x="99808" y="29426"/>
                  </a:cubicBezTo>
                  <a:cubicBezTo>
                    <a:pt x="79617" y="29426"/>
                    <a:pt x="64904" y="33126"/>
                    <a:pt x="55669" y="40525"/>
                  </a:cubicBezTo>
                  <a:cubicBezTo>
                    <a:pt x="46433" y="47925"/>
                    <a:pt x="41816" y="56845"/>
                    <a:pt x="41816" y="67284"/>
                  </a:cubicBezTo>
                  <a:cubicBezTo>
                    <a:pt x="41816" y="76347"/>
                    <a:pt x="45085" y="83804"/>
                    <a:pt x="51625" y="89655"/>
                  </a:cubicBezTo>
                  <a:cubicBezTo>
                    <a:pt x="58049" y="95506"/>
                    <a:pt x="74827" y="101500"/>
                    <a:pt x="101959" y="107638"/>
                  </a:cubicBezTo>
                  <a:cubicBezTo>
                    <a:pt x="129090" y="113775"/>
                    <a:pt x="147704" y="119138"/>
                    <a:pt x="157800" y="123727"/>
                  </a:cubicBezTo>
                  <a:cubicBezTo>
                    <a:pt x="172484" y="130496"/>
                    <a:pt x="183325" y="139071"/>
                    <a:pt x="190323" y="149454"/>
                  </a:cubicBezTo>
                  <a:cubicBezTo>
                    <a:pt x="197321" y="159836"/>
                    <a:pt x="200820" y="171796"/>
                    <a:pt x="200820" y="185333"/>
                  </a:cubicBezTo>
                  <a:cubicBezTo>
                    <a:pt x="200820" y="198755"/>
                    <a:pt x="196977" y="211403"/>
                    <a:pt x="189291" y="223277"/>
                  </a:cubicBezTo>
                  <a:cubicBezTo>
                    <a:pt x="181604" y="235151"/>
                    <a:pt x="170562" y="244386"/>
                    <a:pt x="156165" y="250982"/>
                  </a:cubicBezTo>
                  <a:cubicBezTo>
                    <a:pt x="141767" y="257579"/>
                    <a:pt x="125563" y="260877"/>
                    <a:pt x="107551" y="260877"/>
                  </a:cubicBezTo>
                  <a:cubicBezTo>
                    <a:pt x="84722" y="260877"/>
                    <a:pt x="65592" y="257550"/>
                    <a:pt x="50162" y="250896"/>
                  </a:cubicBezTo>
                  <a:cubicBezTo>
                    <a:pt x="34732" y="244242"/>
                    <a:pt x="22629" y="234233"/>
                    <a:pt x="13852" y="220868"/>
                  </a:cubicBezTo>
                  <a:cubicBezTo>
                    <a:pt x="5076" y="207503"/>
                    <a:pt x="459" y="192388"/>
                    <a:pt x="0" y="175524"/>
                  </a:cubicBezTo>
                  <a:lnTo>
                    <a:pt x="31491" y="172771"/>
                  </a:lnTo>
                  <a:cubicBezTo>
                    <a:pt x="32982" y="185390"/>
                    <a:pt x="36453" y="195744"/>
                    <a:pt x="41902" y="203832"/>
                  </a:cubicBezTo>
                  <a:cubicBezTo>
                    <a:pt x="47351" y="211920"/>
                    <a:pt x="55812" y="218459"/>
                    <a:pt x="67284" y="223449"/>
                  </a:cubicBezTo>
                  <a:cubicBezTo>
                    <a:pt x="78756" y="228439"/>
                    <a:pt x="91662" y="230935"/>
                    <a:pt x="106003" y="230935"/>
                  </a:cubicBezTo>
                  <a:cubicBezTo>
                    <a:pt x="118737" y="230935"/>
                    <a:pt x="129979" y="229042"/>
                    <a:pt x="139731" y="225256"/>
                  </a:cubicBezTo>
                  <a:cubicBezTo>
                    <a:pt x="149482" y="221470"/>
                    <a:pt x="156738" y="216279"/>
                    <a:pt x="161499" y="209682"/>
                  </a:cubicBezTo>
                  <a:cubicBezTo>
                    <a:pt x="166260" y="203086"/>
                    <a:pt x="168641" y="195887"/>
                    <a:pt x="168641" y="188086"/>
                  </a:cubicBezTo>
                  <a:cubicBezTo>
                    <a:pt x="168641" y="180170"/>
                    <a:pt x="166346" y="173258"/>
                    <a:pt x="161757" y="167350"/>
                  </a:cubicBezTo>
                  <a:cubicBezTo>
                    <a:pt x="157169" y="161442"/>
                    <a:pt x="149597" y="156480"/>
                    <a:pt x="139043" y="152465"/>
                  </a:cubicBezTo>
                  <a:cubicBezTo>
                    <a:pt x="132274" y="149826"/>
                    <a:pt x="117303" y="145725"/>
                    <a:pt x="94129" y="140161"/>
                  </a:cubicBezTo>
                  <a:cubicBezTo>
                    <a:pt x="70955" y="134597"/>
                    <a:pt x="54722" y="129349"/>
                    <a:pt x="45430" y="124416"/>
                  </a:cubicBezTo>
                  <a:cubicBezTo>
                    <a:pt x="33384" y="118106"/>
                    <a:pt x="24407" y="110276"/>
                    <a:pt x="18499" y="100926"/>
                  </a:cubicBezTo>
                  <a:cubicBezTo>
                    <a:pt x="12591" y="91577"/>
                    <a:pt x="9636" y="81108"/>
                    <a:pt x="9636" y="69521"/>
                  </a:cubicBezTo>
                  <a:cubicBezTo>
                    <a:pt x="9636" y="56787"/>
                    <a:pt x="13250" y="44885"/>
                    <a:pt x="20478" y="33814"/>
                  </a:cubicBezTo>
                  <a:cubicBezTo>
                    <a:pt x="27705" y="22744"/>
                    <a:pt x="38260" y="14340"/>
                    <a:pt x="52141" y="8604"/>
                  </a:cubicBezTo>
                  <a:cubicBezTo>
                    <a:pt x="66022" y="2868"/>
                    <a:pt x="81452" y="0"/>
                    <a:pt x="98431" y="0"/>
                  </a:cubicBez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31" name="TextBox 30">
              <a:extLst>
                <a:ext uri="{FF2B5EF4-FFF2-40B4-BE49-F238E27FC236}">
                  <a16:creationId xmlns:a16="http://schemas.microsoft.com/office/drawing/2014/main" id="{92F85787-53E2-1D09-7428-2300AC3C9542}"/>
                </a:ext>
              </a:extLst>
            </p:cNvPr>
            <p:cNvSpPr txBox="1"/>
            <p:nvPr/>
          </p:nvSpPr>
          <p:spPr>
            <a:xfrm>
              <a:off x="2451810" y="-513220"/>
              <a:ext cx="208564" cy="252273"/>
            </a:xfrm>
            <a:custGeom>
              <a:avLst/>
              <a:gdLst/>
              <a:ahLst/>
              <a:cxnLst/>
              <a:rect l="l" t="t" r="r" b="b"/>
              <a:pathLst>
                <a:path w="208564" h="252273">
                  <a:moveTo>
                    <a:pt x="0" y="0"/>
                  </a:moveTo>
                  <a:lnTo>
                    <a:pt x="33384" y="0"/>
                  </a:lnTo>
                  <a:lnTo>
                    <a:pt x="33384" y="125104"/>
                  </a:lnTo>
                  <a:lnTo>
                    <a:pt x="158660" y="0"/>
                  </a:lnTo>
                  <a:lnTo>
                    <a:pt x="203917" y="0"/>
                  </a:lnTo>
                  <a:lnTo>
                    <a:pt x="98087" y="102217"/>
                  </a:lnTo>
                  <a:lnTo>
                    <a:pt x="208564" y="252273"/>
                  </a:lnTo>
                  <a:lnTo>
                    <a:pt x="164510" y="252273"/>
                  </a:lnTo>
                  <a:lnTo>
                    <a:pt x="74683" y="124588"/>
                  </a:lnTo>
                  <a:lnTo>
                    <a:pt x="33384" y="164855"/>
                  </a:lnTo>
                  <a:lnTo>
                    <a:pt x="33384" y="252273"/>
                  </a:lnTo>
                  <a:lnTo>
                    <a:pt x="0" y="252273"/>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32" name="TextBox 31">
              <a:extLst>
                <a:ext uri="{FF2B5EF4-FFF2-40B4-BE49-F238E27FC236}">
                  <a16:creationId xmlns:a16="http://schemas.microsoft.com/office/drawing/2014/main" id="{659FC288-FBBF-E1F4-6815-5E798D1FA660}"/>
                </a:ext>
              </a:extLst>
            </p:cNvPr>
            <p:cNvSpPr txBox="1"/>
            <p:nvPr/>
          </p:nvSpPr>
          <p:spPr>
            <a:xfrm>
              <a:off x="2708351" y="-513220"/>
              <a:ext cx="188259" cy="252273"/>
            </a:xfrm>
            <a:custGeom>
              <a:avLst/>
              <a:gdLst/>
              <a:ahLst/>
              <a:cxnLst/>
              <a:rect l="l" t="t" r="r" b="b"/>
              <a:pathLst>
                <a:path w="188259" h="252273">
                  <a:moveTo>
                    <a:pt x="0" y="0"/>
                  </a:moveTo>
                  <a:lnTo>
                    <a:pt x="182408" y="0"/>
                  </a:lnTo>
                  <a:lnTo>
                    <a:pt x="182408" y="29770"/>
                  </a:lnTo>
                  <a:lnTo>
                    <a:pt x="33385" y="29770"/>
                  </a:lnTo>
                  <a:lnTo>
                    <a:pt x="33385" y="107035"/>
                  </a:lnTo>
                  <a:lnTo>
                    <a:pt x="172943" y="107035"/>
                  </a:lnTo>
                  <a:lnTo>
                    <a:pt x="172943" y="136634"/>
                  </a:lnTo>
                  <a:lnTo>
                    <a:pt x="33385" y="136634"/>
                  </a:lnTo>
                  <a:lnTo>
                    <a:pt x="33385" y="222503"/>
                  </a:lnTo>
                  <a:lnTo>
                    <a:pt x="188259" y="222503"/>
                  </a:lnTo>
                  <a:lnTo>
                    <a:pt x="188259" y="252273"/>
                  </a:lnTo>
                  <a:lnTo>
                    <a:pt x="0" y="252273"/>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33" name="TextBox 32">
              <a:extLst>
                <a:ext uri="{FF2B5EF4-FFF2-40B4-BE49-F238E27FC236}">
                  <a16:creationId xmlns:a16="http://schemas.microsoft.com/office/drawing/2014/main" id="{73835DBD-03E9-740C-0B62-1254AD49160E}"/>
                </a:ext>
              </a:extLst>
            </p:cNvPr>
            <p:cNvSpPr txBox="1"/>
            <p:nvPr/>
          </p:nvSpPr>
          <p:spPr>
            <a:xfrm>
              <a:off x="2961835" y="-513220"/>
              <a:ext cx="198755" cy="252273"/>
            </a:xfrm>
            <a:custGeom>
              <a:avLst/>
              <a:gdLst/>
              <a:ahLst/>
              <a:cxnLst/>
              <a:rect l="l" t="t" r="r" b="b"/>
              <a:pathLst>
                <a:path w="198755" h="252273">
                  <a:moveTo>
                    <a:pt x="0" y="0"/>
                  </a:moveTo>
                  <a:lnTo>
                    <a:pt x="34244" y="0"/>
                  </a:lnTo>
                  <a:lnTo>
                    <a:pt x="166748" y="198067"/>
                  </a:lnTo>
                  <a:lnTo>
                    <a:pt x="166748" y="0"/>
                  </a:lnTo>
                  <a:lnTo>
                    <a:pt x="198755" y="0"/>
                  </a:lnTo>
                  <a:lnTo>
                    <a:pt x="198755" y="252273"/>
                  </a:lnTo>
                  <a:lnTo>
                    <a:pt x="164511" y="252273"/>
                  </a:lnTo>
                  <a:lnTo>
                    <a:pt x="32007" y="54034"/>
                  </a:lnTo>
                  <a:lnTo>
                    <a:pt x="32007" y="252273"/>
                  </a:lnTo>
                  <a:lnTo>
                    <a:pt x="0" y="252273"/>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34" name="TextBox 33">
              <a:extLst>
                <a:ext uri="{FF2B5EF4-FFF2-40B4-BE49-F238E27FC236}">
                  <a16:creationId xmlns:a16="http://schemas.microsoft.com/office/drawing/2014/main" id="{FA978639-0750-A2C1-6CB4-B48B53656AA2}"/>
                </a:ext>
              </a:extLst>
            </p:cNvPr>
            <p:cNvSpPr txBox="1"/>
            <p:nvPr/>
          </p:nvSpPr>
          <p:spPr>
            <a:xfrm>
              <a:off x="3210225" y="-513220"/>
              <a:ext cx="231279" cy="252273"/>
            </a:xfrm>
            <a:custGeom>
              <a:avLst/>
              <a:gdLst/>
              <a:ahLst/>
              <a:cxnLst/>
              <a:rect l="l" t="t" r="r" b="b"/>
              <a:pathLst>
                <a:path w="231279" h="252273">
                  <a:moveTo>
                    <a:pt x="0" y="0"/>
                  </a:moveTo>
                  <a:lnTo>
                    <a:pt x="40611" y="0"/>
                  </a:lnTo>
                  <a:lnTo>
                    <a:pt x="90343" y="76060"/>
                  </a:lnTo>
                  <a:cubicBezTo>
                    <a:pt x="99521" y="90286"/>
                    <a:pt x="108067" y="104511"/>
                    <a:pt x="115983" y="118737"/>
                  </a:cubicBezTo>
                  <a:cubicBezTo>
                    <a:pt x="123555" y="105544"/>
                    <a:pt x="132733" y="90687"/>
                    <a:pt x="143516" y="74168"/>
                  </a:cubicBezTo>
                  <a:lnTo>
                    <a:pt x="192388" y="0"/>
                  </a:lnTo>
                  <a:lnTo>
                    <a:pt x="231279" y="0"/>
                  </a:lnTo>
                  <a:lnTo>
                    <a:pt x="130610" y="145410"/>
                  </a:lnTo>
                  <a:lnTo>
                    <a:pt x="130610" y="252273"/>
                  </a:lnTo>
                  <a:lnTo>
                    <a:pt x="97226" y="252273"/>
                  </a:lnTo>
                  <a:lnTo>
                    <a:pt x="97226" y="145410"/>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35" name="TextBox 34">
              <a:extLst>
                <a:ext uri="{FF2B5EF4-FFF2-40B4-BE49-F238E27FC236}">
                  <a16:creationId xmlns:a16="http://schemas.microsoft.com/office/drawing/2014/main" id="{C545E0BD-B29D-789F-F6E8-213DAA322253}"/>
                </a:ext>
              </a:extLst>
            </p:cNvPr>
            <p:cNvSpPr txBox="1"/>
            <p:nvPr/>
          </p:nvSpPr>
          <p:spPr>
            <a:xfrm>
              <a:off x="3436679" y="-513220"/>
              <a:ext cx="235268" cy="252273"/>
            </a:xfrm>
            <a:custGeom>
              <a:avLst/>
              <a:gdLst/>
              <a:ahLst/>
              <a:cxnLst/>
              <a:rect l="l" t="t" r="r" b="b"/>
              <a:pathLst>
                <a:path w="235268" h="252273">
                  <a:moveTo>
                    <a:pt x="96882" y="0"/>
                  </a:moveTo>
                  <a:lnTo>
                    <a:pt x="132848" y="0"/>
                  </a:lnTo>
                  <a:lnTo>
                    <a:pt x="235268" y="250247"/>
                  </a:lnTo>
                  <a:lnTo>
                    <a:pt x="235268" y="252273"/>
                  </a:lnTo>
                  <a:lnTo>
                    <a:pt x="198067" y="252273"/>
                  </a:lnTo>
                  <a:lnTo>
                    <a:pt x="168641" y="175868"/>
                  </a:lnTo>
                  <a:lnTo>
                    <a:pt x="63154" y="175868"/>
                  </a:lnTo>
                  <a:lnTo>
                    <a:pt x="35449" y="252273"/>
                  </a:lnTo>
                  <a:lnTo>
                    <a:pt x="0" y="252273"/>
                  </a:lnTo>
                  <a:lnTo>
                    <a:pt x="96882" y="0"/>
                  </a:lnTo>
                  <a:close/>
                  <a:moveTo>
                    <a:pt x="114091" y="26501"/>
                  </a:moveTo>
                  <a:cubicBezTo>
                    <a:pt x="110878" y="42676"/>
                    <a:pt x="106347" y="58738"/>
                    <a:pt x="100496" y="74684"/>
                  </a:cubicBezTo>
                  <a:lnTo>
                    <a:pt x="72791" y="148679"/>
                  </a:lnTo>
                  <a:lnTo>
                    <a:pt x="158316" y="148679"/>
                  </a:lnTo>
                  <a:lnTo>
                    <a:pt x="131987" y="78814"/>
                  </a:lnTo>
                  <a:cubicBezTo>
                    <a:pt x="123957" y="57590"/>
                    <a:pt x="117991" y="40153"/>
                    <a:pt x="114091" y="26501"/>
                  </a:cubicBez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36" name="TextBox 35">
              <a:extLst>
                <a:ext uri="{FF2B5EF4-FFF2-40B4-BE49-F238E27FC236}">
                  <a16:creationId xmlns:a16="http://schemas.microsoft.com/office/drawing/2014/main" id="{058E9D71-F79D-8345-FC93-6355C239873E}"/>
                </a:ext>
              </a:extLst>
            </p:cNvPr>
            <p:cNvSpPr txBox="1"/>
            <p:nvPr/>
          </p:nvSpPr>
          <p:spPr>
            <a:xfrm>
              <a:off x="3842253" y="-513220"/>
              <a:ext cx="33384" cy="252273"/>
            </a:xfrm>
            <a:custGeom>
              <a:avLst/>
              <a:gdLst/>
              <a:ahLst/>
              <a:cxnLst/>
              <a:rect l="l" t="t" r="r" b="b"/>
              <a:pathLst>
                <a:path w="33384" h="252273">
                  <a:moveTo>
                    <a:pt x="0" y="0"/>
                  </a:moveTo>
                  <a:lnTo>
                    <a:pt x="33384" y="0"/>
                  </a:lnTo>
                  <a:lnTo>
                    <a:pt x="33384" y="252273"/>
                  </a:lnTo>
                  <a:lnTo>
                    <a:pt x="0" y="252273"/>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37" name="TextBox 36">
              <a:extLst>
                <a:ext uri="{FF2B5EF4-FFF2-40B4-BE49-F238E27FC236}">
                  <a16:creationId xmlns:a16="http://schemas.microsoft.com/office/drawing/2014/main" id="{C9AA9D8E-0012-4DD1-35D2-703F6A0E64CF}"/>
                </a:ext>
              </a:extLst>
            </p:cNvPr>
            <p:cNvSpPr txBox="1"/>
            <p:nvPr/>
          </p:nvSpPr>
          <p:spPr>
            <a:xfrm>
              <a:off x="3951722" y="-513220"/>
              <a:ext cx="198755" cy="252273"/>
            </a:xfrm>
            <a:custGeom>
              <a:avLst/>
              <a:gdLst/>
              <a:ahLst/>
              <a:cxnLst/>
              <a:rect l="l" t="t" r="r" b="b"/>
              <a:pathLst>
                <a:path w="198755" h="252273">
                  <a:moveTo>
                    <a:pt x="0" y="0"/>
                  </a:moveTo>
                  <a:lnTo>
                    <a:pt x="34244" y="0"/>
                  </a:lnTo>
                  <a:lnTo>
                    <a:pt x="166748" y="198067"/>
                  </a:lnTo>
                  <a:lnTo>
                    <a:pt x="166748" y="0"/>
                  </a:lnTo>
                  <a:lnTo>
                    <a:pt x="198755" y="0"/>
                  </a:lnTo>
                  <a:lnTo>
                    <a:pt x="198755" y="252273"/>
                  </a:lnTo>
                  <a:lnTo>
                    <a:pt x="164511" y="252273"/>
                  </a:lnTo>
                  <a:lnTo>
                    <a:pt x="32007" y="54034"/>
                  </a:lnTo>
                  <a:lnTo>
                    <a:pt x="32007" y="252273"/>
                  </a:lnTo>
                  <a:lnTo>
                    <a:pt x="0" y="252273"/>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38" name="TextBox 37">
              <a:extLst>
                <a:ext uri="{FF2B5EF4-FFF2-40B4-BE49-F238E27FC236}">
                  <a16:creationId xmlns:a16="http://schemas.microsoft.com/office/drawing/2014/main" id="{E7A19FC5-D596-C7CF-C4B3-FE4F98BED938}"/>
                </a:ext>
              </a:extLst>
            </p:cNvPr>
            <p:cNvSpPr txBox="1"/>
            <p:nvPr/>
          </p:nvSpPr>
          <p:spPr>
            <a:xfrm>
              <a:off x="4200627" y="-513220"/>
              <a:ext cx="230763" cy="252273"/>
            </a:xfrm>
            <a:custGeom>
              <a:avLst/>
              <a:gdLst/>
              <a:ahLst/>
              <a:cxnLst/>
              <a:rect l="l" t="t" r="r" b="b"/>
              <a:pathLst>
                <a:path w="230763" h="252273">
                  <a:moveTo>
                    <a:pt x="0" y="0"/>
                  </a:moveTo>
                  <a:lnTo>
                    <a:pt x="36137" y="0"/>
                  </a:lnTo>
                  <a:lnTo>
                    <a:pt x="101701" y="183268"/>
                  </a:lnTo>
                  <a:cubicBezTo>
                    <a:pt x="106978" y="197952"/>
                    <a:pt x="111395" y="211719"/>
                    <a:pt x="114951" y="224568"/>
                  </a:cubicBezTo>
                  <a:cubicBezTo>
                    <a:pt x="118852" y="210801"/>
                    <a:pt x="123383" y="197034"/>
                    <a:pt x="128546" y="183268"/>
                  </a:cubicBezTo>
                  <a:lnTo>
                    <a:pt x="196690" y="0"/>
                  </a:lnTo>
                  <a:lnTo>
                    <a:pt x="230763" y="0"/>
                  </a:lnTo>
                  <a:lnTo>
                    <a:pt x="131987" y="252273"/>
                  </a:lnTo>
                  <a:lnTo>
                    <a:pt x="97743" y="252273"/>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39" name="TextBox 38">
              <a:extLst>
                <a:ext uri="{FF2B5EF4-FFF2-40B4-BE49-F238E27FC236}">
                  <a16:creationId xmlns:a16="http://schemas.microsoft.com/office/drawing/2014/main" id="{0FA7A0AC-2DF0-70C6-E771-9213359E285E}"/>
                </a:ext>
              </a:extLst>
            </p:cNvPr>
            <p:cNvSpPr txBox="1"/>
            <p:nvPr/>
          </p:nvSpPr>
          <p:spPr>
            <a:xfrm>
              <a:off x="4481471" y="-513220"/>
              <a:ext cx="188258" cy="252273"/>
            </a:xfrm>
            <a:custGeom>
              <a:avLst/>
              <a:gdLst/>
              <a:ahLst/>
              <a:cxnLst/>
              <a:rect l="l" t="t" r="r" b="b"/>
              <a:pathLst>
                <a:path w="188258" h="252273">
                  <a:moveTo>
                    <a:pt x="0" y="0"/>
                  </a:moveTo>
                  <a:lnTo>
                    <a:pt x="182407" y="0"/>
                  </a:lnTo>
                  <a:lnTo>
                    <a:pt x="182407" y="29770"/>
                  </a:lnTo>
                  <a:lnTo>
                    <a:pt x="33384" y="29770"/>
                  </a:lnTo>
                  <a:lnTo>
                    <a:pt x="33384" y="107035"/>
                  </a:lnTo>
                  <a:lnTo>
                    <a:pt x="172943" y="107035"/>
                  </a:lnTo>
                  <a:lnTo>
                    <a:pt x="172943" y="136634"/>
                  </a:lnTo>
                  <a:lnTo>
                    <a:pt x="33384" y="136634"/>
                  </a:lnTo>
                  <a:lnTo>
                    <a:pt x="33384" y="222503"/>
                  </a:lnTo>
                  <a:lnTo>
                    <a:pt x="188258" y="222503"/>
                  </a:lnTo>
                  <a:lnTo>
                    <a:pt x="188258" y="252273"/>
                  </a:lnTo>
                  <a:lnTo>
                    <a:pt x="0" y="252273"/>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40" name="TextBox 39">
              <a:extLst>
                <a:ext uri="{FF2B5EF4-FFF2-40B4-BE49-F238E27FC236}">
                  <a16:creationId xmlns:a16="http://schemas.microsoft.com/office/drawing/2014/main" id="{37BA056A-1F4A-0A65-693B-A32B6133816B}"/>
                </a:ext>
              </a:extLst>
            </p:cNvPr>
            <p:cNvSpPr txBox="1"/>
            <p:nvPr/>
          </p:nvSpPr>
          <p:spPr>
            <a:xfrm>
              <a:off x="4970846" y="-513220"/>
              <a:ext cx="199960" cy="252273"/>
            </a:xfrm>
            <a:custGeom>
              <a:avLst/>
              <a:gdLst/>
              <a:ahLst/>
              <a:cxnLst/>
              <a:rect l="l" t="t" r="r" b="b"/>
              <a:pathLst>
                <a:path w="199960" h="252273">
                  <a:moveTo>
                    <a:pt x="0" y="0"/>
                  </a:moveTo>
                  <a:lnTo>
                    <a:pt x="199960" y="0"/>
                  </a:lnTo>
                  <a:lnTo>
                    <a:pt x="199960" y="29770"/>
                  </a:lnTo>
                  <a:lnTo>
                    <a:pt x="116500" y="29770"/>
                  </a:lnTo>
                  <a:lnTo>
                    <a:pt x="116500" y="252273"/>
                  </a:lnTo>
                  <a:lnTo>
                    <a:pt x="83116" y="252273"/>
                  </a:lnTo>
                  <a:lnTo>
                    <a:pt x="83116" y="29770"/>
                  </a:lnTo>
                  <a:lnTo>
                    <a:pt x="0" y="29770"/>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41" name="TextBox 40">
              <a:extLst>
                <a:ext uri="{FF2B5EF4-FFF2-40B4-BE49-F238E27FC236}">
                  <a16:creationId xmlns:a16="http://schemas.microsoft.com/office/drawing/2014/main" id="{07E3B204-7EFE-AA26-05BB-AD3AD3678A3F}"/>
                </a:ext>
              </a:extLst>
            </p:cNvPr>
            <p:cNvSpPr txBox="1"/>
            <p:nvPr/>
          </p:nvSpPr>
          <p:spPr>
            <a:xfrm>
              <a:off x="5223177" y="-513220"/>
              <a:ext cx="240743" cy="252273"/>
            </a:xfrm>
            <a:custGeom>
              <a:avLst/>
              <a:gdLst/>
              <a:ahLst/>
              <a:cxnLst/>
              <a:rect l="l" t="t" r="r" b="b"/>
              <a:pathLst>
                <a:path w="240743" h="252273">
                  <a:moveTo>
                    <a:pt x="0" y="0"/>
                  </a:moveTo>
                  <a:lnTo>
                    <a:pt x="50248" y="0"/>
                  </a:lnTo>
                  <a:lnTo>
                    <a:pt x="109961" y="178622"/>
                  </a:lnTo>
                  <a:cubicBezTo>
                    <a:pt x="115467" y="195256"/>
                    <a:pt x="119482" y="207704"/>
                    <a:pt x="122006" y="215964"/>
                  </a:cubicBezTo>
                  <a:cubicBezTo>
                    <a:pt x="124874" y="206786"/>
                    <a:pt x="129348" y="193306"/>
                    <a:pt x="135429" y="175524"/>
                  </a:cubicBezTo>
                  <a:lnTo>
                    <a:pt x="195830" y="0"/>
                  </a:lnTo>
                  <a:lnTo>
                    <a:pt x="240743" y="0"/>
                  </a:lnTo>
                  <a:lnTo>
                    <a:pt x="240743" y="252273"/>
                  </a:lnTo>
                  <a:lnTo>
                    <a:pt x="208564" y="252273"/>
                  </a:lnTo>
                  <a:lnTo>
                    <a:pt x="208564" y="41128"/>
                  </a:lnTo>
                  <a:lnTo>
                    <a:pt x="135257" y="252273"/>
                  </a:lnTo>
                  <a:lnTo>
                    <a:pt x="105142" y="252273"/>
                  </a:lnTo>
                  <a:lnTo>
                    <a:pt x="32179" y="37514"/>
                  </a:lnTo>
                  <a:lnTo>
                    <a:pt x="32179" y="252273"/>
                  </a:lnTo>
                  <a:lnTo>
                    <a:pt x="0" y="252273"/>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42" name="TextBox 41">
              <a:extLst>
                <a:ext uri="{FF2B5EF4-FFF2-40B4-BE49-F238E27FC236}">
                  <a16:creationId xmlns:a16="http://schemas.microsoft.com/office/drawing/2014/main" id="{300A9ECC-492C-12FC-61E3-F3A8338FB41B}"/>
                </a:ext>
              </a:extLst>
            </p:cNvPr>
            <p:cNvSpPr txBox="1"/>
            <p:nvPr/>
          </p:nvSpPr>
          <p:spPr>
            <a:xfrm>
              <a:off x="5538668" y="-513220"/>
              <a:ext cx="188258" cy="252273"/>
            </a:xfrm>
            <a:custGeom>
              <a:avLst/>
              <a:gdLst/>
              <a:ahLst/>
              <a:cxnLst/>
              <a:rect l="l" t="t" r="r" b="b"/>
              <a:pathLst>
                <a:path w="188258" h="252273">
                  <a:moveTo>
                    <a:pt x="0" y="0"/>
                  </a:moveTo>
                  <a:lnTo>
                    <a:pt x="182407" y="0"/>
                  </a:lnTo>
                  <a:lnTo>
                    <a:pt x="182407" y="29770"/>
                  </a:lnTo>
                  <a:lnTo>
                    <a:pt x="33384" y="29770"/>
                  </a:lnTo>
                  <a:lnTo>
                    <a:pt x="33384" y="107035"/>
                  </a:lnTo>
                  <a:lnTo>
                    <a:pt x="172943" y="107035"/>
                  </a:lnTo>
                  <a:lnTo>
                    <a:pt x="172943" y="136634"/>
                  </a:lnTo>
                  <a:lnTo>
                    <a:pt x="33384" y="136634"/>
                  </a:lnTo>
                  <a:lnTo>
                    <a:pt x="33384" y="222503"/>
                  </a:lnTo>
                  <a:lnTo>
                    <a:pt x="188258" y="222503"/>
                  </a:lnTo>
                  <a:lnTo>
                    <a:pt x="188258" y="252273"/>
                  </a:lnTo>
                  <a:lnTo>
                    <a:pt x="0" y="252273"/>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43" name="TextBox 42">
              <a:extLst>
                <a:ext uri="{FF2B5EF4-FFF2-40B4-BE49-F238E27FC236}">
                  <a16:creationId xmlns:a16="http://schemas.microsoft.com/office/drawing/2014/main" id="{9A396D88-5C98-A2C5-99C3-3DC5EB6B6C45}"/>
                </a:ext>
              </a:extLst>
            </p:cNvPr>
            <p:cNvSpPr txBox="1"/>
            <p:nvPr/>
          </p:nvSpPr>
          <p:spPr>
            <a:xfrm>
              <a:off x="5792152" y="-513220"/>
              <a:ext cx="198755" cy="252273"/>
            </a:xfrm>
            <a:custGeom>
              <a:avLst/>
              <a:gdLst/>
              <a:ahLst/>
              <a:cxnLst/>
              <a:rect l="l" t="t" r="r" b="b"/>
              <a:pathLst>
                <a:path w="198755" h="252273">
                  <a:moveTo>
                    <a:pt x="0" y="0"/>
                  </a:moveTo>
                  <a:lnTo>
                    <a:pt x="34245" y="0"/>
                  </a:lnTo>
                  <a:lnTo>
                    <a:pt x="166748" y="198067"/>
                  </a:lnTo>
                  <a:lnTo>
                    <a:pt x="166748" y="0"/>
                  </a:lnTo>
                  <a:lnTo>
                    <a:pt x="198755" y="0"/>
                  </a:lnTo>
                  <a:lnTo>
                    <a:pt x="198755" y="252273"/>
                  </a:lnTo>
                  <a:lnTo>
                    <a:pt x="164511" y="252273"/>
                  </a:lnTo>
                  <a:lnTo>
                    <a:pt x="32007" y="54034"/>
                  </a:lnTo>
                  <a:lnTo>
                    <a:pt x="32007" y="252273"/>
                  </a:lnTo>
                  <a:lnTo>
                    <a:pt x="0" y="252273"/>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44" name="TextBox 43">
              <a:extLst>
                <a:ext uri="{FF2B5EF4-FFF2-40B4-BE49-F238E27FC236}">
                  <a16:creationId xmlns:a16="http://schemas.microsoft.com/office/drawing/2014/main" id="{59FD677F-F132-D61C-1260-58E5FD5EEA6C}"/>
                </a:ext>
              </a:extLst>
            </p:cNvPr>
            <p:cNvSpPr txBox="1"/>
            <p:nvPr/>
          </p:nvSpPr>
          <p:spPr>
            <a:xfrm>
              <a:off x="6047767" y="-513220"/>
              <a:ext cx="199960" cy="252273"/>
            </a:xfrm>
            <a:custGeom>
              <a:avLst/>
              <a:gdLst/>
              <a:ahLst/>
              <a:cxnLst/>
              <a:rect l="l" t="t" r="r" b="b"/>
              <a:pathLst>
                <a:path w="199960" h="252273">
                  <a:moveTo>
                    <a:pt x="0" y="0"/>
                  </a:moveTo>
                  <a:lnTo>
                    <a:pt x="199960" y="0"/>
                  </a:lnTo>
                  <a:lnTo>
                    <a:pt x="199960" y="29770"/>
                  </a:lnTo>
                  <a:lnTo>
                    <a:pt x="116500" y="29770"/>
                  </a:lnTo>
                  <a:lnTo>
                    <a:pt x="116500" y="252273"/>
                  </a:lnTo>
                  <a:lnTo>
                    <a:pt x="83116" y="252273"/>
                  </a:lnTo>
                  <a:lnTo>
                    <a:pt x="83116" y="29770"/>
                  </a:lnTo>
                  <a:lnTo>
                    <a:pt x="0" y="29770"/>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45" name="TextBox 44">
              <a:extLst>
                <a:ext uri="{FF2B5EF4-FFF2-40B4-BE49-F238E27FC236}">
                  <a16:creationId xmlns:a16="http://schemas.microsoft.com/office/drawing/2014/main" id="{3FF1C914-B1EC-C44E-8132-6DD300724A68}"/>
                </a:ext>
              </a:extLst>
            </p:cNvPr>
            <p:cNvSpPr txBox="1"/>
            <p:nvPr/>
          </p:nvSpPr>
          <p:spPr>
            <a:xfrm>
              <a:off x="6366898" y="-513220"/>
              <a:ext cx="219380" cy="252273"/>
            </a:xfrm>
            <a:custGeom>
              <a:avLst/>
              <a:gdLst/>
              <a:ahLst/>
              <a:cxnLst/>
              <a:rect l="l" t="t" r="r" b="b"/>
              <a:pathLst>
                <a:path w="219380" h="252273">
                  <a:moveTo>
                    <a:pt x="80165" y="0"/>
                  </a:moveTo>
                  <a:lnTo>
                    <a:pt x="116131" y="0"/>
                  </a:lnTo>
                  <a:lnTo>
                    <a:pt x="219380" y="252273"/>
                  </a:lnTo>
                  <a:lnTo>
                    <a:pt x="181350" y="252273"/>
                  </a:lnTo>
                  <a:lnTo>
                    <a:pt x="151924" y="175868"/>
                  </a:lnTo>
                  <a:lnTo>
                    <a:pt x="46437" y="175868"/>
                  </a:lnTo>
                  <a:lnTo>
                    <a:pt x="18732" y="252273"/>
                  </a:lnTo>
                  <a:lnTo>
                    <a:pt x="0" y="252273"/>
                  </a:lnTo>
                  <a:lnTo>
                    <a:pt x="0" y="208743"/>
                  </a:lnTo>
                  <a:lnTo>
                    <a:pt x="80165" y="0"/>
                  </a:lnTo>
                  <a:close/>
                  <a:moveTo>
                    <a:pt x="97374" y="26501"/>
                  </a:moveTo>
                  <a:cubicBezTo>
                    <a:pt x="94161" y="42676"/>
                    <a:pt x="89630" y="58738"/>
                    <a:pt x="83779" y="74684"/>
                  </a:cubicBezTo>
                  <a:lnTo>
                    <a:pt x="56074" y="148679"/>
                  </a:lnTo>
                  <a:lnTo>
                    <a:pt x="141599" y="148679"/>
                  </a:lnTo>
                  <a:lnTo>
                    <a:pt x="115270" y="78814"/>
                  </a:lnTo>
                  <a:cubicBezTo>
                    <a:pt x="107240" y="57590"/>
                    <a:pt x="101274" y="40153"/>
                    <a:pt x="97374" y="26501"/>
                  </a:cubicBez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46" name="TextBox 45">
              <a:extLst>
                <a:ext uri="{FF2B5EF4-FFF2-40B4-BE49-F238E27FC236}">
                  <a16:creationId xmlns:a16="http://schemas.microsoft.com/office/drawing/2014/main" id="{1608F50C-FE98-0BF5-89E9-89E03B6A1E77}"/>
                </a:ext>
              </a:extLst>
            </p:cNvPr>
            <p:cNvSpPr txBox="1"/>
            <p:nvPr/>
          </p:nvSpPr>
          <p:spPr>
            <a:xfrm>
              <a:off x="6632880" y="-513220"/>
              <a:ext cx="198411" cy="256575"/>
            </a:xfrm>
            <a:custGeom>
              <a:avLst/>
              <a:gdLst/>
              <a:ahLst/>
              <a:cxnLst/>
              <a:rect l="l" t="t" r="r" b="b"/>
              <a:pathLst>
                <a:path w="198411" h="256575">
                  <a:moveTo>
                    <a:pt x="0" y="0"/>
                  </a:moveTo>
                  <a:lnTo>
                    <a:pt x="33384" y="0"/>
                  </a:lnTo>
                  <a:lnTo>
                    <a:pt x="33384" y="145582"/>
                  </a:lnTo>
                  <a:cubicBezTo>
                    <a:pt x="33384" y="167494"/>
                    <a:pt x="35420" y="183641"/>
                    <a:pt x="39492" y="194023"/>
                  </a:cubicBezTo>
                  <a:cubicBezTo>
                    <a:pt x="43565" y="204405"/>
                    <a:pt x="50563" y="212407"/>
                    <a:pt x="60487" y="218029"/>
                  </a:cubicBezTo>
                  <a:cubicBezTo>
                    <a:pt x="70410" y="223650"/>
                    <a:pt x="82542" y="226461"/>
                    <a:pt x="96882" y="226461"/>
                  </a:cubicBezTo>
                  <a:cubicBezTo>
                    <a:pt x="121432" y="226461"/>
                    <a:pt x="138927" y="220897"/>
                    <a:pt x="149367" y="209769"/>
                  </a:cubicBezTo>
                  <a:cubicBezTo>
                    <a:pt x="159807" y="198641"/>
                    <a:pt x="165027" y="177245"/>
                    <a:pt x="165027" y="145582"/>
                  </a:cubicBezTo>
                  <a:lnTo>
                    <a:pt x="165027" y="0"/>
                  </a:lnTo>
                  <a:lnTo>
                    <a:pt x="198411" y="0"/>
                  </a:lnTo>
                  <a:lnTo>
                    <a:pt x="198411" y="145754"/>
                  </a:lnTo>
                  <a:cubicBezTo>
                    <a:pt x="198411" y="171107"/>
                    <a:pt x="195543" y="191241"/>
                    <a:pt x="189807" y="206155"/>
                  </a:cubicBezTo>
                  <a:cubicBezTo>
                    <a:pt x="184070" y="221069"/>
                    <a:pt x="173717" y="233200"/>
                    <a:pt x="158746" y="242550"/>
                  </a:cubicBezTo>
                  <a:cubicBezTo>
                    <a:pt x="143774" y="251900"/>
                    <a:pt x="124128" y="256575"/>
                    <a:pt x="99807" y="256575"/>
                  </a:cubicBezTo>
                  <a:cubicBezTo>
                    <a:pt x="76175" y="256575"/>
                    <a:pt x="56844" y="252502"/>
                    <a:pt x="41816" y="244357"/>
                  </a:cubicBezTo>
                  <a:cubicBezTo>
                    <a:pt x="26787" y="236212"/>
                    <a:pt x="16061" y="224424"/>
                    <a:pt x="9636" y="208994"/>
                  </a:cubicBezTo>
                  <a:cubicBezTo>
                    <a:pt x="3212" y="193564"/>
                    <a:pt x="0" y="172484"/>
                    <a:pt x="0" y="145754"/>
                  </a:cubicBez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47" name="TextBox 46">
              <a:extLst>
                <a:ext uri="{FF2B5EF4-FFF2-40B4-BE49-F238E27FC236}">
                  <a16:creationId xmlns:a16="http://schemas.microsoft.com/office/drawing/2014/main" id="{BC92D3BD-5AE0-566A-EFE8-937ABAEE712A}"/>
                </a:ext>
              </a:extLst>
            </p:cNvPr>
            <p:cNvSpPr txBox="1"/>
            <p:nvPr/>
          </p:nvSpPr>
          <p:spPr>
            <a:xfrm>
              <a:off x="6887634" y="-513220"/>
              <a:ext cx="199960" cy="252273"/>
            </a:xfrm>
            <a:custGeom>
              <a:avLst/>
              <a:gdLst/>
              <a:ahLst/>
              <a:cxnLst/>
              <a:rect l="l" t="t" r="r" b="b"/>
              <a:pathLst>
                <a:path w="199960" h="252273">
                  <a:moveTo>
                    <a:pt x="0" y="0"/>
                  </a:moveTo>
                  <a:lnTo>
                    <a:pt x="199960" y="0"/>
                  </a:lnTo>
                  <a:lnTo>
                    <a:pt x="199960" y="29770"/>
                  </a:lnTo>
                  <a:lnTo>
                    <a:pt x="116500" y="29770"/>
                  </a:lnTo>
                  <a:lnTo>
                    <a:pt x="116500" y="252273"/>
                  </a:lnTo>
                  <a:lnTo>
                    <a:pt x="83116" y="252273"/>
                  </a:lnTo>
                  <a:lnTo>
                    <a:pt x="83116" y="29770"/>
                  </a:lnTo>
                  <a:lnTo>
                    <a:pt x="0" y="29770"/>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48" name="TextBox 47">
              <a:extLst>
                <a:ext uri="{FF2B5EF4-FFF2-40B4-BE49-F238E27FC236}">
                  <a16:creationId xmlns:a16="http://schemas.microsoft.com/office/drawing/2014/main" id="{9FEED7E7-A93E-F277-A832-DCA58DCF2EBC}"/>
                </a:ext>
              </a:extLst>
            </p:cNvPr>
            <p:cNvSpPr txBox="1"/>
            <p:nvPr/>
          </p:nvSpPr>
          <p:spPr>
            <a:xfrm>
              <a:off x="7142032" y="-513220"/>
              <a:ext cx="197895" cy="252273"/>
            </a:xfrm>
            <a:custGeom>
              <a:avLst/>
              <a:gdLst/>
              <a:ahLst/>
              <a:cxnLst/>
              <a:rect l="l" t="t" r="r" b="b"/>
              <a:pathLst>
                <a:path w="197895" h="252273">
                  <a:moveTo>
                    <a:pt x="0" y="0"/>
                  </a:moveTo>
                  <a:lnTo>
                    <a:pt x="33384" y="0"/>
                  </a:lnTo>
                  <a:lnTo>
                    <a:pt x="33384" y="103594"/>
                  </a:lnTo>
                  <a:lnTo>
                    <a:pt x="164511" y="103594"/>
                  </a:lnTo>
                  <a:lnTo>
                    <a:pt x="164511" y="0"/>
                  </a:lnTo>
                  <a:lnTo>
                    <a:pt x="197895" y="0"/>
                  </a:lnTo>
                  <a:lnTo>
                    <a:pt x="197895" y="252273"/>
                  </a:lnTo>
                  <a:lnTo>
                    <a:pt x="164511" y="252273"/>
                  </a:lnTo>
                  <a:lnTo>
                    <a:pt x="164511" y="133364"/>
                  </a:lnTo>
                  <a:lnTo>
                    <a:pt x="33384" y="133364"/>
                  </a:lnTo>
                  <a:lnTo>
                    <a:pt x="33384" y="252273"/>
                  </a:lnTo>
                  <a:lnTo>
                    <a:pt x="0" y="252273"/>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49" name="TextBox 48">
              <a:extLst>
                <a:ext uri="{FF2B5EF4-FFF2-40B4-BE49-F238E27FC236}">
                  <a16:creationId xmlns:a16="http://schemas.microsoft.com/office/drawing/2014/main" id="{0BDF9C0C-23B8-E139-0DE6-6FEE643A3398}"/>
                </a:ext>
              </a:extLst>
            </p:cNvPr>
            <p:cNvSpPr txBox="1"/>
            <p:nvPr/>
          </p:nvSpPr>
          <p:spPr>
            <a:xfrm>
              <a:off x="7709840" y="-513220"/>
              <a:ext cx="222330" cy="252273"/>
            </a:xfrm>
            <a:custGeom>
              <a:avLst/>
              <a:gdLst/>
              <a:ahLst/>
              <a:cxnLst/>
              <a:rect l="l" t="t" r="r" b="b"/>
              <a:pathLst>
                <a:path w="222330" h="252273">
                  <a:moveTo>
                    <a:pt x="0" y="0"/>
                  </a:moveTo>
                  <a:lnTo>
                    <a:pt x="111853" y="0"/>
                  </a:lnTo>
                  <a:cubicBezTo>
                    <a:pt x="134339" y="0"/>
                    <a:pt x="151432" y="2266"/>
                    <a:pt x="163134" y="6797"/>
                  </a:cubicBezTo>
                  <a:cubicBezTo>
                    <a:pt x="174835" y="11329"/>
                    <a:pt x="184185" y="19331"/>
                    <a:pt x="191183" y="30803"/>
                  </a:cubicBezTo>
                  <a:cubicBezTo>
                    <a:pt x="198181" y="42275"/>
                    <a:pt x="201680" y="54952"/>
                    <a:pt x="201680" y="68833"/>
                  </a:cubicBezTo>
                  <a:cubicBezTo>
                    <a:pt x="201680" y="86730"/>
                    <a:pt x="195887" y="101816"/>
                    <a:pt x="184300" y="114091"/>
                  </a:cubicBezTo>
                  <a:cubicBezTo>
                    <a:pt x="172713" y="126366"/>
                    <a:pt x="154816" y="134167"/>
                    <a:pt x="130610" y="137494"/>
                  </a:cubicBezTo>
                  <a:cubicBezTo>
                    <a:pt x="139444" y="141739"/>
                    <a:pt x="146155" y="145926"/>
                    <a:pt x="150744" y="150056"/>
                  </a:cubicBezTo>
                  <a:cubicBezTo>
                    <a:pt x="160495" y="159004"/>
                    <a:pt x="169730" y="170190"/>
                    <a:pt x="178449" y="183612"/>
                  </a:cubicBezTo>
                  <a:lnTo>
                    <a:pt x="222330" y="252273"/>
                  </a:lnTo>
                  <a:lnTo>
                    <a:pt x="180342" y="252273"/>
                  </a:lnTo>
                  <a:lnTo>
                    <a:pt x="146958" y="199788"/>
                  </a:lnTo>
                  <a:cubicBezTo>
                    <a:pt x="137207" y="184645"/>
                    <a:pt x="129176" y="173058"/>
                    <a:pt x="122866" y="165027"/>
                  </a:cubicBezTo>
                  <a:cubicBezTo>
                    <a:pt x="116557" y="156997"/>
                    <a:pt x="110907" y="151375"/>
                    <a:pt x="105916" y="148163"/>
                  </a:cubicBezTo>
                  <a:cubicBezTo>
                    <a:pt x="100926" y="144951"/>
                    <a:pt x="95849" y="142714"/>
                    <a:pt x="90687" y="141452"/>
                  </a:cubicBezTo>
                  <a:cubicBezTo>
                    <a:pt x="86901" y="140649"/>
                    <a:pt x="80706" y="140247"/>
                    <a:pt x="72102" y="140247"/>
                  </a:cubicBezTo>
                  <a:lnTo>
                    <a:pt x="33384" y="140247"/>
                  </a:lnTo>
                  <a:lnTo>
                    <a:pt x="33384" y="252273"/>
                  </a:lnTo>
                  <a:lnTo>
                    <a:pt x="0" y="252273"/>
                  </a:lnTo>
                  <a:lnTo>
                    <a:pt x="0" y="0"/>
                  </a:lnTo>
                  <a:close/>
                  <a:moveTo>
                    <a:pt x="33384" y="27877"/>
                  </a:moveTo>
                  <a:lnTo>
                    <a:pt x="33384" y="111337"/>
                  </a:lnTo>
                  <a:lnTo>
                    <a:pt x="105142" y="111337"/>
                  </a:lnTo>
                  <a:cubicBezTo>
                    <a:pt x="120400" y="111337"/>
                    <a:pt x="132331" y="109760"/>
                    <a:pt x="140935" y="106605"/>
                  </a:cubicBezTo>
                  <a:cubicBezTo>
                    <a:pt x="149539" y="103450"/>
                    <a:pt x="156078" y="98403"/>
                    <a:pt x="160553" y="91462"/>
                  </a:cubicBezTo>
                  <a:cubicBezTo>
                    <a:pt x="165027" y="84521"/>
                    <a:pt x="167264" y="76978"/>
                    <a:pt x="167264" y="68833"/>
                  </a:cubicBezTo>
                  <a:cubicBezTo>
                    <a:pt x="167264" y="56902"/>
                    <a:pt x="162933" y="47093"/>
                    <a:pt x="154272" y="39407"/>
                  </a:cubicBezTo>
                  <a:cubicBezTo>
                    <a:pt x="145610" y="31721"/>
                    <a:pt x="131929" y="27877"/>
                    <a:pt x="113230" y="27877"/>
                  </a:cubicBezTo>
                  <a:lnTo>
                    <a:pt x="33384" y="27877"/>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50" name="TextBox 49">
              <a:extLst>
                <a:ext uri="{FF2B5EF4-FFF2-40B4-BE49-F238E27FC236}">
                  <a16:creationId xmlns:a16="http://schemas.microsoft.com/office/drawing/2014/main" id="{40786E8B-8513-32ED-E00B-3D7D25769225}"/>
                </a:ext>
              </a:extLst>
            </p:cNvPr>
            <p:cNvSpPr txBox="1"/>
            <p:nvPr/>
          </p:nvSpPr>
          <p:spPr>
            <a:xfrm>
              <a:off x="7989203" y="-513220"/>
              <a:ext cx="33384" cy="252273"/>
            </a:xfrm>
            <a:custGeom>
              <a:avLst/>
              <a:gdLst/>
              <a:ahLst/>
              <a:cxnLst/>
              <a:rect l="l" t="t" r="r" b="b"/>
              <a:pathLst>
                <a:path w="33384" h="252273">
                  <a:moveTo>
                    <a:pt x="0" y="0"/>
                  </a:moveTo>
                  <a:lnTo>
                    <a:pt x="33384" y="0"/>
                  </a:lnTo>
                  <a:lnTo>
                    <a:pt x="33384" y="252273"/>
                  </a:lnTo>
                  <a:lnTo>
                    <a:pt x="0" y="252273"/>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51" name="TextBox 50">
              <a:extLst>
                <a:ext uri="{FF2B5EF4-FFF2-40B4-BE49-F238E27FC236}">
                  <a16:creationId xmlns:a16="http://schemas.microsoft.com/office/drawing/2014/main" id="{E1ED2008-5F8F-0F9A-88A9-161DE88B7217}"/>
                </a:ext>
              </a:extLst>
            </p:cNvPr>
            <p:cNvSpPr txBox="1"/>
            <p:nvPr/>
          </p:nvSpPr>
          <p:spPr>
            <a:xfrm>
              <a:off x="8080086" y="-513220"/>
              <a:ext cx="199960" cy="252273"/>
            </a:xfrm>
            <a:custGeom>
              <a:avLst/>
              <a:gdLst/>
              <a:ahLst/>
              <a:cxnLst/>
              <a:rect l="l" t="t" r="r" b="b"/>
              <a:pathLst>
                <a:path w="199960" h="252273">
                  <a:moveTo>
                    <a:pt x="0" y="0"/>
                  </a:moveTo>
                  <a:lnTo>
                    <a:pt x="199960" y="0"/>
                  </a:lnTo>
                  <a:lnTo>
                    <a:pt x="199960" y="29770"/>
                  </a:lnTo>
                  <a:lnTo>
                    <a:pt x="116500" y="29770"/>
                  </a:lnTo>
                  <a:lnTo>
                    <a:pt x="116500" y="252273"/>
                  </a:lnTo>
                  <a:lnTo>
                    <a:pt x="83116" y="252273"/>
                  </a:lnTo>
                  <a:lnTo>
                    <a:pt x="83116" y="29770"/>
                  </a:lnTo>
                  <a:lnTo>
                    <a:pt x="0" y="29770"/>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52" name="TextBox 51">
              <a:extLst>
                <a:ext uri="{FF2B5EF4-FFF2-40B4-BE49-F238E27FC236}">
                  <a16:creationId xmlns:a16="http://schemas.microsoft.com/office/drawing/2014/main" id="{72FF76FF-55AB-3566-EBA7-73F855F3C2B0}"/>
                </a:ext>
              </a:extLst>
            </p:cNvPr>
            <p:cNvSpPr txBox="1"/>
            <p:nvPr/>
          </p:nvSpPr>
          <p:spPr>
            <a:xfrm>
              <a:off x="8307293" y="-513220"/>
              <a:ext cx="231278" cy="252273"/>
            </a:xfrm>
            <a:custGeom>
              <a:avLst/>
              <a:gdLst/>
              <a:ahLst/>
              <a:cxnLst/>
              <a:rect l="l" t="t" r="r" b="b"/>
              <a:pathLst>
                <a:path w="231278" h="252273">
                  <a:moveTo>
                    <a:pt x="0" y="0"/>
                  </a:moveTo>
                  <a:lnTo>
                    <a:pt x="40611" y="0"/>
                  </a:lnTo>
                  <a:lnTo>
                    <a:pt x="90343" y="76060"/>
                  </a:lnTo>
                  <a:cubicBezTo>
                    <a:pt x="99521" y="90286"/>
                    <a:pt x="108067" y="104511"/>
                    <a:pt x="115983" y="118737"/>
                  </a:cubicBezTo>
                  <a:cubicBezTo>
                    <a:pt x="123555" y="105544"/>
                    <a:pt x="132732" y="90687"/>
                    <a:pt x="143516" y="74168"/>
                  </a:cubicBezTo>
                  <a:lnTo>
                    <a:pt x="192388" y="0"/>
                  </a:lnTo>
                  <a:lnTo>
                    <a:pt x="231278" y="0"/>
                  </a:lnTo>
                  <a:lnTo>
                    <a:pt x="130610" y="145410"/>
                  </a:lnTo>
                  <a:lnTo>
                    <a:pt x="130610" y="252273"/>
                  </a:lnTo>
                  <a:lnTo>
                    <a:pt x="97226" y="252273"/>
                  </a:lnTo>
                  <a:lnTo>
                    <a:pt x="97226" y="145410"/>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53" name="TextBox 52">
              <a:extLst>
                <a:ext uri="{FF2B5EF4-FFF2-40B4-BE49-F238E27FC236}">
                  <a16:creationId xmlns:a16="http://schemas.microsoft.com/office/drawing/2014/main" id="{90653D40-D91C-664A-39A3-8FBF4C98210D}"/>
                </a:ext>
              </a:extLst>
            </p:cNvPr>
            <p:cNvSpPr txBox="1"/>
            <p:nvPr/>
          </p:nvSpPr>
          <p:spPr>
            <a:xfrm>
              <a:off x="6350182" y="-304477"/>
              <a:ext cx="16717" cy="43530"/>
            </a:xfrm>
            <a:custGeom>
              <a:avLst/>
              <a:gdLst/>
              <a:ahLst/>
              <a:cxnLst/>
              <a:rect l="l" t="t" r="r" b="b"/>
              <a:pathLst>
                <a:path w="16717" h="43530">
                  <a:moveTo>
                    <a:pt x="16717" y="0"/>
                  </a:moveTo>
                  <a:lnTo>
                    <a:pt x="16717" y="43530"/>
                  </a:lnTo>
                  <a:lnTo>
                    <a:pt x="0" y="43530"/>
                  </a:lnTo>
                  <a:lnTo>
                    <a:pt x="16717"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54" name="TextBox 53">
              <a:extLst>
                <a:ext uri="{FF2B5EF4-FFF2-40B4-BE49-F238E27FC236}">
                  <a16:creationId xmlns:a16="http://schemas.microsoft.com/office/drawing/2014/main" id="{9BD7695B-58C3-D521-56C0-B6FC57EFB8B2}"/>
                </a:ext>
              </a:extLst>
            </p:cNvPr>
            <p:cNvSpPr txBox="1"/>
            <p:nvPr/>
          </p:nvSpPr>
          <p:spPr>
            <a:xfrm>
              <a:off x="3671948" y="-262973"/>
              <a:ext cx="829" cy="2026"/>
            </a:xfrm>
            <a:custGeom>
              <a:avLst/>
              <a:gdLst/>
              <a:ahLst/>
              <a:cxnLst/>
              <a:rect l="l" t="t" r="r" b="b"/>
              <a:pathLst>
                <a:path w="829" h="2026">
                  <a:moveTo>
                    <a:pt x="0" y="0"/>
                  </a:moveTo>
                  <a:lnTo>
                    <a:pt x="829" y="2026"/>
                  </a:lnTo>
                  <a:lnTo>
                    <a:pt x="0" y="2026"/>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grpSp>
    </p:spTree>
    <p:extLst>
      <p:ext uri="{BB962C8B-B14F-4D97-AF65-F5344CB8AC3E}">
        <p14:creationId xmlns:p14="http://schemas.microsoft.com/office/powerpoint/2010/main" val="2575098872"/>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tags" Target="../tags/tag5.xml"/><Relationship Id="rId26" Type="http://schemas.openxmlformats.org/officeDocument/2006/relationships/tags" Target="../tags/tag13.xml"/><Relationship Id="rId39" Type="http://schemas.openxmlformats.org/officeDocument/2006/relationships/image" Target="../media/image3.png"/><Relationship Id="rId21" Type="http://schemas.openxmlformats.org/officeDocument/2006/relationships/tags" Target="../tags/tag8.xml"/><Relationship Id="rId34" Type="http://schemas.openxmlformats.org/officeDocument/2006/relationships/tags" Target="../tags/tag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4.xml"/><Relationship Id="rId25" Type="http://schemas.openxmlformats.org/officeDocument/2006/relationships/tags" Target="../tags/tag12.xml"/><Relationship Id="rId33" Type="http://schemas.openxmlformats.org/officeDocument/2006/relationships/tags" Target="../tags/tag20.xml"/><Relationship Id="rId38"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tags" Target="../tags/tag3.xml"/><Relationship Id="rId20" Type="http://schemas.openxmlformats.org/officeDocument/2006/relationships/tags" Target="../tags/tag7.xml"/><Relationship Id="rId29" Type="http://schemas.openxmlformats.org/officeDocument/2006/relationships/tags" Target="../tags/tag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1.xml"/><Relationship Id="rId32" Type="http://schemas.openxmlformats.org/officeDocument/2006/relationships/tags" Target="../tags/tag19.xml"/><Relationship Id="rId37" Type="http://schemas.openxmlformats.org/officeDocument/2006/relationships/image" Target="../media/image1.emf"/><Relationship Id="rId40" Type="http://schemas.openxmlformats.org/officeDocument/2006/relationships/image" Target="../media/image4.png"/><Relationship Id="rId5" Type="http://schemas.openxmlformats.org/officeDocument/2006/relationships/slideLayout" Target="../slideLayouts/slideLayout5.xml"/><Relationship Id="rId15" Type="http://schemas.openxmlformats.org/officeDocument/2006/relationships/tags" Target="../tags/tag2.xml"/><Relationship Id="rId23" Type="http://schemas.openxmlformats.org/officeDocument/2006/relationships/tags" Target="../tags/tag10.xml"/><Relationship Id="rId28" Type="http://schemas.openxmlformats.org/officeDocument/2006/relationships/tags" Target="../tags/tag15.xml"/><Relationship Id="rId36"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tags" Target="../tags/tag6.xml"/><Relationship Id="rId31" Type="http://schemas.openxmlformats.org/officeDocument/2006/relationships/tags" Target="../tags/tag18.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 Id="rId22" Type="http://schemas.openxmlformats.org/officeDocument/2006/relationships/tags" Target="../tags/tag9.xml"/><Relationship Id="rId27" Type="http://schemas.openxmlformats.org/officeDocument/2006/relationships/tags" Target="../tags/tag14.xml"/><Relationship Id="rId30" Type="http://schemas.openxmlformats.org/officeDocument/2006/relationships/tags" Target="../tags/tag17.xml"/><Relationship Id="rId35" Type="http://schemas.openxmlformats.org/officeDocument/2006/relationships/tags" Target="../tags/tag22.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6.xml"/><Relationship Id="rId18" Type="http://schemas.openxmlformats.org/officeDocument/2006/relationships/slideLayout" Target="../slideLayouts/slideLayout31.xml"/><Relationship Id="rId26" Type="http://schemas.openxmlformats.org/officeDocument/2006/relationships/tags" Target="../tags/tag118.xml"/><Relationship Id="rId39" Type="http://schemas.openxmlformats.org/officeDocument/2006/relationships/tags" Target="../tags/tag131.xml"/><Relationship Id="rId21" Type="http://schemas.openxmlformats.org/officeDocument/2006/relationships/tags" Target="../tags/tag113.xml"/><Relationship Id="rId34" Type="http://schemas.openxmlformats.org/officeDocument/2006/relationships/tags" Target="../tags/tag126.xml"/><Relationship Id="rId42" Type="http://schemas.openxmlformats.org/officeDocument/2006/relationships/image" Target="../media/image2.png"/><Relationship Id="rId7" Type="http://schemas.openxmlformats.org/officeDocument/2006/relationships/slideLayout" Target="../slideLayouts/slideLayout20.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9" Type="http://schemas.openxmlformats.org/officeDocument/2006/relationships/tags" Target="../tags/tag121.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24" Type="http://schemas.openxmlformats.org/officeDocument/2006/relationships/tags" Target="../tags/tag116.xml"/><Relationship Id="rId32" Type="http://schemas.openxmlformats.org/officeDocument/2006/relationships/tags" Target="../tags/tag124.xml"/><Relationship Id="rId37" Type="http://schemas.openxmlformats.org/officeDocument/2006/relationships/tags" Target="../tags/tag129.xml"/><Relationship Id="rId40" Type="http://schemas.openxmlformats.org/officeDocument/2006/relationships/oleObject" Target="../embeddings/oleObject11.bin"/><Relationship Id="rId45" Type="http://schemas.microsoft.com/office/2007/relationships/hdphoto" Target="../media/hdphoto1.wdp"/><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tags" Target="../tags/tag115.xml"/><Relationship Id="rId28" Type="http://schemas.openxmlformats.org/officeDocument/2006/relationships/tags" Target="../tags/tag120.xml"/><Relationship Id="rId36" Type="http://schemas.openxmlformats.org/officeDocument/2006/relationships/tags" Target="../tags/tag128.xml"/><Relationship Id="rId10" Type="http://schemas.openxmlformats.org/officeDocument/2006/relationships/slideLayout" Target="../slideLayouts/slideLayout23.xml"/><Relationship Id="rId19" Type="http://schemas.openxmlformats.org/officeDocument/2006/relationships/theme" Target="../theme/theme2.xml"/><Relationship Id="rId31" Type="http://schemas.openxmlformats.org/officeDocument/2006/relationships/tags" Target="../tags/tag123.xml"/><Relationship Id="rId44" Type="http://schemas.openxmlformats.org/officeDocument/2006/relationships/image" Target="../media/image12.png"/><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tags" Target="../tags/tag114.xml"/><Relationship Id="rId27" Type="http://schemas.openxmlformats.org/officeDocument/2006/relationships/tags" Target="../tags/tag119.xml"/><Relationship Id="rId30" Type="http://schemas.openxmlformats.org/officeDocument/2006/relationships/tags" Target="../tags/tag122.xml"/><Relationship Id="rId35" Type="http://schemas.openxmlformats.org/officeDocument/2006/relationships/tags" Target="../tags/tag127.xml"/><Relationship Id="rId43" Type="http://schemas.openxmlformats.org/officeDocument/2006/relationships/image" Target="../media/image11.png"/><Relationship Id="rId8" Type="http://schemas.openxmlformats.org/officeDocument/2006/relationships/slideLayout" Target="../slideLayouts/slideLayout21.xml"/><Relationship Id="rId3" Type="http://schemas.openxmlformats.org/officeDocument/2006/relationships/slideLayout" Target="../slideLayouts/slideLayout16.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5" Type="http://schemas.openxmlformats.org/officeDocument/2006/relationships/tags" Target="../tags/tag117.xml"/><Relationship Id="rId33" Type="http://schemas.openxmlformats.org/officeDocument/2006/relationships/tags" Target="../tags/tag125.xml"/><Relationship Id="rId38" Type="http://schemas.openxmlformats.org/officeDocument/2006/relationships/tags" Target="../tags/tag130.xml"/><Relationship Id="rId20" Type="http://schemas.openxmlformats.org/officeDocument/2006/relationships/tags" Target="../tags/tag112.xml"/><Relationship Id="rId41" Type="http://schemas.openxmlformats.org/officeDocument/2006/relationships/image" Target="../media/image5.emf"/></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44.xml"/><Relationship Id="rId18" Type="http://schemas.openxmlformats.org/officeDocument/2006/relationships/tags" Target="../tags/tag253.xml"/><Relationship Id="rId26" Type="http://schemas.openxmlformats.org/officeDocument/2006/relationships/tags" Target="../tags/tag261.xml"/><Relationship Id="rId39" Type="http://schemas.openxmlformats.org/officeDocument/2006/relationships/image" Target="../media/image21.png"/><Relationship Id="rId21" Type="http://schemas.openxmlformats.org/officeDocument/2006/relationships/tags" Target="../tags/tag256.xml"/><Relationship Id="rId34" Type="http://schemas.openxmlformats.org/officeDocument/2006/relationships/tags" Target="../tags/tag269.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tags" Target="../tags/tag252.xml"/><Relationship Id="rId25" Type="http://schemas.openxmlformats.org/officeDocument/2006/relationships/tags" Target="../tags/tag260.xml"/><Relationship Id="rId33" Type="http://schemas.openxmlformats.org/officeDocument/2006/relationships/tags" Target="../tags/tag268.xml"/><Relationship Id="rId38" Type="http://schemas.openxmlformats.org/officeDocument/2006/relationships/image" Target="../media/image1.emf"/><Relationship Id="rId2" Type="http://schemas.openxmlformats.org/officeDocument/2006/relationships/slideLayout" Target="../slideLayouts/slideLayout33.xml"/><Relationship Id="rId16" Type="http://schemas.openxmlformats.org/officeDocument/2006/relationships/theme" Target="../theme/theme3.xml"/><Relationship Id="rId20" Type="http://schemas.openxmlformats.org/officeDocument/2006/relationships/tags" Target="../tags/tag255.xml"/><Relationship Id="rId29" Type="http://schemas.openxmlformats.org/officeDocument/2006/relationships/tags" Target="../tags/tag264.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tags" Target="../tags/tag259.xml"/><Relationship Id="rId32" Type="http://schemas.openxmlformats.org/officeDocument/2006/relationships/tags" Target="../tags/tag267.xml"/><Relationship Id="rId37" Type="http://schemas.openxmlformats.org/officeDocument/2006/relationships/oleObject" Target="../embeddings/oleObject28.bin"/><Relationship Id="rId40" Type="http://schemas.openxmlformats.org/officeDocument/2006/relationships/image" Target="../media/image22.png"/><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tags" Target="../tags/tag258.xml"/><Relationship Id="rId28" Type="http://schemas.openxmlformats.org/officeDocument/2006/relationships/tags" Target="../tags/tag263.xml"/><Relationship Id="rId36" Type="http://schemas.openxmlformats.org/officeDocument/2006/relationships/tags" Target="../tags/tag271.xml"/><Relationship Id="rId10" Type="http://schemas.openxmlformats.org/officeDocument/2006/relationships/slideLayout" Target="../slideLayouts/slideLayout41.xml"/><Relationship Id="rId19" Type="http://schemas.openxmlformats.org/officeDocument/2006/relationships/tags" Target="../tags/tag254.xml"/><Relationship Id="rId31" Type="http://schemas.openxmlformats.org/officeDocument/2006/relationships/tags" Target="../tags/tag266.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tags" Target="../tags/tag257.xml"/><Relationship Id="rId27" Type="http://schemas.openxmlformats.org/officeDocument/2006/relationships/tags" Target="../tags/tag262.xml"/><Relationship Id="rId30" Type="http://schemas.openxmlformats.org/officeDocument/2006/relationships/tags" Target="../tags/tag265.xml"/><Relationship Id="rId35" Type="http://schemas.openxmlformats.org/officeDocument/2006/relationships/tags" Target="../tags/tag270.xml"/><Relationship Id="rId8" Type="http://schemas.openxmlformats.org/officeDocument/2006/relationships/slideLayout" Target="../slideLayouts/slideLayout39.xml"/><Relationship Id="rId3" Type="http://schemas.openxmlformats.org/officeDocument/2006/relationships/slideLayout" Target="../slideLayouts/slideLayout3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tags" Target="../tags/tag378.xml"/><Relationship Id="rId26" Type="http://schemas.openxmlformats.org/officeDocument/2006/relationships/image" Target="../media/image1.emf"/><Relationship Id="rId3" Type="http://schemas.openxmlformats.org/officeDocument/2006/relationships/slideLayout" Target="../slideLayouts/slideLayout49.xml"/><Relationship Id="rId21" Type="http://schemas.openxmlformats.org/officeDocument/2006/relationships/tags" Target="../tags/tag381.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theme" Target="../theme/theme4.xml"/><Relationship Id="rId25" Type="http://schemas.openxmlformats.org/officeDocument/2006/relationships/oleObject" Target="../embeddings/oleObject42.bin"/><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tags" Target="../tags/tag380.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24" Type="http://schemas.openxmlformats.org/officeDocument/2006/relationships/tags" Target="../tags/tag384.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23" Type="http://schemas.openxmlformats.org/officeDocument/2006/relationships/tags" Target="../tags/tag383.xml"/><Relationship Id="rId28" Type="http://schemas.openxmlformats.org/officeDocument/2006/relationships/image" Target="../media/image33.png"/><Relationship Id="rId10" Type="http://schemas.openxmlformats.org/officeDocument/2006/relationships/slideLayout" Target="../slideLayouts/slideLayout56.xml"/><Relationship Id="rId19" Type="http://schemas.openxmlformats.org/officeDocument/2006/relationships/tags" Target="../tags/tag379.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tags" Target="../tags/tag382.xml"/><Relationship Id="rId27" Type="http://schemas.openxmlformats.org/officeDocument/2006/relationships/image" Target="../media/image3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5"/>
            </p:custDataLst>
            <p:extLst>
              <p:ext uri="{D42A27DB-BD31-4B8C-83A1-F6EECF244321}">
                <p14:modId xmlns:p14="http://schemas.microsoft.com/office/powerpoint/2010/main" val="3388208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6" imgW="413" imgH="416" progId="TCLayout.ActiveDocument.1">
                  <p:embed/>
                </p:oleObj>
              </mc:Choice>
              <mc:Fallback>
                <p:oleObj name="think-cell Slide" r:id="rId36"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pic>
        <p:nvPicPr>
          <p:cNvPr id="49" name="Google Shape;64;p16">
            <a:extLst>
              <a:ext uri="{FF2B5EF4-FFF2-40B4-BE49-F238E27FC236}">
                <a16:creationId xmlns:a16="http://schemas.microsoft.com/office/drawing/2014/main" id="{5B67CEAD-16D2-9438-57C7-43FFF5AEA299}"/>
              </a:ext>
            </a:extLst>
          </p:cNvPr>
          <p:cNvPicPr preferRelativeResize="0"/>
          <p:nvPr userDrawn="1"/>
        </p:nvPicPr>
        <p:blipFill rotWithShape="1">
          <a:blip r:embed="rId38" cstate="email">
            <a:alphaModFix/>
            <a:extLst>
              <a:ext uri="{28A0092B-C50C-407E-A947-70E740481C1C}">
                <a14:useLocalDpi xmlns:a14="http://schemas.microsoft.com/office/drawing/2010/main"/>
              </a:ext>
            </a:extLst>
          </a:blip>
          <a:srcRect/>
          <a:stretch/>
        </p:blipFill>
        <p:spPr bwMode="ltGray">
          <a:xfrm>
            <a:off x="10128282" y="-14875"/>
            <a:ext cx="2063718" cy="1950355"/>
          </a:xfrm>
          <a:prstGeom prst="rect">
            <a:avLst/>
          </a:prstGeom>
          <a:noFill/>
          <a:ln>
            <a:noFill/>
          </a:ln>
        </p:spPr>
      </p:pic>
      <p:sp>
        <p:nvSpPr>
          <p:cNvPr id="2" name="Rectangle 1" hidden="1">
            <a:extLst>
              <a:ext uri="{FF2B5EF4-FFF2-40B4-BE49-F238E27FC236}">
                <a16:creationId xmlns:a16="http://schemas.microsoft.com/office/drawing/2014/main" id="{15B28737-798E-48D4-BBDB-8EB35CB9FFFB}"/>
              </a:ext>
            </a:extLst>
          </p:cNvPr>
          <p:cNvSpPr/>
          <p:nvPr userDrawn="1">
            <p:custDataLst>
              <p:tags r:id="rId16"/>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7"/>
            </p:custDataLst>
          </p:nvPr>
        </p:nvSpPr>
        <p:spPr>
          <a:xfrm>
            <a:off x="553972"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rt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8"/>
            </p:custDataLst>
          </p:nvPr>
        </p:nvSpPr>
        <p:spPr>
          <a:xfrm>
            <a:off x="554736" y="172212"/>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p>
            <a:pPr lvl="0"/>
            <a:r>
              <a:rPr lang="en-US"/>
              <a:t>Click to edit Master title style</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19"/>
            </p:custDataLst>
          </p:nvPr>
        </p:nvSpPr>
        <p:spPr>
          <a:xfrm>
            <a:off x="5987738" y="2170800"/>
            <a:ext cx="3049253" cy="53860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a:t>Above Chart Exhibit Title</a:t>
            </a:r>
          </a:p>
          <a:p>
            <a:pPr lvl="0" rtl="0"/>
            <a:r>
              <a:rPr lang="en-US" sz="1400"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5" y="2170800"/>
            <a:ext cx="2899664" cy="1384300"/>
          </a:xfrm>
          <a:prstGeom prst="rect">
            <a:avLst/>
          </a:prstGeom>
        </p:spPr>
        <p:txBody>
          <a:bodyPr vert="horz" wrap="square"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5" name="Sticker" hidden="1">
            <a:extLst>
              <a:ext uri="{FF2B5EF4-FFF2-40B4-BE49-F238E27FC236}">
                <a16:creationId xmlns:a16="http://schemas.microsoft.com/office/drawing/2014/main" id="{97ED2832-F2D3-4BBC-B741-D13502E9DAA9}"/>
              </a:ext>
            </a:extLst>
          </p:cNvPr>
          <p:cNvSpPr txBox="1"/>
          <p:nvPr userDrawn="1"/>
        </p:nvSpPr>
        <p:spPr>
          <a:xfrm>
            <a:off x="558489" y="964729"/>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rtl="0"/>
            <a:r>
              <a:rPr lang="en-US"/>
              <a:t>STICKER</a:t>
            </a:r>
          </a:p>
        </p:txBody>
      </p:sp>
      <p:grpSp>
        <p:nvGrpSpPr>
          <p:cNvPr id="6" name="LegendLines" hidden="1">
            <a:extLst>
              <a:ext uri="{FF2B5EF4-FFF2-40B4-BE49-F238E27FC236}">
                <a16:creationId xmlns:a16="http://schemas.microsoft.com/office/drawing/2014/main" id="{95843CB4-4BA9-9F2A-46D9-FE91977FA665}"/>
              </a:ext>
            </a:extLst>
          </p:cNvPr>
          <p:cNvGrpSpPr/>
          <p:nvPr userDrawn="1"/>
        </p:nvGrpSpPr>
        <p:grpSpPr>
          <a:xfrm>
            <a:off x="10317304" y="3355023"/>
            <a:ext cx="1319960" cy="958286"/>
            <a:chOff x="10162879" y="3243772"/>
            <a:chExt cx="1319960" cy="958286"/>
          </a:xfrm>
        </p:grpSpPr>
        <p:sp>
          <p:nvSpPr>
            <p:cNvPr id="7" name="Legend1" hidden="1">
              <a:extLst>
                <a:ext uri="{FF2B5EF4-FFF2-40B4-BE49-F238E27FC236}">
                  <a16:creationId xmlns:a16="http://schemas.microsoft.com/office/drawing/2014/main" id="{483B50C1-B38C-3AC9-4BB0-84508A5E3435}"/>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8" name="Legend2" hidden="1">
              <a:extLst>
                <a:ext uri="{FF2B5EF4-FFF2-40B4-BE49-F238E27FC236}">
                  <a16:creationId xmlns:a16="http://schemas.microsoft.com/office/drawing/2014/main" id="{FC7555B9-622A-BC3C-8781-570182475B20}"/>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9" name="Legend3" hidden="1">
              <a:extLst>
                <a:ext uri="{FF2B5EF4-FFF2-40B4-BE49-F238E27FC236}">
                  <a16:creationId xmlns:a16="http://schemas.microsoft.com/office/drawing/2014/main" id="{1A45305A-D27C-A73B-8A8A-E57DA38C2AC7}"/>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0" name="LineLegend3" hidden="1">
              <a:extLst>
                <a:ext uri="{FF2B5EF4-FFF2-40B4-BE49-F238E27FC236}">
                  <a16:creationId xmlns:a16="http://schemas.microsoft.com/office/drawing/2014/main" id="{161EB8D2-6C42-B602-6F3F-049859016CF4}"/>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US" sz="1400" baseline="0">
                <a:ea typeface="+mn-ea"/>
              </a:endParaRPr>
            </a:p>
          </p:txBody>
        </p:sp>
        <p:sp>
          <p:nvSpPr>
            <p:cNvPr id="11" name="LineLegend2" hidden="1">
              <a:extLst>
                <a:ext uri="{FF2B5EF4-FFF2-40B4-BE49-F238E27FC236}">
                  <a16:creationId xmlns:a16="http://schemas.microsoft.com/office/drawing/2014/main" id="{2082D780-B252-479B-6E22-61E85197AB3D}"/>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US" sz="1400" baseline="0">
                <a:ea typeface="+mn-ea"/>
              </a:endParaRPr>
            </a:p>
          </p:txBody>
        </p:sp>
        <p:sp>
          <p:nvSpPr>
            <p:cNvPr id="12" name="LineLegend1" hidden="1">
              <a:extLst>
                <a:ext uri="{FF2B5EF4-FFF2-40B4-BE49-F238E27FC236}">
                  <a16:creationId xmlns:a16="http://schemas.microsoft.com/office/drawing/2014/main" id="{5E6B78FA-CD3D-4FED-25CB-86B527938A3F}"/>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US" sz="1400" baseline="0">
                <a:ea typeface="+mn-ea"/>
              </a:endParaRPr>
            </a:p>
          </p:txBody>
        </p:sp>
      </p:grpSp>
      <p:grpSp>
        <p:nvGrpSpPr>
          <p:cNvPr id="13" name="LegendMoons" hidden="1">
            <a:extLst>
              <a:ext uri="{FF2B5EF4-FFF2-40B4-BE49-F238E27FC236}">
                <a16:creationId xmlns:a16="http://schemas.microsoft.com/office/drawing/2014/main" id="{7B33ACC6-CF7C-DB97-EEAA-D7D2C339714C}"/>
              </a:ext>
            </a:extLst>
          </p:cNvPr>
          <p:cNvGrpSpPr/>
          <p:nvPr userDrawn="1"/>
        </p:nvGrpSpPr>
        <p:grpSpPr>
          <a:xfrm>
            <a:off x="10688315" y="1415983"/>
            <a:ext cx="948949" cy="1731859"/>
            <a:chOff x="7723680" y="1702457"/>
            <a:chExt cx="948949" cy="1731859"/>
          </a:xfrm>
        </p:grpSpPr>
        <p:sp>
          <p:nvSpPr>
            <p:cNvPr id="14" name="Legend1" hidden="1">
              <a:extLst>
                <a:ext uri="{FF2B5EF4-FFF2-40B4-BE49-F238E27FC236}">
                  <a16:creationId xmlns:a16="http://schemas.microsoft.com/office/drawing/2014/main" id="{351FD09D-6124-022B-2A8A-616598782921}"/>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5" name="Legend2" hidden="1">
              <a:extLst>
                <a:ext uri="{FF2B5EF4-FFF2-40B4-BE49-F238E27FC236}">
                  <a16:creationId xmlns:a16="http://schemas.microsoft.com/office/drawing/2014/main" id="{CCE60DD0-127C-FEB8-6BC3-38816FC39224}"/>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7" name="Legend3" hidden="1">
              <a:extLst>
                <a:ext uri="{FF2B5EF4-FFF2-40B4-BE49-F238E27FC236}">
                  <a16:creationId xmlns:a16="http://schemas.microsoft.com/office/drawing/2014/main" id="{32CAB5BB-360A-F5F1-50F5-93398F7FD0E3}"/>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8" name="Legend4" hidden="1">
              <a:extLst>
                <a:ext uri="{FF2B5EF4-FFF2-40B4-BE49-F238E27FC236}">
                  <a16:creationId xmlns:a16="http://schemas.microsoft.com/office/drawing/2014/main" id="{8387E24F-62B2-EC8B-4AE7-F48FFCF98E72}"/>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9" name="Legend5" hidden="1">
              <a:extLst>
                <a:ext uri="{FF2B5EF4-FFF2-40B4-BE49-F238E27FC236}">
                  <a16:creationId xmlns:a16="http://schemas.microsoft.com/office/drawing/2014/main" id="{6E4E624B-10CD-F6D7-0BAF-CC9B67BD4A86}"/>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grpSp>
          <p:nvGrpSpPr>
            <p:cNvPr id="20" name="MoonLegend1" hidden="1">
              <a:extLst>
                <a:ext uri="{FF2B5EF4-FFF2-40B4-BE49-F238E27FC236}">
                  <a16:creationId xmlns:a16="http://schemas.microsoft.com/office/drawing/2014/main" id="{2C9FACDB-AB77-563E-B430-533FFB0D1B28}"/>
                </a:ext>
              </a:extLst>
            </p:cNvPr>
            <p:cNvGrpSpPr>
              <a:grpSpLocks noChangeAspect="1"/>
            </p:cNvGrpSpPr>
            <p:nvPr>
              <p:custDataLst>
                <p:tags r:id="rId21"/>
              </p:custDataLst>
            </p:nvPr>
          </p:nvGrpSpPr>
          <p:grpSpPr>
            <a:xfrm>
              <a:off x="7723680" y="1702457"/>
              <a:ext cx="228600" cy="228600"/>
              <a:chOff x="762000" y="1270000"/>
              <a:chExt cx="254000" cy="254000"/>
            </a:xfrm>
          </p:grpSpPr>
          <p:sp>
            <p:nvSpPr>
              <p:cNvPr id="33" name="Oval 32" hidden="1">
                <a:extLst>
                  <a:ext uri="{FF2B5EF4-FFF2-40B4-BE49-F238E27FC236}">
                    <a16:creationId xmlns:a16="http://schemas.microsoft.com/office/drawing/2014/main" id="{CDBD433F-08FE-EF88-8642-D76A5D47FD06}"/>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a:solidFill>
                    <a:schemeClr val="tx1"/>
                  </a:solidFill>
                </a:endParaRPr>
              </a:p>
            </p:txBody>
          </p:sp>
          <p:sp>
            <p:nvSpPr>
              <p:cNvPr id="34" name="Arc 33" hidden="1">
                <a:extLst>
                  <a:ext uri="{FF2B5EF4-FFF2-40B4-BE49-F238E27FC236}">
                    <a16:creationId xmlns:a16="http://schemas.microsoft.com/office/drawing/2014/main" id="{CBE180C4-7797-1D24-5729-DD4CE3C02C76}"/>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a:p>
            </p:txBody>
          </p:sp>
        </p:grpSp>
        <p:grpSp>
          <p:nvGrpSpPr>
            <p:cNvPr id="21" name="MoonLegend2" hidden="1">
              <a:extLst>
                <a:ext uri="{FF2B5EF4-FFF2-40B4-BE49-F238E27FC236}">
                  <a16:creationId xmlns:a16="http://schemas.microsoft.com/office/drawing/2014/main" id="{A87F0C1C-D92E-F646-65F5-16A436BA256B}"/>
                </a:ext>
              </a:extLst>
            </p:cNvPr>
            <p:cNvGrpSpPr>
              <a:grpSpLocks noChangeAspect="1"/>
            </p:cNvGrpSpPr>
            <p:nvPr>
              <p:custDataLst>
                <p:tags r:id="rId22"/>
              </p:custDataLst>
            </p:nvPr>
          </p:nvGrpSpPr>
          <p:grpSpPr>
            <a:xfrm>
              <a:off x="7723680" y="2078270"/>
              <a:ext cx="228600" cy="228600"/>
              <a:chOff x="762000" y="1270000"/>
              <a:chExt cx="254000" cy="254000"/>
            </a:xfrm>
          </p:grpSpPr>
          <p:sp>
            <p:nvSpPr>
              <p:cNvPr id="31" name="Oval 30" hidden="1">
                <a:extLst>
                  <a:ext uri="{FF2B5EF4-FFF2-40B4-BE49-F238E27FC236}">
                    <a16:creationId xmlns:a16="http://schemas.microsoft.com/office/drawing/2014/main" id="{D1BA3324-96C2-0EE4-64C2-07C11B4C9DD5}"/>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a:solidFill>
                    <a:schemeClr val="tx1"/>
                  </a:solidFill>
                </a:endParaRPr>
              </a:p>
            </p:txBody>
          </p:sp>
          <p:sp>
            <p:nvSpPr>
              <p:cNvPr id="32" name="Arc 31" hidden="1">
                <a:extLst>
                  <a:ext uri="{FF2B5EF4-FFF2-40B4-BE49-F238E27FC236}">
                    <a16:creationId xmlns:a16="http://schemas.microsoft.com/office/drawing/2014/main" id="{D981D08C-0B2D-C551-4180-64F050900569}"/>
                  </a:ext>
                </a:extLst>
              </p:cNvPr>
              <p:cNvSpPr/>
              <p:nvPr>
                <p:custDataLst>
                  <p:tags r:id="rId33"/>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a:p>
            </p:txBody>
          </p:sp>
        </p:grpSp>
        <p:grpSp>
          <p:nvGrpSpPr>
            <p:cNvPr id="22" name="MoonLegend3" hidden="1">
              <a:extLst>
                <a:ext uri="{FF2B5EF4-FFF2-40B4-BE49-F238E27FC236}">
                  <a16:creationId xmlns:a16="http://schemas.microsoft.com/office/drawing/2014/main" id="{DCC29C62-9953-059E-00D8-EEF85CB23F03}"/>
                </a:ext>
              </a:extLst>
            </p:cNvPr>
            <p:cNvGrpSpPr>
              <a:grpSpLocks noChangeAspect="1"/>
            </p:cNvGrpSpPr>
            <p:nvPr>
              <p:custDataLst>
                <p:tags r:id="rId23"/>
              </p:custDataLst>
            </p:nvPr>
          </p:nvGrpSpPr>
          <p:grpSpPr>
            <a:xfrm>
              <a:off x="7723680" y="2454085"/>
              <a:ext cx="228600" cy="228600"/>
              <a:chOff x="762000" y="1270000"/>
              <a:chExt cx="254000" cy="254000"/>
            </a:xfrm>
          </p:grpSpPr>
          <p:sp>
            <p:nvSpPr>
              <p:cNvPr id="29" name="Oval 28" hidden="1">
                <a:extLst>
                  <a:ext uri="{FF2B5EF4-FFF2-40B4-BE49-F238E27FC236}">
                    <a16:creationId xmlns:a16="http://schemas.microsoft.com/office/drawing/2014/main" id="{B02884EE-77FA-1020-E2A2-B59CEC53B135}"/>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a:solidFill>
                    <a:schemeClr val="tx1"/>
                  </a:solidFill>
                </a:endParaRPr>
              </a:p>
            </p:txBody>
          </p:sp>
          <p:sp>
            <p:nvSpPr>
              <p:cNvPr id="30" name="Arc 29" hidden="1">
                <a:extLst>
                  <a:ext uri="{FF2B5EF4-FFF2-40B4-BE49-F238E27FC236}">
                    <a16:creationId xmlns:a16="http://schemas.microsoft.com/office/drawing/2014/main" id="{A5EB0C33-C868-ADC1-E3C3-787063D7E606}"/>
                  </a:ext>
                </a:extLst>
              </p:cNvPr>
              <p:cNvSpPr/>
              <p:nvPr>
                <p:custDataLst>
                  <p:tags r:id="rId31"/>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a:p>
            </p:txBody>
          </p:sp>
        </p:grpSp>
        <p:grpSp>
          <p:nvGrpSpPr>
            <p:cNvPr id="23" name="MoonLegend4" hidden="1">
              <a:extLst>
                <a:ext uri="{FF2B5EF4-FFF2-40B4-BE49-F238E27FC236}">
                  <a16:creationId xmlns:a16="http://schemas.microsoft.com/office/drawing/2014/main" id="{9CB42FC4-045E-810D-1BAC-9EFB8131EB4F}"/>
                </a:ext>
              </a:extLst>
            </p:cNvPr>
            <p:cNvGrpSpPr>
              <a:grpSpLocks noChangeAspect="1"/>
            </p:cNvGrpSpPr>
            <p:nvPr>
              <p:custDataLst>
                <p:tags r:id="rId24"/>
              </p:custDataLst>
            </p:nvPr>
          </p:nvGrpSpPr>
          <p:grpSpPr>
            <a:xfrm>
              <a:off x="7723680" y="2829900"/>
              <a:ext cx="228600" cy="228600"/>
              <a:chOff x="762000" y="1270000"/>
              <a:chExt cx="254000" cy="254000"/>
            </a:xfrm>
          </p:grpSpPr>
          <p:sp>
            <p:nvSpPr>
              <p:cNvPr id="27" name="Oval 26" hidden="1">
                <a:extLst>
                  <a:ext uri="{FF2B5EF4-FFF2-40B4-BE49-F238E27FC236}">
                    <a16:creationId xmlns:a16="http://schemas.microsoft.com/office/drawing/2014/main" id="{344AA8FA-1F30-6390-4E4B-9A8507883121}"/>
                  </a:ext>
                </a:extLst>
              </p:cNvPr>
              <p:cNvSpPr/>
              <p:nvPr>
                <p:custDataLst>
                  <p:tags r:id="rId2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a:solidFill>
                    <a:schemeClr val="tx1"/>
                  </a:solidFill>
                </a:endParaRPr>
              </a:p>
            </p:txBody>
          </p:sp>
          <p:sp>
            <p:nvSpPr>
              <p:cNvPr id="28" name="Arc 27" hidden="1">
                <a:extLst>
                  <a:ext uri="{FF2B5EF4-FFF2-40B4-BE49-F238E27FC236}">
                    <a16:creationId xmlns:a16="http://schemas.microsoft.com/office/drawing/2014/main" id="{0BA663A4-34B0-78A4-0278-7754D57A54B0}"/>
                  </a:ext>
                </a:extLst>
              </p:cNvPr>
              <p:cNvSpPr/>
              <p:nvPr>
                <p:custDataLst>
                  <p:tags r:id="rId29"/>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a:p>
            </p:txBody>
          </p:sp>
        </p:grpSp>
        <p:grpSp>
          <p:nvGrpSpPr>
            <p:cNvPr id="24" name="MoonLegend5" hidden="1">
              <a:extLst>
                <a:ext uri="{FF2B5EF4-FFF2-40B4-BE49-F238E27FC236}">
                  <a16:creationId xmlns:a16="http://schemas.microsoft.com/office/drawing/2014/main" id="{3941FB7D-81CE-9DC4-74F9-F940DA7216AF}"/>
                </a:ext>
              </a:extLst>
            </p:cNvPr>
            <p:cNvGrpSpPr>
              <a:grpSpLocks noChangeAspect="1"/>
            </p:cNvGrpSpPr>
            <p:nvPr>
              <p:custDataLst>
                <p:tags r:id="rId25"/>
              </p:custDataLst>
            </p:nvPr>
          </p:nvGrpSpPr>
          <p:grpSpPr>
            <a:xfrm>
              <a:off x="7723680" y="3205716"/>
              <a:ext cx="228600" cy="228600"/>
              <a:chOff x="762000" y="1270000"/>
              <a:chExt cx="254000" cy="254000"/>
            </a:xfrm>
          </p:grpSpPr>
          <p:sp>
            <p:nvSpPr>
              <p:cNvPr id="25" name="Oval 24" hidden="1">
                <a:extLst>
                  <a:ext uri="{FF2B5EF4-FFF2-40B4-BE49-F238E27FC236}">
                    <a16:creationId xmlns:a16="http://schemas.microsoft.com/office/drawing/2014/main" id="{B0D18B7A-EC3B-87E1-8D12-32D524105D76}"/>
                  </a:ext>
                </a:extLst>
              </p:cNvPr>
              <p:cNvSpPr/>
              <p:nvPr>
                <p:custDataLst>
                  <p:tags r:id="rId2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a:solidFill>
                    <a:schemeClr val="tx1"/>
                  </a:solidFill>
                </a:endParaRPr>
              </a:p>
            </p:txBody>
          </p:sp>
          <p:sp>
            <p:nvSpPr>
              <p:cNvPr id="26" name="Arc 25" hidden="1">
                <a:extLst>
                  <a:ext uri="{FF2B5EF4-FFF2-40B4-BE49-F238E27FC236}">
                    <a16:creationId xmlns:a16="http://schemas.microsoft.com/office/drawing/2014/main" id="{141F52EF-5575-2C35-620D-F39AD47BF06A}"/>
                  </a:ext>
                </a:extLst>
              </p:cNvPr>
              <p:cNvSpPr/>
              <p:nvPr>
                <p:custDataLst>
                  <p:tags r:id="rId27"/>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a:p>
            </p:txBody>
          </p:sp>
        </p:grpSp>
      </p:grpSp>
      <p:grpSp>
        <p:nvGrpSpPr>
          <p:cNvPr id="35" name="LegendBoxes" hidden="1">
            <a:extLst>
              <a:ext uri="{FF2B5EF4-FFF2-40B4-BE49-F238E27FC236}">
                <a16:creationId xmlns:a16="http://schemas.microsoft.com/office/drawing/2014/main" id="{C4258DFC-E953-CDEC-A336-0729814E7C19}"/>
              </a:ext>
            </a:extLst>
          </p:cNvPr>
          <p:cNvGrpSpPr/>
          <p:nvPr userDrawn="1"/>
        </p:nvGrpSpPr>
        <p:grpSpPr>
          <a:xfrm>
            <a:off x="10714801" y="4520490"/>
            <a:ext cx="922463" cy="1717282"/>
            <a:chOff x="10652400" y="4322824"/>
            <a:chExt cx="922463" cy="1717282"/>
          </a:xfrm>
        </p:grpSpPr>
        <p:sp>
          <p:nvSpPr>
            <p:cNvPr id="36" name="RectangleLegend1" hidden="1">
              <a:extLst>
                <a:ext uri="{FF2B5EF4-FFF2-40B4-BE49-F238E27FC236}">
                  <a16:creationId xmlns:a16="http://schemas.microsoft.com/office/drawing/2014/main" id="{6D1E3090-719D-DC17-8FEF-2AD8F2BF7168}"/>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a:solidFill>
                  <a:schemeClr val="tx1"/>
                </a:solidFill>
              </a:endParaRPr>
            </a:p>
          </p:txBody>
        </p:sp>
        <p:sp>
          <p:nvSpPr>
            <p:cNvPr id="37" name="RectangleLegend2" hidden="1">
              <a:extLst>
                <a:ext uri="{FF2B5EF4-FFF2-40B4-BE49-F238E27FC236}">
                  <a16:creationId xmlns:a16="http://schemas.microsoft.com/office/drawing/2014/main" id="{43D752DA-2FBD-3ED1-8795-14FE7C556B3D}"/>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a:solidFill>
                  <a:schemeClr val="tx1"/>
                </a:solidFill>
              </a:endParaRPr>
            </a:p>
          </p:txBody>
        </p:sp>
        <p:sp>
          <p:nvSpPr>
            <p:cNvPr id="38" name="RectangleLegend3" hidden="1">
              <a:extLst>
                <a:ext uri="{FF2B5EF4-FFF2-40B4-BE49-F238E27FC236}">
                  <a16:creationId xmlns:a16="http://schemas.microsoft.com/office/drawing/2014/main" id="{3B281548-2AE7-331C-C62A-5D6FBBA207D3}"/>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a:solidFill>
                  <a:schemeClr val="tx1"/>
                </a:solidFill>
              </a:endParaRPr>
            </a:p>
          </p:txBody>
        </p:sp>
        <p:sp>
          <p:nvSpPr>
            <p:cNvPr id="39" name="RectangleLegend4" hidden="1">
              <a:extLst>
                <a:ext uri="{FF2B5EF4-FFF2-40B4-BE49-F238E27FC236}">
                  <a16:creationId xmlns:a16="http://schemas.microsoft.com/office/drawing/2014/main" id="{546F1788-9DD5-E061-32A9-CCCBCF3E98DD}"/>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a:solidFill>
                  <a:schemeClr val="tx1"/>
                </a:solidFill>
              </a:endParaRPr>
            </a:p>
          </p:txBody>
        </p:sp>
        <p:sp>
          <p:nvSpPr>
            <p:cNvPr id="40" name="RectangleLegend5" hidden="1">
              <a:extLst>
                <a:ext uri="{FF2B5EF4-FFF2-40B4-BE49-F238E27FC236}">
                  <a16:creationId xmlns:a16="http://schemas.microsoft.com/office/drawing/2014/main" id="{7D68554E-44E3-6D5C-66D2-5F093D18E940}"/>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a:solidFill>
                  <a:schemeClr val="tx1"/>
                </a:solidFill>
              </a:endParaRPr>
            </a:p>
          </p:txBody>
        </p:sp>
        <p:sp>
          <p:nvSpPr>
            <p:cNvPr id="41" name="Legend1" hidden="1">
              <a:extLst>
                <a:ext uri="{FF2B5EF4-FFF2-40B4-BE49-F238E27FC236}">
                  <a16:creationId xmlns:a16="http://schemas.microsoft.com/office/drawing/2014/main" id="{ED37B1C9-E513-3C71-19A0-60D9DDAFFDF1}"/>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42" name="Legend2" hidden="1">
              <a:extLst>
                <a:ext uri="{FF2B5EF4-FFF2-40B4-BE49-F238E27FC236}">
                  <a16:creationId xmlns:a16="http://schemas.microsoft.com/office/drawing/2014/main" id="{F561BEBB-A7DF-0939-ABBF-3493919A16B4}"/>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43" name="Legend3" hidden="1">
              <a:extLst>
                <a:ext uri="{FF2B5EF4-FFF2-40B4-BE49-F238E27FC236}">
                  <a16:creationId xmlns:a16="http://schemas.microsoft.com/office/drawing/2014/main" id="{2111CB97-A201-599F-CEA1-FA88462062E4}"/>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44" name="Legend4" hidden="1">
              <a:extLst>
                <a:ext uri="{FF2B5EF4-FFF2-40B4-BE49-F238E27FC236}">
                  <a16:creationId xmlns:a16="http://schemas.microsoft.com/office/drawing/2014/main" id="{1EB64F2D-8FC0-0DDB-D835-F3A3C060EBF6}"/>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45" name="Legend5" hidden="1">
              <a:extLst>
                <a:ext uri="{FF2B5EF4-FFF2-40B4-BE49-F238E27FC236}">
                  <a16:creationId xmlns:a16="http://schemas.microsoft.com/office/drawing/2014/main" id="{35343FDC-F070-72D2-1035-3A368443E80A}"/>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grpSp>
      <p:pic>
        <p:nvPicPr>
          <p:cNvPr id="56" name="Grid" hidden="1">
            <a:extLst>
              <a:ext uri="{FF2B5EF4-FFF2-40B4-BE49-F238E27FC236}">
                <a16:creationId xmlns:a16="http://schemas.microsoft.com/office/drawing/2014/main" id="{3EF8D36F-D34A-F8A8-76E6-5F4E91EDB52B}"/>
              </a:ext>
            </a:extLst>
          </p:cNvPr>
          <p:cNvPicPr>
            <a:picLocks noChangeAspect="1"/>
          </p:cNvPicPr>
          <p:nvPr userDrawn="1">
            <p:custDataLst>
              <p:tags r:id="rId20"/>
            </p:custDataLst>
          </p:nvPr>
        </p:nvPicPr>
        <p:blipFill>
          <a:blip r:embed="rId39"/>
          <a:stretch>
            <a:fillRect/>
          </a:stretch>
        </p:blipFill>
        <p:spPr>
          <a:xfrm>
            <a:off x="0" y="0"/>
            <a:ext cx="12184601" cy="6858000"/>
          </a:xfrm>
          <a:prstGeom prst="rect">
            <a:avLst/>
          </a:prstGeom>
        </p:spPr>
      </p:pic>
      <p:grpSp>
        <p:nvGrpSpPr>
          <p:cNvPr id="4" name="Group 3">
            <a:extLst>
              <a:ext uri="{FF2B5EF4-FFF2-40B4-BE49-F238E27FC236}">
                <a16:creationId xmlns:a16="http://schemas.microsoft.com/office/drawing/2014/main" id="{E01BD4ED-B4AB-FD00-9ABB-BBE10A649E18}"/>
              </a:ext>
            </a:extLst>
          </p:cNvPr>
          <p:cNvGrpSpPr/>
          <p:nvPr userDrawn="1"/>
        </p:nvGrpSpPr>
        <p:grpSpPr>
          <a:xfrm>
            <a:off x="10653130" y="180679"/>
            <a:ext cx="1269969" cy="353548"/>
            <a:chOff x="-770028" y="-2797529"/>
            <a:chExt cx="9308599" cy="2591427"/>
          </a:xfrm>
        </p:grpSpPr>
        <p:sp>
          <p:nvSpPr>
            <p:cNvPr id="47" name="Freeform: Shape 46">
              <a:extLst>
                <a:ext uri="{FF2B5EF4-FFF2-40B4-BE49-F238E27FC236}">
                  <a16:creationId xmlns:a16="http://schemas.microsoft.com/office/drawing/2014/main" id="{57AAB94C-720C-2A38-938E-AA7A6EDD0804}"/>
                </a:ext>
              </a:extLst>
            </p:cNvPr>
            <p:cNvSpPr/>
            <p:nvPr/>
          </p:nvSpPr>
          <p:spPr>
            <a:xfrm>
              <a:off x="2457429" y="-1765355"/>
              <a:ext cx="687427" cy="1091288"/>
            </a:xfrm>
            <a:custGeom>
              <a:avLst/>
              <a:gdLst>
                <a:gd name="connsiteX0" fmla="*/ 687811 w 687427"/>
                <a:gd name="connsiteY0" fmla="*/ 1091442 h 1091288"/>
                <a:gd name="connsiteX1" fmla="*/ 569781 w 687427"/>
                <a:gd name="connsiteY1" fmla="*/ 1091442 h 1091288"/>
                <a:gd name="connsiteX2" fmla="*/ 430557 w 687427"/>
                <a:gd name="connsiteY2" fmla="*/ 1045722 h 1091288"/>
                <a:gd name="connsiteX3" fmla="*/ 370271 w 687427"/>
                <a:gd name="connsiteY3" fmla="*/ 931739 h 1091288"/>
                <a:gd name="connsiteX4" fmla="*/ 370271 w 687427"/>
                <a:gd name="connsiteY4" fmla="*/ 714490 h 1091288"/>
                <a:gd name="connsiteX5" fmla="*/ 346538 w 687427"/>
                <a:gd name="connsiteY5" fmla="*/ 612414 h 1091288"/>
                <a:gd name="connsiteX6" fmla="*/ 257043 w 687427"/>
                <a:gd name="connsiteY6" fmla="*/ 585029 h 1091288"/>
                <a:gd name="connsiteX7" fmla="*/ 218030 w 687427"/>
                <a:gd name="connsiteY7" fmla="*/ 585029 h 1091288"/>
                <a:gd name="connsiteX8" fmla="*/ 218030 w 687427"/>
                <a:gd name="connsiteY8" fmla="*/ 1091442 h 1091288"/>
                <a:gd name="connsiteX9" fmla="*/ 384 w 687427"/>
                <a:gd name="connsiteY9" fmla="*/ 1091442 h 1091288"/>
                <a:gd name="connsiteX10" fmla="*/ 384 w 687427"/>
                <a:gd name="connsiteY10" fmla="*/ 154 h 1091288"/>
                <a:gd name="connsiteX11" fmla="*/ 218030 w 687427"/>
                <a:gd name="connsiteY11" fmla="*/ 154 h 1091288"/>
                <a:gd name="connsiteX12" fmla="*/ 218030 w 687427"/>
                <a:gd name="connsiteY12" fmla="*/ 462911 h 1091288"/>
                <a:gd name="connsiteX13" fmla="*/ 272997 w 687427"/>
                <a:gd name="connsiteY13" fmla="*/ 464260 h 1091288"/>
                <a:gd name="connsiteX14" fmla="*/ 317368 w 687427"/>
                <a:gd name="connsiteY14" fmla="*/ 447710 h 1091288"/>
                <a:gd name="connsiteX15" fmla="*/ 338164 w 687427"/>
                <a:gd name="connsiteY15" fmla="*/ 356191 h 1091288"/>
                <a:gd name="connsiteX16" fmla="*/ 353563 w 687427"/>
                <a:gd name="connsiteY16" fmla="*/ 154 h 1091288"/>
                <a:gd name="connsiteX17" fmla="*/ 557874 w 687427"/>
                <a:gd name="connsiteY17" fmla="*/ 154 h 1091288"/>
                <a:gd name="connsiteX18" fmla="*/ 542436 w 687427"/>
                <a:gd name="connsiteY18" fmla="*/ 324441 h 1091288"/>
                <a:gd name="connsiteX19" fmla="*/ 506042 w 687427"/>
                <a:gd name="connsiteY19" fmla="*/ 437709 h 1091288"/>
                <a:gd name="connsiteX20" fmla="*/ 410118 w 687427"/>
                <a:gd name="connsiteY20" fmla="*/ 486207 h 1091288"/>
                <a:gd name="connsiteX21" fmla="*/ 536165 w 687427"/>
                <a:gd name="connsiteY21" fmla="*/ 544270 h 1091288"/>
                <a:gd name="connsiteX22" fmla="*/ 578988 w 687427"/>
                <a:gd name="connsiteY22" fmla="*/ 668175 h 1091288"/>
                <a:gd name="connsiteX23" fmla="*/ 578988 w 687427"/>
                <a:gd name="connsiteY23" fmla="*/ 829425 h 1091288"/>
                <a:gd name="connsiteX24" fmla="*/ 602364 w 687427"/>
                <a:gd name="connsiteY24" fmla="*/ 947575 h 1091288"/>
                <a:gd name="connsiteX25" fmla="*/ 687811 w 687427"/>
                <a:gd name="connsiteY25" fmla="*/ 968252 h 1091288"/>
                <a:gd name="connsiteX26" fmla="*/ 687811 w 687427"/>
                <a:gd name="connsiteY26" fmla="*/ 1091442 h 1091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87427" h="1091288">
                  <a:moveTo>
                    <a:pt x="687811" y="1091442"/>
                  </a:moveTo>
                  <a:lnTo>
                    <a:pt x="569781" y="1091442"/>
                  </a:lnTo>
                  <a:cubicBezTo>
                    <a:pt x="517115" y="1091442"/>
                    <a:pt x="470760" y="1076202"/>
                    <a:pt x="430557" y="1045722"/>
                  </a:cubicBezTo>
                  <a:cubicBezTo>
                    <a:pt x="390314" y="1015242"/>
                    <a:pt x="370271" y="977182"/>
                    <a:pt x="370271" y="931739"/>
                  </a:cubicBezTo>
                  <a:lnTo>
                    <a:pt x="370271" y="714490"/>
                  </a:lnTo>
                  <a:cubicBezTo>
                    <a:pt x="370271" y="664761"/>
                    <a:pt x="362294" y="630709"/>
                    <a:pt x="346538" y="612414"/>
                  </a:cubicBezTo>
                  <a:cubicBezTo>
                    <a:pt x="330743" y="594157"/>
                    <a:pt x="300898" y="585029"/>
                    <a:pt x="257043" y="585029"/>
                  </a:cubicBezTo>
                  <a:lnTo>
                    <a:pt x="218030" y="585029"/>
                  </a:lnTo>
                  <a:lnTo>
                    <a:pt x="218030" y="1091442"/>
                  </a:lnTo>
                  <a:lnTo>
                    <a:pt x="384" y="1091442"/>
                  </a:lnTo>
                  <a:lnTo>
                    <a:pt x="384" y="154"/>
                  </a:lnTo>
                  <a:lnTo>
                    <a:pt x="218030" y="154"/>
                  </a:lnTo>
                  <a:lnTo>
                    <a:pt x="218030" y="462911"/>
                  </a:lnTo>
                  <a:lnTo>
                    <a:pt x="272997" y="464260"/>
                  </a:lnTo>
                  <a:cubicBezTo>
                    <a:pt x="291293" y="464697"/>
                    <a:pt x="306057" y="459140"/>
                    <a:pt x="317368" y="447710"/>
                  </a:cubicBezTo>
                  <a:cubicBezTo>
                    <a:pt x="328639" y="436320"/>
                    <a:pt x="335584" y="405800"/>
                    <a:pt x="338164" y="356191"/>
                  </a:cubicBezTo>
                  <a:lnTo>
                    <a:pt x="353563" y="154"/>
                  </a:lnTo>
                  <a:lnTo>
                    <a:pt x="557874" y="154"/>
                  </a:lnTo>
                  <a:lnTo>
                    <a:pt x="542436" y="324441"/>
                  </a:lnTo>
                  <a:cubicBezTo>
                    <a:pt x="539539" y="377543"/>
                    <a:pt x="527355" y="415167"/>
                    <a:pt x="506042" y="437709"/>
                  </a:cubicBezTo>
                  <a:cubicBezTo>
                    <a:pt x="484770" y="460172"/>
                    <a:pt x="452782" y="476285"/>
                    <a:pt x="410118" y="486207"/>
                  </a:cubicBezTo>
                  <a:cubicBezTo>
                    <a:pt x="465561" y="493549"/>
                    <a:pt x="507551" y="512838"/>
                    <a:pt x="536165" y="544270"/>
                  </a:cubicBezTo>
                  <a:cubicBezTo>
                    <a:pt x="564740" y="575703"/>
                    <a:pt x="578988" y="617017"/>
                    <a:pt x="578988" y="668175"/>
                  </a:cubicBezTo>
                  <a:lnTo>
                    <a:pt x="578988" y="829425"/>
                  </a:lnTo>
                  <a:cubicBezTo>
                    <a:pt x="578988" y="894433"/>
                    <a:pt x="586807" y="933803"/>
                    <a:pt x="602364" y="947575"/>
                  </a:cubicBezTo>
                  <a:cubicBezTo>
                    <a:pt x="617922" y="961346"/>
                    <a:pt x="646417" y="968252"/>
                    <a:pt x="687811" y="968252"/>
                  </a:cubicBezTo>
                  <a:lnTo>
                    <a:pt x="687811" y="1091442"/>
                  </a:lnTo>
                  <a:close/>
                </a:path>
              </a:pathLst>
            </a:custGeom>
            <a:solidFill>
              <a:srgbClr val="007236"/>
            </a:solidFill>
            <a:ln w="39688" cap="flat">
              <a:noFill/>
              <a:prstDash val="solid"/>
              <a:round/>
            </a:ln>
          </p:spPr>
          <p:txBody>
            <a:bodyPr rtlCol="0" anchor="ctr"/>
            <a:lstStyle/>
            <a:p>
              <a:pPr rtl="0"/>
              <a:endParaRPr lang="en-US"/>
            </a:p>
          </p:txBody>
        </p:sp>
        <p:sp>
          <p:nvSpPr>
            <p:cNvPr id="48" name="Freeform: Shape 47">
              <a:extLst>
                <a:ext uri="{FF2B5EF4-FFF2-40B4-BE49-F238E27FC236}">
                  <a16:creationId xmlns:a16="http://schemas.microsoft.com/office/drawing/2014/main" id="{5777D1C1-67C3-1012-F787-B1B7F123CAFF}"/>
                </a:ext>
              </a:extLst>
            </p:cNvPr>
            <p:cNvSpPr/>
            <p:nvPr/>
          </p:nvSpPr>
          <p:spPr>
            <a:xfrm>
              <a:off x="3171844" y="-1521035"/>
              <a:ext cx="509826" cy="854829"/>
            </a:xfrm>
            <a:custGeom>
              <a:avLst/>
              <a:gdLst>
                <a:gd name="connsiteX0" fmla="*/ 341398 w 509826"/>
                <a:gd name="connsiteY0" fmla="*/ 319510 h 854829"/>
                <a:gd name="connsiteX1" fmla="*/ 329810 w 509826"/>
                <a:gd name="connsiteY1" fmla="*/ 169530 h 854829"/>
                <a:gd name="connsiteX2" fmla="*/ 276470 w 509826"/>
                <a:gd name="connsiteY2" fmla="*/ 129049 h 854829"/>
                <a:gd name="connsiteX3" fmla="*/ 224360 w 509826"/>
                <a:gd name="connsiteY3" fmla="*/ 164927 h 854829"/>
                <a:gd name="connsiteX4" fmla="*/ 212136 w 509826"/>
                <a:gd name="connsiteY4" fmla="*/ 319510 h 854829"/>
                <a:gd name="connsiteX5" fmla="*/ 341398 w 509826"/>
                <a:gd name="connsiteY5" fmla="*/ 319510 h 854829"/>
                <a:gd name="connsiteX6" fmla="*/ 510269 w 509826"/>
                <a:gd name="connsiteY6" fmla="*/ 439366 h 854829"/>
                <a:gd name="connsiteX7" fmla="*/ 211501 w 509826"/>
                <a:gd name="connsiteY7" fmla="*/ 439366 h 854829"/>
                <a:gd name="connsiteX8" fmla="*/ 225511 w 509826"/>
                <a:gd name="connsiteY8" fmla="*/ 675427 h 854829"/>
                <a:gd name="connsiteX9" fmla="*/ 284248 w 509826"/>
                <a:gd name="connsiteY9" fmla="*/ 726148 h 854829"/>
                <a:gd name="connsiteX10" fmla="*/ 328976 w 509826"/>
                <a:gd name="connsiteY10" fmla="*/ 706979 h 854829"/>
                <a:gd name="connsiteX11" fmla="*/ 343661 w 509826"/>
                <a:gd name="connsiteY11" fmla="*/ 639907 h 854829"/>
                <a:gd name="connsiteX12" fmla="*/ 490227 w 509826"/>
                <a:gd name="connsiteY12" fmla="*/ 639907 h 854829"/>
                <a:gd name="connsiteX13" fmla="*/ 434545 w 509826"/>
                <a:gd name="connsiteY13" fmla="*/ 802705 h 854829"/>
                <a:gd name="connsiteX14" fmla="*/ 262301 w 509826"/>
                <a:gd name="connsiteY14" fmla="*/ 855013 h 854829"/>
                <a:gd name="connsiteX15" fmla="*/ 67038 w 509826"/>
                <a:gd name="connsiteY15" fmla="*/ 747301 h 854829"/>
                <a:gd name="connsiteX16" fmla="*/ 443 w 509826"/>
                <a:gd name="connsiteY16" fmla="*/ 426904 h 854829"/>
                <a:gd name="connsiteX17" fmla="*/ 69618 w 509826"/>
                <a:gd name="connsiteY17" fmla="*/ 107856 h 854829"/>
                <a:gd name="connsiteX18" fmla="*/ 277819 w 509826"/>
                <a:gd name="connsiteY18" fmla="*/ 184 h 854829"/>
                <a:gd name="connsiteX19" fmla="*/ 453833 w 509826"/>
                <a:gd name="connsiteY19" fmla="*/ 86425 h 854829"/>
                <a:gd name="connsiteX20" fmla="*/ 510269 w 509826"/>
                <a:gd name="connsiteY20" fmla="*/ 345068 h 854829"/>
                <a:gd name="connsiteX21" fmla="*/ 510269 w 509826"/>
                <a:gd name="connsiteY21" fmla="*/ 439366 h 854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09826" h="854829">
                  <a:moveTo>
                    <a:pt x="341398" y="319510"/>
                  </a:moveTo>
                  <a:cubicBezTo>
                    <a:pt x="341398" y="246485"/>
                    <a:pt x="337588" y="196478"/>
                    <a:pt x="329810" y="169530"/>
                  </a:cubicBezTo>
                  <a:cubicBezTo>
                    <a:pt x="322071" y="142503"/>
                    <a:pt x="304330" y="129049"/>
                    <a:pt x="276470" y="129049"/>
                  </a:cubicBezTo>
                  <a:cubicBezTo>
                    <a:pt x="249879" y="129049"/>
                    <a:pt x="232496" y="140955"/>
                    <a:pt x="224360" y="164927"/>
                  </a:cubicBezTo>
                  <a:cubicBezTo>
                    <a:pt x="216224" y="188938"/>
                    <a:pt x="212136" y="240412"/>
                    <a:pt x="212136" y="319510"/>
                  </a:cubicBezTo>
                  <a:lnTo>
                    <a:pt x="341398" y="319510"/>
                  </a:lnTo>
                  <a:close/>
                  <a:moveTo>
                    <a:pt x="510269" y="439366"/>
                  </a:moveTo>
                  <a:lnTo>
                    <a:pt x="211501" y="439366"/>
                  </a:lnTo>
                  <a:cubicBezTo>
                    <a:pt x="211501" y="562953"/>
                    <a:pt x="216145" y="641574"/>
                    <a:pt x="225511" y="675427"/>
                  </a:cubicBezTo>
                  <a:cubicBezTo>
                    <a:pt x="234877" y="709241"/>
                    <a:pt x="254483" y="726148"/>
                    <a:pt x="284248" y="726148"/>
                  </a:cubicBezTo>
                  <a:cubicBezTo>
                    <a:pt x="304291" y="726148"/>
                    <a:pt x="319213" y="719719"/>
                    <a:pt x="328976" y="706979"/>
                  </a:cubicBezTo>
                  <a:cubicBezTo>
                    <a:pt x="338779" y="694081"/>
                    <a:pt x="343661" y="671697"/>
                    <a:pt x="343661" y="639907"/>
                  </a:cubicBezTo>
                  <a:lnTo>
                    <a:pt x="490227" y="639907"/>
                  </a:lnTo>
                  <a:cubicBezTo>
                    <a:pt x="490227" y="713567"/>
                    <a:pt x="471772" y="767820"/>
                    <a:pt x="434545" y="802705"/>
                  </a:cubicBezTo>
                  <a:cubicBezTo>
                    <a:pt x="397397" y="837551"/>
                    <a:pt x="340009" y="855013"/>
                    <a:pt x="262301" y="855013"/>
                  </a:cubicBezTo>
                  <a:cubicBezTo>
                    <a:pt x="176536" y="855013"/>
                    <a:pt x="111449" y="819096"/>
                    <a:pt x="67038" y="747301"/>
                  </a:cubicBezTo>
                  <a:cubicBezTo>
                    <a:pt x="22668" y="675546"/>
                    <a:pt x="443" y="568747"/>
                    <a:pt x="443" y="426904"/>
                  </a:cubicBezTo>
                  <a:cubicBezTo>
                    <a:pt x="443" y="285974"/>
                    <a:pt x="23541" y="179611"/>
                    <a:pt x="69618" y="107856"/>
                  </a:cubicBezTo>
                  <a:cubicBezTo>
                    <a:pt x="115735" y="36061"/>
                    <a:pt x="185109" y="184"/>
                    <a:pt x="277819" y="184"/>
                  </a:cubicBezTo>
                  <a:cubicBezTo>
                    <a:pt x="357591" y="184"/>
                    <a:pt x="416328" y="28917"/>
                    <a:pt x="453833" y="86425"/>
                  </a:cubicBezTo>
                  <a:cubicBezTo>
                    <a:pt x="491457" y="143892"/>
                    <a:pt x="510269" y="230133"/>
                    <a:pt x="510269" y="345068"/>
                  </a:cubicBezTo>
                  <a:lnTo>
                    <a:pt x="510269" y="439366"/>
                  </a:lnTo>
                  <a:close/>
                </a:path>
              </a:pathLst>
            </a:custGeom>
            <a:solidFill>
              <a:srgbClr val="007236"/>
            </a:solidFill>
            <a:ln w="39688" cap="flat">
              <a:noFill/>
              <a:prstDash val="solid"/>
              <a:round/>
            </a:ln>
          </p:spPr>
          <p:txBody>
            <a:bodyPr rtlCol="0" anchor="ctr"/>
            <a:lstStyle/>
            <a:p>
              <a:pPr rtl="0"/>
              <a:endParaRPr lang="en-US"/>
            </a:p>
          </p:txBody>
        </p:sp>
        <p:sp>
          <p:nvSpPr>
            <p:cNvPr id="50" name="Freeform: Shape 49">
              <a:extLst>
                <a:ext uri="{FF2B5EF4-FFF2-40B4-BE49-F238E27FC236}">
                  <a16:creationId xmlns:a16="http://schemas.microsoft.com/office/drawing/2014/main" id="{5C62D846-C434-9E0B-0630-672DF55B11C5}"/>
                </a:ext>
              </a:extLst>
            </p:cNvPr>
            <p:cNvSpPr/>
            <p:nvPr/>
          </p:nvSpPr>
          <p:spPr>
            <a:xfrm>
              <a:off x="3776682" y="-1521039"/>
              <a:ext cx="545267" cy="846971"/>
            </a:xfrm>
            <a:custGeom>
              <a:avLst/>
              <a:gdLst>
                <a:gd name="connsiteX0" fmla="*/ 545780 w 545267"/>
                <a:gd name="connsiteY0" fmla="*/ 847142 h 846971"/>
                <a:gd name="connsiteX1" fmla="*/ 341429 w 545267"/>
                <a:gd name="connsiteY1" fmla="*/ 847142 h 846971"/>
                <a:gd name="connsiteX2" fmla="*/ 341429 w 545267"/>
                <a:gd name="connsiteY2" fmla="*/ 208688 h 846971"/>
                <a:gd name="connsiteX3" fmla="*/ 321982 w 545267"/>
                <a:gd name="connsiteY3" fmla="*/ 154316 h 846971"/>
                <a:gd name="connsiteX4" fmla="*/ 268920 w 545267"/>
                <a:gd name="connsiteY4" fmla="*/ 136854 h 846971"/>
                <a:gd name="connsiteX5" fmla="*/ 235542 w 545267"/>
                <a:gd name="connsiteY5" fmla="*/ 139791 h 846971"/>
                <a:gd name="connsiteX6" fmla="*/ 204824 w 545267"/>
                <a:gd name="connsiteY6" fmla="*/ 147808 h 846971"/>
                <a:gd name="connsiteX7" fmla="*/ 204824 w 545267"/>
                <a:gd name="connsiteY7" fmla="*/ 847142 h 846971"/>
                <a:gd name="connsiteX8" fmla="*/ 513 w 545267"/>
                <a:gd name="connsiteY8" fmla="*/ 847142 h 846971"/>
                <a:gd name="connsiteX9" fmla="*/ 513 w 545267"/>
                <a:gd name="connsiteY9" fmla="*/ 11282 h 846971"/>
                <a:gd name="connsiteX10" fmla="*/ 168153 w 545267"/>
                <a:gd name="connsiteY10" fmla="*/ 11282 h 846971"/>
                <a:gd name="connsiteX11" fmla="*/ 180456 w 545267"/>
                <a:gd name="connsiteY11" fmla="*/ 47279 h 846971"/>
                <a:gd name="connsiteX12" fmla="*/ 261062 w 545267"/>
                <a:gd name="connsiteY12" fmla="*/ 10806 h 846971"/>
                <a:gd name="connsiteX13" fmla="*/ 347422 w 545267"/>
                <a:gd name="connsiteY13" fmla="*/ 170 h 846971"/>
                <a:gd name="connsiteX14" fmla="*/ 493472 w 545267"/>
                <a:gd name="connsiteY14" fmla="*/ 52200 h 846971"/>
                <a:gd name="connsiteX15" fmla="*/ 545780 w 545267"/>
                <a:gd name="connsiteY15" fmla="*/ 200592 h 846971"/>
                <a:gd name="connsiteX16" fmla="*/ 545780 w 545267"/>
                <a:gd name="connsiteY16" fmla="*/ 847142 h 846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45267" h="846971">
                  <a:moveTo>
                    <a:pt x="545780" y="847142"/>
                  </a:moveTo>
                  <a:lnTo>
                    <a:pt x="341429" y="847142"/>
                  </a:lnTo>
                  <a:lnTo>
                    <a:pt x="341429" y="208688"/>
                  </a:lnTo>
                  <a:cubicBezTo>
                    <a:pt x="341429" y="184042"/>
                    <a:pt x="334960" y="165945"/>
                    <a:pt x="321982" y="154316"/>
                  </a:cubicBezTo>
                  <a:cubicBezTo>
                    <a:pt x="309083" y="142648"/>
                    <a:pt x="291343" y="136854"/>
                    <a:pt x="268920" y="136854"/>
                  </a:cubicBezTo>
                  <a:cubicBezTo>
                    <a:pt x="258958" y="136854"/>
                    <a:pt x="247885" y="137767"/>
                    <a:pt x="235542" y="139791"/>
                  </a:cubicBezTo>
                  <a:cubicBezTo>
                    <a:pt x="223239" y="141656"/>
                    <a:pt x="213000" y="144355"/>
                    <a:pt x="204824" y="147808"/>
                  </a:cubicBezTo>
                  <a:lnTo>
                    <a:pt x="204824" y="847142"/>
                  </a:lnTo>
                  <a:lnTo>
                    <a:pt x="513" y="847142"/>
                  </a:lnTo>
                  <a:lnTo>
                    <a:pt x="513" y="11282"/>
                  </a:lnTo>
                  <a:lnTo>
                    <a:pt x="168153" y="11282"/>
                  </a:lnTo>
                  <a:lnTo>
                    <a:pt x="180456" y="47279"/>
                  </a:lnTo>
                  <a:cubicBezTo>
                    <a:pt x="209190" y="30134"/>
                    <a:pt x="236019" y="17910"/>
                    <a:pt x="261062" y="10806"/>
                  </a:cubicBezTo>
                  <a:cubicBezTo>
                    <a:pt x="286065" y="3662"/>
                    <a:pt x="314878" y="170"/>
                    <a:pt x="347422" y="170"/>
                  </a:cubicBezTo>
                  <a:cubicBezTo>
                    <a:pt x="409850" y="170"/>
                    <a:pt x="458547" y="17474"/>
                    <a:pt x="493472" y="52200"/>
                  </a:cubicBezTo>
                  <a:cubicBezTo>
                    <a:pt x="528357" y="86887"/>
                    <a:pt x="545780" y="136377"/>
                    <a:pt x="545780" y="200592"/>
                  </a:cubicBezTo>
                  <a:lnTo>
                    <a:pt x="545780" y="847142"/>
                  </a:lnTo>
                  <a:close/>
                </a:path>
              </a:pathLst>
            </a:custGeom>
            <a:solidFill>
              <a:srgbClr val="007236"/>
            </a:solidFill>
            <a:ln w="39688" cap="flat">
              <a:noFill/>
              <a:prstDash val="solid"/>
              <a:round/>
            </a:ln>
          </p:spPr>
          <p:txBody>
            <a:bodyPr rtlCol="0" anchor="ctr"/>
            <a:lstStyle/>
            <a:p>
              <a:pPr rtl="0"/>
              <a:endParaRPr lang="en-US"/>
            </a:p>
          </p:txBody>
        </p:sp>
        <p:sp>
          <p:nvSpPr>
            <p:cNvPr id="51" name="Freeform: Shape 50">
              <a:extLst>
                <a:ext uri="{FF2B5EF4-FFF2-40B4-BE49-F238E27FC236}">
                  <a16:creationId xmlns:a16="http://schemas.microsoft.com/office/drawing/2014/main" id="{58B413F5-7B8B-8EE3-CE18-9C7DA2F7AA6D}"/>
                </a:ext>
              </a:extLst>
            </p:cNvPr>
            <p:cNvSpPr/>
            <p:nvPr/>
          </p:nvSpPr>
          <p:spPr>
            <a:xfrm rot="10800000" flipV="1">
              <a:off x="4477405" y="-1765343"/>
              <a:ext cx="217686" cy="1091288"/>
            </a:xfrm>
            <a:custGeom>
              <a:avLst/>
              <a:gdLst>
                <a:gd name="connsiteX0" fmla="*/ 417 w 217686"/>
                <a:gd name="connsiteY0" fmla="*/ 129 h 1091288"/>
                <a:gd name="connsiteX1" fmla="*/ 218103 w 217686"/>
                <a:gd name="connsiteY1" fmla="*/ 129 h 1091288"/>
                <a:gd name="connsiteX2" fmla="*/ 218103 w 217686"/>
                <a:gd name="connsiteY2" fmla="*/ 1091417 h 1091288"/>
                <a:gd name="connsiteX3" fmla="*/ 417 w 217686"/>
                <a:gd name="connsiteY3" fmla="*/ 1091417 h 1091288"/>
              </a:gdLst>
              <a:ahLst/>
              <a:cxnLst>
                <a:cxn ang="0">
                  <a:pos x="connsiteX0" y="connsiteY0"/>
                </a:cxn>
                <a:cxn ang="0">
                  <a:pos x="connsiteX1" y="connsiteY1"/>
                </a:cxn>
                <a:cxn ang="0">
                  <a:pos x="connsiteX2" y="connsiteY2"/>
                </a:cxn>
                <a:cxn ang="0">
                  <a:pos x="connsiteX3" y="connsiteY3"/>
                </a:cxn>
              </a:cxnLst>
              <a:rect l="l" t="t" r="r" b="b"/>
              <a:pathLst>
                <a:path w="217686" h="1091288">
                  <a:moveTo>
                    <a:pt x="417" y="129"/>
                  </a:moveTo>
                  <a:lnTo>
                    <a:pt x="218103" y="129"/>
                  </a:lnTo>
                  <a:lnTo>
                    <a:pt x="218103" y="1091417"/>
                  </a:lnTo>
                  <a:lnTo>
                    <a:pt x="417" y="1091417"/>
                  </a:lnTo>
                  <a:close/>
                </a:path>
              </a:pathLst>
            </a:custGeom>
            <a:solidFill>
              <a:srgbClr val="DA2128"/>
            </a:solidFill>
            <a:ln w="39688" cap="flat">
              <a:noFill/>
              <a:prstDash val="solid"/>
              <a:round/>
            </a:ln>
          </p:spPr>
          <p:txBody>
            <a:bodyPr rtlCol="0" anchor="ctr"/>
            <a:lstStyle/>
            <a:p>
              <a:pPr rtl="0"/>
              <a:endParaRPr lang="en-US"/>
            </a:p>
          </p:txBody>
        </p:sp>
        <p:sp>
          <p:nvSpPr>
            <p:cNvPr id="53" name="Freeform: Shape 52">
              <a:extLst>
                <a:ext uri="{FF2B5EF4-FFF2-40B4-BE49-F238E27FC236}">
                  <a16:creationId xmlns:a16="http://schemas.microsoft.com/office/drawing/2014/main" id="{BE6904E5-59E6-5581-47CA-1FC17DA6AF0B}"/>
                </a:ext>
              </a:extLst>
            </p:cNvPr>
            <p:cNvSpPr/>
            <p:nvPr/>
          </p:nvSpPr>
          <p:spPr>
            <a:xfrm>
              <a:off x="4852175" y="-1521039"/>
              <a:ext cx="545306" cy="846971"/>
            </a:xfrm>
            <a:custGeom>
              <a:avLst/>
              <a:gdLst>
                <a:gd name="connsiteX0" fmla="*/ 545932 w 545306"/>
                <a:gd name="connsiteY0" fmla="*/ 847142 h 846971"/>
                <a:gd name="connsiteX1" fmla="*/ 341581 w 545306"/>
                <a:gd name="connsiteY1" fmla="*/ 847142 h 846971"/>
                <a:gd name="connsiteX2" fmla="*/ 341581 w 545306"/>
                <a:gd name="connsiteY2" fmla="*/ 208688 h 846971"/>
                <a:gd name="connsiteX3" fmla="*/ 322174 w 545306"/>
                <a:gd name="connsiteY3" fmla="*/ 154316 h 846971"/>
                <a:gd name="connsiteX4" fmla="*/ 269072 w 545306"/>
                <a:gd name="connsiteY4" fmla="*/ 136854 h 846971"/>
                <a:gd name="connsiteX5" fmla="*/ 235735 w 545306"/>
                <a:gd name="connsiteY5" fmla="*/ 139791 h 846971"/>
                <a:gd name="connsiteX6" fmla="*/ 204937 w 545306"/>
                <a:gd name="connsiteY6" fmla="*/ 147808 h 846971"/>
                <a:gd name="connsiteX7" fmla="*/ 204937 w 545306"/>
                <a:gd name="connsiteY7" fmla="*/ 847142 h 846971"/>
                <a:gd name="connsiteX8" fmla="*/ 626 w 545306"/>
                <a:gd name="connsiteY8" fmla="*/ 847142 h 846971"/>
                <a:gd name="connsiteX9" fmla="*/ 626 w 545306"/>
                <a:gd name="connsiteY9" fmla="*/ 11282 h 846971"/>
                <a:gd name="connsiteX10" fmla="*/ 168306 w 545306"/>
                <a:gd name="connsiteY10" fmla="*/ 11282 h 846971"/>
                <a:gd name="connsiteX11" fmla="*/ 180648 w 545306"/>
                <a:gd name="connsiteY11" fmla="*/ 47279 h 846971"/>
                <a:gd name="connsiteX12" fmla="*/ 261174 w 545306"/>
                <a:gd name="connsiteY12" fmla="*/ 10806 h 846971"/>
                <a:gd name="connsiteX13" fmla="*/ 347534 w 545306"/>
                <a:gd name="connsiteY13" fmla="*/ 170 h 846971"/>
                <a:gd name="connsiteX14" fmla="*/ 493624 w 545306"/>
                <a:gd name="connsiteY14" fmla="*/ 52200 h 846971"/>
                <a:gd name="connsiteX15" fmla="*/ 545932 w 545306"/>
                <a:gd name="connsiteY15" fmla="*/ 200592 h 846971"/>
                <a:gd name="connsiteX16" fmla="*/ 545932 w 545306"/>
                <a:gd name="connsiteY16" fmla="*/ 847142 h 846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45306" h="846971">
                  <a:moveTo>
                    <a:pt x="545932" y="847142"/>
                  </a:moveTo>
                  <a:lnTo>
                    <a:pt x="341581" y="847142"/>
                  </a:lnTo>
                  <a:lnTo>
                    <a:pt x="341581" y="208688"/>
                  </a:lnTo>
                  <a:cubicBezTo>
                    <a:pt x="341581" y="184042"/>
                    <a:pt x="335112" y="165945"/>
                    <a:pt x="322174" y="154316"/>
                  </a:cubicBezTo>
                  <a:cubicBezTo>
                    <a:pt x="309276" y="142648"/>
                    <a:pt x="291535" y="136854"/>
                    <a:pt x="269072" y="136854"/>
                  </a:cubicBezTo>
                  <a:cubicBezTo>
                    <a:pt x="259150" y="136854"/>
                    <a:pt x="247998" y="137767"/>
                    <a:pt x="235735" y="139791"/>
                  </a:cubicBezTo>
                  <a:cubicBezTo>
                    <a:pt x="223432" y="141656"/>
                    <a:pt x="213152" y="144355"/>
                    <a:pt x="204937" y="147808"/>
                  </a:cubicBezTo>
                  <a:lnTo>
                    <a:pt x="204937" y="847142"/>
                  </a:lnTo>
                  <a:lnTo>
                    <a:pt x="626" y="847142"/>
                  </a:lnTo>
                  <a:lnTo>
                    <a:pt x="626" y="11282"/>
                  </a:lnTo>
                  <a:lnTo>
                    <a:pt x="168306" y="11282"/>
                  </a:lnTo>
                  <a:lnTo>
                    <a:pt x="180648" y="47279"/>
                  </a:lnTo>
                  <a:cubicBezTo>
                    <a:pt x="209263" y="30134"/>
                    <a:pt x="236092" y="17910"/>
                    <a:pt x="261174" y="10806"/>
                  </a:cubicBezTo>
                  <a:cubicBezTo>
                    <a:pt x="286217" y="3662"/>
                    <a:pt x="315030" y="170"/>
                    <a:pt x="347534" y="170"/>
                  </a:cubicBezTo>
                  <a:cubicBezTo>
                    <a:pt x="410042" y="170"/>
                    <a:pt x="458739" y="17474"/>
                    <a:pt x="493624" y="52200"/>
                  </a:cubicBezTo>
                  <a:cubicBezTo>
                    <a:pt x="528510" y="86887"/>
                    <a:pt x="545932" y="136377"/>
                    <a:pt x="545932" y="200592"/>
                  </a:cubicBezTo>
                  <a:lnTo>
                    <a:pt x="545932" y="847142"/>
                  </a:lnTo>
                  <a:close/>
                </a:path>
              </a:pathLst>
            </a:custGeom>
            <a:solidFill>
              <a:srgbClr val="DA2128"/>
            </a:solidFill>
            <a:ln w="39688" cap="flat">
              <a:noFill/>
              <a:prstDash val="solid"/>
              <a:round/>
            </a:ln>
          </p:spPr>
          <p:txBody>
            <a:bodyPr rtlCol="0" anchor="ctr"/>
            <a:lstStyle/>
            <a:p>
              <a:pPr rtl="0"/>
              <a:endParaRPr lang="en-US"/>
            </a:p>
          </p:txBody>
        </p:sp>
        <p:sp>
          <p:nvSpPr>
            <p:cNvPr id="55" name="Freeform: Shape 54">
              <a:extLst>
                <a:ext uri="{FF2B5EF4-FFF2-40B4-BE49-F238E27FC236}">
                  <a16:creationId xmlns:a16="http://schemas.microsoft.com/office/drawing/2014/main" id="{30643D7B-7427-840B-041C-109642F78A92}"/>
                </a:ext>
              </a:extLst>
            </p:cNvPr>
            <p:cNvSpPr/>
            <p:nvPr/>
          </p:nvSpPr>
          <p:spPr>
            <a:xfrm>
              <a:off x="5503011" y="-1509922"/>
              <a:ext cx="545306" cy="835859"/>
            </a:xfrm>
            <a:custGeom>
              <a:avLst/>
              <a:gdLst>
                <a:gd name="connsiteX0" fmla="*/ 546001 w 545306"/>
                <a:gd name="connsiteY0" fmla="*/ 470517 h 835859"/>
                <a:gd name="connsiteX1" fmla="*/ 535801 w 545306"/>
                <a:gd name="connsiteY1" fmla="*/ 551519 h 835859"/>
                <a:gd name="connsiteX2" fmla="*/ 501709 w 545306"/>
                <a:gd name="connsiteY2" fmla="*/ 612519 h 835859"/>
                <a:gd name="connsiteX3" fmla="*/ 322719 w 545306"/>
                <a:gd name="connsiteY3" fmla="*/ 836039 h 835859"/>
                <a:gd name="connsiteX4" fmla="*/ 223976 w 545306"/>
                <a:gd name="connsiteY4" fmla="*/ 836039 h 835859"/>
                <a:gd name="connsiteX5" fmla="*/ 694 w 545306"/>
                <a:gd name="connsiteY5" fmla="*/ 571204 h 835859"/>
                <a:gd name="connsiteX6" fmla="*/ 694 w 545306"/>
                <a:gd name="connsiteY6" fmla="*/ 180 h 835859"/>
                <a:gd name="connsiteX7" fmla="*/ 205045 w 545306"/>
                <a:gd name="connsiteY7" fmla="*/ 180 h 835859"/>
                <a:gd name="connsiteX8" fmla="*/ 205045 w 545306"/>
                <a:gd name="connsiteY8" fmla="*/ 584738 h 835859"/>
                <a:gd name="connsiteX9" fmla="*/ 297200 w 545306"/>
                <a:gd name="connsiteY9" fmla="*/ 697172 h 835859"/>
                <a:gd name="connsiteX10" fmla="*/ 341689 w 545306"/>
                <a:gd name="connsiteY10" fmla="*/ 635180 h 835859"/>
                <a:gd name="connsiteX11" fmla="*/ 341689 w 545306"/>
                <a:gd name="connsiteY11" fmla="*/ 180 h 835859"/>
                <a:gd name="connsiteX12" fmla="*/ 546001 w 545306"/>
                <a:gd name="connsiteY12" fmla="*/ 180 h 835859"/>
                <a:gd name="connsiteX13" fmla="*/ 546001 w 545306"/>
                <a:gd name="connsiteY13" fmla="*/ 470517 h 835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45306" h="835859">
                  <a:moveTo>
                    <a:pt x="546001" y="470517"/>
                  </a:moveTo>
                  <a:cubicBezTo>
                    <a:pt x="546001" y="503656"/>
                    <a:pt x="542588" y="530683"/>
                    <a:pt x="535801" y="551519"/>
                  </a:cubicBezTo>
                  <a:cubicBezTo>
                    <a:pt x="528895" y="572474"/>
                    <a:pt x="517585" y="592834"/>
                    <a:pt x="501709" y="612519"/>
                  </a:cubicBezTo>
                  <a:lnTo>
                    <a:pt x="322719" y="836039"/>
                  </a:lnTo>
                  <a:lnTo>
                    <a:pt x="223976" y="836039"/>
                  </a:lnTo>
                  <a:lnTo>
                    <a:pt x="694" y="571204"/>
                  </a:lnTo>
                  <a:lnTo>
                    <a:pt x="694" y="180"/>
                  </a:lnTo>
                  <a:lnTo>
                    <a:pt x="205045" y="180"/>
                  </a:lnTo>
                  <a:lnTo>
                    <a:pt x="205045" y="584738"/>
                  </a:lnTo>
                  <a:lnTo>
                    <a:pt x="297200" y="697172"/>
                  </a:lnTo>
                  <a:lnTo>
                    <a:pt x="341689" y="635180"/>
                  </a:lnTo>
                  <a:lnTo>
                    <a:pt x="341689" y="180"/>
                  </a:lnTo>
                  <a:lnTo>
                    <a:pt x="546001" y="180"/>
                  </a:lnTo>
                  <a:lnTo>
                    <a:pt x="546001" y="470517"/>
                  </a:lnTo>
                  <a:close/>
                </a:path>
              </a:pathLst>
            </a:custGeom>
            <a:solidFill>
              <a:srgbClr val="DA2128"/>
            </a:solidFill>
            <a:ln w="39688" cap="flat">
              <a:noFill/>
              <a:prstDash val="solid"/>
              <a:round/>
            </a:ln>
          </p:spPr>
          <p:txBody>
            <a:bodyPr rtlCol="0" anchor="ctr"/>
            <a:lstStyle/>
            <a:p>
              <a:pPr rtl="0"/>
              <a:endParaRPr lang="en-US"/>
            </a:p>
          </p:txBody>
        </p:sp>
        <p:sp>
          <p:nvSpPr>
            <p:cNvPr id="58" name="Freeform: Shape 57">
              <a:extLst>
                <a:ext uri="{FF2B5EF4-FFF2-40B4-BE49-F238E27FC236}">
                  <a16:creationId xmlns:a16="http://schemas.microsoft.com/office/drawing/2014/main" id="{21EB165C-4D49-3F57-4553-C3B4CA498D40}"/>
                </a:ext>
              </a:extLst>
            </p:cNvPr>
            <p:cNvSpPr/>
            <p:nvPr/>
          </p:nvSpPr>
          <p:spPr>
            <a:xfrm>
              <a:off x="6133249" y="-1521035"/>
              <a:ext cx="509706" cy="854829"/>
            </a:xfrm>
            <a:custGeom>
              <a:avLst/>
              <a:gdLst>
                <a:gd name="connsiteX0" fmla="*/ 341630 w 509706"/>
                <a:gd name="connsiteY0" fmla="*/ 319510 h 854829"/>
                <a:gd name="connsiteX1" fmla="*/ 330081 w 509706"/>
                <a:gd name="connsiteY1" fmla="*/ 169530 h 854829"/>
                <a:gd name="connsiteX2" fmla="*/ 276701 w 509706"/>
                <a:gd name="connsiteY2" fmla="*/ 129049 h 854829"/>
                <a:gd name="connsiteX3" fmla="*/ 224591 w 509706"/>
                <a:gd name="connsiteY3" fmla="*/ 164927 h 854829"/>
                <a:gd name="connsiteX4" fmla="*/ 212368 w 509706"/>
                <a:gd name="connsiteY4" fmla="*/ 319510 h 854829"/>
                <a:gd name="connsiteX5" fmla="*/ 341630 w 509706"/>
                <a:gd name="connsiteY5" fmla="*/ 319510 h 854829"/>
                <a:gd name="connsiteX6" fmla="*/ 510461 w 509706"/>
                <a:gd name="connsiteY6" fmla="*/ 439366 h 854829"/>
                <a:gd name="connsiteX7" fmla="*/ 211693 w 509706"/>
                <a:gd name="connsiteY7" fmla="*/ 439366 h 854829"/>
                <a:gd name="connsiteX8" fmla="*/ 225703 w 509706"/>
                <a:gd name="connsiteY8" fmla="*/ 675427 h 854829"/>
                <a:gd name="connsiteX9" fmla="*/ 284440 w 509706"/>
                <a:gd name="connsiteY9" fmla="*/ 726148 h 854829"/>
                <a:gd name="connsiteX10" fmla="*/ 329208 w 509706"/>
                <a:gd name="connsiteY10" fmla="*/ 706979 h 854829"/>
                <a:gd name="connsiteX11" fmla="*/ 343892 w 509706"/>
                <a:gd name="connsiteY11" fmla="*/ 639907 h 854829"/>
                <a:gd name="connsiteX12" fmla="*/ 490538 w 509706"/>
                <a:gd name="connsiteY12" fmla="*/ 639907 h 854829"/>
                <a:gd name="connsiteX13" fmla="*/ 434777 w 509706"/>
                <a:gd name="connsiteY13" fmla="*/ 802705 h 854829"/>
                <a:gd name="connsiteX14" fmla="*/ 262612 w 509706"/>
                <a:gd name="connsiteY14" fmla="*/ 855013 h 854829"/>
                <a:gd name="connsiteX15" fmla="*/ 67270 w 509706"/>
                <a:gd name="connsiteY15" fmla="*/ 747301 h 854829"/>
                <a:gd name="connsiteX16" fmla="*/ 754 w 509706"/>
                <a:gd name="connsiteY16" fmla="*/ 426904 h 854829"/>
                <a:gd name="connsiteX17" fmla="*/ 69850 w 509706"/>
                <a:gd name="connsiteY17" fmla="*/ 107856 h 854829"/>
                <a:gd name="connsiteX18" fmla="*/ 277971 w 509706"/>
                <a:gd name="connsiteY18" fmla="*/ 184 h 854829"/>
                <a:gd name="connsiteX19" fmla="*/ 454104 w 509706"/>
                <a:gd name="connsiteY19" fmla="*/ 86425 h 854829"/>
                <a:gd name="connsiteX20" fmla="*/ 510461 w 509706"/>
                <a:gd name="connsiteY20" fmla="*/ 345068 h 854829"/>
                <a:gd name="connsiteX21" fmla="*/ 510461 w 509706"/>
                <a:gd name="connsiteY21" fmla="*/ 439366 h 854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09706" h="854829">
                  <a:moveTo>
                    <a:pt x="341630" y="319510"/>
                  </a:moveTo>
                  <a:cubicBezTo>
                    <a:pt x="341630" y="246485"/>
                    <a:pt x="337780" y="196478"/>
                    <a:pt x="330081" y="169530"/>
                  </a:cubicBezTo>
                  <a:cubicBezTo>
                    <a:pt x="322342" y="142503"/>
                    <a:pt x="304482" y="129049"/>
                    <a:pt x="276701" y="129049"/>
                  </a:cubicBezTo>
                  <a:cubicBezTo>
                    <a:pt x="250110" y="129049"/>
                    <a:pt x="232727" y="140955"/>
                    <a:pt x="224591" y="164927"/>
                  </a:cubicBezTo>
                  <a:cubicBezTo>
                    <a:pt x="216416" y="188938"/>
                    <a:pt x="212368" y="240412"/>
                    <a:pt x="212368" y="319510"/>
                  </a:cubicBezTo>
                  <a:lnTo>
                    <a:pt x="341630" y="319510"/>
                  </a:lnTo>
                  <a:close/>
                  <a:moveTo>
                    <a:pt x="510461" y="439366"/>
                  </a:moveTo>
                  <a:lnTo>
                    <a:pt x="211693" y="439366"/>
                  </a:lnTo>
                  <a:cubicBezTo>
                    <a:pt x="211693" y="562953"/>
                    <a:pt x="216376" y="641574"/>
                    <a:pt x="225703" y="675427"/>
                  </a:cubicBezTo>
                  <a:cubicBezTo>
                    <a:pt x="235109" y="709241"/>
                    <a:pt x="254754" y="726148"/>
                    <a:pt x="284440" y="726148"/>
                  </a:cubicBezTo>
                  <a:cubicBezTo>
                    <a:pt x="304482" y="726148"/>
                    <a:pt x="319445" y="719719"/>
                    <a:pt x="329208" y="706979"/>
                  </a:cubicBezTo>
                  <a:cubicBezTo>
                    <a:pt x="338971" y="694081"/>
                    <a:pt x="343892" y="671697"/>
                    <a:pt x="343892" y="639907"/>
                  </a:cubicBezTo>
                  <a:lnTo>
                    <a:pt x="490538" y="639907"/>
                  </a:lnTo>
                  <a:cubicBezTo>
                    <a:pt x="490538" y="713567"/>
                    <a:pt x="471884" y="767820"/>
                    <a:pt x="434777" y="802705"/>
                  </a:cubicBezTo>
                  <a:cubicBezTo>
                    <a:pt x="397669" y="837551"/>
                    <a:pt x="340201" y="855013"/>
                    <a:pt x="262612" y="855013"/>
                  </a:cubicBezTo>
                  <a:cubicBezTo>
                    <a:pt x="176808" y="855013"/>
                    <a:pt x="111641" y="819096"/>
                    <a:pt x="67270" y="747301"/>
                  </a:cubicBezTo>
                  <a:cubicBezTo>
                    <a:pt x="22939" y="675546"/>
                    <a:pt x="754" y="568747"/>
                    <a:pt x="754" y="426904"/>
                  </a:cubicBezTo>
                  <a:cubicBezTo>
                    <a:pt x="754" y="285974"/>
                    <a:pt x="23772" y="179611"/>
                    <a:pt x="69850" y="107856"/>
                  </a:cubicBezTo>
                  <a:cubicBezTo>
                    <a:pt x="115927" y="36061"/>
                    <a:pt x="185340" y="184"/>
                    <a:pt x="277971" y="184"/>
                  </a:cubicBezTo>
                  <a:cubicBezTo>
                    <a:pt x="357822" y="184"/>
                    <a:pt x="416520" y="28917"/>
                    <a:pt x="454104" y="86425"/>
                  </a:cubicBezTo>
                  <a:cubicBezTo>
                    <a:pt x="491649" y="143892"/>
                    <a:pt x="510461" y="230133"/>
                    <a:pt x="510461" y="345068"/>
                  </a:cubicBezTo>
                  <a:lnTo>
                    <a:pt x="510461" y="439366"/>
                  </a:lnTo>
                  <a:close/>
                </a:path>
              </a:pathLst>
            </a:custGeom>
            <a:solidFill>
              <a:srgbClr val="DA2128"/>
            </a:solidFill>
            <a:ln w="39688" cap="flat">
              <a:noFill/>
              <a:prstDash val="solid"/>
              <a:round/>
            </a:ln>
          </p:spPr>
          <p:txBody>
            <a:bodyPr rtlCol="0" anchor="ctr"/>
            <a:lstStyle/>
            <a:p>
              <a:pPr rtl="0"/>
              <a:endParaRPr lang="en-US"/>
            </a:p>
          </p:txBody>
        </p:sp>
        <p:sp>
          <p:nvSpPr>
            <p:cNvPr id="59" name="Freeform: Shape 58">
              <a:extLst>
                <a:ext uri="{FF2B5EF4-FFF2-40B4-BE49-F238E27FC236}">
                  <a16:creationId xmlns:a16="http://schemas.microsoft.com/office/drawing/2014/main" id="{9AF32AA6-4F46-C2BF-39EB-B6FA800FC0AB}"/>
                </a:ext>
              </a:extLst>
            </p:cNvPr>
            <p:cNvSpPr/>
            <p:nvPr/>
          </p:nvSpPr>
          <p:spPr>
            <a:xfrm>
              <a:off x="6713480" y="-1521035"/>
              <a:ext cx="469781" cy="854829"/>
            </a:xfrm>
            <a:custGeom>
              <a:avLst/>
              <a:gdLst>
                <a:gd name="connsiteX0" fmla="*/ 470598 w 469781"/>
                <a:gd name="connsiteY0" fmla="*/ 630493 h 854829"/>
                <a:gd name="connsiteX1" fmla="*/ 408050 w 469781"/>
                <a:gd name="connsiteY1" fmla="*/ 795752 h 854829"/>
                <a:gd name="connsiteX2" fmla="*/ 236640 w 469781"/>
                <a:gd name="connsiteY2" fmla="*/ 855006 h 854829"/>
                <a:gd name="connsiteX3" fmla="*/ 60030 w 469781"/>
                <a:gd name="connsiteY3" fmla="*/ 799800 h 854829"/>
                <a:gd name="connsiteX4" fmla="*/ 816 w 469781"/>
                <a:gd name="connsiteY4" fmla="*/ 634264 h 854829"/>
                <a:gd name="connsiteX5" fmla="*/ 166234 w 469781"/>
                <a:gd name="connsiteY5" fmla="*/ 634264 h 854829"/>
                <a:gd name="connsiteX6" fmla="*/ 182665 w 469781"/>
                <a:gd name="connsiteY6" fmla="*/ 699946 h 854829"/>
                <a:gd name="connsiteX7" fmla="*/ 231242 w 469781"/>
                <a:gd name="connsiteY7" fmla="*/ 720584 h 854829"/>
                <a:gd name="connsiteX8" fmla="*/ 277478 w 469781"/>
                <a:gd name="connsiteY8" fmla="*/ 704352 h 854829"/>
                <a:gd name="connsiteX9" fmla="*/ 292956 w 469781"/>
                <a:gd name="connsiteY9" fmla="*/ 655695 h 854829"/>
                <a:gd name="connsiteX10" fmla="*/ 260531 w 469781"/>
                <a:gd name="connsiteY10" fmla="*/ 591004 h 854829"/>
                <a:gd name="connsiteX11" fmla="*/ 154407 w 469781"/>
                <a:gd name="connsiteY11" fmla="*/ 491984 h 854829"/>
                <a:gd name="connsiteX12" fmla="*/ 35781 w 469781"/>
                <a:gd name="connsiteY12" fmla="*/ 350220 h 854829"/>
                <a:gd name="connsiteX13" fmla="*/ 10778 w 469781"/>
                <a:gd name="connsiteY13" fmla="*/ 201352 h 854829"/>
                <a:gd name="connsiteX14" fmla="*/ 73960 w 469781"/>
                <a:gd name="connsiteY14" fmla="*/ 54826 h 854829"/>
                <a:gd name="connsiteX15" fmla="*/ 240331 w 469781"/>
                <a:gd name="connsiteY15" fmla="*/ 176 h 854829"/>
                <a:gd name="connsiteX16" fmla="*/ 408923 w 469781"/>
                <a:gd name="connsiteY16" fmla="*/ 56453 h 854829"/>
                <a:gd name="connsiteX17" fmla="*/ 467264 w 469781"/>
                <a:gd name="connsiteY17" fmla="*/ 216433 h 854829"/>
                <a:gd name="connsiteX18" fmla="*/ 303989 w 469781"/>
                <a:gd name="connsiteY18" fmla="*/ 216433 h 854829"/>
                <a:gd name="connsiteX19" fmla="*/ 287400 w 469781"/>
                <a:gd name="connsiteY19" fmla="*/ 155632 h 854829"/>
                <a:gd name="connsiteX20" fmla="*/ 241521 w 469781"/>
                <a:gd name="connsiteY20" fmla="*/ 132375 h 854829"/>
                <a:gd name="connsiteX21" fmla="*/ 200365 w 469781"/>
                <a:gd name="connsiteY21" fmla="*/ 147536 h 854829"/>
                <a:gd name="connsiteX22" fmla="*/ 184014 w 469781"/>
                <a:gd name="connsiteY22" fmla="*/ 191033 h 854829"/>
                <a:gd name="connsiteX23" fmla="*/ 202945 w 469781"/>
                <a:gd name="connsiteY23" fmla="*/ 257391 h 854829"/>
                <a:gd name="connsiteX24" fmla="*/ 319071 w 469781"/>
                <a:gd name="connsiteY24" fmla="*/ 375501 h 854829"/>
                <a:gd name="connsiteX25" fmla="*/ 437736 w 469781"/>
                <a:gd name="connsiteY25" fmla="*/ 506549 h 854829"/>
                <a:gd name="connsiteX26" fmla="*/ 470598 w 469781"/>
                <a:gd name="connsiteY26" fmla="*/ 630493 h 854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69781" h="854829">
                  <a:moveTo>
                    <a:pt x="470598" y="630493"/>
                  </a:moveTo>
                  <a:cubicBezTo>
                    <a:pt x="470598" y="701177"/>
                    <a:pt x="449762" y="756342"/>
                    <a:pt x="408050" y="795752"/>
                  </a:cubicBezTo>
                  <a:cubicBezTo>
                    <a:pt x="366418" y="835281"/>
                    <a:pt x="309347" y="855006"/>
                    <a:pt x="236640" y="855006"/>
                  </a:cubicBezTo>
                  <a:cubicBezTo>
                    <a:pt x="158455" y="855006"/>
                    <a:pt x="99559" y="836630"/>
                    <a:pt x="60030" y="799800"/>
                  </a:cubicBezTo>
                  <a:cubicBezTo>
                    <a:pt x="20501" y="763050"/>
                    <a:pt x="816" y="707884"/>
                    <a:pt x="816" y="634264"/>
                  </a:cubicBezTo>
                  <a:lnTo>
                    <a:pt x="166234" y="634264"/>
                  </a:lnTo>
                  <a:cubicBezTo>
                    <a:pt x="166234" y="664347"/>
                    <a:pt x="171790" y="686254"/>
                    <a:pt x="182665" y="699946"/>
                  </a:cubicBezTo>
                  <a:cubicBezTo>
                    <a:pt x="193618" y="713718"/>
                    <a:pt x="209731" y="720584"/>
                    <a:pt x="231242" y="720584"/>
                  </a:cubicBezTo>
                  <a:cubicBezTo>
                    <a:pt x="251721" y="720584"/>
                    <a:pt x="267159" y="715226"/>
                    <a:pt x="277478" y="704352"/>
                  </a:cubicBezTo>
                  <a:cubicBezTo>
                    <a:pt x="287797" y="693517"/>
                    <a:pt x="292956" y="677325"/>
                    <a:pt x="292956" y="655695"/>
                  </a:cubicBezTo>
                  <a:cubicBezTo>
                    <a:pt x="292956" y="635851"/>
                    <a:pt x="282082" y="614261"/>
                    <a:pt x="260531" y="591004"/>
                  </a:cubicBezTo>
                  <a:cubicBezTo>
                    <a:pt x="238902" y="567668"/>
                    <a:pt x="203540" y="534727"/>
                    <a:pt x="154407" y="491984"/>
                  </a:cubicBezTo>
                  <a:cubicBezTo>
                    <a:pt x="92058" y="437652"/>
                    <a:pt x="52450" y="390344"/>
                    <a:pt x="35781" y="350220"/>
                  </a:cubicBezTo>
                  <a:cubicBezTo>
                    <a:pt x="19152" y="310135"/>
                    <a:pt x="10778" y="260486"/>
                    <a:pt x="10778" y="201352"/>
                  </a:cubicBezTo>
                  <a:cubicBezTo>
                    <a:pt x="10778" y="140074"/>
                    <a:pt x="31852" y="91298"/>
                    <a:pt x="73960" y="54826"/>
                  </a:cubicBezTo>
                  <a:cubicBezTo>
                    <a:pt x="116029" y="18392"/>
                    <a:pt x="171512" y="176"/>
                    <a:pt x="240331" y="176"/>
                  </a:cubicBezTo>
                  <a:cubicBezTo>
                    <a:pt x="313792" y="176"/>
                    <a:pt x="370029" y="18948"/>
                    <a:pt x="408923" y="56453"/>
                  </a:cubicBezTo>
                  <a:cubicBezTo>
                    <a:pt x="447857" y="94077"/>
                    <a:pt x="467264" y="147258"/>
                    <a:pt x="467264" y="216433"/>
                  </a:cubicBezTo>
                  <a:lnTo>
                    <a:pt x="303989" y="216433"/>
                  </a:lnTo>
                  <a:cubicBezTo>
                    <a:pt x="303989" y="191430"/>
                    <a:pt x="298473" y="171150"/>
                    <a:pt x="287400" y="155632"/>
                  </a:cubicBezTo>
                  <a:cubicBezTo>
                    <a:pt x="276287" y="140074"/>
                    <a:pt x="261047" y="132375"/>
                    <a:pt x="241521" y="132375"/>
                  </a:cubicBezTo>
                  <a:cubicBezTo>
                    <a:pt x="224892" y="132375"/>
                    <a:pt x="211120" y="137455"/>
                    <a:pt x="200365" y="147536"/>
                  </a:cubicBezTo>
                  <a:cubicBezTo>
                    <a:pt x="189491" y="157656"/>
                    <a:pt x="184014" y="172221"/>
                    <a:pt x="184014" y="191033"/>
                  </a:cubicBezTo>
                  <a:cubicBezTo>
                    <a:pt x="184014" y="213933"/>
                    <a:pt x="190324" y="236039"/>
                    <a:pt x="202945" y="257391"/>
                  </a:cubicBezTo>
                  <a:cubicBezTo>
                    <a:pt x="215526" y="278703"/>
                    <a:pt x="254221" y="318113"/>
                    <a:pt x="319071" y="375501"/>
                  </a:cubicBezTo>
                  <a:cubicBezTo>
                    <a:pt x="376141" y="425944"/>
                    <a:pt x="415710" y="469640"/>
                    <a:pt x="437736" y="506549"/>
                  </a:cubicBezTo>
                  <a:cubicBezTo>
                    <a:pt x="459644" y="543419"/>
                    <a:pt x="470598" y="584773"/>
                    <a:pt x="470598" y="630493"/>
                  </a:cubicBezTo>
                </a:path>
              </a:pathLst>
            </a:custGeom>
            <a:solidFill>
              <a:srgbClr val="DA2128"/>
            </a:solidFill>
            <a:ln w="39688" cap="flat">
              <a:noFill/>
              <a:prstDash val="solid"/>
              <a:round/>
            </a:ln>
          </p:spPr>
          <p:txBody>
            <a:bodyPr rtlCol="0" anchor="ctr"/>
            <a:lstStyle/>
            <a:p>
              <a:pPr rtl="0"/>
              <a:endParaRPr lang="en-US"/>
            </a:p>
          </p:txBody>
        </p:sp>
        <p:sp>
          <p:nvSpPr>
            <p:cNvPr id="60" name="Freeform: Shape 59">
              <a:extLst>
                <a:ext uri="{FF2B5EF4-FFF2-40B4-BE49-F238E27FC236}">
                  <a16:creationId xmlns:a16="http://schemas.microsoft.com/office/drawing/2014/main" id="{C6F7368B-DB97-8788-8F02-18F2BC67B4AD}"/>
                </a:ext>
              </a:extLst>
            </p:cNvPr>
            <p:cNvSpPr/>
            <p:nvPr/>
          </p:nvSpPr>
          <p:spPr>
            <a:xfrm>
              <a:off x="7211916" y="-1765332"/>
              <a:ext cx="410924" cy="1091248"/>
            </a:xfrm>
            <a:custGeom>
              <a:avLst/>
              <a:gdLst>
                <a:gd name="connsiteX0" fmla="*/ 411789 w 410924"/>
                <a:gd name="connsiteY0" fmla="*/ 362043 h 1091248"/>
                <a:gd name="connsiteX1" fmla="*/ 285226 w 410924"/>
                <a:gd name="connsiteY1" fmla="*/ 362043 h 1091248"/>
                <a:gd name="connsiteX2" fmla="*/ 285226 w 410924"/>
                <a:gd name="connsiteY2" fmla="*/ 882585 h 1091248"/>
                <a:gd name="connsiteX3" fmla="*/ 308007 w 410924"/>
                <a:gd name="connsiteY3" fmla="*/ 959777 h 1091248"/>
                <a:gd name="connsiteX4" fmla="*/ 395160 w 410924"/>
                <a:gd name="connsiteY4" fmla="*/ 979383 h 1091248"/>
                <a:gd name="connsiteX5" fmla="*/ 395160 w 410924"/>
                <a:gd name="connsiteY5" fmla="*/ 1091421 h 1091248"/>
                <a:gd name="connsiteX6" fmla="*/ 278558 w 410924"/>
                <a:gd name="connsiteY6" fmla="*/ 1091421 h 1091248"/>
                <a:gd name="connsiteX7" fmla="*/ 129254 w 410924"/>
                <a:gd name="connsiteY7" fmla="*/ 1042049 h 1091248"/>
                <a:gd name="connsiteX8" fmla="*/ 78573 w 410924"/>
                <a:gd name="connsiteY8" fmla="*/ 890761 h 1091248"/>
                <a:gd name="connsiteX9" fmla="*/ 78573 w 410924"/>
                <a:gd name="connsiteY9" fmla="*/ 360932 h 1091248"/>
                <a:gd name="connsiteX10" fmla="*/ 865 w 410924"/>
                <a:gd name="connsiteY10" fmla="*/ 360932 h 1091248"/>
                <a:gd name="connsiteX11" fmla="*/ 865 w 410924"/>
                <a:gd name="connsiteY11" fmla="*/ 255601 h 1091248"/>
                <a:gd name="connsiteX12" fmla="*/ 78573 w 410924"/>
                <a:gd name="connsiteY12" fmla="*/ 255601 h 1091248"/>
                <a:gd name="connsiteX13" fmla="*/ 78573 w 410924"/>
                <a:gd name="connsiteY13" fmla="*/ 172 h 1091248"/>
                <a:gd name="connsiteX14" fmla="*/ 285226 w 410924"/>
                <a:gd name="connsiteY14" fmla="*/ 172 h 1091248"/>
                <a:gd name="connsiteX15" fmla="*/ 285226 w 410924"/>
                <a:gd name="connsiteY15" fmla="*/ 255601 h 1091248"/>
                <a:gd name="connsiteX16" fmla="*/ 411789 w 410924"/>
                <a:gd name="connsiteY16" fmla="*/ 255601 h 1091248"/>
                <a:gd name="connsiteX17" fmla="*/ 411789 w 410924"/>
                <a:gd name="connsiteY17" fmla="*/ 362043 h 1091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10924" h="1091248">
                  <a:moveTo>
                    <a:pt x="411789" y="362043"/>
                  </a:moveTo>
                  <a:lnTo>
                    <a:pt x="285226" y="362043"/>
                  </a:lnTo>
                  <a:lnTo>
                    <a:pt x="285226" y="882585"/>
                  </a:lnTo>
                  <a:cubicBezTo>
                    <a:pt x="285226" y="920804"/>
                    <a:pt x="292846" y="946601"/>
                    <a:pt x="308007" y="959777"/>
                  </a:cubicBezTo>
                  <a:cubicBezTo>
                    <a:pt x="323286" y="972834"/>
                    <a:pt x="352258" y="979383"/>
                    <a:pt x="395160" y="979383"/>
                  </a:cubicBezTo>
                  <a:lnTo>
                    <a:pt x="395160" y="1091421"/>
                  </a:lnTo>
                  <a:lnTo>
                    <a:pt x="278558" y="1091421"/>
                  </a:lnTo>
                  <a:cubicBezTo>
                    <a:pt x="212717" y="1091421"/>
                    <a:pt x="162949" y="1074990"/>
                    <a:pt x="129254" y="1042049"/>
                  </a:cubicBezTo>
                  <a:cubicBezTo>
                    <a:pt x="95480" y="1009188"/>
                    <a:pt x="78573" y="958785"/>
                    <a:pt x="78573" y="890761"/>
                  </a:cubicBezTo>
                  <a:lnTo>
                    <a:pt x="78573" y="360932"/>
                  </a:lnTo>
                  <a:lnTo>
                    <a:pt x="865" y="360932"/>
                  </a:lnTo>
                  <a:lnTo>
                    <a:pt x="865" y="255601"/>
                  </a:lnTo>
                  <a:lnTo>
                    <a:pt x="78573" y="255601"/>
                  </a:lnTo>
                  <a:lnTo>
                    <a:pt x="78573" y="172"/>
                  </a:lnTo>
                  <a:lnTo>
                    <a:pt x="285226" y="172"/>
                  </a:lnTo>
                  <a:lnTo>
                    <a:pt x="285226" y="255601"/>
                  </a:lnTo>
                  <a:lnTo>
                    <a:pt x="411789" y="255601"/>
                  </a:lnTo>
                  <a:lnTo>
                    <a:pt x="411789" y="362043"/>
                  </a:lnTo>
                  <a:close/>
                </a:path>
              </a:pathLst>
            </a:custGeom>
            <a:solidFill>
              <a:srgbClr val="DA2128"/>
            </a:solidFill>
            <a:ln w="39688" cap="flat">
              <a:noFill/>
              <a:prstDash val="solid"/>
              <a:round/>
            </a:ln>
          </p:spPr>
          <p:txBody>
            <a:bodyPr rtlCol="0" anchor="ctr"/>
            <a:lstStyle/>
            <a:p>
              <a:pPr rtl="0"/>
              <a:endParaRPr lang="en-US"/>
            </a:p>
          </p:txBody>
        </p:sp>
        <p:sp>
          <p:nvSpPr>
            <p:cNvPr id="61" name="Freeform: Shape 60">
              <a:extLst>
                <a:ext uri="{FF2B5EF4-FFF2-40B4-BE49-F238E27FC236}">
                  <a16:creationId xmlns:a16="http://schemas.microsoft.com/office/drawing/2014/main" id="{26241727-5F7B-E54B-964E-CA467A694557}"/>
                </a:ext>
              </a:extLst>
            </p:cNvPr>
            <p:cNvSpPr/>
            <p:nvPr/>
          </p:nvSpPr>
          <p:spPr>
            <a:xfrm>
              <a:off x="7095830" y="-2797529"/>
              <a:ext cx="1383824" cy="1566070"/>
            </a:xfrm>
            <a:custGeom>
              <a:avLst/>
              <a:gdLst>
                <a:gd name="connsiteX0" fmla="*/ 1311793 w 1383824"/>
                <a:gd name="connsiteY0" fmla="*/ 1354685 h 1566070"/>
                <a:gd name="connsiteX1" fmla="*/ 1287584 w 1383824"/>
                <a:gd name="connsiteY1" fmla="*/ 1566140 h 1566070"/>
                <a:gd name="connsiteX2" fmla="*/ 1384739 w 1383824"/>
                <a:gd name="connsiteY2" fmla="*/ 1148508 h 1566070"/>
                <a:gd name="connsiteX3" fmla="*/ 914 w 1383824"/>
                <a:gd name="connsiteY3" fmla="*/ 70 h 1566070"/>
                <a:gd name="connsiteX4" fmla="*/ 34410 w 1383824"/>
                <a:gd name="connsiteY4" fmla="*/ 211962 h 1566070"/>
                <a:gd name="connsiteX5" fmla="*/ 1311793 w 1383824"/>
                <a:gd name="connsiteY5" fmla="*/ 1354685 h 1566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3824" h="1566070">
                  <a:moveTo>
                    <a:pt x="1311793" y="1354685"/>
                  </a:moveTo>
                  <a:cubicBezTo>
                    <a:pt x="1311793" y="1426876"/>
                    <a:pt x="1303459" y="1497600"/>
                    <a:pt x="1287584" y="1566140"/>
                  </a:cubicBezTo>
                  <a:cubicBezTo>
                    <a:pt x="1350330" y="1436679"/>
                    <a:pt x="1384739" y="1295868"/>
                    <a:pt x="1384739" y="1148508"/>
                  </a:cubicBezTo>
                  <a:cubicBezTo>
                    <a:pt x="1384739" y="525374"/>
                    <a:pt x="768987" y="18167"/>
                    <a:pt x="914" y="70"/>
                  </a:cubicBezTo>
                  <a:cubicBezTo>
                    <a:pt x="18694" y="68452"/>
                    <a:pt x="29807" y="139413"/>
                    <a:pt x="34410" y="211962"/>
                  </a:cubicBezTo>
                  <a:cubicBezTo>
                    <a:pt x="752159" y="271929"/>
                    <a:pt x="1311793" y="760642"/>
                    <a:pt x="1311793" y="1354685"/>
                  </a:cubicBezTo>
                </a:path>
              </a:pathLst>
            </a:custGeom>
            <a:solidFill>
              <a:srgbClr val="231F20"/>
            </a:solidFill>
            <a:ln w="39688" cap="flat">
              <a:noFill/>
              <a:prstDash val="solid"/>
              <a:round/>
            </a:ln>
          </p:spPr>
          <p:txBody>
            <a:bodyPr rtlCol="0" anchor="ctr"/>
            <a:lstStyle/>
            <a:p>
              <a:pPr rtl="0"/>
              <a:endParaRPr lang="en-US"/>
            </a:p>
          </p:txBody>
        </p:sp>
        <p:sp>
          <p:nvSpPr>
            <p:cNvPr id="62" name="Freeform: Shape 61">
              <a:extLst>
                <a:ext uri="{FF2B5EF4-FFF2-40B4-BE49-F238E27FC236}">
                  <a16:creationId xmlns:a16="http://schemas.microsoft.com/office/drawing/2014/main" id="{F71AD488-0554-356E-6D2B-C4834AF54EE3}"/>
                </a:ext>
              </a:extLst>
            </p:cNvPr>
            <p:cNvSpPr/>
            <p:nvPr/>
          </p:nvSpPr>
          <p:spPr>
            <a:xfrm>
              <a:off x="5596475" y="-2319807"/>
              <a:ext cx="2625568" cy="1121519"/>
            </a:xfrm>
            <a:custGeom>
              <a:avLst/>
              <a:gdLst>
                <a:gd name="connsiteX0" fmla="*/ 1494808 w 2625568"/>
                <a:gd name="connsiteY0" fmla="*/ 270416 h 1121519"/>
                <a:gd name="connsiteX1" fmla="*/ 2424132 w 2625568"/>
                <a:gd name="connsiteY1" fmla="*/ 1091988 h 1121519"/>
                <a:gd name="connsiteX2" fmla="*/ 2626379 w 2625568"/>
                <a:gd name="connsiteY2" fmla="*/ 1121634 h 1121519"/>
                <a:gd name="connsiteX3" fmla="*/ 1631294 w 2625568"/>
                <a:gd name="connsiteY3" fmla="*/ 100156 h 1121519"/>
                <a:gd name="connsiteX4" fmla="*/ 811 w 2625568"/>
                <a:gd name="connsiteY4" fmla="*/ 517352 h 1121519"/>
                <a:gd name="connsiteX5" fmla="*/ 1494808 w 2625568"/>
                <a:gd name="connsiteY5" fmla="*/ 270416 h 1121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25568" h="1121519">
                  <a:moveTo>
                    <a:pt x="1494808" y="270416"/>
                  </a:moveTo>
                  <a:cubicBezTo>
                    <a:pt x="1938158" y="427102"/>
                    <a:pt x="2271414" y="738848"/>
                    <a:pt x="2424132" y="1091988"/>
                  </a:cubicBezTo>
                  <a:cubicBezTo>
                    <a:pt x="2493347" y="1097147"/>
                    <a:pt x="2561054" y="1106950"/>
                    <a:pt x="2626379" y="1121634"/>
                  </a:cubicBezTo>
                  <a:cubicBezTo>
                    <a:pt x="2527676" y="689437"/>
                    <a:pt x="2156757" y="285934"/>
                    <a:pt x="1631294" y="100156"/>
                  </a:cubicBezTo>
                  <a:cubicBezTo>
                    <a:pt x="972560" y="-132651"/>
                    <a:pt x="291998" y="54873"/>
                    <a:pt x="811" y="517352"/>
                  </a:cubicBezTo>
                  <a:cubicBezTo>
                    <a:pt x="336925" y="182587"/>
                    <a:pt x="924022" y="68684"/>
                    <a:pt x="1494808" y="270416"/>
                  </a:cubicBezTo>
                </a:path>
              </a:pathLst>
            </a:custGeom>
            <a:solidFill>
              <a:srgbClr val="007236"/>
            </a:solidFill>
            <a:ln w="39688" cap="flat">
              <a:noFill/>
              <a:prstDash val="solid"/>
              <a:round/>
            </a:ln>
          </p:spPr>
          <p:txBody>
            <a:bodyPr rtlCol="0" anchor="ctr"/>
            <a:lstStyle/>
            <a:p>
              <a:pPr rtl="0"/>
              <a:endParaRPr lang="en-US"/>
            </a:p>
          </p:txBody>
        </p:sp>
        <p:sp>
          <p:nvSpPr>
            <p:cNvPr id="63" name="Freeform: Shape 62">
              <a:extLst>
                <a:ext uri="{FF2B5EF4-FFF2-40B4-BE49-F238E27FC236}">
                  <a16:creationId xmlns:a16="http://schemas.microsoft.com/office/drawing/2014/main" id="{9A60B2B6-A7AB-330D-6849-587F929430F5}"/>
                </a:ext>
              </a:extLst>
            </p:cNvPr>
            <p:cNvSpPr/>
            <p:nvPr/>
          </p:nvSpPr>
          <p:spPr>
            <a:xfrm>
              <a:off x="6313073" y="-2555244"/>
              <a:ext cx="1683029" cy="679481"/>
            </a:xfrm>
            <a:custGeom>
              <a:avLst/>
              <a:gdLst>
                <a:gd name="connsiteX0" fmla="*/ 811 w 1683029"/>
                <a:gd name="connsiteY0" fmla="*/ 160513 h 679481"/>
                <a:gd name="connsiteX1" fmla="*/ 1459089 w 1683029"/>
                <a:gd name="connsiteY1" fmla="*/ 570445 h 679481"/>
                <a:gd name="connsiteX2" fmla="*/ 1561523 w 1683029"/>
                <a:gd name="connsiteY2" fmla="*/ 679546 h 679481"/>
                <a:gd name="connsiteX3" fmla="*/ 1683840 w 1683029"/>
                <a:gd name="connsiteY3" fmla="*/ 504048 h 679481"/>
                <a:gd name="connsiteX4" fmla="*/ 1653916 w 1683029"/>
                <a:gd name="connsiteY4" fmla="*/ 473885 h 679481"/>
                <a:gd name="connsiteX5" fmla="*/ 811 w 1683029"/>
                <a:gd name="connsiteY5" fmla="*/ 160513 h 679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83029" h="679481">
                  <a:moveTo>
                    <a:pt x="811" y="160513"/>
                  </a:moveTo>
                  <a:cubicBezTo>
                    <a:pt x="445271" y="-539"/>
                    <a:pt x="1025424" y="145273"/>
                    <a:pt x="1459089" y="570445"/>
                  </a:cubicBezTo>
                  <a:cubicBezTo>
                    <a:pt x="1495165" y="605727"/>
                    <a:pt x="1529297" y="642200"/>
                    <a:pt x="1561523" y="679546"/>
                  </a:cubicBezTo>
                  <a:cubicBezTo>
                    <a:pt x="1608354" y="624222"/>
                    <a:pt x="1649391" y="565603"/>
                    <a:pt x="1683840" y="504048"/>
                  </a:cubicBezTo>
                  <a:cubicBezTo>
                    <a:pt x="1674037" y="493888"/>
                    <a:pt x="1664115" y="483847"/>
                    <a:pt x="1653916" y="473885"/>
                  </a:cubicBezTo>
                  <a:cubicBezTo>
                    <a:pt x="1153496" y="-16851"/>
                    <a:pt x="457813" y="-135437"/>
                    <a:pt x="811" y="160513"/>
                  </a:cubicBezTo>
                </a:path>
              </a:pathLst>
            </a:custGeom>
            <a:solidFill>
              <a:srgbClr val="DA2128"/>
            </a:solidFill>
            <a:ln w="39688" cap="flat">
              <a:noFill/>
              <a:prstDash val="solid"/>
              <a:round/>
            </a:ln>
          </p:spPr>
          <p:txBody>
            <a:bodyPr rtlCol="0" anchor="ctr"/>
            <a:lstStyle/>
            <a:p>
              <a:pPr rtl="0"/>
              <a:endParaRPr lang="en-US"/>
            </a:p>
          </p:txBody>
        </p:sp>
        <p:pic>
          <p:nvPicPr>
            <p:cNvPr id="128" name="Picture 127">
              <a:extLst>
                <a:ext uri="{FF2B5EF4-FFF2-40B4-BE49-F238E27FC236}">
                  <a16:creationId xmlns:a16="http://schemas.microsoft.com/office/drawing/2014/main" id="{878D5DD0-91B0-348B-2AEA-18B4ED9E0998}"/>
                </a:ext>
              </a:extLst>
            </p:cNvPr>
            <p:cNvPicPr>
              <a:picLocks noChangeAspect="1"/>
            </p:cNvPicPr>
            <p:nvPr/>
          </p:nvPicPr>
          <p:blipFill>
            <a:blip r:embed="rId40" cstate="email">
              <a:extLst>
                <a:ext uri="{28A0092B-C50C-407E-A947-70E740481C1C}">
                  <a14:useLocalDpi xmlns:a14="http://schemas.microsoft.com/office/drawing/2010/main"/>
                </a:ext>
              </a:extLst>
            </a:blip>
            <a:stretch>
              <a:fillRect/>
            </a:stretch>
          </p:blipFill>
          <p:spPr>
            <a:xfrm>
              <a:off x="-770028" y="-2460582"/>
              <a:ext cx="2368021" cy="2229311"/>
            </a:xfrm>
            <a:custGeom>
              <a:avLst/>
              <a:gdLst>
                <a:gd name="connsiteX0" fmla="*/ 0 w 2368021"/>
                <a:gd name="connsiteY0" fmla="*/ 37 h 2229311"/>
                <a:gd name="connsiteX1" fmla="*/ 2368021 w 2368021"/>
                <a:gd name="connsiteY1" fmla="*/ 37 h 2229311"/>
                <a:gd name="connsiteX2" fmla="*/ 2368021 w 2368021"/>
                <a:gd name="connsiteY2" fmla="*/ 2229348 h 2229311"/>
                <a:gd name="connsiteX3" fmla="*/ 0 w 2368021"/>
                <a:gd name="connsiteY3" fmla="*/ 2229348 h 2229311"/>
              </a:gdLst>
              <a:ahLst/>
              <a:cxnLst>
                <a:cxn ang="0">
                  <a:pos x="connsiteX0" y="connsiteY0"/>
                </a:cxn>
                <a:cxn ang="0">
                  <a:pos x="connsiteX1" y="connsiteY1"/>
                </a:cxn>
                <a:cxn ang="0">
                  <a:pos x="connsiteX2" y="connsiteY2"/>
                </a:cxn>
                <a:cxn ang="0">
                  <a:pos x="connsiteX3" y="connsiteY3"/>
                </a:cxn>
              </a:cxnLst>
              <a:rect l="l" t="t" r="r" b="b"/>
              <a:pathLst>
                <a:path w="2368021" h="2229311">
                  <a:moveTo>
                    <a:pt x="0" y="37"/>
                  </a:moveTo>
                  <a:lnTo>
                    <a:pt x="2368021" y="37"/>
                  </a:lnTo>
                  <a:lnTo>
                    <a:pt x="2368021" y="2229348"/>
                  </a:lnTo>
                  <a:lnTo>
                    <a:pt x="0" y="2229348"/>
                  </a:lnTo>
                  <a:close/>
                </a:path>
              </a:pathLst>
            </a:custGeom>
          </p:spPr>
        </p:pic>
        <p:grpSp>
          <p:nvGrpSpPr>
            <p:cNvPr id="129" name="Group 128">
              <a:extLst>
                <a:ext uri="{FF2B5EF4-FFF2-40B4-BE49-F238E27FC236}">
                  <a16:creationId xmlns:a16="http://schemas.microsoft.com/office/drawing/2014/main" id="{BE29CF5D-EE5C-260D-4972-A247357D6D09}"/>
                </a:ext>
              </a:extLst>
            </p:cNvPr>
            <p:cNvGrpSpPr/>
            <p:nvPr/>
          </p:nvGrpSpPr>
          <p:grpSpPr>
            <a:xfrm>
              <a:off x="1960283" y="-2545858"/>
              <a:ext cx="88879" cy="2339756"/>
              <a:chOff x="19825373" y="2859152"/>
              <a:chExt cx="88879" cy="2339756"/>
            </a:xfrm>
          </p:grpSpPr>
          <p:sp>
            <p:nvSpPr>
              <p:cNvPr id="156" name="Rectangle 155">
                <a:extLst>
                  <a:ext uri="{FF2B5EF4-FFF2-40B4-BE49-F238E27FC236}">
                    <a16:creationId xmlns:a16="http://schemas.microsoft.com/office/drawing/2014/main" id="{DAC3D4AC-591C-AAD4-9391-C23C64C2DB8B}"/>
                  </a:ext>
                </a:extLst>
              </p:cNvPr>
              <p:cNvSpPr/>
              <p:nvPr/>
            </p:nvSpPr>
            <p:spPr>
              <a:xfrm>
                <a:off x="19827693" y="2859152"/>
                <a:ext cx="86559" cy="737328"/>
              </a:xfrm>
              <a:prstGeom prst="rect">
                <a:avLst/>
              </a:prstGeom>
              <a:solidFill>
                <a:srgbClr val="00000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US" sz="1600">
                  <a:solidFill>
                    <a:schemeClr val="bg1"/>
                  </a:solidFill>
                </a:endParaRPr>
              </a:p>
            </p:txBody>
          </p:sp>
          <p:sp>
            <p:nvSpPr>
              <p:cNvPr id="157" name="Rectangle 156">
                <a:extLst>
                  <a:ext uri="{FF2B5EF4-FFF2-40B4-BE49-F238E27FC236}">
                    <a16:creationId xmlns:a16="http://schemas.microsoft.com/office/drawing/2014/main" id="{18A15111-86C9-1A0F-89D8-32D290B08819}"/>
                  </a:ext>
                </a:extLst>
              </p:cNvPr>
              <p:cNvSpPr/>
              <p:nvPr/>
            </p:nvSpPr>
            <p:spPr>
              <a:xfrm>
                <a:off x="19825373" y="3671369"/>
                <a:ext cx="86559" cy="737328"/>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US" sz="1600">
                  <a:solidFill>
                    <a:schemeClr val="bg1"/>
                  </a:solidFill>
                </a:endParaRPr>
              </a:p>
            </p:txBody>
          </p:sp>
          <p:sp>
            <p:nvSpPr>
              <p:cNvPr id="158" name="Rectangle 157">
                <a:extLst>
                  <a:ext uri="{FF2B5EF4-FFF2-40B4-BE49-F238E27FC236}">
                    <a16:creationId xmlns:a16="http://schemas.microsoft.com/office/drawing/2014/main" id="{7591F197-311C-D170-7632-D74AED45F2F4}"/>
                  </a:ext>
                </a:extLst>
              </p:cNvPr>
              <p:cNvSpPr/>
              <p:nvPr/>
            </p:nvSpPr>
            <p:spPr>
              <a:xfrm>
                <a:off x="19825373" y="4461580"/>
                <a:ext cx="86559" cy="737328"/>
              </a:xfrm>
              <a:prstGeom prst="rect">
                <a:avLst/>
              </a:prstGeom>
              <a:solidFill>
                <a:srgbClr val="00723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US" sz="1600">
                  <a:solidFill>
                    <a:schemeClr val="bg1"/>
                  </a:solidFill>
                </a:endParaRPr>
              </a:p>
            </p:txBody>
          </p:sp>
        </p:grpSp>
        <p:sp>
          <p:nvSpPr>
            <p:cNvPr id="130" name="TextBox 129">
              <a:extLst>
                <a:ext uri="{FF2B5EF4-FFF2-40B4-BE49-F238E27FC236}">
                  <a16:creationId xmlns:a16="http://schemas.microsoft.com/office/drawing/2014/main" id="{9A0E91CC-E0BF-4F02-51F9-87A3A46C4CE2}"/>
                </a:ext>
              </a:extLst>
            </p:cNvPr>
            <p:cNvSpPr txBox="1"/>
            <p:nvPr/>
          </p:nvSpPr>
          <p:spPr>
            <a:xfrm>
              <a:off x="7405086" y="-517694"/>
              <a:ext cx="241260" cy="261049"/>
            </a:xfrm>
            <a:custGeom>
              <a:avLst/>
              <a:gdLst/>
              <a:ahLst/>
              <a:cxnLst/>
              <a:rect l="l" t="t" r="r" b="b"/>
              <a:pathLst>
                <a:path w="241260" h="261049">
                  <a:moveTo>
                    <a:pt x="120802" y="0"/>
                  </a:moveTo>
                  <a:cubicBezTo>
                    <a:pt x="144091" y="0"/>
                    <a:pt x="165085" y="5564"/>
                    <a:pt x="183785" y="16692"/>
                  </a:cubicBezTo>
                  <a:cubicBezTo>
                    <a:pt x="202484" y="27820"/>
                    <a:pt x="216738" y="43336"/>
                    <a:pt x="226547" y="63240"/>
                  </a:cubicBezTo>
                  <a:cubicBezTo>
                    <a:pt x="236356" y="83144"/>
                    <a:pt x="241260" y="105716"/>
                    <a:pt x="241260" y="130955"/>
                  </a:cubicBezTo>
                  <a:cubicBezTo>
                    <a:pt x="241260" y="156538"/>
                    <a:pt x="236098" y="179425"/>
                    <a:pt x="225773" y="199616"/>
                  </a:cubicBezTo>
                  <a:cubicBezTo>
                    <a:pt x="215448" y="219807"/>
                    <a:pt x="200821" y="235093"/>
                    <a:pt x="181892" y="245476"/>
                  </a:cubicBezTo>
                  <a:cubicBezTo>
                    <a:pt x="162963" y="255858"/>
                    <a:pt x="142542" y="261049"/>
                    <a:pt x="120630" y="261049"/>
                  </a:cubicBezTo>
                  <a:cubicBezTo>
                    <a:pt x="96883" y="261049"/>
                    <a:pt x="75659" y="255313"/>
                    <a:pt x="56960" y="243841"/>
                  </a:cubicBezTo>
                  <a:cubicBezTo>
                    <a:pt x="38260" y="232369"/>
                    <a:pt x="24092" y="216709"/>
                    <a:pt x="14455" y="196862"/>
                  </a:cubicBezTo>
                  <a:cubicBezTo>
                    <a:pt x="4819" y="177015"/>
                    <a:pt x="0" y="156021"/>
                    <a:pt x="0" y="133880"/>
                  </a:cubicBezTo>
                  <a:cubicBezTo>
                    <a:pt x="0" y="92007"/>
                    <a:pt x="11243" y="59225"/>
                    <a:pt x="33729" y="35535"/>
                  </a:cubicBezTo>
                  <a:cubicBezTo>
                    <a:pt x="56214" y="11845"/>
                    <a:pt x="85239" y="0"/>
                    <a:pt x="120802" y="0"/>
                  </a:cubicBezTo>
                  <a:close/>
                  <a:moveTo>
                    <a:pt x="120974" y="28738"/>
                  </a:moveTo>
                  <a:cubicBezTo>
                    <a:pt x="97342" y="28738"/>
                    <a:pt x="77007" y="36854"/>
                    <a:pt x="59971" y="53087"/>
                  </a:cubicBezTo>
                  <a:cubicBezTo>
                    <a:pt x="42935" y="69320"/>
                    <a:pt x="34417" y="96423"/>
                    <a:pt x="34417" y="134396"/>
                  </a:cubicBezTo>
                  <a:cubicBezTo>
                    <a:pt x="34417" y="164798"/>
                    <a:pt x="42591" y="188746"/>
                    <a:pt x="58939" y="206241"/>
                  </a:cubicBezTo>
                  <a:cubicBezTo>
                    <a:pt x="75287" y="223736"/>
                    <a:pt x="95793" y="232483"/>
                    <a:pt x="120458" y="232483"/>
                  </a:cubicBezTo>
                  <a:cubicBezTo>
                    <a:pt x="145582" y="232483"/>
                    <a:pt x="166261" y="223650"/>
                    <a:pt x="182494" y="205983"/>
                  </a:cubicBezTo>
                  <a:cubicBezTo>
                    <a:pt x="198727" y="188316"/>
                    <a:pt x="206844" y="163249"/>
                    <a:pt x="206844" y="130783"/>
                  </a:cubicBezTo>
                  <a:cubicBezTo>
                    <a:pt x="206844" y="110247"/>
                    <a:pt x="203373" y="92322"/>
                    <a:pt x="196433" y="77007"/>
                  </a:cubicBezTo>
                  <a:cubicBezTo>
                    <a:pt x="189492" y="61691"/>
                    <a:pt x="179339" y="49818"/>
                    <a:pt x="165974" y="41386"/>
                  </a:cubicBezTo>
                  <a:cubicBezTo>
                    <a:pt x="152609" y="32954"/>
                    <a:pt x="137609" y="28738"/>
                    <a:pt x="120974" y="28738"/>
                  </a:cubicBez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131" name="TextBox 130">
              <a:extLst>
                <a:ext uri="{FF2B5EF4-FFF2-40B4-BE49-F238E27FC236}">
                  <a16:creationId xmlns:a16="http://schemas.microsoft.com/office/drawing/2014/main" id="{8A8FAA35-E8B1-9730-024C-84E00079089B}"/>
                </a:ext>
              </a:extLst>
            </p:cNvPr>
            <p:cNvSpPr txBox="1"/>
            <p:nvPr/>
          </p:nvSpPr>
          <p:spPr>
            <a:xfrm>
              <a:off x="4723902" y="-517522"/>
              <a:ext cx="200820" cy="260877"/>
            </a:xfrm>
            <a:custGeom>
              <a:avLst/>
              <a:gdLst/>
              <a:ahLst/>
              <a:cxnLst/>
              <a:rect l="l" t="t" r="r" b="b"/>
              <a:pathLst>
                <a:path w="200820" h="260877">
                  <a:moveTo>
                    <a:pt x="98431" y="0"/>
                  </a:moveTo>
                  <a:cubicBezTo>
                    <a:pt x="117131" y="0"/>
                    <a:pt x="133622" y="3011"/>
                    <a:pt x="147905" y="9034"/>
                  </a:cubicBezTo>
                  <a:cubicBezTo>
                    <a:pt x="162188" y="15057"/>
                    <a:pt x="173172" y="23919"/>
                    <a:pt x="180859" y="35621"/>
                  </a:cubicBezTo>
                  <a:cubicBezTo>
                    <a:pt x="188545" y="47323"/>
                    <a:pt x="192675" y="60573"/>
                    <a:pt x="193249" y="75372"/>
                  </a:cubicBezTo>
                  <a:lnTo>
                    <a:pt x="161241" y="77781"/>
                  </a:lnTo>
                  <a:cubicBezTo>
                    <a:pt x="159520" y="61835"/>
                    <a:pt x="153698" y="49789"/>
                    <a:pt x="143775" y="41644"/>
                  </a:cubicBezTo>
                  <a:cubicBezTo>
                    <a:pt x="133851" y="33499"/>
                    <a:pt x="119196" y="29426"/>
                    <a:pt x="99808" y="29426"/>
                  </a:cubicBezTo>
                  <a:cubicBezTo>
                    <a:pt x="79617" y="29426"/>
                    <a:pt x="64904" y="33126"/>
                    <a:pt x="55669" y="40525"/>
                  </a:cubicBezTo>
                  <a:cubicBezTo>
                    <a:pt x="46433" y="47925"/>
                    <a:pt x="41816" y="56845"/>
                    <a:pt x="41816" y="67284"/>
                  </a:cubicBezTo>
                  <a:cubicBezTo>
                    <a:pt x="41816" y="76347"/>
                    <a:pt x="45085" y="83804"/>
                    <a:pt x="51625" y="89655"/>
                  </a:cubicBezTo>
                  <a:cubicBezTo>
                    <a:pt x="58049" y="95506"/>
                    <a:pt x="74827" y="101500"/>
                    <a:pt x="101959" y="107638"/>
                  </a:cubicBezTo>
                  <a:cubicBezTo>
                    <a:pt x="129090" y="113775"/>
                    <a:pt x="147704" y="119138"/>
                    <a:pt x="157800" y="123727"/>
                  </a:cubicBezTo>
                  <a:cubicBezTo>
                    <a:pt x="172484" y="130496"/>
                    <a:pt x="183325" y="139071"/>
                    <a:pt x="190323" y="149454"/>
                  </a:cubicBezTo>
                  <a:cubicBezTo>
                    <a:pt x="197321" y="159836"/>
                    <a:pt x="200820" y="171796"/>
                    <a:pt x="200820" y="185333"/>
                  </a:cubicBezTo>
                  <a:cubicBezTo>
                    <a:pt x="200820" y="198755"/>
                    <a:pt x="196977" y="211403"/>
                    <a:pt x="189291" y="223277"/>
                  </a:cubicBezTo>
                  <a:cubicBezTo>
                    <a:pt x="181604" y="235151"/>
                    <a:pt x="170562" y="244386"/>
                    <a:pt x="156165" y="250982"/>
                  </a:cubicBezTo>
                  <a:cubicBezTo>
                    <a:pt x="141767" y="257579"/>
                    <a:pt x="125563" y="260877"/>
                    <a:pt x="107551" y="260877"/>
                  </a:cubicBezTo>
                  <a:cubicBezTo>
                    <a:pt x="84722" y="260877"/>
                    <a:pt x="65592" y="257550"/>
                    <a:pt x="50162" y="250896"/>
                  </a:cubicBezTo>
                  <a:cubicBezTo>
                    <a:pt x="34732" y="244242"/>
                    <a:pt x="22629" y="234233"/>
                    <a:pt x="13852" y="220868"/>
                  </a:cubicBezTo>
                  <a:cubicBezTo>
                    <a:pt x="5076" y="207503"/>
                    <a:pt x="459" y="192388"/>
                    <a:pt x="0" y="175524"/>
                  </a:cubicBezTo>
                  <a:lnTo>
                    <a:pt x="31491" y="172771"/>
                  </a:lnTo>
                  <a:cubicBezTo>
                    <a:pt x="32982" y="185390"/>
                    <a:pt x="36453" y="195744"/>
                    <a:pt x="41902" y="203832"/>
                  </a:cubicBezTo>
                  <a:cubicBezTo>
                    <a:pt x="47351" y="211920"/>
                    <a:pt x="55812" y="218459"/>
                    <a:pt x="67284" y="223449"/>
                  </a:cubicBezTo>
                  <a:cubicBezTo>
                    <a:pt x="78756" y="228439"/>
                    <a:pt x="91662" y="230935"/>
                    <a:pt x="106003" y="230935"/>
                  </a:cubicBezTo>
                  <a:cubicBezTo>
                    <a:pt x="118737" y="230935"/>
                    <a:pt x="129979" y="229042"/>
                    <a:pt x="139731" y="225256"/>
                  </a:cubicBezTo>
                  <a:cubicBezTo>
                    <a:pt x="149482" y="221470"/>
                    <a:pt x="156738" y="216279"/>
                    <a:pt x="161499" y="209682"/>
                  </a:cubicBezTo>
                  <a:cubicBezTo>
                    <a:pt x="166260" y="203086"/>
                    <a:pt x="168641" y="195887"/>
                    <a:pt x="168641" y="188086"/>
                  </a:cubicBezTo>
                  <a:cubicBezTo>
                    <a:pt x="168641" y="180170"/>
                    <a:pt x="166346" y="173258"/>
                    <a:pt x="161757" y="167350"/>
                  </a:cubicBezTo>
                  <a:cubicBezTo>
                    <a:pt x="157169" y="161442"/>
                    <a:pt x="149597" y="156480"/>
                    <a:pt x="139043" y="152465"/>
                  </a:cubicBezTo>
                  <a:cubicBezTo>
                    <a:pt x="132274" y="149826"/>
                    <a:pt x="117303" y="145725"/>
                    <a:pt x="94129" y="140161"/>
                  </a:cubicBezTo>
                  <a:cubicBezTo>
                    <a:pt x="70955" y="134597"/>
                    <a:pt x="54722" y="129349"/>
                    <a:pt x="45430" y="124416"/>
                  </a:cubicBezTo>
                  <a:cubicBezTo>
                    <a:pt x="33384" y="118106"/>
                    <a:pt x="24407" y="110276"/>
                    <a:pt x="18499" y="100926"/>
                  </a:cubicBezTo>
                  <a:cubicBezTo>
                    <a:pt x="12591" y="91577"/>
                    <a:pt x="9636" y="81108"/>
                    <a:pt x="9636" y="69521"/>
                  </a:cubicBezTo>
                  <a:cubicBezTo>
                    <a:pt x="9636" y="56787"/>
                    <a:pt x="13250" y="44885"/>
                    <a:pt x="20478" y="33814"/>
                  </a:cubicBezTo>
                  <a:cubicBezTo>
                    <a:pt x="27705" y="22744"/>
                    <a:pt x="38260" y="14340"/>
                    <a:pt x="52141" y="8604"/>
                  </a:cubicBezTo>
                  <a:cubicBezTo>
                    <a:pt x="66022" y="2868"/>
                    <a:pt x="81452" y="0"/>
                    <a:pt x="98431" y="0"/>
                  </a:cubicBez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132" name="TextBox 131">
              <a:extLst>
                <a:ext uri="{FF2B5EF4-FFF2-40B4-BE49-F238E27FC236}">
                  <a16:creationId xmlns:a16="http://schemas.microsoft.com/office/drawing/2014/main" id="{5C9CB5F5-D7C7-3B6B-F146-A03B5ABB61BB}"/>
                </a:ext>
              </a:extLst>
            </p:cNvPr>
            <p:cNvSpPr txBox="1"/>
            <p:nvPr/>
          </p:nvSpPr>
          <p:spPr>
            <a:xfrm>
              <a:off x="2451810" y="-513220"/>
              <a:ext cx="208564" cy="252273"/>
            </a:xfrm>
            <a:custGeom>
              <a:avLst/>
              <a:gdLst/>
              <a:ahLst/>
              <a:cxnLst/>
              <a:rect l="l" t="t" r="r" b="b"/>
              <a:pathLst>
                <a:path w="208564" h="252273">
                  <a:moveTo>
                    <a:pt x="0" y="0"/>
                  </a:moveTo>
                  <a:lnTo>
                    <a:pt x="33384" y="0"/>
                  </a:lnTo>
                  <a:lnTo>
                    <a:pt x="33384" y="125104"/>
                  </a:lnTo>
                  <a:lnTo>
                    <a:pt x="158660" y="0"/>
                  </a:lnTo>
                  <a:lnTo>
                    <a:pt x="203917" y="0"/>
                  </a:lnTo>
                  <a:lnTo>
                    <a:pt x="98087" y="102217"/>
                  </a:lnTo>
                  <a:lnTo>
                    <a:pt x="208564" y="252273"/>
                  </a:lnTo>
                  <a:lnTo>
                    <a:pt x="164510" y="252273"/>
                  </a:lnTo>
                  <a:lnTo>
                    <a:pt x="74683" y="124588"/>
                  </a:lnTo>
                  <a:lnTo>
                    <a:pt x="33384" y="164855"/>
                  </a:lnTo>
                  <a:lnTo>
                    <a:pt x="33384" y="252273"/>
                  </a:lnTo>
                  <a:lnTo>
                    <a:pt x="0" y="252273"/>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133" name="TextBox 132">
              <a:extLst>
                <a:ext uri="{FF2B5EF4-FFF2-40B4-BE49-F238E27FC236}">
                  <a16:creationId xmlns:a16="http://schemas.microsoft.com/office/drawing/2014/main" id="{7F930E11-2ED7-8575-5DA0-0B5DFD803B1B}"/>
                </a:ext>
              </a:extLst>
            </p:cNvPr>
            <p:cNvSpPr txBox="1"/>
            <p:nvPr/>
          </p:nvSpPr>
          <p:spPr>
            <a:xfrm>
              <a:off x="2708351" y="-513220"/>
              <a:ext cx="188259" cy="252273"/>
            </a:xfrm>
            <a:custGeom>
              <a:avLst/>
              <a:gdLst/>
              <a:ahLst/>
              <a:cxnLst/>
              <a:rect l="l" t="t" r="r" b="b"/>
              <a:pathLst>
                <a:path w="188259" h="252273">
                  <a:moveTo>
                    <a:pt x="0" y="0"/>
                  </a:moveTo>
                  <a:lnTo>
                    <a:pt x="182408" y="0"/>
                  </a:lnTo>
                  <a:lnTo>
                    <a:pt x="182408" y="29770"/>
                  </a:lnTo>
                  <a:lnTo>
                    <a:pt x="33385" y="29770"/>
                  </a:lnTo>
                  <a:lnTo>
                    <a:pt x="33385" y="107035"/>
                  </a:lnTo>
                  <a:lnTo>
                    <a:pt x="172943" y="107035"/>
                  </a:lnTo>
                  <a:lnTo>
                    <a:pt x="172943" y="136634"/>
                  </a:lnTo>
                  <a:lnTo>
                    <a:pt x="33385" y="136634"/>
                  </a:lnTo>
                  <a:lnTo>
                    <a:pt x="33385" y="222503"/>
                  </a:lnTo>
                  <a:lnTo>
                    <a:pt x="188259" y="222503"/>
                  </a:lnTo>
                  <a:lnTo>
                    <a:pt x="188259" y="252273"/>
                  </a:lnTo>
                  <a:lnTo>
                    <a:pt x="0" y="252273"/>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134" name="TextBox 133">
              <a:extLst>
                <a:ext uri="{FF2B5EF4-FFF2-40B4-BE49-F238E27FC236}">
                  <a16:creationId xmlns:a16="http://schemas.microsoft.com/office/drawing/2014/main" id="{B8798608-C4E3-0F7B-5E7F-9310DBCEAA81}"/>
                </a:ext>
              </a:extLst>
            </p:cNvPr>
            <p:cNvSpPr txBox="1"/>
            <p:nvPr/>
          </p:nvSpPr>
          <p:spPr>
            <a:xfrm>
              <a:off x="2961835" y="-513220"/>
              <a:ext cx="198755" cy="252273"/>
            </a:xfrm>
            <a:custGeom>
              <a:avLst/>
              <a:gdLst/>
              <a:ahLst/>
              <a:cxnLst/>
              <a:rect l="l" t="t" r="r" b="b"/>
              <a:pathLst>
                <a:path w="198755" h="252273">
                  <a:moveTo>
                    <a:pt x="0" y="0"/>
                  </a:moveTo>
                  <a:lnTo>
                    <a:pt x="34244" y="0"/>
                  </a:lnTo>
                  <a:lnTo>
                    <a:pt x="166748" y="198067"/>
                  </a:lnTo>
                  <a:lnTo>
                    <a:pt x="166748" y="0"/>
                  </a:lnTo>
                  <a:lnTo>
                    <a:pt x="198755" y="0"/>
                  </a:lnTo>
                  <a:lnTo>
                    <a:pt x="198755" y="252273"/>
                  </a:lnTo>
                  <a:lnTo>
                    <a:pt x="164511" y="252273"/>
                  </a:lnTo>
                  <a:lnTo>
                    <a:pt x="32007" y="54034"/>
                  </a:lnTo>
                  <a:lnTo>
                    <a:pt x="32007" y="252273"/>
                  </a:lnTo>
                  <a:lnTo>
                    <a:pt x="0" y="252273"/>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135" name="TextBox 134">
              <a:extLst>
                <a:ext uri="{FF2B5EF4-FFF2-40B4-BE49-F238E27FC236}">
                  <a16:creationId xmlns:a16="http://schemas.microsoft.com/office/drawing/2014/main" id="{9680947C-A432-F9C7-05A5-4394E6ED48CE}"/>
                </a:ext>
              </a:extLst>
            </p:cNvPr>
            <p:cNvSpPr txBox="1"/>
            <p:nvPr/>
          </p:nvSpPr>
          <p:spPr>
            <a:xfrm>
              <a:off x="3210225" y="-513220"/>
              <a:ext cx="231279" cy="252273"/>
            </a:xfrm>
            <a:custGeom>
              <a:avLst/>
              <a:gdLst/>
              <a:ahLst/>
              <a:cxnLst/>
              <a:rect l="l" t="t" r="r" b="b"/>
              <a:pathLst>
                <a:path w="231279" h="252273">
                  <a:moveTo>
                    <a:pt x="0" y="0"/>
                  </a:moveTo>
                  <a:lnTo>
                    <a:pt x="40611" y="0"/>
                  </a:lnTo>
                  <a:lnTo>
                    <a:pt x="90343" y="76060"/>
                  </a:lnTo>
                  <a:cubicBezTo>
                    <a:pt x="99521" y="90286"/>
                    <a:pt x="108067" y="104511"/>
                    <a:pt x="115983" y="118737"/>
                  </a:cubicBezTo>
                  <a:cubicBezTo>
                    <a:pt x="123555" y="105544"/>
                    <a:pt x="132733" y="90687"/>
                    <a:pt x="143516" y="74168"/>
                  </a:cubicBezTo>
                  <a:lnTo>
                    <a:pt x="192388" y="0"/>
                  </a:lnTo>
                  <a:lnTo>
                    <a:pt x="231279" y="0"/>
                  </a:lnTo>
                  <a:lnTo>
                    <a:pt x="130610" y="145410"/>
                  </a:lnTo>
                  <a:lnTo>
                    <a:pt x="130610" y="252273"/>
                  </a:lnTo>
                  <a:lnTo>
                    <a:pt x="97226" y="252273"/>
                  </a:lnTo>
                  <a:lnTo>
                    <a:pt x="97226" y="145410"/>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136" name="TextBox 135">
              <a:extLst>
                <a:ext uri="{FF2B5EF4-FFF2-40B4-BE49-F238E27FC236}">
                  <a16:creationId xmlns:a16="http://schemas.microsoft.com/office/drawing/2014/main" id="{299E9F01-0A66-3DBB-324D-1D6B150343B8}"/>
                </a:ext>
              </a:extLst>
            </p:cNvPr>
            <p:cNvSpPr txBox="1"/>
            <p:nvPr/>
          </p:nvSpPr>
          <p:spPr>
            <a:xfrm>
              <a:off x="3436679" y="-513220"/>
              <a:ext cx="235268" cy="252273"/>
            </a:xfrm>
            <a:custGeom>
              <a:avLst/>
              <a:gdLst/>
              <a:ahLst/>
              <a:cxnLst/>
              <a:rect l="l" t="t" r="r" b="b"/>
              <a:pathLst>
                <a:path w="235268" h="252273">
                  <a:moveTo>
                    <a:pt x="96882" y="0"/>
                  </a:moveTo>
                  <a:lnTo>
                    <a:pt x="132848" y="0"/>
                  </a:lnTo>
                  <a:lnTo>
                    <a:pt x="235268" y="250247"/>
                  </a:lnTo>
                  <a:lnTo>
                    <a:pt x="235268" y="252273"/>
                  </a:lnTo>
                  <a:lnTo>
                    <a:pt x="198067" y="252273"/>
                  </a:lnTo>
                  <a:lnTo>
                    <a:pt x="168641" y="175868"/>
                  </a:lnTo>
                  <a:lnTo>
                    <a:pt x="63154" y="175868"/>
                  </a:lnTo>
                  <a:lnTo>
                    <a:pt x="35449" y="252273"/>
                  </a:lnTo>
                  <a:lnTo>
                    <a:pt x="0" y="252273"/>
                  </a:lnTo>
                  <a:lnTo>
                    <a:pt x="96882" y="0"/>
                  </a:lnTo>
                  <a:close/>
                  <a:moveTo>
                    <a:pt x="114091" y="26501"/>
                  </a:moveTo>
                  <a:cubicBezTo>
                    <a:pt x="110878" y="42676"/>
                    <a:pt x="106347" y="58738"/>
                    <a:pt x="100496" y="74684"/>
                  </a:cubicBezTo>
                  <a:lnTo>
                    <a:pt x="72791" y="148679"/>
                  </a:lnTo>
                  <a:lnTo>
                    <a:pt x="158316" y="148679"/>
                  </a:lnTo>
                  <a:lnTo>
                    <a:pt x="131987" y="78814"/>
                  </a:lnTo>
                  <a:cubicBezTo>
                    <a:pt x="123957" y="57590"/>
                    <a:pt x="117991" y="40153"/>
                    <a:pt x="114091" y="26501"/>
                  </a:cubicBez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137" name="TextBox 136">
              <a:extLst>
                <a:ext uri="{FF2B5EF4-FFF2-40B4-BE49-F238E27FC236}">
                  <a16:creationId xmlns:a16="http://schemas.microsoft.com/office/drawing/2014/main" id="{2FD621E8-C808-A66E-F9D6-341A3D83AB5E}"/>
                </a:ext>
              </a:extLst>
            </p:cNvPr>
            <p:cNvSpPr txBox="1"/>
            <p:nvPr/>
          </p:nvSpPr>
          <p:spPr>
            <a:xfrm>
              <a:off x="3842253" y="-513220"/>
              <a:ext cx="33384" cy="252273"/>
            </a:xfrm>
            <a:custGeom>
              <a:avLst/>
              <a:gdLst/>
              <a:ahLst/>
              <a:cxnLst/>
              <a:rect l="l" t="t" r="r" b="b"/>
              <a:pathLst>
                <a:path w="33384" h="252273">
                  <a:moveTo>
                    <a:pt x="0" y="0"/>
                  </a:moveTo>
                  <a:lnTo>
                    <a:pt x="33384" y="0"/>
                  </a:lnTo>
                  <a:lnTo>
                    <a:pt x="33384" y="252273"/>
                  </a:lnTo>
                  <a:lnTo>
                    <a:pt x="0" y="252273"/>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138" name="TextBox 137">
              <a:extLst>
                <a:ext uri="{FF2B5EF4-FFF2-40B4-BE49-F238E27FC236}">
                  <a16:creationId xmlns:a16="http://schemas.microsoft.com/office/drawing/2014/main" id="{19E02AE5-B587-F269-11D2-B7F892E31BC3}"/>
                </a:ext>
              </a:extLst>
            </p:cNvPr>
            <p:cNvSpPr txBox="1"/>
            <p:nvPr/>
          </p:nvSpPr>
          <p:spPr>
            <a:xfrm>
              <a:off x="3951722" y="-513220"/>
              <a:ext cx="198755" cy="252273"/>
            </a:xfrm>
            <a:custGeom>
              <a:avLst/>
              <a:gdLst/>
              <a:ahLst/>
              <a:cxnLst/>
              <a:rect l="l" t="t" r="r" b="b"/>
              <a:pathLst>
                <a:path w="198755" h="252273">
                  <a:moveTo>
                    <a:pt x="0" y="0"/>
                  </a:moveTo>
                  <a:lnTo>
                    <a:pt x="34244" y="0"/>
                  </a:lnTo>
                  <a:lnTo>
                    <a:pt x="166748" y="198067"/>
                  </a:lnTo>
                  <a:lnTo>
                    <a:pt x="166748" y="0"/>
                  </a:lnTo>
                  <a:lnTo>
                    <a:pt x="198755" y="0"/>
                  </a:lnTo>
                  <a:lnTo>
                    <a:pt x="198755" y="252273"/>
                  </a:lnTo>
                  <a:lnTo>
                    <a:pt x="164511" y="252273"/>
                  </a:lnTo>
                  <a:lnTo>
                    <a:pt x="32007" y="54034"/>
                  </a:lnTo>
                  <a:lnTo>
                    <a:pt x="32007" y="252273"/>
                  </a:lnTo>
                  <a:lnTo>
                    <a:pt x="0" y="252273"/>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139" name="TextBox 138">
              <a:extLst>
                <a:ext uri="{FF2B5EF4-FFF2-40B4-BE49-F238E27FC236}">
                  <a16:creationId xmlns:a16="http://schemas.microsoft.com/office/drawing/2014/main" id="{F2B62681-466A-8006-95EB-EE459B151C9B}"/>
                </a:ext>
              </a:extLst>
            </p:cNvPr>
            <p:cNvSpPr txBox="1"/>
            <p:nvPr/>
          </p:nvSpPr>
          <p:spPr>
            <a:xfrm>
              <a:off x="4200627" y="-513220"/>
              <a:ext cx="230763" cy="252273"/>
            </a:xfrm>
            <a:custGeom>
              <a:avLst/>
              <a:gdLst/>
              <a:ahLst/>
              <a:cxnLst/>
              <a:rect l="l" t="t" r="r" b="b"/>
              <a:pathLst>
                <a:path w="230763" h="252273">
                  <a:moveTo>
                    <a:pt x="0" y="0"/>
                  </a:moveTo>
                  <a:lnTo>
                    <a:pt x="36137" y="0"/>
                  </a:lnTo>
                  <a:lnTo>
                    <a:pt x="101701" y="183268"/>
                  </a:lnTo>
                  <a:cubicBezTo>
                    <a:pt x="106978" y="197952"/>
                    <a:pt x="111395" y="211719"/>
                    <a:pt x="114951" y="224568"/>
                  </a:cubicBezTo>
                  <a:cubicBezTo>
                    <a:pt x="118852" y="210801"/>
                    <a:pt x="123383" y="197034"/>
                    <a:pt x="128546" y="183268"/>
                  </a:cubicBezTo>
                  <a:lnTo>
                    <a:pt x="196690" y="0"/>
                  </a:lnTo>
                  <a:lnTo>
                    <a:pt x="230763" y="0"/>
                  </a:lnTo>
                  <a:lnTo>
                    <a:pt x="131987" y="252273"/>
                  </a:lnTo>
                  <a:lnTo>
                    <a:pt x="97743" y="252273"/>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140" name="TextBox 139">
              <a:extLst>
                <a:ext uri="{FF2B5EF4-FFF2-40B4-BE49-F238E27FC236}">
                  <a16:creationId xmlns:a16="http://schemas.microsoft.com/office/drawing/2014/main" id="{F84617A1-7E10-C094-C2E1-A69CED952B91}"/>
                </a:ext>
              </a:extLst>
            </p:cNvPr>
            <p:cNvSpPr txBox="1"/>
            <p:nvPr/>
          </p:nvSpPr>
          <p:spPr>
            <a:xfrm>
              <a:off x="4481471" y="-513220"/>
              <a:ext cx="188258" cy="252273"/>
            </a:xfrm>
            <a:custGeom>
              <a:avLst/>
              <a:gdLst/>
              <a:ahLst/>
              <a:cxnLst/>
              <a:rect l="l" t="t" r="r" b="b"/>
              <a:pathLst>
                <a:path w="188258" h="252273">
                  <a:moveTo>
                    <a:pt x="0" y="0"/>
                  </a:moveTo>
                  <a:lnTo>
                    <a:pt x="182407" y="0"/>
                  </a:lnTo>
                  <a:lnTo>
                    <a:pt x="182407" y="29770"/>
                  </a:lnTo>
                  <a:lnTo>
                    <a:pt x="33384" y="29770"/>
                  </a:lnTo>
                  <a:lnTo>
                    <a:pt x="33384" y="107035"/>
                  </a:lnTo>
                  <a:lnTo>
                    <a:pt x="172943" y="107035"/>
                  </a:lnTo>
                  <a:lnTo>
                    <a:pt x="172943" y="136634"/>
                  </a:lnTo>
                  <a:lnTo>
                    <a:pt x="33384" y="136634"/>
                  </a:lnTo>
                  <a:lnTo>
                    <a:pt x="33384" y="222503"/>
                  </a:lnTo>
                  <a:lnTo>
                    <a:pt x="188258" y="222503"/>
                  </a:lnTo>
                  <a:lnTo>
                    <a:pt x="188258" y="252273"/>
                  </a:lnTo>
                  <a:lnTo>
                    <a:pt x="0" y="252273"/>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141" name="TextBox 140">
              <a:extLst>
                <a:ext uri="{FF2B5EF4-FFF2-40B4-BE49-F238E27FC236}">
                  <a16:creationId xmlns:a16="http://schemas.microsoft.com/office/drawing/2014/main" id="{52211096-8E38-E7B8-BD37-35FC52CAC3B4}"/>
                </a:ext>
              </a:extLst>
            </p:cNvPr>
            <p:cNvSpPr txBox="1"/>
            <p:nvPr/>
          </p:nvSpPr>
          <p:spPr>
            <a:xfrm>
              <a:off x="4970846" y="-513220"/>
              <a:ext cx="199960" cy="252273"/>
            </a:xfrm>
            <a:custGeom>
              <a:avLst/>
              <a:gdLst/>
              <a:ahLst/>
              <a:cxnLst/>
              <a:rect l="l" t="t" r="r" b="b"/>
              <a:pathLst>
                <a:path w="199960" h="252273">
                  <a:moveTo>
                    <a:pt x="0" y="0"/>
                  </a:moveTo>
                  <a:lnTo>
                    <a:pt x="199960" y="0"/>
                  </a:lnTo>
                  <a:lnTo>
                    <a:pt x="199960" y="29770"/>
                  </a:lnTo>
                  <a:lnTo>
                    <a:pt x="116500" y="29770"/>
                  </a:lnTo>
                  <a:lnTo>
                    <a:pt x="116500" y="252273"/>
                  </a:lnTo>
                  <a:lnTo>
                    <a:pt x="83116" y="252273"/>
                  </a:lnTo>
                  <a:lnTo>
                    <a:pt x="83116" y="29770"/>
                  </a:lnTo>
                  <a:lnTo>
                    <a:pt x="0" y="29770"/>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142" name="TextBox 141">
              <a:extLst>
                <a:ext uri="{FF2B5EF4-FFF2-40B4-BE49-F238E27FC236}">
                  <a16:creationId xmlns:a16="http://schemas.microsoft.com/office/drawing/2014/main" id="{9B46D801-D49D-F65A-A5CB-654F4A918E2A}"/>
                </a:ext>
              </a:extLst>
            </p:cNvPr>
            <p:cNvSpPr txBox="1"/>
            <p:nvPr/>
          </p:nvSpPr>
          <p:spPr>
            <a:xfrm>
              <a:off x="5223177" y="-513220"/>
              <a:ext cx="240743" cy="252273"/>
            </a:xfrm>
            <a:custGeom>
              <a:avLst/>
              <a:gdLst/>
              <a:ahLst/>
              <a:cxnLst/>
              <a:rect l="l" t="t" r="r" b="b"/>
              <a:pathLst>
                <a:path w="240743" h="252273">
                  <a:moveTo>
                    <a:pt x="0" y="0"/>
                  </a:moveTo>
                  <a:lnTo>
                    <a:pt x="50248" y="0"/>
                  </a:lnTo>
                  <a:lnTo>
                    <a:pt x="109961" y="178622"/>
                  </a:lnTo>
                  <a:cubicBezTo>
                    <a:pt x="115467" y="195256"/>
                    <a:pt x="119482" y="207704"/>
                    <a:pt x="122006" y="215964"/>
                  </a:cubicBezTo>
                  <a:cubicBezTo>
                    <a:pt x="124874" y="206786"/>
                    <a:pt x="129348" y="193306"/>
                    <a:pt x="135429" y="175524"/>
                  </a:cubicBezTo>
                  <a:lnTo>
                    <a:pt x="195830" y="0"/>
                  </a:lnTo>
                  <a:lnTo>
                    <a:pt x="240743" y="0"/>
                  </a:lnTo>
                  <a:lnTo>
                    <a:pt x="240743" y="252273"/>
                  </a:lnTo>
                  <a:lnTo>
                    <a:pt x="208564" y="252273"/>
                  </a:lnTo>
                  <a:lnTo>
                    <a:pt x="208564" y="41128"/>
                  </a:lnTo>
                  <a:lnTo>
                    <a:pt x="135257" y="252273"/>
                  </a:lnTo>
                  <a:lnTo>
                    <a:pt x="105142" y="252273"/>
                  </a:lnTo>
                  <a:lnTo>
                    <a:pt x="32179" y="37514"/>
                  </a:lnTo>
                  <a:lnTo>
                    <a:pt x="32179" y="252273"/>
                  </a:lnTo>
                  <a:lnTo>
                    <a:pt x="0" y="252273"/>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143" name="TextBox 142">
              <a:extLst>
                <a:ext uri="{FF2B5EF4-FFF2-40B4-BE49-F238E27FC236}">
                  <a16:creationId xmlns:a16="http://schemas.microsoft.com/office/drawing/2014/main" id="{3E1E2DC2-11F6-CA01-EEFB-ED120CD9DFA4}"/>
                </a:ext>
              </a:extLst>
            </p:cNvPr>
            <p:cNvSpPr txBox="1"/>
            <p:nvPr/>
          </p:nvSpPr>
          <p:spPr>
            <a:xfrm>
              <a:off x="5538668" y="-513220"/>
              <a:ext cx="188258" cy="252273"/>
            </a:xfrm>
            <a:custGeom>
              <a:avLst/>
              <a:gdLst/>
              <a:ahLst/>
              <a:cxnLst/>
              <a:rect l="l" t="t" r="r" b="b"/>
              <a:pathLst>
                <a:path w="188258" h="252273">
                  <a:moveTo>
                    <a:pt x="0" y="0"/>
                  </a:moveTo>
                  <a:lnTo>
                    <a:pt x="182407" y="0"/>
                  </a:lnTo>
                  <a:lnTo>
                    <a:pt x="182407" y="29770"/>
                  </a:lnTo>
                  <a:lnTo>
                    <a:pt x="33384" y="29770"/>
                  </a:lnTo>
                  <a:lnTo>
                    <a:pt x="33384" y="107035"/>
                  </a:lnTo>
                  <a:lnTo>
                    <a:pt x="172943" y="107035"/>
                  </a:lnTo>
                  <a:lnTo>
                    <a:pt x="172943" y="136634"/>
                  </a:lnTo>
                  <a:lnTo>
                    <a:pt x="33384" y="136634"/>
                  </a:lnTo>
                  <a:lnTo>
                    <a:pt x="33384" y="222503"/>
                  </a:lnTo>
                  <a:lnTo>
                    <a:pt x="188258" y="222503"/>
                  </a:lnTo>
                  <a:lnTo>
                    <a:pt x="188258" y="252273"/>
                  </a:lnTo>
                  <a:lnTo>
                    <a:pt x="0" y="252273"/>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144" name="TextBox 143">
              <a:extLst>
                <a:ext uri="{FF2B5EF4-FFF2-40B4-BE49-F238E27FC236}">
                  <a16:creationId xmlns:a16="http://schemas.microsoft.com/office/drawing/2014/main" id="{43465568-BFA6-8708-F943-02BAB46F4EF2}"/>
                </a:ext>
              </a:extLst>
            </p:cNvPr>
            <p:cNvSpPr txBox="1"/>
            <p:nvPr/>
          </p:nvSpPr>
          <p:spPr>
            <a:xfrm>
              <a:off x="5792152" y="-513220"/>
              <a:ext cx="198755" cy="252273"/>
            </a:xfrm>
            <a:custGeom>
              <a:avLst/>
              <a:gdLst/>
              <a:ahLst/>
              <a:cxnLst/>
              <a:rect l="l" t="t" r="r" b="b"/>
              <a:pathLst>
                <a:path w="198755" h="252273">
                  <a:moveTo>
                    <a:pt x="0" y="0"/>
                  </a:moveTo>
                  <a:lnTo>
                    <a:pt x="34245" y="0"/>
                  </a:lnTo>
                  <a:lnTo>
                    <a:pt x="166748" y="198067"/>
                  </a:lnTo>
                  <a:lnTo>
                    <a:pt x="166748" y="0"/>
                  </a:lnTo>
                  <a:lnTo>
                    <a:pt x="198755" y="0"/>
                  </a:lnTo>
                  <a:lnTo>
                    <a:pt x="198755" y="252273"/>
                  </a:lnTo>
                  <a:lnTo>
                    <a:pt x="164511" y="252273"/>
                  </a:lnTo>
                  <a:lnTo>
                    <a:pt x="32007" y="54034"/>
                  </a:lnTo>
                  <a:lnTo>
                    <a:pt x="32007" y="252273"/>
                  </a:lnTo>
                  <a:lnTo>
                    <a:pt x="0" y="252273"/>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145" name="TextBox 144">
              <a:extLst>
                <a:ext uri="{FF2B5EF4-FFF2-40B4-BE49-F238E27FC236}">
                  <a16:creationId xmlns:a16="http://schemas.microsoft.com/office/drawing/2014/main" id="{22BB9813-EEAE-CD2B-EE18-5E06E7477D51}"/>
                </a:ext>
              </a:extLst>
            </p:cNvPr>
            <p:cNvSpPr txBox="1"/>
            <p:nvPr/>
          </p:nvSpPr>
          <p:spPr>
            <a:xfrm>
              <a:off x="6047767" y="-513220"/>
              <a:ext cx="199960" cy="252273"/>
            </a:xfrm>
            <a:custGeom>
              <a:avLst/>
              <a:gdLst/>
              <a:ahLst/>
              <a:cxnLst/>
              <a:rect l="l" t="t" r="r" b="b"/>
              <a:pathLst>
                <a:path w="199960" h="252273">
                  <a:moveTo>
                    <a:pt x="0" y="0"/>
                  </a:moveTo>
                  <a:lnTo>
                    <a:pt x="199960" y="0"/>
                  </a:lnTo>
                  <a:lnTo>
                    <a:pt x="199960" y="29770"/>
                  </a:lnTo>
                  <a:lnTo>
                    <a:pt x="116500" y="29770"/>
                  </a:lnTo>
                  <a:lnTo>
                    <a:pt x="116500" y="252273"/>
                  </a:lnTo>
                  <a:lnTo>
                    <a:pt x="83116" y="252273"/>
                  </a:lnTo>
                  <a:lnTo>
                    <a:pt x="83116" y="29770"/>
                  </a:lnTo>
                  <a:lnTo>
                    <a:pt x="0" y="29770"/>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146" name="TextBox 145">
              <a:extLst>
                <a:ext uri="{FF2B5EF4-FFF2-40B4-BE49-F238E27FC236}">
                  <a16:creationId xmlns:a16="http://schemas.microsoft.com/office/drawing/2014/main" id="{F4C2B243-DA1C-D93C-5577-42B1EDCA8F1D}"/>
                </a:ext>
              </a:extLst>
            </p:cNvPr>
            <p:cNvSpPr txBox="1"/>
            <p:nvPr/>
          </p:nvSpPr>
          <p:spPr>
            <a:xfrm>
              <a:off x="6366898" y="-513220"/>
              <a:ext cx="219380" cy="252273"/>
            </a:xfrm>
            <a:custGeom>
              <a:avLst/>
              <a:gdLst/>
              <a:ahLst/>
              <a:cxnLst/>
              <a:rect l="l" t="t" r="r" b="b"/>
              <a:pathLst>
                <a:path w="219380" h="252273">
                  <a:moveTo>
                    <a:pt x="80165" y="0"/>
                  </a:moveTo>
                  <a:lnTo>
                    <a:pt x="116131" y="0"/>
                  </a:lnTo>
                  <a:lnTo>
                    <a:pt x="219380" y="252273"/>
                  </a:lnTo>
                  <a:lnTo>
                    <a:pt x="181350" y="252273"/>
                  </a:lnTo>
                  <a:lnTo>
                    <a:pt x="151924" y="175868"/>
                  </a:lnTo>
                  <a:lnTo>
                    <a:pt x="46437" y="175868"/>
                  </a:lnTo>
                  <a:lnTo>
                    <a:pt x="18732" y="252273"/>
                  </a:lnTo>
                  <a:lnTo>
                    <a:pt x="0" y="252273"/>
                  </a:lnTo>
                  <a:lnTo>
                    <a:pt x="0" y="208743"/>
                  </a:lnTo>
                  <a:lnTo>
                    <a:pt x="80165" y="0"/>
                  </a:lnTo>
                  <a:close/>
                  <a:moveTo>
                    <a:pt x="97374" y="26501"/>
                  </a:moveTo>
                  <a:cubicBezTo>
                    <a:pt x="94161" y="42676"/>
                    <a:pt x="89630" y="58738"/>
                    <a:pt x="83779" y="74684"/>
                  </a:cubicBezTo>
                  <a:lnTo>
                    <a:pt x="56074" y="148679"/>
                  </a:lnTo>
                  <a:lnTo>
                    <a:pt x="141599" y="148679"/>
                  </a:lnTo>
                  <a:lnTo>
                    <a:pt x="115270" y="78814"/>
                  </a:lnTo>
                  <a:cubicBezTo>
                    <a:pt x="107240" y="57590"/>
                    <a:pt x="101274" y="40153"/>
                    <a:pt x="97374" y="26501"/>
                  </a:cubicBez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147" name="TextBox 146">
              <a:extLst>
                <a:ext uri="{FF2B5EF4-FFF2-40B4-BE49-F238E27FC236}">
                  <a16:creationId xmlns:a16="http://schemas.microsoft.com/office/drawing/2014/main" id="{616938EF-3C0C-B32C-DA4E-889B30FEAEB9}"/>
                </a:ext>
              </a:extLst>
            </p:cNvPr>
            <p:cNvSpPr txBox="1"/>
            <p:nvPr/>
          </p:nvSpPr>
          <p:spPr>
            <a:xfrm>
              <a:off x="6632880" y="-513220"/>
              <a:ext cx="198411" cy="256575"/>
            </a:xfrm>
            <a:custGeom>
              <a:avLst/>
              <a:gdLst/>
              <a:ahLst/>
              <a:cxnLst/>
              <a:rect l="l" t="t" r="r" b="b"/>
              <a:pathLst>
                <a:path w="198411" h="256575">
                  <a:moveTo>
                    <a:pt x="0" y="0"/>
                  </a:moveTo>
                  <a:lnTo>
                    <a:pt x="33384" y="0"/>
                  </a:lnTo>
                  <a:lnTo>
                    <a:pt x="33384" y="145582"/>
                  </a:lnTo>
                  <a:cubicBezTo>
                    <a:pt x="33384" y="167494"/>
                    <a:pt x="35420" y="183641"/>
                    <a:pt x="39492" y="194023"/>
                  </a:cubicBezTo>
                  <a:cubicBezTo>
                    <a:pt x="43565" y="204405"/>
                    <a:pt x="50563" y="212407"/>
                    <a:pt x="60487" y="218029"/>
                  </a:cubicBezTo>
                  <a:cubicBezTo>
                    <a:pt x="70410" y="223650"/>
                    <a:pt x="82542" y="226461"/>
                    <a:pt x="96882" y="226461"/>
                  </a:cubicBezTo>
                  <a:cubicBezTo>
                    <a:pt x="121432" y="226461"/>
                    <a:pt x="138927" y="220897"/>
                    <a:pt x="149367" y="209769"/>
                  </a:cubicBezTo>
                  <a:cubicBezTo>
                    <a:pt x="159807" y="198641"/>
                    <a:pt x="165027" y="177245"/>
                    <a:pt x="165027" y="145582"/>
                  </a:cubicBezTo>
                  <a:lnTo>
                    <a:pt x="165027" y="0"/>
                  </a:lnTo>
                  <a:lnTo>
                    <a:pt x="198411" y="0"/>
                  </a:lnTo>
                  <a:lnTo>
                    <a:pt x="198411" y="145754"/>
                  </a:lnTo>
                  <a:cubicBezTo>
                    <a:pt x="198411" y="171107"/>
                    <a:pt x="195543" y="191241"/>
                    <a:pt x="189807" y="206155"/>
                  </a:cubicBezTo>
                  <a:cubicBezTo>
                    <a:pt x="184070" y="221069"/>
                    <a:pt x="173717" y="233200"/>
                    <a:pt x="158746" y="242550"/>
                  </a:cubicBezTo>
                  <a:cubicBezTo>
                    <a:pt x="143774" y="251900"/>
                    <a:pt x="124128" y="256575"/>
                    <a:pt x="99807" y="256575"/>
                  </a:cubicBezTo>
                  <a:cubicBezTo>
                    <a:pt x="76175" y="256575"/>
                    <a:pt x="56844" y="252502"/>
                    <a:pt x="41816" y="244357"/>
                  </a:cubicBezTo>
                  <a:cubicBezTo>
                    <a:pt x="26787" y="236212"/>
                    <a:pt x="16061" y="224424"/>
                    <a:pt x="9636" y="208994"/>
                  </a:cubicBezTo>
                  <a:cubicBezTo>
                    <a:pt x="3212" y="193564"/>
                    <a:pt x="0" y="172484"/>
                    <a:pt x="0" y="145754"/>
                  </a:cubicBez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148" name="TextBox 147">
              <a:extLst>
                <a:ext uri="{FF2B5EF4-FFF2-40B4-BE49-F238E27FC236}">
                  <a16:creationId xmlns:a16="http://schemas.microsoft.com/office/drawing/2014/main" id="{07CA5795-DF56-D503-FEAA-BCD1E1E31954}"/>
                </a:ext>
              </a:extLst>
            </p:cNvPr>
            <p:cNvSpPr txBox="1"/>
            <p:nvPr/>
          </p:nvSpPr>
          <p:spPr>
            <a:xfrm>
              <a:off x="6887634" y="-513220"/>
              <a:ext cx="199960" cy="252273"/>
            </a:xfrm>
            <a:custGeom>
              <a:avLst/>
              <a:gdLst/>
              <a:ahLst/>
              <a:cxnLst/>
              <a:rect l="l" t="t" r="r" b="b"/>
              <a:pathLst>
                <a:path w="199960" h="252273">
                  <a:moveTo>
                    <a:pt x="0" y="0"/>
                  </a:moveTo>
                  <a:lnTo>
                    <a:pt x="199960" y="0"/>
                  </a:lnTo>
                  <a:lnTo>
                    <a:pt x="199960" y="29770"/>
                  </a:lnTo>
                  <a:lnTo>
                    <a:pt x="116500" y="29770"/>
                  </a:lnTo>
                  <a:lnTo>
                    <a:pt x="116500" y="252273"/>
                  </a:lnTo>
                  <a:lnTo>
                    <a:pt x="83116" y="252273"/>
                  </a:lnTo>
                  <a:lnTo>
                    <a:pt x="83116" y="29770"/>
                  </a:lnTo>
                  <a:lnTo>
                    <a:pt x="0" y="29770"/>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149" name="TextBox 148">
              <a:extLst>
                <a:ext uri="{FF2B5EF4-FFF2-40B4-BE49-F238E27FC236}">
                  <a16:creationId xmlns:a16="http://schemas.microsoft.com/office/drawing/2014/main" id="{255368D5-5696-C707-0CF5-F28C79AB369D}"/>
                </a:ext>
              </a:extLst>
            </p:cNvPr>
            <p:cNvSpPr txBox="1"/>
            <p:nvPr/>
          </p:nvSpPr>
          <p:spPr>
            <a:xfrm>
              <a:off x="7142032" y="-513220"/>
              <a:ext cx="197895" cy="252273"/>
            </a:xfrm>
            <a:custGeom>
              <a:avLst/>
              <a:gdLst/>
              <a:ahLst/>
              <a:cxnLst/>
              <a:rect l="l" t="t" r="r" b="b"/>
              <a:pathLst>
                <a:path w="197895" h="252273">
                  <a:moveTo>
                    <a:pt x="0" y="0"/>
                  </a:moveTo>
                  <a:lnTo>
                    <a:pt x="33384" y="0"/>
                  </a:lnTo>
                  <a:lnTo>
                    <a:pt x="33384" y="103594"/>
                  </a:lnTo>
                  <a:lnTo>
                    <a:pt x="164511" y="103594"/>
                  </a:lnTo>
                  <a:lnTo>
                    <a:pt x="164511" y="0"/>
                  </a:lnTo>
                  <a:lnTo>
                    <a:pt x="197895" y="0"/>
                  </a:lnTo>
                  <a:lnTo>
                    <a:pt x="197895" y="252273"/>
                  </a:lnTo>
                  <a:lnTo>
                    <a:pt x="164511" y="252273"/>
                  </a:lnTo>
                  <a:lnTo>
                    <a:pt x="164511" y="133364"/>
                  </a:lnTo>
                  <a:lnTo>
                    <a:pt x="33384" y="133364"/>
                  </a:lnTo>
                  <a:lnTo>
                    <a:pt x="33384" y="252273"/>
                  </a:lnTo>
                  <a:lnTo>
                    <a:pt x="0" y="252273"/>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150" name="TextBox 149">
              <a:extLst>
                <a:ext uri="{FF2B5EF4-FFF2-40B4-BE49-F238E27FC236}">
                  <a16:creationId xmlns:a16="http://schemas.microsoft.com/office/drawing/2014/main" id="{D0D69754-01D0-B3EA-0666-C882A420E4D0}"/>
                </a:ext>
              </a:extLst>
            </p:cNvPr>
            <p:cNvSpPr txBox="1"/>
            <p:nvPr/>
          </p:nvSpPr>
          <p:spPr>
            <a:xfrm>
              <a:off x="7709840" y="-513220"/>
              <a:ext cx="222330" cy="252273"/>
            </a:xfrm>
            <a:custGeom>
              <a:avLst/>
              <a:gdLst/>
              <a:ahLst/>
              <a:cxnLst/>
              <a:rect l="l" t="t" r="r" b="b"/>
              <a:pathLst>
                <a:path w="222330" h="252273">
                  <a:moveTo>
                    <a:pt x="0" y="0"/>
                  </a:moveTo>
                  <a:lnTo>
                    <a:pt x="111853" y="0"/>
                  </a:lnTo>
                  <a:cubicBezTo>
                    <a:pt x="134339" y="0"/>
                    <a:pt x="151432" y="2266"/>
                    <a:pt x="163134" y="6797"/>
                  </a:cubicBezTo>
                  <a:cubicBezTo>
                    <a:pt x="174835" y="11329"/>
                    <a:pt x="184185" y="19331"/>
                    <a:pt x="191183" y="30803"/>
                  </a:cubicBezTo>
                  <a:cubicBezTo>
                    <a:pt x="198181" y="42275"/>
                    <a:pt x="201680" y="54952"/>
                    <a:pt x="201680" y="68833"/>
                  </a:cubicBezTo>
                  <a:cubicBezTo>
                    <a:pt x="201680" y="86730"/>
                    <a:pt x="195887" y="101816"/>
                    <a:pt x="184300" y="114091"/>
                  </a:cubicBezTo>
                  <a:cubicBezTo>
                    <a:pt x="172713" y="126366"/>
                    <a:pt x="154816" y="134167"/>
                    <a:pt x="130610" y="137494"/>
                  </a:cubicBezTo>
                  <a:cubicBezTo>
                    <a:pt x="139444" y="141739"/>
                    <a:pt x="146155" y="145926"/>
                    <a:pt x="150744" y="150056"/>
                  </a:cubicBezTo>
                  <a:cubicBezTo>
                    <a:pt x="160495" y="159004"/>
                    <a:pt x="169730" y="170190"/>
                    <a:pt x="178449" y="183612"/>
                  </a:cubicBezTo>
                  <a:lnTo>
                    <a:pt x="222330" y="252273"/>
                  </a:lnTo>
                  <a:lnTo>
                    <a:pt x="180342" y="252273"/>
                  </a:lnTo>
                  <a:lnTo>
                    <a:pt x="146958" y="199788"/>
                  </a:lnTo>
                  <a:cubicBezTo>
                    <a:pt x="137207" y="184645"/>
                    <a:pt x="129176" y="173058"/>
                    <a:pt x="122866" y="165027"/>
                  </a:cubicBezTo>
                  <a:cubicBezTo>
                    <a:pt x="116557" y="156997"/>
                    <a:pt x="110907" y="151375"/>
                    <a:pt x="105916" y="148163"/>
                  </a:cubicBezTo>
                  <a:cubicBezTo>
                    <a:pt x="100926" y="144951"/>
                    <a:pt x="95849" y="142714"/>
                    <a:pt x="90687" y="141452"/>
                  </a:cubicBezTo>
                  <a:cubicBezTo>
                    <a:pt x="86901" y="140649"/>
                    <a:pt x="80706" y="140247"/>
                    <a:pt x="72102" y="140247"/>
                  </a:cubicBezTo>
                  <a:lnTo>
                    <a:pt x="33384" y="140247"/>
                  </a:lnTo>
                  <a:lnTo>
                    <a:pt x="33384" y="252273"/>
                  </a:lnTo>
                  <a:lnTo>
                    <a:pt x="0" y="252273"/>
                  </a:lnTo>
                  <a:lnTo>
                    <a:pt x="0" y="0"/>
                  </a:lnTo>
                  <a:close/>
                  <a:moveTo>
                    <a:pt x="33384" y="27877"/>
                  </a:moveTo>
                  <a:lnTo>
                    <a:pt x="33384" y="111337"/>
                  </a:lnTo>
                  <a:lnTo>
                    <a:pt x="105142" y="111337"/>
                  </a:lnTo>
                  <a:cubicBezTo>
                    <a:pt x="120400" y="111337"/>
                    <a:pt x="132331" y="109760"/>
                    <a:pt x="140935" y="106605"/>
                  </a:cubicBezTo>
                  <a:cubicBezTo>
                    <a:pt x="149539" y="103450"/>
                    <a:pt x="156078" y="98403"/>
                    <a:pt x="160553" y="91462"/>
                  </a:cubicBezTo>
                  <a:cubicBezTo>
                    <a:pt x="165027" y="84521"/>
                    <a:pt x="167264" y="76978"/>
                    <a:pt x="167264" y="68833"/>
                  </a:cubicBezTo>
                  <a:cubicBezTo>
                    <a:pt x="167264" y="56902"/>
                    <a:pt x="162933" y="47093"/>
                    <a:pt x="154272" y="39407"/>
                  </a:cubicBezTo>
                  <a:cubicBezTo>
                    <a:pt x="145610" y="31721"/>
                    <a:pt x="131929" y="27877"/>
                    <a:pt x="113230" y="27877"/>
                  </a:cubicBezTo>
                  <a:lnTo>
                    <a:pt x="33384" y="27877"/>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151" name="TextBox 150">
              <a:extLst>
                <a:ext uri="{FF2B5EF4-FFF2-40B4-BE49-F238E27FC236}">
                  <a16:creationId xmlns:a16="http://schemas.microsoft.com/office/drawing/2014/main" id="{E1F348A1-6C9A-D292-B258-4DF00D1C4C13}"/>
                </a:ext>
              </a:extLst>
            </p:cNvPr>
            <p:cNvSpPr txBox="1"/>
            <p:nvPr/>
          </p:nvSpPr>
          <p:spPr>
            <a:xfrm>
              <a:off x="7989203" y="-513220"/>
              <a:ext cx="33384" cy="252273"/>
            </a:xfrm>
            <a:custGeom>
              <a:avLst/>
              <a:gdLst/>
              <a:ahLst/>
              <a:cxnLst/>
              <a:rect l="l" t="t" r="r" b="b"/>
              <a:pathLst>
                <a:path w="33384" h="252273">
                  <a:moveTo>
                    <a:pt x="0" y="0"/>
                  </a:moveTo>
                  <a:lnTo>
                    <a:pt x="33384" y="0"/>
                  </a:lnTo>
                  <a:lnTo>
                    <a:pt x="33384" y="252273"/>
                  </a:lnTo>
                  <a:lnTo>
                    <a:pt x="0" y="252273"/>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152" name="TextBox 151">
              <a:extLst>
                <a:ext uri="{FF2B5EF4-FFF2-40B4-BE49-F238E27FC236}">
                  <a16:creationId xmlns:a16="http://schemas.microsoft.com/office/drawing/2014/main" id="{0343BD57-4E74-E02E-FE90-5AA19DA3283E}"/>
                </a:ext>
              </a:extLst>
            </p:cNvPr>
            <p:cNvSpPr txBox="1"/>
            <p:nvPr/>
          </p:nvSpPr>
          <p:spPr>
            <a:xfrm>
              <a:off x="8080086" y="-513220"/>
              <a:ext cx="199960" cy="252273"/>
            </a:xfrm>
            <a:custGeom>
              <a:avLst/>
              <a:gdLst/>
              <a:ahLst/>
              <a:cxnLst/>
              <a:rect l="l" t="t" r="r" b="b"/>
              <a:pathLst>
                <a:path w="199960" h="252273">
                  <a:moveTo>
                    <a:pt x="0" y="0"/>
                  </a:moveTo>
                  <a:lnTo>
                    <a:pt x="199960" y="0"/>
                  </a:lnTo>
                  <a:lnTo>
                    <a:pt x="199960" y="29770"/>
                  </a:lnTo>
                  <a:lnTo>
                    <a:pt x="116500" y="29770"/>
                  </a:lnTo>
                  <a:lnTo>
                    <a:pt x="116500" y="252273"/>
                  </a:lnTo>
                  <a:lnTo>
                    <a:pt x="83116" y="252273"/>
                  </a:lnTo>
                  <a:lnTo>
                    <a:pt x="83116" y="29770"/>
                  </a:lnTo>
                  <a:lnTo>
                    <a:pt x="0" y="29770"/>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153" name="TextBox 152">
              <a:extLst>
                <a:ext uri="{FF2B5EF4-FFF2-40B4-BE49-F238E27FC236}">
                  <a16:creationId xmlns:a16="http://schemas.microsoft.com/office/drawing/2014/main" id="{FE8C135A-9605-E4BB-E39D-090435D2FA89}"/>
                </a:ext>
              </a:extLst>
            </p:cNvPr>
            <p:cNvSpPr txBox="1"/>
            <p:nvPr/>
          </p:nvSpPr>
          <p:spPr>
            <a:xfrm>
              <a:off x="8307293" y="-513220"/>
              <a:ext cx="231278" cy="252273"/>
            </a:xfrm>
            <a:custGeom>
              <a:avLst/>
              <a:gdLst/>
              <a:ahLst/>
              <a:cxnLst/>
              <a:rect l="l" t="t" r="r" b="b"/>
              <a:pathLst>
                <a:path w="231278" h="252273">
                  <a:moveTo>
                    <a:pt x="0" y="0"/>
                  </a:moveTo>
                  <a:lnTo>
                    <a:pt x="40611" y="0"/>
                  </a:lnTo>
                  <a:lnTo>
                    <a:pt x="90343" y="76060"/>
                  </a:lnTo>
                  <a:cubicBezTo>
                    <a:pt x="99521" y="90286"/>
                    <a:pt x="108067" y="104511"/>
                    <a:pt x="115983" y="118737"/>
                  </a:cubicBezTo>
                  <a:cubicBezTo>
                    <a:pt x="123555" y="105544"/>
                    <a:pt x="132732" y="90687"/>
                    <a:pt x="143516" y="74168"/>
                  </a:cubicBezTo>
                  <a:lnTo>
                    <a:pt x="192388" y="0"/>
                  </a:lnTo>
                  <a:lnTo>
                    <a:pt x="231278" y="0"/>
                  </a:lnTo>
                  <a:lnTo>
                    <a:pt x="130610" y="145410"/>
                  </a:lnTo>
                  <a:lnTo>
                    <a:pt x="130610" y="252273"/>
                  </a:lnTo>
                  <a:lnTo>
                    <a:pt x="97226" y="252273"/>
                  </a:lnTo>
                  <a:lnTo>
                    <a:pt x="97226" y="145410"/>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154" name="TextBox 153">
              <a:extLst>
                <a:ext uri="{FF2B5EF4-FFF2-40B4-BE49-F238E27FC236}">
                  <a16:creationId xmlns:a16="http://schemas.microsoft.com/office/drawing/2014/main" id="{0D3BEE05-89A4-4FA3-B9BD-412889457AC7}"/>
                </a:ext>
              </a:extLst>
            </p:cNvPr>
            <p:cNvSpPr txBox="1"/>
            <p:nvPr/>
          </p:nvSpPr>
          <p:spPr>
            <a:xfrm>
              <a:off x="6350182" y="-304477"/>
              <a:ext cx="16717" cy="43530"/>
            </a:xfrm>
            <a:custGeom>
              <a:avLst/>
              <a:gdLst/>
              <a:ahLst/>
              <a:cxnLst/>
              <a:rect l="l" t="t" r="r" b="b"/>
              <a:pathLst>
                <a:path w="16717" h="43530">
                  <a:moveTo>
                    <a:pt x="16717" y="0"/>
                  </a:moveTo>
                  <a:lnTo>
                    <a:pt x="16717" y="43530"/>
                  </a:lnTo>
                  <a:lnTo>
                    <a:pt x="0" y="43530"/>
                  </a:lnTo>
                  <a:lnTo>
                    <a:pt x="16717"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sp>
          <p:nvSpPr>
            <p:cNvPr id="155" name="TextBox 154">
              <a:extLst>
                <a:ext uri="{FF2B5EF4-FFF2-40B4-BE49-F238E27FC236}">
                  <a16:creationId xmlns:a16="http://schemas.microsoft.com/office/drawing/2014/main" id="{9257FC8A-FA28-8B89-8903-26033BC3EA0C}"/>
                </a:ext>
              </a:extLst>
            </p:cNvPr>
            <p:cNvSpPr txBox="1"/>
            <p:nvPr/>
          </p:nvSpPr>
          <p:spPr>
            <a:xfrm>
              <a:off x="3671948" y="-262973"/>
              <a:ext cx="829" cy="2026"/>
            </a:xfrm>
            <a:custGeom>
              <a:avLst/>
              <a:gdLst/>
              <a:ahLst/>
              <a:cxnLst/>
              <a:rect l="l" t="t" r="r" b="b"/>
              <a:pathLst>
                <a:path w="829" h="2026">
                  <a:moveTo>
                    <a:pt x="0" y="0"/>
                  </a:moveTo>
                  <a:lnTo>
                    <a:pt x="829" y="2026"/>
                  </a:lnTo>
                  <a:lnTo>
                    <a:pt x="0" y="2026"/>
                  </a:ln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spcBef>
                  <a:spcPts val="300"/>
                </a:spcBef>
                <a:spcAft>
                  <a:spcPts val="300"/>
                </a:spcAft>
                <a:buNone/>
              </a:pPr>
              <a:endParaRPr lang="en-US" sz="2800" spc="0" baseline="0">
                <a:ln/>
                <a:latin typeface="Arial"/>
                <a:cs typeface="Arial"/>
                <a:sym typeface="Arial"/>
                <a:rtl val="0"/>
              </a:endParaRPr>
            </a:p>
          </p:txBody>
        </p:sp>
      </p:gr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654" r:id="rId2"/>
    <p:sldLayoutId id="2147483897" r:id="rId3"/>
    <p:sldLayoutId id="2147483807" r:id="rId4"/>
    <p:sldLayoutId id="2147483800" r:id="rId5"/>
    <p:sldLayoutId id="2147483659" r:id="rId6"/>
    <p:sldLayoutId id="2147483804" r:id="rId7"/>
    <p:sldLayoutId id="2147483882" r:id="rId8"/>
    <p:sldLayoutId id="2147483883" r:id="rId9"/>
    <p:sldLayoutId id="2147483884" r:id="rId10"/>
    <p:sldLayoutId id="2147483885" r:id="rId11"/>
    <p:sldLayoutId id="2147483886" r:id="rId12"/>
    <p:sldLayoutId id="2147483706" r:id="rId13"/>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78" userDrawn="1">
          <p15:clr>
            <a:srgbClr val="5ACBF0"/>
          </p15:clr>
        </p15:guide>
        <p15:guide id="3" orient="horz" pos="3912">
          <p15:clr>
            <a:srgbClr val="5ACBF0"/>
          </p15:clr>
        </p15:guide>
        <p15:guide id="4" orient="horz" pos="890" userDrawn="1">
          <p15:clr>
            <a:srgbClr val="F26B43"/>
          </p15:clr>
        </p15:guide>
        <p15:guide id="5" pos="7329">
          <p15:clr>
            <a:srgbClr val="F26B43"/>
          </p15:clr>
        </p15:guide>
        <p15:guide id="6" pos="345">
          <p15:clr>
            <a:srgbClr val="F26B43"/>
          </p15:clr>
        </p15:guide>
        <p15:guide id="8" orient="horz" pos="3952"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40B17A4-151A-442A-85BB-61D97FD47CDC}"/>
              </a:ext>
            </a:extLst>
          </p:cNvPr>
          <p:cNvGraphicFramePr>
            <a:graphicFrameLocks noChangeAspect="1"/>
          </p:cNvGraphicFramePr>
          <p:nvPr userDrawn="1">
            <p:custDataLst>
              <p:tags r:id="rId20"/>
            </p:custDataLst>
            <p:extLst>
              <p:ext uri="{D42A27DB-BD31-4B8C-83A1-F6EECF244321}">
                <p14:modId xmlns:p14="http://schemas.microsoft.com/office/powerpoint/2010/main" val="21282902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0" imgW="592" imgH="591" progId="TCLayout.ActiveDocument.1">
                  <p:embed/>
                </p:oleObj>
              </mc:Choice>
              <mc:Fallback>
                <p:oleObj name="think-cell Slide" r:id="rId40" imgW="592" imgH="591" progId="TCLayout.ActiveDocument.1">
                  <p:embed/>
                  <p:pic>
                    <p:nvPicPr>
                      <p:cNvPr id="3" name="Object 2" hidden="1">
                        <a:extLst>
                          <a:ext uri="{FF2B5EF4-FFF2-40B4-BE49-F238E27FC236}">
                            <a16:creationId xmlns:a16="http://schemas.microsoft.com/office/drawing/2014/main" id="{740B17A4-151A-442A-85BB-61D97FD47CDC}"/>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pic>
        <p:nvPicPr>
          <p:cNvPr id="51" name="Google Shape;64;p16">
            <a:extLst>
              <a:ext uri="{FF2B5EF4-FFF2-40B4-BE49-F238E27FC236}">
                <a16:creationId xmlns:a16="http://schemas.microsoft.com/office/drawing/2014/main" id="{FCA7D512-72C7-20FB-6FA5-67FC5A77E13A}"/>
              </a:ext>
            </a:extLst>
          </p:cNvPr>
          <p:cNvPicPr preferRelativeResize="0"/>
          <p:nvPr userDrawn="1"/>
        </p:nvPicPr>
        <p:blipFill rotWithShape="1">
          <a:blip r:embed="rId42" cstate="email">
            <a:alphaModFix/>
            <a:extLst>
              <a:ext uri="{28A0092B-C50C-407E-A947-70E740481C1C}">
                <a14:useLocalDpi xmlns:a14="http://schemas.microsoft.com/office/drawing/2010/main"/>
              </a:ext>
            </a:extLst>
          </a:blip>
          <a:srcRect/>
          <a:stretch/>
        </p:blipFill>
        <p:spPr bwMode="ltGray">
          <a:xfrm>
            <a:off x="10128282" y="-14875"/>
            <a:ext cx="2063718" cy="1950355"/>
          </a:xfrm>
          <a:prstGeom prst="rect">
            <a:avLst/>
          </a:prstGeom>
          <a:noFill/>
          <a:ln>
            <a:noFill/>
          </a:ln>
        </p:spPr>
      </p:pic>
      <p:sp>
        <p:nvSpPr>
          <p:cNvPr id="2" name="Rectangle 1" hidden="1">
            <a:extLst>
              <a:ext uri="{FF2B5EF4-FFF2-40B4-BE49-F238E27FC236}">
                <a16:creationId xmlns:a16="http://schemas.microsoft.com/office/drawing/2014/main" id="{FB3399E7-290D-4CE6-AA08-2DA0CF307E1C}"/>
              </a:ext>
            </a:extLst>
          </p:cNvPr>
          <p:cNvSpPr/>
          <p:nvPr userDrawn="1">
            <p:custDataLst>
              <p:tags r:id="rId21"/>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grpSp>
        <p:nvGrpSpPr>
          <p:cNvPr id="146" name="Grid" hidden="1">
            <a:extLst>
              <a:ext uri="{FF2B5EF4-FFF2-40B4-BE49-F238E27FC236}">
                <a16:creationId xmlns:a16="http://schemas.microsoft.com/office/drawing/2014/main" id="{00E02929-655A-4D11-8498-7B726B892859}"/>
              </a:ext>
            </a:extLst>
          </p:cNvPr>
          <p:cNvGrpSpPr/>
          <p:nvPr userDrawn="1"/>
        </p:nvGrpSpPr>
        <p:grpSpPr>
          <a:xfrm>
            <a:off x="0" y="0"/>
            <a:ext cx="12190476" cy="6858000"/>
            <a:chOff x="0" y="0"/>
            <a:chExt cx="12190476" cy="6858000"/>
          </a:xfrm>
        </p:grpSpPr>
        <p:sp>
          <p:nvSpPr>
            <p:cNvPr id="147" name="Freeform: Shape 146">
              <a:extLst>
                <a:ext uri="{FF2B5EF4-FFF2-40B4-BE49-F238E27FC236}">
                  <a16:creationId xmlns:a16="http://schemas.microsoft.com/office/drawing/2014/main" id="{B246553F-F107-4247-AFD2-330A5E29AB37}"/>
                </a:ext>
              </a:extLst>
            </p:cNvPr>
            <p:cNvSpPr/>
            <p:nvPr userDrawn="1"/>
          </p:nvSpPr>
          <p:spPr bwMode="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148" name="Freeform: Shape 147">
              <a:extLst>
                <a:ext uri="{FF2B5EF4-FFF2-40B4-BE49-F238E27FC236}">
                  <a16:creationId xmlns:a16="http://schemas.microsoft.com/office/drawing/2014/main" id="{B004011D-070D-4016-9995-FCB7504D0F9E}"/>
                </a:ext>
              </a:extLst>
            </p:cNvPr>
            <p:cNvSpPr/>
            <p:nvPr/>
          </p:nvSpPr>
          <p:spPr bwMode="gray">
            <a:xfrm>
              <a:off x="1524" y="0"/>
              <a:ext cx="12188952" cy="6858000"/>
            </a:xfrm>
            <a:custGeom>
              <a:avLst/>
              <a:gdLst>
                <a:gd name="connsiteX0" fmla="*/ 553212 w 12188952"/>
                <a:gd name="connsiteY0" fmla="*/ 1405610 h 6858000"/>
                <a:gd name="connsiteX1" fmla="*/ 553212 w 12188952"/>
                <a:gd name="connsiteY1" fmla="*/ 1709928 h 6858000"/>
                <a:gd name="connsiteX2" fmla="*/ 551868 w 12188952"/>
                <a:gd name="connsiteY2" fmla="*/ 1709928 h 6858000"/>
                <a:gd name="connsiteX3" fmla="*/ 551868 w 12188952"/>
                <a:gd name="connsiteY3" fmla="*/ 6217920 h 6858000"/>
                <a:gd name="connsiteX4" fmla="*/ 553212 w 12188952"/>
                <a:gd name="connsiteY4" fmla="*/ 6217920 h 6858000"/>
                <a:gd name="connsiteX5" fmla="*/ 11635740 w 12188952"/>
                <a:gd name="connsiteY5" fmla="*/ 6217920 h 6858000"/>
                <a:gd name="connsiteX6" fmla="*/ 11636196 w 12188952"/>
                <a:gd name="connsiteY6" fmla="*/ 6217920 h 6858000"/>
                <a:gd name="connsiteX7" fmla="*/ 11636196 w 12188952"/>
                <a:gd name="connsiteY7" fmla="*/ 1709928 h 6858000"/>
                <a:gd name="connsiteX8" fmla="*/ 11635740 w 12188952"/>
                <a:gd name="connsiteY8" fmla="*/ 1709928 h 6858000"/>
                <a:gd name="connsiteX9" fmla="*/ 11635740 w 12188952"/>
                <a:gd name="connsiteY9" fmla="*/ 1405610 h 6858000"/>
                <a:gd name="connsiteX10" fmla="*/ 0 w 12188952"/>
                <a:gd name="connsiteY10" fmla="*/ 0 h 6858000"/>
                <a:gd name="connsiteX11" fmla="*/ 12188952 w 12188952"/>
                <a:gd name="connsiteY11" fmla="*/ 0 h 6858000"/>
                <a:gd name="connsiteX12" fmla="*/ 12188952 w 12188952"/>
                <a:gd name="connsiteY12" fmla="*/ 6858000 h 6858000"/>
                <a:gd name="connsiteX13" fmla="*/ 0 w 12188952"/>
                <a:gd name="connsiteY1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8952" h="6858000">
                  <a:moveTo>
                    <a:pt x="553212" y="1405610"/>
                  </a:moveTo>
                  <a:lnTo>
                    <a:pt x="553212" y="1709928"/>
                  </a:lnTo>
                  <a:lnTo>
                    <a:pt x="551868" y="1709928"/>
                  </a:lnTo>
                  <a:lnTo>
                    <a:pt x="551868" y="6217920"/>
                  </a:lnTo>
                  <a:lnTo>
                    <a:pt x="553212" y="6217920"/>
                  </a:lnTo>
                  <a:lnTo>
                    <a:pt x="11635740" y="6217920"/>
                  </a:lnTo>
                  <a:lnTo>
                    <a:pt x="11636196" y="6217920"/>
                  </a:lnTo>
                  <a:lnTo>
                    <a:pt x="11636196" y="1709928"/>
                  </a:lnTo>
                  <a:lnTo>
                    <a:pt x="11635740" y="1709928"/>
                  </a:lnTo>
                  <a:lnTo>
                    <a:pt x="11635740" y="1405610"/>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rtl="0"/>
              <a:endParaRPr lang="en-US">
                <a:solidFill>
                  <a:schemeClr val="tx1"/>
                </a:solidFill>
                <a:latin typeface="+mn-lt"/>
              </a:endParaRPr>
            </a:p>
          </p:txBody>
        </p:sp>
        <p:cxnSp>
          <p:nvCxnSpPr>
            <p:cNvPr id="149" name="Straight Connector 148">
              <a:extLst>
                <a:ext uri="{FF2B5EF4-FFF2-40B4-BE49-F238E27FC236}">
                  <a16:creationId xmlns:a16="http://schemas.microsoft.com/office/drawing/2014/main" id="{8EED4E9C-CBFD-493E-8230-4890744820CD}"/>
                </a:ext>
              </a:extLst>
            </p:cNvPr>
            <p:cNvCxnSpPr/>
            <p:nvPr/>
          </p:nvCxnSpPr>
          <p:spPr bwMode="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C4E7EE8D-5E67-4BAD-BF3E-B49398A0D38A}"/>
                </a:ext>
              </a:extLst>
            </p:cNvPr>
            <p:cNvCxnSpPr/>
            <p:nvPr/>
          </p:nvCxnSpPr>
          <p:spPr bwMode="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EBF4CC32-113E-4603-89B5-B2E9710CEC86}"/>
                </a:ext>
              </a:extLst>
            </p:cNvPr>
            <p:cNvCxnSpPr/>
            <p:nvPr/>
          </p:nvCxnSpPr>
          <p:spPr bwMode="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1F0D8B50-908B-4BBC-B53E-EBFB79D81A0A}"/>
                </a:ext>
              </a:extLst>
            </p:cNvPr>
            <p:cNvCxnSpPr/>
            <p:nvPr/>
          </p:nvCxnSpPr>
          <p:spPr bwMode="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96B0BD72-05B5-4E6D-ADCA-69118552AB73}"/>
                </a:ext>
              </a:extLst>
            </p:cNvPr>
            <p:cNvCxnSpPr/>
            <p:nvPr/>
          </p:nvCxnSpPr>
          <p:spPr bwMode="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6FC8DA45-07AB-4141-99EE-E61BAAE7D11E}"/>
                </a:ext>
              </a:extLst>
            </p:cNvPr>
            <p:cNvCxnSpPr/>
            <p:nvPr/>
          </p:nvCxnSpPr>
          <p:spPr bwMode="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id="{FAD9D4E0-4143-4515-A821-78819A398AF2}"/>
                </a:ext>
              </a:extLst>
            </p:cNvPr>
            <p:cNvCxnSpPr/>
            <p:nvPr/>
          </p:nvCxnSpPr>
          <p:spPr bwMode="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id="{5992F49D-6943-4918-866D-7066A87A4A79}"/>
                </a:ext>
              </a:extLst>
            </p:cNvPr>
            <p:cNvCxnSpPr/>
            <p:nvPr/>
          </p:nvCxnSpPr>
          <p:spPr bwMode="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57" name="Straight Connector 156">
              <a:extLst>
                <a:ext uri="{FF2B5EF4-FFF2-40B4-BE49-F238E27FC236}">
                  <a16:creationId xmlns:a16="http://schemas.microsoft.com/office/drawing/2014/main" id="{1FE62798-DF2C-4227-978E-F44634E9B13E}"/>
                </a:ext>
              </a:extLst>
            </p:cNvPr>
            <p:cNvCxnSpPr/>
            <p:nvPr/>
          </p:nvCxnSpPr>
          <p:spPr bwMode="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58" name="Straight Connector 157">
              <a:extLst>
                <a:ext uri="{FF2B5EF4-FFF2-40B4-BE49-F238E27FC236}">
                  <a16:creationId xmlns:a16="http://schemas.microsoft.com/office/drawing/2014/main" id="{2E77B44F-95E2-4A82-9055-AF6FD632A4C2}"/>
                </a:ext>
              </a:extLst>
            </p:cNvPr>
            <p:cNvCxnSpPr/>
            <p:nvPr/>
          </p:nvCxnSpPr>
          <p:spPr bwMode="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B867695C-B379-491F-A7BA-BB9CDD95C0A2}"/>
                </a:ext>
              </a:extLst>
            </p:cNvPr>
            <p:cNvCxnSpPr/>
            <p:nvPr/>
          </p:nvCxnSpPr>
          <p:spPr bwMode="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60" name="Straight Connector 159">
              <a:extLst>
                <a:ext uri="{FF2B5EF4-FFF2-40B4-BE49-F238E27FC236}">
                  <a16:creationId xmlns:a16="http://schemas.microsoft.com/office/drawing/2014/main" id="{3CF70945-7437-42D7-8530-CC82474AD8C7}"/>
                </a:ext>
              </a:extLst>
            </p:cNvPr>
            <p:cNvCxnSpPr/>
            <p:nvPr/>
          </p:nvCxnSpPr>
          <p:spPr bwMode="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161" name="Freeform: Shape 160">
              <a:extLst>
                <a:ext uri="{FF2B5EF4-FFF2-40B4-BE49-F238E27FC236}">
                  <a16:creationId xmlns:a16="http://schemas.microsoft.com/office/drawing/2014/main" id="{DA9FAF73-F6CC-433E-9E54-926227DC3B49}"/>
                </a:ext>
              </a:extLst>
            </p:cNvPr>
            <p:cNvSpPr/>
            <p:nvPr/>
          </p:nvSpPr>
          <p:spPr bwMode="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162" name="Freeform: Shape 161">
              <a:extLst>
                <a:ext uri="{FF2B5EF4-FFF2-40B4-BE49-F238E27FC236}">
                  <a16:creationId xmlns:a16="http://schemas.microsoft.com/office/drawing/2014/main" id="{E34A557B-494C-4AD9-8F89-E5E9AF83C5C9}"/>
                </a:ext>
              </a:extLst>
            </p:cNvPr>
            <p:cNvSpPr/>
            <p:nvPr/>
          </p:nvSpPr>
          <p:spPr bwMode="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163" name="Freeform: Shape 162">
              <a:extLst>
                <a:ext uri="{FF2B5EF4-FFF2-40B4-BE49-F238E27FC236}">
                  <a16:creationId xmlns:a16="http://schemas.microsoft.com/office/drawing/2014/main" id="{EF51026B-29C4-4F7C-BFF5-D2620B54A446}"/>
                </a:ext>
              </a:extLst>
            </p:cNvPr>
            <p:cNvSpPr/>
            <p:nvPr/>
          </p:nvSpPr>
          <p:spPr bwMode="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164" name="Freeform: Shape 163">
              <a:extLst>
                <a:ext uri="{FF2B5EF4-FFF2-40B4-BE49-F238E27FC236}">
                  <a16:creationId xmlns:a16="http://schemas.microsoft.com/office/drawing/2014/main" id="{F9CB8DDA-DEB9-4F33-8B16-4080680C908C}"/>
                </a:ext>
              </a:extLst>
            </p:cNvPr>
            <p:cNvSpPr/>
            <p:nvPr/>
          </p:nvSpPr>
          <p:spPr bwMode="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165" name="Freeform: Shape 164">
              <a:extLst>
                <a:ext uri="{FF2B5EF4-FFF2-40B4-BE49-F238E27FC236}">
                  <a16:creationId xmlns:a16="http://schemas.microsoft.com/office/drawing/2014/main" id="{3CB0E135-78BE-4A78-8B8E-49EE618FDE01}"/>
                </a:ext>
              </a:extLst>
            </p:cNvPr>
            <p:cNvSpPr/>
            <p:nvPr/>
          </p:nvSpPr>
          <p:spPr bwMode="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166" name="Freeform: Shape 165">
              <a:extLst>
                <a:ext uri="{FF2B5EF4-FFF2-40B4-BE49-F238E27FC236}">
                  <a16:creationId xmlns:a16="http://schemas.microsoft.com/office/drawing/2014/main" id="{78208839-3FD9-4108-AF55-EFAFE64878DE}"/>
                </a:ext>
              </a:extLst>
            </p:cNvPr>
            <p:cNvSpPr/>
            <p:nvPr/>
          </p:nvSpPr>
          <p:spPr bwMode="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167" name="Freeform: Shape 166">
              <a:extLst>
                <a:ext uri="{FF2B5EF4-FFF2-40B4-BE49-F238E27FC236}">
                  <a16:creationId xmlns:a16="http://schemas.microsoft.com/office/drawing/2014/main" id="{2B2AC86F-33CA-4F2C-87E3-578BBC834878}"/>
                </a:ext>
              </a:extLst>
            </p:cNvPr>
            <p:cNvSpPr/>
            <p:nvPr/>
          </p:nvSpPr>
          <p:spPr bwMode="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08" name="Freeform: Shape 207">
              <a:extLst>
                <a:ext uri="{FF2B5EF4-FFF2-40B4-BE49-F238E27FC236}">
                  <a16:creationId xmlns:a16="http://schemas.microsoft.com/office/drawing/2014/main" id="{B399E9D3-5CD6-46EF-8841-082C09FE512F}"/>
                </a:ext>
              </a:extLst>
            </p:cNvPr>
            <p:cNvSpPr/>
            <p:nvPr/>
          </p:nvSpPr>
          <p:spPr bwMode="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09" name="Freeform: Shape 208">
              <a:extLst>
                <a:ext uri="{FF2B5EF4-FFF2-40B4-BE49-F238E27FC236}">
                  <a16:creationId xmlns:a16="http://schemas.microsoft.com/office/drawing/2014/main" id="{F1BE799B-05CC-43C3-BA7F-F6C85C06E3A1}"/>
                </a:ext>
              </a:extLst>
            </p:cNvPr>
            <p:cNvSpPr/>
            <p:nvPr/>
          </p:nvSpPr>
          <p:spPr bwMode="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0" name="Freeform: Shape 209">
              <a:extLst>
                <a:ext uri="{FF2B5EF4-FFF2-40B4-BE49-F238E27FC236}">
                  <a16:creationId xmlns:a16="http://schemas.microsoft.com/office/drawing/2014/main" id="{29922180-B37A-4F36-9EF1-968A7058C3E4}"/>
                </a:ext>
              </a:extLst>
            </p:cNvPr>
            <p:cNvSpPr/>
            <p:nvPr/>
          </p:nvSpPr>
          <p:spPr bwMode="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1" name="Freeform: Shape 210">
              <a:extLst>
                <a:ext uri="{FF2B5EF4-FFF2-40B4-BE49-F238E27FC236}">
                  <a16:creationId xmlns:a16="http://schemas.microsoft.com/office/drawing/2014/main" id="{2F205530-B739-4965-8F39-00F8FBF9EACF}"/>
                </a:ext>
              </a:extLst>
            </p:cNvPr>
            <p:cNvSpPr/>
            <p:nvPr/>
          </p:nvSpPr>
          <p:spPr bwMode="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2" name="Freeform: Shape 211">
              <a:extLst>
                <a:ext uri="{FF2B5EF4-FFF2-40B4-BE49-F238E27FC236}">
                  <a16:creationId xmlns:a16="http://schemas.microsoft.com/office/drawing/2014/main" id="{A9BFC6E5-704D-4104-8F1F-6DB1C235A93C}"/>
                </a:ext>
              </a:extLst>
            </p:cNvPr>
            <p:cNvSpPr/>
            <p:nvPr/>
          </p:nvSpPr>
          <p:spPr bwMode="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3" name="Freeform: Shape 212">
              <a:extLst>
                <a:ext uri="{FF2B5EF4-FFF2-40B4-BE49-F238E27FC236}">
                  <a16:creationId xmlns:a16="http://schemas.microsoft.com/office/drawing/2014/main" id="{4385216E-CB37-47AA-A5EC-C860686082F4}"/>
                </a:ext>
              </a:extLst>
            </p:cNvPr>
            <p:cNvSpPr/>
            <p:nvPr/>
          </p:nvSpPr>
          <p:spPr bwMode="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4" name="Freeform: Shape 213">
              <a:extLst>
                <a:ext uri="{FF2B5EF4-FFF2-40B4-BE49-F238E27FC236}">
                  <a16:creationId xmlns:a16="http://schemas.microsoft.com/office/drawing/2014/main" id="{8E699DF9-8C96-4EF1-8278-09F68ECAD255}"/>
                </a:ext>
              </a:extLst>
            </p:cNvPr>
            <p:cNvSpPr/>
            <p:nvPr/>
          </p:nvSpPr>
          <p:spPr bwMode="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5" name="Freeform: Shape 214">
              <a:extLst>
                <a:ext uri="{FF2B5EF4-FFF2-40B4-BE49-F238E27FC236}">
                  <a16:creationId xmlns:a16="http://schemas.microsoft.com/office/drawing/2014/main" id="{A032DDF0-DB7D-4C06-9B2E-FEBAC77CE493}"/>
                </a:ext>
              </a:extLst>
            </p:cNvPr>
            <p:cNvSpPr/>
            <p:nvPr userDrawn="1"/>
          </p:nvSpPr>
          <p:spPr bwMode="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6" name="Freeform: Shape 215">
              <a:extLst>
                <a:ext uri="{FF2B5EF4-FFF2-40B4-BE49-F238E27FC236}">
                  <a16:creationId xmlns:a16="http://schemas.microsoft.com/office/drawing/2014/main" id="{4B7943A5-8846-4B6F-925D-749F0A92CCE3}"/>
                </a:ext>
              </a:extLst>
            </p:cNvPr>
            <p:cNvSpPr/>
            <p:nvPr userDrawn="1"/>
          </p:nvSpPr>
          <p:spPr bwMode="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7" name="Freeform: Shape 216">
              <a:extLst>
                <a:ext uri="{FF2B5EF4-FFF2-40B4-BE49-F238E27FC236}">
                  <a16:creationId xmlns:a16="http://schemas.microsoft.com/office/drawing/2014/main" id="{6BAEFCE8-AA4E-4972-BCB1-7CCA549391CB}"/>
                </a:ext>
              </a:extLst>
            </p:cNvPr>
            <p:cNvSpPr/>
            <p:nvPr userDrawn="1"/>
          </p:nvSpPr>
          <p:spPr bwMode="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8" name="Freeform: Shape 217">
              <a:extLst>
                <a:ext uri="{FF2B5EF4-FFF2-40B4-BE49-F238E27FC236}">
                  <a16:creationId xmlns:a16="http://schemas.microsoft.com/office/drawing/2014/main" id="{AC7A7F14-873F-4714-A75C-0839615AA9FB}"/>
                </a:ext>
              </a:extLst>
            </p:cNvPr>
            <p:cNvSpPr/>
            <p:nvPr userDrawn="1"/>
          </p:nvSpPr>
          <p:spPr bwMode="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9" name="Freeform: Shape 218">
              <a:extLst>
                <a:ext uri="{FF2B5EF4-FFF2-40B4-BE49-F238E27FC236}">
                  <a16:creationId xmlns:a16="http://schemas.microsoft.com/office/drawing/2014/main" id="{0917B358-4946-4D30-AAAB-7E0175159EA0}"/>
                </a:ext>
              </a:extLst>
            </p:cNvPr>
            <p:cNvSpPr/>
            <p:nvPr userDrawn="1"/>
          </p:nvSpPr>
          <p:spPr bwMode="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20" name="Freeform: Shape 219">
              <a:extLst>
                <a:ext uri="{FF2B5EF4-FFF2-40B4-BE49-F238E27FC236}">
                  <a16:creationId xmlns:a16="http://schemas.microsoft.com/office/drawing/2014/main" id="{E0BB4314-8F96-4718-8B5E-B905DDE49A7E}"/>
                </a:ext>
              </a:extLst>
            </p:cNvPr>
            <p:cNvSpPr/>
            <p:nvPr userDrawn="1"/>
          </p:nvSpPr>
          <p:spPr bwMode="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21" name="Freeform: Shape 220">
              <a:extLst>
                <a:ext uri="{FF2B5EF4-FFF2-40B4-BE49-F238E27FC236}">
                  <a16:creationId xmlns:a16="http://schemas.microsoft.com/office/drawing/2014/main" id="{D2D0D114-5DE4-4E61-899C-07588FB06DF3}"/>
                </a:ext>
              </a:extLst>
            </p:cNvPr>
            <p:cNvSpPr/>
            <p:nvPr userDrawn="1"/>
          </p:nvSpPr>
          <p:spPr bwMode="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22" name="Freeform: Shape 221">
              <a:extLst>
                <a:ext uri="{FF2B5EF4-FFF2-40B4-BE49-F238E27FC236}">
                  <a16:creationId xmlns:a16="http://schemas.microsoft.com/office/drawing/2014/main" id="{04036915-BBD4-4851-93E8-A797358279D9}"/>
                </a:ext>
              </a:extLst>
            </p:cNvPr>
            <p:cNvSpPr/>
            <p:nvPr userDrawn="1"/>
          </p:nvSpPr>
          <p:spPr bwMode="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23" name="Freeform: Shape 222">
              <a:extLst>
                <a:ext uri="{FF2B5EF4-FFF2-40B4-BE49-F238E27FC236}">
                  <a16:creationId xmlns:a16="http://schemas.microsoft.com/office/drawing/2014/main" id="{06D83B2A-2D56-454A-A448-ACAE0CD1D158}"/>
                </a:ext>
              </a:extLst>
            </p:cNvPr>
            <p:cNvSpPr/>
            <p:nvPr userDrawn="1"/>
          </p:nvSpPr>
          <p:spPr bwMode="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24" name="Freeform: Shape 223">
              <a:extLst>
                <a:ext uri="{FF2B5EF4-FFF2-40B4-BE49-F238E27FC236}">
                  <a16:creationId xmlns:a16="http://schemas.microsoft.com/office/drawing/2014/main" id="{537C2011-1B30-471D-B374-D87B2F631652}"/>
                </a:ext>
              </a:extLst>
            </p:cNvPr>
            <p:cNvSpPr/>
            <p:nvPr userDrawn="1"/>
          </p:nvSpPr>
          <p:spPr bwMode="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cxnSp>
          <p:nvCxnSpPr>
            <p:cNvPr id="225" name="Straight Connector 224">
              <a:extLst>
                <a:ext uri="{FF2B5EF4-FFF2-40B4-BE49-F238E27FC236}">
                  <a16:creationId xmlns:a16="http://schemas.microsoft.com/office/drawing/2014/main" id="{C8F76A20-DBFD-4B9A-BE7D-31180C641FA0}"/>
                </a:ext>
              </a:extLst>
            </p:cNvPr>
            <p:cNvCxnSpPr/>
            <p:nvPr userDrawn="1"/>
          </p:nvCxnSpPr>
          <p:spPr bwMode="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6" name="Straight Connector 225">
              <a:extLst>
                <a:ext uri="{FF2B5EF4-FFF2-40B4-BE49-F238E27FC236}">
                  <a16:creationId xmlns:a16="http://schemas.microsoft.com/office/drawing/2014/main" id="{B545DD8E-6238-40A1-A9E7-0CB32914911D}"/>
                </a:ext>
              </a:extLst>
            </p:cNvPr>
            <p:cNvCxnSpPr/>
            <p:nvPr userDrawn="1"/>
          </p:nvCxnSpPr>
          <p:spPr bwMode="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7" name="Straight Connector 226">
              <a:extLst>
                <a:ext uri="{FF2B5EF4-FFF2-40B4-BE49-F238E27FC236}">
                  <a16:creationId xmlns:a16="http://schemas.microsoft.com/office/drawing/2014/main" id="{846B7DA4-3920-4B1D-AA7A-BAA908F568D5}"/>
                </a:ext>
              </a:extLst>
            </p:cNvPr>
            <p:cNvCxnSpPr/>
            <p:nvPr userDrawn="1"/>
          </p:nvCxnSpPr>
          <p:spPr bwMode="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8" name="Straight Connector 227">
              <a:extLst>
                <a:ext uri="{FF2B5EF4-FFF2-40B4-BE49-F238E27FC236}">
                  <a16:creationId xmlns:a16="http://schemas.microsoft.com/office/drawing/2014/main" id="{F712EFC8-A725-4CCE-8BC8-388C349C2F0F}"/>
                </a:ext>
              </a:extLst>
            </p:cNvPr>
            <p:cNvCxnSpPr/>
            <p:nvPr userDrawn="1"/>
          </p:nvCxnSpPr>
          <p:spPr bwMode="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1E269678-4626-4DD2-AD14-B4E734025420}"/>
                </a:ext>
              </a:extLst>
            </p:cNvPr>
            <p:cNvCxnSpPr/>
            <p:nvPr userDrawn="1"/>
          </p:nvCxnSpPr>
          <p:spPr bwMode="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0" name="Straight Connector 229">
              <a:extLst>
                <a:ext uri="{FF2B5EF4-FFF2-40B4-BE49-F238E27FC236}">
                  <a16:creationId xmlns:a16="http://schemas.microsoft.com/office/drawing/2014/main" id="{FEF5B142-72A7-412C-A4A1-ED45648F13E2}"/>
                </a:ext>
              </a:extLst>
            </p:cNvPr>
            <p:cNvCxnSpPr/>
            <p:nvPr userDrawn="1"/>
          </p:nvCxnSpPr>
          <p:spPr bwMode="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86943484-6D68-4D25-BEA2-607B81CC81A1}"/>
                </a:ext>
              </a:extLst>
            </p:cNvPr>
            <p:cNvCxnSpPr/>
            <p:nvPr userDrawn="1"/>
          </p:nvCxnSpPr>
          <p:spPr bwMode="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2" name="Straight Connector 231">
              <a:extLst>
                <a:ext uri="{FF2B5EF4-FFF2-40B4-BE49-F238E27FC236}">
                  <a16:creationId xmlns:a16="http://schemas.microsoft.com/office/drawing/2014/main" id="{624BD91D-C4CF-4637-A29C-DFBC02EF78D0}"/>
                </a:ext>
              </a:extLst>
            </p:cNvPr>
            <p:cNvCxnSpPr/>
            <p:nvPr userDrawn="1"/>
          </p:nvCxnSpPr>
          <p:spPr bwMode="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3" name="Straight Connector 232">
              <a:extLst>
                <a:ext uri="{FF2B5EF4-FFF2-40B4-BE49-F238E27FC236}">
                  <a16:creationId xmlns:a16="http://schemas.microsoft.com/office/drawing/2014/main" id="{5CBB7BE1-7BDD-42BB-B011-062A7D4DE69C}"/>
                </a:ext>
              </a:extLst>
            </p:cNvPr>
            <p:cNvCxnSpPr/>
            <p:nvPr userDrawn="1"/>
          </p:nvCxnSpPr>
          <p:spPr bwMode="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4" name="Straight Connector 233">
              <a:extLst>
                <a:ext uri="{FF2B5EF4-FFF2-40B4-BE49-F238E27FC236}">
                  <a16:creationId xmlns:a16="http://schemas.microsoft.com/office/drawing/2014/main" id="{B4FC5B03-6517-4A88-8B16-A1D4CE1B40F4}"/>
                </a:ext>
              </a:extLst>
            </p:cNvPr>
            <p:cNvCxnSpPr/>
            <p:nvPr userDrawn="1"/>
          </p:nvCxnSpPr>
          <p:spPr bwMode="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5" name="Straight Connector 234">
              <a:extLst>
                <a:ext uri="{FF2B5EF4-FFF2-40B4-BE49-F238E27FC236}">
                  <a16:creationId xmlns:a16="http://schemas.microsoft.com/office/drawing/2014/main" id="{832FD3D2-0C2A-4082-A143-4EFFBD928298}"/>
                </a:ext>
              </a:extLst>
            </p:cNvPr>
            <p:cNvCxnSpPr/>
            <p:nvPr userDrawn="1"/>
          </p:nvCxnSpPr>
          <p:spPr bwMode="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13F6219C-6F70-4B61-A6BE-79D0FD7094BF}"/>
                </a:ext>
              </a:extLst>
            </p:cNvPr>
            <p:cNvCxnSpPr/>
            <p:nvPr userDrawn="1"/>
          </p:nvCxnSpPr>
          <p:spPr bwMode="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a16="http://schemas.microsoft.com/office/drawing/2014/main" id="{E3444F34-64A1-4A73-9AAC-870F360D0243}"/>
                </a:ext>
              </a:extLst>
            </p:cNvPr>
            <p:cNvCxnSpPr/>
            <p:nvPr userDrawn="1"/>
          </p:nvCxnSpPr>
          <p:spPr bwMode="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94808C27-CEC5-43D6-B2D7-3C3C7059B573}"/>
                </a:ext>
              </a:extLst>
            </p:cNvPr>
            <p:cNvCxnSpPr/>
            <p:nvPr userDrawn="1"/>
          </p:nvCxnSpPr>
          <p:spPr bwMode="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9" name="Straight Connector 238">
              <a:extLst>
                <a:ext uri="{FF2B5EF4-FFF2-40B4-BE49-F238E27FC236}">
                  <a16:creationId xmlns:a16="http://schemas.microsoft.com/office/drawing/2014/main" id="{5B3503CC-B04C-426C-949F-F3FC31425FEB}"/>
                </a:ext>
              </a:extLst>
            </p:cNvPr>
            <p:cNvCxnSpPr/>
            <p:nvPr userDrawn="1"/>
          </p:nvCxnSpPr>
          <p:spPr bwMode="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0" name="Straight Connector 239">
              <a:extLst>
                <a:ext uri="{FF2B5EF4-FFF2-40B4-BE49-F238E27FC236}">
                  <a16:creationId xmlns:a16="http://schemas.microsoft.com/office/drawing/2014/main" id="{4A2B1578-5111-4BE7-931E-242321A59CA9}"/>
                </a:ext>
              </a:extLst>
            </p:cNvPr>
            <p:cNvCxnSpPr/>
            <p:nvPr userDrawn="1"/>
          </p:nvCxnSpPr>
          <p:spPr bwMode="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1" name="Straight Connector 240">
              <a:extLst>
                <a:ext uri="{FF2B5EF4-FFF2-40B4-BE49-F238E27FC236}">
                  <a16:creationId xmlns:a16="http://schemas.microsoft.com/office/drawing/2014/main" id="{465DDD97-A397-40EC-A211-5E87B6B0B662}"/>
                </a:ext>
              </a:extLst>
            </p:cNvPr>
            <p:cNvCxnSpPr/>
            <p:nvPr userDrawn="1"/>
          </p:nvCxnSpPr>
          <p:spPr bwMode="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2" name="Straight Connector 241">
              <a:extLst>
                <a:ext uri="{FF2B5EF4-FFF2-40B4-BE49-F238E27FC236}">
                  <a16:creationId xmlns:a16="http://schemas.microsoft.com/office/drawing/2014/main" id="{AF4D4C72-E117-4C1D-B739-B75FE02B87FC}"/>
                </a:ext>
              </a:extLst>
            </p:cNvPr>
            <p:cNvCxnSpPr/>
            <p:nvPr userDrawn="1"/>
          </p:nvCxnSpPr>
          <p:spPr bwMode="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3" name="Straight Connector 242">
              <a:extLst>
                <a:ext uri="{FF2B5EF4-FFF2-40B4-BE49-F238E27FC236}">
                  <a16:creationId xmlns:a16="http://schemas.microsoft.com/office/drawing/2014/main" id="{41AED1DD-F122-4B41-B6BB-7719F1232C06}"/>
                </a:ext>
              </a:extLst>
            </p:cNvPr>
            <p:cNvCxnSpPr/>
            <p:nvPr userDrawn="1"/>
          </p:nvCxnSpPr>
          <p:spPr bwMode="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4" name="Straight Connector 243">
              <a:extLst>
                <a:ext uri="{FF2B5EF4-FFF2-40B4-BE49-F238E27FC236}">
                  <a16:creationId xmlns:a16="http://schemas.microsoft.com/office/drawing/2014/main" id="{C2DE51BE-00F9-45C2-9743-601D27D2FCB1}"/>
                </a:ext>
              </a:extLst>
            </p:cNvPr>
            <p:cNvCxnSpPr/>
            <p:nvPr userDrawn="1"/>
          </p:nvCxnSpPr>
          <p:spPr bwMode="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5" name="Straight Connector 244">
              <a:extLst>
                <a:ext uri="{FF2B5EF4-FFF2-40B4-BE49-F238E27FC236}">
                  <a16:creationId xmlns:a16="http://schemas.microsoft.com/office/drawing/2014/main" id="{51DBDE71-C5A4-47D0-8F4D-445ED7EBBC02}"/>
                </a:ext>
              </a:extLst>
            </p:cNvPr>
            <p:cNvCxnSpPr/>
            <p:nvPr userDrawn="1"/>
          </p:nvCxnSpPr>
          <p:spPr bwMode="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6" name="Straight Connector 245">
              <a:extLst>
                <a:ext uri="{FF2B5EF4-FFF2-40B4-BE49-F238E27FC236}">
                  <a16:creationId xmlns:a16="http://schemas.microsoft.com/office/drawing/2014/main" id="{C4E39DC0-CDD5-4BB0-9423-B3CD76795955}"/>
                </a:ext>
              </a:extLst>
            </p:cNvPr>
            <p:cNvCxnSpPr/>
            <p:nvPr userDrawn="1"/>
          </p:nvCxnSpPr>
          <p:spPr bwMode="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7" name="Straight Connector 246">
              <a:extLst>
                <a:ext uri="{FF2B5EF4-FFF2-40B4-BE49-F238E27FC236}">
                  <a16:creationId xmlns:a16="http://schemas.microsoft.com/office/drawing/2014/main" id="{34197F31-5ADE-425C-A215-3B985F2D0F70}"/>
                </a:ext>
              </a:extLst>
            </p:cNvPr>
            <p:cNvCxnSpPr/>
            <p:nvPr userDrawn="1"/>
          </p:nvCxnSpPr>
          <p:spPr bwMode="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8" name="Straight Connector 247">
              <a:extLst>
                <a:ext uri="{FF2B5EF4-FFF2-40B4-BE49-F238E27FC236}">
                  <a16:creationId xmlns:a16="http://schemas.microsoft.com/office/drawing/2014/main" id="{C3F56A52-6409-474A-AC10-21942DF341D1}"/>
                </a:ext>
              </a:extLst>
            </p:cNvPr>
            <p:cNvCxnSpPr/>
            <p:nvPr userDrawn="1"/>
          </p:nvCxnSpPr>
          <p:spPr bwMode="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0F880D30-4361-4F07-9E65-761B56E8D8DF}"/>
                </a:ext>
              </a:extLst>
            </p:cNvPr>
            <p:cNvCxnSpPr/>
            <p:nvPr userDrawn="1"/>
          </p:nvCxnSpPr>
          <p:spPr bwMode="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0" name="Straight Connector 249">
              <a:extLst>
                <a:ext uri="{FF2B5EF4-FFF2-40B4-BE49-F238E27FC236}">
                  <a16:creationId xmlns:a16="http://schemas.microsoft.com/office/drawing/2014/main" id="{00881E81-0967-47FA-B2F5-C2D42469C7EA}"/>
                </a:ext>
              </a:extLst>
            </p:cNvPr>
            <p:cNvCxnSpPr/>
            <p:nvPr userDrawn="1"/>
          </p:nvCxnSpPr>
          <p:spPr bwMode="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1" name="Straight Connector 250">
              <a:extLst>
                <a:ext uri="{FF2B5EF4-FFF2-40B4-BE49-F238E27FC236}">
                  <a16:creationId xmlns:a16="http://schemas.microsoft.com/office/drawing/2014/main" id="{68FDAAED-2DE5-4415-AC4F-71BF36E3DAC2}"/>
                </a:ext>
              </a:extLst>
            </p:cNvPr>
            <p:cNvCxnSpPr/>
            <p:nvPr userDrawn="1"/>
          </p:nvCxnSpPr>
          <p:spPr bwMode="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2" name="Straight Connector 251">
              <a:extLst>
                <a:ext uri="{FF2B5EF4-FFF2-40B4-BE49-F238E27FC236}">
                  <a16:creationId xmlns:a16="http://schemas.microsoft.com/office/drawing/2014/main" id="{F9B004E8-D88B-4A71-9DF9-0F9A36100A5C}"/>
                </a:ext>
              </a:extLst>
            </p:cNvPr>
            <p:cNvCxnSpPr/>
            <p:nvPr userDrawn="1"/>
          </p:nvCxnSpPr>
          <p:spPr bwMode="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3" name="Straight Connector 252">
              <a:extLst>
                <a:ext uri="{FF2B5EF4-FFF2-40B4-BE49-F238E27FC236}">
                  <a16:creationId xmlns:a16="http://schemas.microsoft.com/office/drawing/2014/main" id="{6E082F8F-16FA-4AEB-8166-162C6FCCEB66}"/>
                </a:ext>
              </a:extLst>
            </p:cNvPr>
            <p:cNvCxnSpPr/>
            <p:nvPr userDrawn="1"/>
          </p:nvCxnSpPr>
          <p:spPr bwMode="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4" name="Straight Connector 253">
              <a:extLst>
                <a:ext uri="{FF2B5EF4-FFF2-40B4-BE49-F238E27FC236}">
                  <a16:creationId xmlns:a16="http://schemas.microsoft.com/office/drawing/2014/main" id="{FC2DCAFF-2DF6-4BBC-BCDD-0D570455CE06}"/>
                </a:ext>
              </a:extLst>
            </p:cNvPr>
            <p:cNvCxnSpPr/>
            <p:nvPr userDrawn="1"/>
          </p:nvCxnSpPr>
          <p:spPr bwMode="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5" name="Straight Connector 254">
              <a:extLst>
                <a:ext uri="{FF2B5EF4-FFF2-40B4-BE49-F238E27FC236}">
                  <a16:creationId xmlns:a16="http://schemas.microsoft.com/office/drawing/2014/main" id="{B977AE58-9FB0-42DA-9B39-BFD87E4B724A}"/>
                </a:ext>
              </a:extLst>
            </p:cNvPr>
            <p:cNvCxnSpPr/>
            <p:nvPr userDrawn="1"/>
          </p:nvCxnSpPr>
          <p:spPr bwMode="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6" name="Straight Connector 255">
              <a:extLst>
                <a:ext uri="{FF2B5EF4-FFF2-40B4-BE49-F238E27FC236}">
                  <a16:creationId xmlns:a16="http://schemas.microsoft.com/office/drawing/2014/main" id="{EEF759A5-C252-45E9-B082-FD35CD055299}"/>
                </a:ext>
              </a:extLst>
            </p:cNvPr>
            <p:cNvCxnSpPr/>
            <p:nvPr userDrawn="1"/>
          </p:nvCxnSpPr>
          <p:spPr bwMode="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7" name="Straight Connector 256">
              <a:extLst>
                <a:ext uri="{FF2B5EF4-FFF2-40B4-BE49-F238E27FC236}">
                  <a16:creationId xmlns:a16="http://schemas.microsoft.com/office/drawing/2014/main" id="{A6062B46-308B-4012-85F6-0368F5983B75}"/>
                </a:ext>
              </a:extLst>
            </p:cNvPr>
            <p:cNvCxnSpPr/>
            <p:nvPr userDrawn="1"/>
          </p:nvCxnSpPr>
          <p:spPr bwMode="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8" name="Straight Connector 257">
              <a:extLst>
                <a:ext uri="{FF2B5EF4-FFF2-40B4-BE49-F238E27FC236}">
                  <a16:creationId xmlns:a16="http://schemas.microsoft.com/office/drawing/2014/main" id="{B0D8E9E1-16CF-4856-B7CC-293CC0754512}"/>
                </a:ext>
              </a:extLst>
            </p:cNvPr>
            <p:cNvCxnSpPr/>
            <p:nvPr userDrawn="1"/>
          </p:nvCxnSpPr>
          <p:spPr bwMode="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9" name="Straight Connector 258">
              <a:extLst>
                <a:ext uri="{FF2B5EF4-FFF2-40B4-BE49-F238E27FC236}">
                  <a16:creationId xmlns:a16="http://schemas.microsoft.com/office/drawing/2014/main" id="{CAC04634-4F05-4544-9451-CFC9D7814D5D}"/>
                </a:ext>
              </a:extLst>
            </p:cNvPr>
            <p:cNvCxnSpPr/>
            <p:nvPr userDrawn="1"/>
          </p:nvCxnSpPr>
          <p:spPr bwMode="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0" name="Straight Connector 259">
              <a:extLst>
                <a:ext uri="{FF2B5EF4-FFF2-40B4-BE49-F238E27FC236}">
                  <a16:creationId xmlns:a16="http://schemas.microsoft.com/office/drawing/2014/main" id="{B5CF2D49-79B9-43C6-84C8-F0E26D667D1D}"/>
                </a:ext>
              </a:extLst>
            </p:cNvPr>
            <p:cNvCxnSpPr/>
            <p:nvPr userDrawn="1"/>
          </p:nvCxnSpPr>
          <p:spPr bwMode="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1" name="Straight Connector 260">
              <a:extLst>
                <a:ext uri="{FF2B5EF4-FFF2-40B4-BE49-F238E27FC236}">
                  <a16:creationId xmlns:a16="http://schemas.microsoft.com/office/drawing/2014/main" id="{19D2EE3B-2073-41B9-BF48-6CF58DCD5F9F}"/>
                </a:ext>
              </a:extLst>
            </p:cNvPr>
            <p:cNvCxnSpPr/>
            <p:nvPr userDrawn="1"/>
          </p:nvCxnSpPr>
          <p:spPr bwMode="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2" name="Straight Connector 261">
              <a:extLst>
                <a:ext uri="{FF2B5EF4-FFF2-40B4-BE49-F238E27FC236}">
                  <a16:creationId xmlns:a16="http://schemas.microsoft.com/office/drawing/2014/main" id="{5427CE8A-B394-4BC8-90E6-F01DA9DFEF69}"/>
                </a:ext>
              </a:extLst>
            </p:cNvPr>
            <p:cNvCxnSpPr/>
            <p:nvPr userDrawn="1"/>
          </p:nvCxnSpPr>
          <p:spPr bwMode="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3" name="Straight Connector 262">
              <a:extLst>
                <a:ext uri="{FF2B5EF4-FFF2-40B4-BE49-F238E27FC236}">
                  <a16:creationId xmlns:a16="http://schemas.microsoft.com/office/drawing/2014/main" id="{26C3FEEB-8CED-4573-950A-702EA59DB370}"/>
                </a:ext>
              </a:extLst>
            </p:cNvPr>
            <p:cNvCxnSpPr/>
            <p:nvPr userDrawn="1"/>
          </p:nvCxnSpPr>
          <p:spPr bwMode="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4" name="Straight Connector 263">
              <a:extLst>
                <a:ext uri="{FF2B5EF4-FFF2-40B4-BE49-F238E27FC236}">
                  <a16:creationId xmlns:a16="http://schemas.microsoft.com/office/drawing/2014/main" id="{124DED01-33FE-453B-8054-51C70E958B69}"/>
                </a:ext>
              </a:extLst>
            </p:cNvPr>
            <p:cNvCxnSpPr/>
            <p:nvPr userDrawn="1"/>
          </p:nvCxnSpPr>
          <p:spPr bwMode="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5" name="Straight Connector 264">
              <a:extLst>
                <a:ext uri="{FF2B5EF4-FFF2-40B4-BE49-F238E27FC236}">
                  <a16:creationId xmlns:a16="http://schemas.microsoft.com/office/drawing/2014/main" id="{4BC90B9C-86A4-4B76-AB2F-48C8BA557B2A}"/>
                </a:ext>
              </a:extLst>
            </p:cNvPr>
            <p:cNvCxnSpPr/>
            <p:nvPr userDrawn="1"/>
          </p:nvCxnSpPr>
          <p:spPr bwMode="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6" name="Straight Connector 265">
              <a:extLst>
                <a:ext uri="{FF2B5EF4-FFF2-40B4-BE49-F238E27FC236}">
                  <a16:creationId xmlns:a16="http://schemas.microsoft.com/office/drawing/2014/main" id="{FCFD93DC-72B3-48E1-B57C-CAC54C82ED13}"/>
                </a:ext>
              </a:extLst>
            </p:cNvPr>
            <p:cNvCxnSpPr/>
            <p:nvPr userDrawn="1"/>
          </p:nvCxnSpPr>
          <p:spPr bwMode="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7" name="Straight Connector 266">
              <a:extLst>
                <a:ext uri="{FF2B5EF4-FFF2-40B4-BE49-F238E27FC236}">
                  <a16:creationId xmlns:a16="http://schemas.microsoft.com/office/drawing/2014/main" id="{614304D6-019F-44B7-8088-DB02E79D3B35}"/>
                </a:ext>
              </a:extLst>
            </p:cNvPr>
            <p:cNvCxnSpPr/>
            <p:nvPr userDrawn="1"/>
          </p:nvCxnSpPr>
          <p:spPr bwMode="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8" name="Straight Connector 267">
              <a:extLst>
                <a:ext uri="{FF2B5EF4-FFF2-40B4-BE49-F238E27FC236}">
                  <a16:creationId xmlns:a16="http://schemas.microsoft.com/office/drawing/2014/main" id="{A9A21668-FF36-42B2-8E8C-DC36580D76B7}"/>
                </a:ext>
              </a:extLst>
            </p:cNvPr>
            <p:cNvCxnSpPr/>
            <p:nvPr userDrawn="1"/>
          </p:nvCxnSpPr>
          <p:spPr bwMode="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269" name="main body box">
              <a:extLst>
                <a:ext uri="{FF2B5EF4-FFF2-40B4-BE49-F238E27FC236}">
                  <a16:creationId xmlns:a16="http://schemas.microsoft.com/office/drawing/2014/main" id="{0F4A42CE-FEE6-4F15-ABED-0ED2DF2E0134}"/>
                </a:ext>
              </a:extLst>
            </p:cNvPr>
            <p:cNvSpPr/>
            <p:nvPr userDrawn="1"/>
          </p:nvSpPr>
          <p:spPr bwMode="gray">
            <a:xfrm>
              <a:off x="554736" y="1405610"/>
              <a:ext cx="11082528" cy="4812310"/>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a:solidFill>
                  <a:schemeClr val="tx1"/>
                </a:solidFill>
                <a:latin typeface="+mn-lt"/>
              </a:endParaRPr>
            </a:p>
          </p:txBody>
        </p:sp>
        <p:cxnSp>
          <p:nvCxnSpPr>
            <p:cNvPr id="270" name="Straight Connector 269">
              <a:extLst>
                <a:ext uri="{FF2B5EF4-FFF2-40B4-BE49-F238E27FC236}">
                  <a16:creationId xmlns:a16="http://schemas.microsoft.com/office/drawing/2014/main" id="{FAFC25A2-0E4C-4885-9514-D2AB63FE0822}"/>
                </a:ext>
              </a:extLst>
            </p:cNvPr>
            <p:cNvCxnSpPr/>
            <p:nvPr userDrawn="1"/>
          </p:nvCxnSpPr>
          <p:spPr bwMode="gray">
            <a:xfrm>
              <a:off x="554736" y="1865376"/>
              <a:ext cx="11082528" cy="0"/>
            </a:xfrm>
            <a:prstGeom prst="line">
              <a:avLst/>
            </a:prstGeom>
            <a:noFill/>
            <a:ln w="12700">
              <a:solidFill>
                <a:srgbClr val="19D3C5">
                  <a:alpha val="50000"/>
                </a:srgbClr>
              </a:solidFill>
            </a:ln>
          </p:spPr>
        </p:cxnSp>
        <p:cxnSp>
          <p:nvCxnSpPr>
            <p:cNvPr id="271" name="Straight Connector 270">
              <a:extLst>
                <a:ext uri="{FF2B5EF4-FFF2-40B4-BE49-F238E27FC236}">
                  <a16:creationId xmlns:a16="http://schemas.microsoft.com/office/drawing/2014/main" id="{C6E16B4E-FA8E-424E-8B59-17E11E8A383B}"/>
                </a:ext>
              </a:extLst>
            </p:cNvPr>
            <p:cNvCxnSpPr/>
            <p:nvPr userDrawn="1"/>
          </p:nvCxnSpPr>
          <p:spPr bwMode="gray">
            <a:xfrm>
              <a:off x="554736" y="1408557"/>
              <a:ext cx="11082528" cy="0"/>
            </a:xfrm>
            <a:prstGeom prst="line">
              <a:avLst/>
            </a:prstGeom>
            <a:noFill/>
            <a:ln w="12700">
              <a:solidFill>
                <a:srgbClr val="19D3C5">
                  <a:alpha val="50000"/>
                </a:srgbClr>
              </a:solidFill>
            </a:ln>
          </p:spPr>
        </p:cxnSp>
      </p:grpSp>
      <p:sp>
        <p:nvSpPr>
          <p:cNvPr id="272" name="Sticker" hidden="1">
            <a:extLst>
              <a:ext uri="{FF2B5EF4-FFF2-40B4-BE49-F238E27FC236}">
                <a16:creationId xmlns:a16="http://schemas.microsoft.com/office/drawing/2014/main" id="{B441B46A-23BA-471B-96B6-498030A9A587}"/>
              </a:ext>
            </a:extLst>
          </p:cNvPr>
          <p:cNvSpPr txBox="1"/>
          <p:nvPr userDrawn="1"/>
        </p:nvSpPr>
        <p:spPr>
          <a:xfrm>
            <a:off x="558489" y="964729"/>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rtl="0"/>
            <a:r>
              <a:rPr lang="en-US"/>
              <a:t>STICKER</a:t>
            </a:r>
          </a:p>
        </p:txBody>
      </p: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2"/>
            </p:custDataLst>
          </p:nvPr>
        </p:nvSpPr>
        <p:spPr>
          <a:xfrm>
            <a:off x="554736" y="172212"/>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p>
            <a:pPr lvl="0"/>
            <a:r>
              <a:rPr lang="en-US"/>
              <a:t>Click to edit Master title style</a:t>
            </a:r>
          </a:p>
        </p:txBody>
      </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3"/>
            </p:custDataLst>
          </p:nvPr>
        </p:nvSpPr>
        <p:spPr>
          <a:xfrm>
            <a:off x="553972"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rtl="0"/>
            <a:r>
              <a:rPr lang="en-US"/>
              <a:t>Footnotes</a:t>
            </a:r>
          </a:p>
        </p:txBody>
      </p:sp>
      <p:sp>
        <p:nvSpPr>
          <p:cNvPr id="207" name="ACET" hidden="1">
            <a:extLst>
              <a:ext uri="{FF2B5EF4-FFF2-40B4-BE49-F238E27FC236}">
                <a16:creationId xmlns:a16="http://schemas.microsoft.com/office/drawing/2014/main" id="{9C1AB688-8E46-4BED-871D-3FE073C183F2}"/>
              </a:ext>
            </a:extLst>
          </p:cNvPr>
          <p:cNvSpPr txBox="1"/>
          <p:nvPr userDrawn="1">
            <p:custDataLst>
              <p:tags r:id="rId24"/>
            </p:custDataLst>
          </p:nvPr>
        </p:nvSpPr>
        <p:spPr>
          <a:xfrm>
            <a:off x="5987738" y="2170800"/>
            <a:ext cx="3049253" cy="53860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a:t>Above Chart Exhibit Title</a:t>
            </a:r>
          </a:p>
          <a:p>
            <a:pPr lvl="0" rtl="0"/>
            <a:r>
              <a:rPr lang="en-US" sz="1400" b="0"/>
              <a:t>Unit of Measure</a:t>
            </a:r>
          </a:p>
        </p:txBody>
      </p:sp>
      <p:sp>
        <p:nvSpPr>
          <p:cNvPr id="4" name="Text Placeholder 3">
            <a:extLst>
              <a:ext uri="{FF2B5EF4-FFF2-40B4-BE49-F238E27FC236}">
                <a16:creationId xmlns:a16="http://schemas.microsoft.com/office/drawing/2014/main" id="{AEA8BC65-10CC-4404-9B17-2797DDA47747}"/>
              </a:ext>
            </a:extLst>
          </p:cNvPr>
          <p:cNvSpPr>
            <a:spLocks noGrp="1"/>
          </p:cNvSpPr>
          <p:nvPr>
            <p:ph type="body" idx="1"/>
          </p:nvPr>
        </p:nvSpPr>
        <p:spPr>
          <a:xfrm>
            <a:off x="554736" y="2170800"/>
            <a:ext cx="2899664" cy="13843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6" name="LegendBoxes" hidden="1">
            <a:extLst>
              <a:ext uri="{FF2B5EF4-FFF2-40B4-BE49-F238E27FC236}">
                <a16:creationId xmlns:a16="http://schemas.microsoft.com/office/drawing/2014/main" id="{3DA16681-A594-73EA-5FD5-574ED84415BA}"/>
              </a:ext>
            </a:extLst>
          </p:cNvPr>
          <p:cNvGrpSpPr/>
          <p:nvPr userDrawn="1"/>
        </p:nvGrpSpPr>
        <p:grpSpPr>
          <a:xfrm>
            <a:off x="10714801" y="4520490"/>
            <a:ext cx="922463" cy="1717282"/>
            <a:chOff x="10554770" y="4322824"/>
            <a:chExt cx="922463" cy="1717282"/>
          </a:xfrm>
        </p:grpSpPr>
        <p:sp>
          <p:nvSpPr>
            <p:cNvPr id="7" name="RectangleLegend1" hidden="1">
              <a:extLst>
                <a:ext uri="{FF2B5EF4-FFF2-40B4-BE49-F238E27FC236}">
                  <a16:creationId xmlns:a16="http://schemas.microsoft.com/office/drawing/2014/main" id="{81EADF7A-2013-3D19-FC85-CE471139BB0F}"/>
                </a:ext>
              </a:extLst>
            </p:cNvPr>
            <p:cNvSpPr/>
            <p:nvPr/>
          </p:nvSpPr>
          <p:spPr>
            <a:xfrm>
              <a:off x="1055477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a:solidFill>
                  <a:schemeClr val="tx1"/>
                </a:solidFill>
              </a:endParaRPr>
            </a:p>
          </p:txBody>
        </p:sp>
        <p:sp>
          <p:nvSpPr>
            <p:cNvPr id="8" name="RectangleLegend2" hidden="1">
              <a:extLst>
                <a:ext uri="{FF2B5EF4-FFF2-40B4-BE49-F238E27FC236}">
                  <a16:creationId xmlns:a16="http://schemas.microsoft.com/office/drawing/2014/main" id="{58325DED-2943-965D-4BB2-B857D5C23961}"/>
                </a:ext>
              </a:extLst>
            </p:cNvPr>
            <p:cNvSpPr/>
            <p:nvPr/>
          </p:nvSpPr>
          <p:spPr>
            <a:xfrm>
              <a:off x="1055477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a:solidFill>
                  <a:schemeClr val="tx1"/>
                </a:solidFill>
              </a:endParaRPr>
            </a:p>
          </p:txBody>
        </p:sp>
        <p:sp>
          <p:nvSpPr>
            <p:cNvPr id="9" name="RectangleLegend3" hidden="1">
              <a:extLst>
                <a:ext uri="{FF2B5EF4-FFF2-40B4-BE49-F238E27FC236}">
                  <a16:creationId xmlns:a16="http://schemas.microsoft.com/office/drawing/2014/main" id="{63C81596-658B-A732-CB98-765F438D4FAC}"/>
                </a:ext>
              </a:extLst>
            </p:cNvPr>
            <p:cNvSpPr/>
            <p:nvPr/>
          </p:nvSpPr>
          <p:spPr>
            <a:xfrm>
              <a:off x="1055477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a:solidFill>
                  <a:schemeClr val="tx1"/>
                </a:solidFill>
              </a:endParaRPr>
            </a:p>
          </p:txBody>
        </p:sp>
        <p:sp>
          <p:nvSpPr>
            <p:cNvPr id="10" name="RectangleLegend4" hidden="1">
              <a:extLst>
                <a:ext uri="{FF2B5EF4-FFF2-40B4-BE49-F238E27FC236}">
                  <a16:creationId xmlns:a16="http://schemas.microsoft.com/office/drawing/2014/main" id="{D2EA4543-5326-14C3-D333-C96E470ABAC6}"/>
                </a:ext>
              </a:extLst>
            </p:cNvPr>
            <p:cNvSpPr/>
            <p:nvPr/>
          </p:nvSpPr>
          <p:spPr>
            <a:xfrm>
              <a:off x="1055477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a:solidFill>
                  <a:schemeClr val="tx1"/>
                </a:solidFill>
              </a:endParaRPr>
            </a:p>
          </p:txBody>
        </p:sp>
        <p:sp>
          <p:nvSpPr>
            <p:cNvPr id="11" name="RectangleLegend5" hidden="1">
              <a:extLst>
                <a:ext uri="{FF2B5EF4-FFF2-40B4-BE49-F238E27FC236}">
                  <a16:creationId xmlns:a16="http://schemas.microsoft.com/office/drawing/2014/main" id="{EDCF4293-5412-755F-8EE5-2204E5A059B4}"/>
                </a:ext>
              </a:extLst>
            </p:cNvPr>
            <p:cNvSpPr/>
            <p:nvPr/>
          </p:nvSpPr>
          <p:spPr>
            <a:xfrm>
              <a:off x="1055477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a:solidFill>
                  <a:schemeClr val="tx1"/>
                </a:solidFill>
              </a:endParaRPr>
            </a:p>
          </p:txBody>
        </p:sp>
        <p:sp>
          <p:nvSpPr>
            <p:cNvPr id="12" name="Legend1" hidden="1">
              <a:extLst>
                <a:ext uri="{FF2B5EF4-FFF2-40B4-BE49-F238E27FC236}">
                  <a16:creationId xmlns:a16="http://schemas.microsoft.com/office/drawing/2014/main" id="{AB763B64-EC2D-1558-04FF-A9294BD8EC65}"/>
                </a:ext>
              </a:extLst>
            </p:cNvPr>
            <p:cNvSpPr txBox="1"/>
            <p:nvPr/>
          </p:nvSpPr>
          <p:spPr>
            <a:xfrm>
              <a:off x="10880916" y="432282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3" name="Legend2" hidden="1">
              <a:extLst>
                <a:ext uri="{FF2B5EF4-FFF2-40B4-BE49-F238E27FC236}">
                  <a16:creationId xmlns:a16="http://schemas.microsoft.com/office/drawing/2014/main" id="{F2B1D2EC-2C02-4C41-67AF-D35CF6F5E83E}"/>
                </a:ext>
              </a:extLst>
            </p:cNvPr>
            <p:cNvSpPr txBox="1"/>
            <p:nvPr/>
          </p:nvSpPr>
          <p:spPr>
            <a:xfrm>
              <a:off x="10880916" y="470232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4" name="Legend3" hidden="1">
              <a:extLst>
                <a:ext uri="{FF2B5EF4-FFF2-40B4-BE49-F238E27FC236}">
                  <a16:creationId xmlns:a16="http://schemas.microsoft.com/office/drawing/2014/main" id="{257A199F-AE01-C330-67FA-33B4A5064EAE}"/>
                </a:ext>
              </a:extLst>
            </p:cNvPr>
            <p:cNvSpPr txBox="1"/>
            <p:nvPr/>
          </p:nvSpPr>
          <p:spPr>
            <a:xfrm>
              <a:off x="10880916" y="5081820"/>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5" name="Legend4" hidden="1">
              <a:extLst>
                <a:ext uri="{FF2B5EF4-FFF2-40B4-BE49-F238E27FC236}">
                  <a16:creationId xmlns:a16="http://schemas.microsoft.com/office/drawing/2014/main" id="{382F58C5-D2ED-B140-0465-FC123402302F}"/>
                </a:ext>
              </a:extLst>
            </p:cNvPr>
            <p:cNvSpPr txBox="1"/>
            <p:nvPr/>
          </p:nvSpPr>
          <p:spPr>
            <a:xfrm>
              <a:off x="10880916" y="5453241"/>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6" name="Legend5" hidden="1">
              <a:extLst>
                <a:ext uri="{FF2B5EF4-FFF2-40B4-BE49-F238E27FC236}">
                  <a16:creationId xmlns:a16="http://schemas.microsoft.com/office/drawing/2014/main" id="{E05286FB-8A2C-9C26-399E-6EC629E68BFF}"/>
                </a:ext>
              </a:extLst>
            </p:cNvPr>
            <p:cNvSpPr txBox="1"/>
            <p:nvPr/>
          </p:nvSpPr>
          <p:spPr>
            <a:xfrm>
              <a:off x="10880915" y="582466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grpSp>
      <p:grpSp>
        <p:nvGrpSpPr>
          <p:cNvPr id="17" name="LegendLines" hidden="1">
            <a:extLst>
              <a:ext uri="{FF2B5EF4-FFF2-40B4-BE49-F238E27FC236}">
                <a16:creationId xmlns:a16="http://schemas.microsoft.com/office/drawing/2014/main" id="{DB7F5B76-D514-6395-BB67-D4D91EC06D63}"/>
              </a:ext>
            </a:extLst>
          </p:cNvPr>
          <p:cNvGrpSpPr/>
          <p:nvPr userDrawn="1"/>
        </p:nvGrpSpPr>
        <p:grpSpPr>
          <a:xfrm>
            <a:off x="10317304" y="3355023"/>
            <a:ext cx="1319960" cy="958286"/>
            <a:chOff x="10162879" y="3243772"/>
            <a:chExt cx="1319960" cy="958286"/>
          </a:xfrm>
        </p:grpSpPr>
        <p:sp>
          <p:nvSpPr>
            <p:cNvPr id="18" name="Legend1" hidden="1">
              <a:extLst>
                <a:ext uri="{FF2B5EF4-FFF2-40B4-BE49-F238E27FC236}">
                  <a16:creationId xmlns:a16="http://schemas.microsoft.com/office/drawing/2014/main" id="{75F60E5B-6F0C-B3E2-65C3-C2DBD567DB60}"/>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9" name="Legend2" hidden="1">
              <a:extLst>
                <a:ext uri="{FF2B5EF4-FFF2-40B4-BE49-F238E27FC236}">
                  <a16:creationId xmlns:a16="http://schemas.microsoft.com/office/drawing/2014/main" id="{26C1DF26-FCFF-1905-50CC-50239C9A61CA}"/>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20" name="Legend3" hidden="1">
              <a:extLst>
                <a:ext uri="{FF2B5EF4-FFF2-40B4-BE49-F238E27FC236}">
                  <a16:creationId xmlns:a16="http://schemas.microsoft.com/office/drawing/2014/main" id="{0410A9F9-3200-7973-50EE-20F75035F714}"/>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21" name="LineLegend3" hidden="1">
              <a:extLst>
                <a:ext uri="{FF2B5EF4-FFF2-40B4-BE49-F238E27FC236}">
                  <a16:creationId xmlns:a16="http://schemas.microsoft.com/office/drawing/2014/main" id="{B26F2818-3D00-A8A1-80E6-8BD20F6B24F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US" sz="1400" baseline="0">
                <a:latin typeface="+mn-lt"/>
                <a:ea typeface="+mn-ea"/>
              </a:endParaRPr>
            </a:p>
          </p:txBody>
        </p:sp>
        <p:sp>
          <p:nvSpPr>
            <p:cNvPr id="22" name="LineLegend2" hidden="1">
              <a:extLst>
                <a:ext uri="{FF2B5EF4-FFF2-40B4-BE49-F238E27FC236}">
                  <a16:creationId xmlns:a16="http://schemas.microsoft.com/office/drawing/2014/main" id="{4FD03B1A-C557-8027-6594-3AC80D2A1DC2}"/>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US" sz="1400" baseline="0">
                <a:latin typeface="+mn-lt"/>
                <a:ea typeface="+mn-ea"/>
              </a:endParaRPr>
            </a:p>
          </p:txBody>
        </p:sp>
        <p:sp>
          <p:nvSpPr>
            <p:cNvPr id="23" name="LineLegend1" hidden="1">
              <a:extLst>
                <a:ext uri="{FF2B5EF4-FFF2-40B4-BE49-F238E27FC236}">
                  <a16:creationId xmlns:a16="http://schemas.microsoft.com/office/drawing/2014/main" id="{22B705C1-B674-9C4A-6AA0-64E7EEA1D229}"/>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US" sz="1400" baseline="0">
                <a:latin typeface="+mn-lt"/>
                <a:ea typeface="+mn-ea"/>
              </a:endParaRPr>
            </a:p>
          </p:txBody>
        </p:sp>
      </p:grpSp>
      <p:grpSp>
        <p:nvGrpSpPr>
          <p:cNvPr id="24" name="LegendMoons" hidden="1">
            <a:extLst>
              <a:ext uri="{FF2B5EF4-FFF2-40B4-BE49-F238E27FC236}">
                <a16:creationId xmlns:a16="http://schemas.microsoft.com/office/drawing/2014/main" id="{0324EFB0-273C-99C4-F729-B948BC1025FF}"/>
              </a:ext>
            </a:extLst>
          </p:cNvPr>
          <p:cNvGrpSpPr/>
          <p:nvPr userDrawn="1"/>
        </p:nvGrpSpPr>
        <p:grpSpPr>
          <a:xfrm>
            <a:off x="10688315" y="1415983"/>
            <a:ext cx="948949" cy="1731859"/>
            <a:chOff x="7716535" y="2630582"/>
            <a:chExt cx="948949" cy="1731859"/>
          </a:xfrm>
        </p:grpSpPr>
        <p:sp>
          <p:nvSpPr>
            <p:cNvPr id="25" name="Legend1" hidden="1">
              <a:extLst>
                <a:ext uri="{FF2B5EF4-FFF2-40B4-BE49-F238E27FC236}">
                  <a16:creationId xmlns:a16="http://schemas.microsoft.com/office/drawing/2014/main" id="{987B546B-B5E7-555B-F848-8B4CD8443AA6}"/>
                </a:ext>
              </a:extLst>
            </p:cNvPr>
            <p:cNvSpPr txBox="1"/>
            <p:nvPr/>
          </p:nvSpPr>
          <p:spPr>
            <a:xfrm>
              <a:off x="8069167" y="2637941"/>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26" name="Legend2" hidden="1">
              <a:extLst>
                <a:ext uri="{FF2B5EF4-FFF2-40B4-BE49-F238E27FC236}">
                  <a16:creationId xmlns:a16="http://schemas.microsoft.com/office/drawing/2014/main" id="{A88F80FC-835E-CB34-4E8A-39C2FA1879BD}"/>
                </a:ext>
              </a:extLst>
            </p:cNvPr>
            <p:cNvSpPr txBox="1"/>
            <p:nvPr/>
          </p:nvSpPr>
          <p:spPr>
            <a:xfrm>
              <a:off x="8069167" y="3013400"/>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27" name="Legend3" hidden="1">
              <a:extLst>
                <a:ext uri="{FF2B5EF4-FFF2-40B4-BE49-F238E27FC236}">
                  <a16:creationId xmlns:a16="http://schemas.microsoft.com/office/drawing/2014/main" id="{2AD87412-4D07-BC5F-18FE-BF4C3A77C967}"/>
                </a:ext>
              </a:extLst>
            </p:cNvPr>
            <p:cNvSpPr txBox="1"/>
            <p:nvPr/>
          </p:nvSpPr>
          <p:spPr>
            <a:xfrm>
              <a:off x="8069167" y="3388859"/>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28" name="Legend4" hidden="1">
              <a:extLst>
                <a:ext uri="{FF2B5EF4-FFF2-40B4-BE49-F238E27FC236}">
                  <a16:creationId xmlns:a16="http://schemas.microsoft.com/office/drawing/2014/main" id="{6BC8C249-47D4-1CCA-78D6-F6FDFBA7F143}"/>
                </a:ext>
              </a:extLst>
            </p:cNvPr>
            <p:cNvSpPr txBox="1"/>
            <p:nvPr/>
          </p:nvSpPr>
          <p:spPr>
            <a:xfrm>
              <a:off x="8069167" y="3764318"/>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29" name="Legend5" hidden="1">
              <a:extLst>
                <a:ext uri="{FF2B5EF4-FFF2-40B4-BE49-F238E27FC236}">
                  <a16:creationId xmlns:a16="http://schemas.microsoft.com/office/drawing/2014/main" id="{B29432FB-91F1-A55A-82C5-F3C9E195E3D5}"/>
                </a:ext>
              </a:extLst>
            </p:cNvPr>
            <p:cNvSpPr txBox="1"/>
            <p:nvPr/>
          </p:nvSpPr>
          <p:spPr>
            <a:xfrm>
              <a:off x="8069167" y="4139779"/>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grpSp>
          <p:nvGrpSpPr>
            <p:cNvPr id="30" name="MoonLegend1" hidden="1">
              <a:extLst>
                <a:ext uri="{FF2B5EF4-FFF2-40B4-BE49-F238E27FC236}">
                  <a16:creationId xmlns:a16="http://schemas.microsoft.com/office/drawing/2014/main" id="{0FD2EC08-D3E4-7785-8B89-030DAB1BAB50}"/>
                </a:ext>
              </a:extLst>
            </p:cNvPr>
            <p:cNvGrpSpPr>
              <a:grpSpLocks noChangeAspect="1"/>
            </p:cNvGrpSpPr>
            <p:nvPr>
              <p:custDataLst>
                <p:tags r:id="rId25"/>
              </p:custDataLst>
            </p:nvPr>
          </p:nvGrpSpPr>
          <p:grpSpPr>
            <a:xfrm>
              <a:off x="7716535" y="2630582"/>
              <a:ext cx="228600" cy="228600"/>
              <a:chOff x="762000" y="1270000"/>
              <a:chExt cx="254000" cy="254000"/>
            </a:xfrm>
          </p:grpSpPr>
          <p:sp>
            <p:nvSpPr>
              <p:cNvPr id="43" name="Oval 42" hidden="1">
                <a:extLst>
                  <a:ext uri="{FF2B5EF4-FFF2-40B4-BE49-F238E27FC236}">
                    <a16:creationId xmlns:a16="http://schemas.microsoft.com/office/drawing/2014/main" id="{DF9FB4E0-9DB9-69B6-1225-3A4827F25688}"/>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a:solidFill>
                    <a:schemeClr val="tx1"/>
                  </a:solidFill>
                </a:endParaRPr>
              </a:p>
            </p:txBody>
          </p:sp>
          <p:sp>
            <p:nvSpPr>
              <p:cNvPr id="44" name="Arc 43" hidden="1">
                <a:extLst>
                  <a:ext uri="{FF2B5EF4-FFF2-40B4-BE49-F238E27FC236}">
                    <a16:creationId xmlns:a16="http://schemas.microsoft.com/office/drawing/2014/main" id="{20C8D204-52CC-FE1C-725C-E7887EAC993E}"/>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a:p>
            </p:txBody>
          </p:sp>
        </p:grpSp>
        <p:grpSp>
          <p:nvGrpSpPr>
            <p:cNvPr id="31" name="MoonLegend2" hidden="1">
              <a:extLst>
                <a:ext uri="{FF2B5EF4-FFF2-40B4-BE49-F238E27FC236}">
                  <a16:creationId xmlns:a16="http://schemas.microsoft.com/office/drawing/2014/main" id="{7EEEA805-6B5B-2763-2C0E-E91635ACA692}"/>
                </a:ext>
              </a:extLst>
            </p:cNvPr>
            <p:cNvGrpSpPr>
              <a:grpSpLocks noChangeAspect="1"/>
            </p:cNvGrpSpPr>
            <p:nvPr>
              <p:custDataLst>
                <p:tags r:id="rId26"/>
              </p:custDataLst>
            </p:nvPr>
          </p:nvGrpSpPr>
          <p:grpSpPr>
            <a:xfrm>
              <a:off x="7716535" y="3006395"/>
              <a:ext cx="228600" cy="228600"/>
              <a:chOff x="762000" y="1270000"/>
              <a:chExt cx="254000" cy="254000"/>
            </a:xfrm>
          </p:grpSpPr>
          <p:sp>
            <p:nvSpPr>
              <p:cNvPr id="41" name="Oval 40" hidden="1">
                <a:extLst>
                  <a:ext uri="{FF2B5EF4-FFF2-40B4-BE49-F238E27FC236}">
                    <a16:creationId xmlns:a16="http://schemas.microsoft.com/office/drawing/2014/main" id="{03C584E4-BED2-8B3A-8998-E960E070E936}"/>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a:solidFill>
                    <a:schemeClr val="tx1"/>
                  </a:solidFill>
                </a:endParaRPr>
              </a:p>
            </p:txBody>
          </p:sp>
          <p:sp>
            <p:nvSpPr>
              <p:cNvPr id="42" name="Arc 41" hidden="1">
                <a:extLst>
                  <a:ext uri="{FF2B5EF4-FFF2-40B4-BE49-F238E27FC236}">
                    <a16:creationId xmlns:a16="http://schemas.microsoft.com/office/drawing/2014/main" id="{36E5C201-CDF1-D704-408E-AE0DBD60E34C}"/>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a:p>
            </p:txBody>
          </p:sp>
        </p:grpSp>
        <p:grpSp>
          <p:nvGrpSpPr>
            <p:cNvPr id="32" name="MoonLegend3" hidden="1">
              <a:extLst>
                <a:ext uri="{FF2B5EF4-FFF2-40B4-BE49-F238E27FC236}">
                  <a16:creationId xmlns:a16="http://schemas.microsoft.com/office/drawing/2014/main" id="{7A670C50-FF9C-D595-2C51-FBC54AECE0E2}"/>
                </a:ext>
              </a:extLst>
            </p:cNvPr>
            <p:cNvGrpSpPr>
              <a:grpSpLocks noChangeAspect="1"/>
            </p:cNvGrpSpPr>
            <p:nvPr>
              <p:custDataLst>
                <p:tags r:id="rId27"/>
              </p:custDataLst>
            </p:nvPr>
          </p:nvGrpSpPr>
          <p:grpSpPr>
            <a:xfrm>
              <a:off x="7716535" y="3382210"/>
              <a:ext cx="228600" cy="228600"/>
              <a:chOff x="762000" y="1270000"/>
              <a:chExt cx="254000" cy="254000"/>
            </a:xfrm>
          </p:grpSpPr>
          <p:sp>
            <p:nvSpPr>
              <p:cNvPr id="39" name="Oval 38" hidden="1">
                <a:extLst>
                  <a:ext uri="{FF2B5EF4-FFF2-40B4-BE49-F238E27FC236}">
                    <a16:creationId xmlns:a16="http://schemas.microsoft.com/office/drawing/2014/main" id="{AA1D5830-773B-DA01-77E6-BD4646609326}"/>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a:solidFill>
                    <a:schemeClr val="tx1"/>
                  </a:solidFill>
                </a:endParaRPr>
              </a:p>
            </p:txBody>
          </p:sp>
          <p:sp>
            <p:nvSpPr>
              <p:cNvPr id="40" name="Arc 39" hidden="1">
                <a:extLst>
                  <a:ext uri="{FF2B5EF4-FFF2-40B4-BE49-F238E27FC236}">
                    <a16:creationId xmlns:a16="http://schemas.microsoft.com/office/drawing/2014/main" id="{0753C1F2-8F2E-4B5A-C454-B9F7861F4C91}"/>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a:p>
            </p:txBody>
          </p:sp>
        </p:grpSp>
        <p:grpSp>
          <p:nvGrpSpPr>
            <p:cNvPr id="33" name="MoonLegend4" hidden="1">
              <a:extLst>
                <a:ext uri="{FF2B5EF4-FFF2-40B4-BE49-F238E27FC236}">
                  <a16:creationId xmlns:a16="http://schemas.microsoft.com/office/drawing/2014/main" id="{946B314A-3B8A-F2D5-A247-116D16C0511D}"/>
                </a:ext>
              </a:extLst>
            </p:cNvPr>
            <p:cNvGrpSpPr>
              <a:grpSpLocks noChangeAspect="1"/>
            </p:cNvGrpSpPr>
            <p:nvPr>
              <p:custDataLst>
                <p:tags r:id="rId28"/>
              </p:custDataLst>
            </p:nvPr>
          </p:nvGrpSpPr>
          <p:grpSpPr>
            <a:xfrm>
              <a:off x="7716535" y="3758025"/>
              <a:ext cx="228600" cy="228600"/>
              <a:chOff x="762000" y="1270000"/>
              <a:chExt cx="254000" cy="254000"/>
            </a:xfrm>
          </p:grpSpPr>
          <p:sp>
            <p:nvSpPr>
              <p:cNvPr id="37" name="Oval 36" hidden="1">
                <a:extLst>
                  <a:ext uri="{FF2B5EF4-FFF2-40B4-BE49-F238E27FC236}">
                    <a16:creationId xmlns:a16="http://schemas.microsoft.com/office/drawing/2014/main" id="{8C821233-8A60-825F-A21C-7D68ACA7773D}"/>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a:solidFill>
                    <a:schemeClr val="tx1"/>
                  </a:solidFill>
                </a:endParaRPr>
              </a:p>
            </p:txBody>
          </p:sp>
          <p:sp>
            <p:nvSpPr>
              <p:cNvPr id="38" name="Arc 37" hidden="1">
                <a:extLst>
                  <a:ext uri="{FF2B5EF4-FFF2-40B4-BE49-F238E27FC236}">
                    <a16:creationId xmlns:a16="http://schemas.microsoft.com/office/drawing/2014/main" id="{BA9005D9-45C6-45F9-DA2E-E1ED21E950DE}"/>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a:p>
            </p:txBody>
          </p:sp>
        </p:grpSp>
        <p:grpSp>
          <p:nvGrpSpPr>
            <p:cNvPr id="34" name="MoonLegend5" hidden="1">
              <a:extLst>
                <a:ext uri="{FF2B5EF4-FFF2-40B4-BE49-F238E27FC236}">
                  <a16:creationId xmlns:a16="http://schemas.microsoft.com/office/drawing/2014/main" id="{DF0C3011-BB36-F818-01CF-EBF44C5ED21D}"/>
                </a:ext>
              </a:extLst>
            </p:cNvPr>
            <p:cNvGrpSpPr>
              <a:grpSpLocks noChangeAspect="1"/>
            </p:cNvGrpSpPr>
            <p:nvPr>
              <p:custDataLst>
                <p:tags r:id="rId29"/>
              </p:custDataLst>
            </p:nvPr>
          </p:nvGrpSpPr>
          <p:grpSpPr>
            <a:xfrm>
              <a:off x="7716535" y="4133841"/>
              <a:ext cx="228600" cy="228600"/>
              <a:chOff x="762000" y="1270000"/>
              <a:chExt cx="254000" cy="254000"/>
            </a:xfrm>
          </p:grpSpPr>
          <p:sp>
            <p:nvSpPr>
              <p:cNvPr id="35" name="Oval 34" hidden="1">
                <a:extLst>
                  <a:ext uri="{FF2B5EF4-FFF2-40B4-BE49-F238E27FC236}">
                    <a16:creationId xmlns:a16="http://schemas.microsoft.com/office/drawing/2014/main" id="{38ABF2D4-D8ED-4741-7CA1-424189225D4B}"/>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a:solidFill>
                    <a:schemeClr val="tx1"/>
                  </a:solidFill>
                </a:endParaRPr>
              </a:p>
            </p:txBody>
          </p:sp>
          <p:sp>
            <p:nvSpPr>
              <p:cNvPr id="36" name="Arc 35" hidden="1">
                <a:extLst>
                  <a:ext uri="{FF2B5EF4-FFF2-40B4-BE49-F238E27FC236}">
                    <a16:creationId xmlns:a16="http://schemas.microsoft.com/office/drawing/2014/main" id="{28A41405-5725-4EF6-0CDB-92E05D890C9D}"/>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a:p>
            </p:txBody>
          </p:sp>
        </p:grpSp>
      </p:grpSp>
      <p:grpSp>
        <p:nvGrpSpPr>
          <p:cNvPr id="45" name="Group 44">
            <a:extLst>
              <a:ext uri="{FF2B5EF4-FFF2-40B4-BE49-F238E27FC236}">
                <a16:creationId xmlns:a16="http://schemas.microsoft.com/office/drawing/2014/main" id="{08D73E35-AB61-13B2-CAFF-A231CB79A945}"/>
              </a:ext>
            </a:extLst>
          </p:cNvPr>
          <p:cNvGrpSpPr>
            <a:grpSpLocks/>
          </p:cNvGrpSpPr>
          <p:nvPr userDrawn="1"/>
        </p:nvGrpSpPr>
        <p:grpSpPr>
          <a:xfrm>
            <a:off x="9982200" y="6279859"/>
            <a:ext cx="1330325" cy="397630"/>
            <a:chOff x="7954129" y="702228"/>
            <a:chExt cx="3335704" cy="997031"/>
          </a:xfrm>
        </p:grpSpPr>
        <p:pic>
          <p:nvPicPr>
            <p:cNvPr id="46" name="Picture 45">
              <a:extLst>
                <a:ext uri="{FF2B5EF4-FFF2-40B4-BE49-F238E27FC236}">
                  <a16:creationId xmlns:a16="http://schemas.microsoft.com/office/drawing/2014/main" id="{C9F24590-0AAA-5832-3999-FD515356D0D6}"/>
                </a:ext>
              </a:extLst>
            </p:cNvPr>
            <p:cNvPicPr>
              <a:picLocks/>
            </p:cNvPicPr>
            <p:nvPr userDrawn="1"/>
          </p:nvPicPr>
          <p:blipFill>
            <a:blip r:embed="rId43" cstate="email">
              <a:extLst>
                <a:ext uri="{28A0092B-C50C-407E-A947-70E740481C1C}">
                  <a14:useLocalDpi xmlns:a14="http://schemas.microsoft.com/office/drawing/2010/main"/>
                </a:ext>
              </a:extLst>
            </a:blip>
            <a:stretch>
              <a:fillRect/>
            </a:stretch>
          </p:blipFill>
          <p:spPr>
            <a:xfrm>
              <a:off x="7954129" y="702228"/>
              <a:ext cx="1056488" cy="997031"/>
            </a:xfrm>
            <a:prstGeom prst="rect">
              <a:avLst/>
            </a:prstGeom>
          </p:spPr>
        </p:pic>
        <p:pic>
          <p:nvPicPr>
            <p:cNvPr id="47" name="Picture 46">
              <a:extLst>
                <a:ext uri="{FF2B5EF4-FFF2-40B4-BE49-F238E27FC236}">
                  <a16:creationId xmlns:a16="http://schemas.microsoft.com/office/drawing/2014/main" id="{BB883E12-8704-41E6-660C-7DE93F0D3F60}"/>
                </a:ext>
              </a:extLst>
            </p:cNvPr>
            <p:cNvPicPr>
              <a:picLocks/>
            </p:cNvPicPr>
            <p:nvPr userDrawn="1"/>
          </p:nvPicPr>
          <p:blipFill>
            <a:blip r:embed="rId44" cstate="email">
              <a:extLst>
                <a:ext uri="{BEBA8EAE-BF5A-486C-A8C5-ECC9F3942E4B}">
                  <a14:imgProps xmlns:a14="http://schemas.microsoft.com/office/drawing/2010/main">
                    <a14:imgLayer r:embed="rId45">
                      <a14:imgEffect>
                        <a14:brightnessContrast bright="100000"/>
                      </a14:imgEffect>
                    </a14:imgLayer>
                  </a14:imgProps>
                </a:ext>
                <a:ext uri="{28A0092B-C50C-407E-A947-70E740481C1C}">
                  <a14:useLocalDpi xmlns:a14="http://schemas.microsoft.com/office/drawing/2010/main"/>
                </a:ext>
              </a:extLst>
            </a:blip>
            <a:stretch>
              <a:fillRect/>
            </a:stretch>
          </p:blipFill>
          <p:spPr>
            <a:xfrm>
              <a:off x="9263203" y="821761"/>
              <a:ext cx="2026630" cy="837682"/>
            </a:xfrm>
            <a:prstGeom prst="rect">
              <a:avLst/>
            </a:prstGeom>
          </p:spPr>
        </p:pic>
      </p:grpSp>
    </p:spTree>
    <p:extLst>
      <p:ext uri="{BB962C8B-B14F-4D97-AF65-F5344CB8AC3E}">
        <p14:creationId xmlns:p14="http://schemas.microsoft.com/office/powerpoint/2010/main" val="3386525249"/>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98" r:id="rId3"/>
    <p:sldLayoutId id="2147483867" r:id="rId4"/>
    <p:sldLayoutId id="2147483868" r:id="rId5"/>
    <p:sldLayoutId id="2147483870" r:id="rId6"/>
    <p:sldLayoutId id="2147483871" r:id="rId7"/>
    <p:sldLayoutId id="2147483888" r:id="rId8"/>
    <p:sldLayoutId id="2147483889" r:id="rId9"/>
    <p:sldLayoutId id="2147483890" r:id="rId10"/>
    <p:sldLayoutId id="2147483891" r:id="rId11"/>
    <p:sldLayoutId id="2147483892" r:id="rId12"/>
    <p:sldLayoutId id="2147483894" r:id="rId13"/>
    <p:sldLayoutId id="2147483895" r:id="rId14"/>
    <p:sldLayoutId id="2147483896" r:id="rId15"/>
    <p:sldLayoutId id="2147483893" r:id="rId16"/>
    <p:sldLayoutId id="2147483877" r:id="rId17"/>
    <p:sldLayoutId id="2147483878" r:id="rId18"/>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71" userDrawn="1">
          <p15:clr>
            <a:srgbClr val="5ACBF0"/>
          </p15:clr>
        </p15:guide>
        <p15:guide id="3" orient="horz" pos="3912">
          <p15:clr>
            <a:srgbClr val="5ACBF0"/>
          </p15:clr>
        </p15:guide>
        <p15:guide id="4" orient="horz" pos="883" userDrawn="1">
          <p15:clr>
            <a:srgbClr val="F26B43"/>
          </p15:clr>
        </p15:guide>
        <p15:guide id="5" pos="7329">
          <p15:clr>
            <a:srgbClr val="F26B43"/>
          </p15:clr>
        </p15:guide>
        <p15:guide id="6" pos="345">
          <p15:clr>
            <a:srgbClr val="F26B43"/>
          </p15:clr>
        </p15:guide>
        <p15:guide id="8" orient="horz" pos="3952"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7"/>
            </p:custDataLst>
            <p:extLst>
              <p:ext uri="{D42A27DB-BD31-4B8C-83A1-F6EECF244321}">
                <p14:modId xmlns:p14="http://schemas.microsoft.com/office/powerpoint/2010/main" val="21446459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7" imgW="413" imgH="416" progId="TCLayout.ActiveDocument.1">
                  <p:embed/>
                </p:oleObj>
              </mc:Choice>
              <mc:Fallback>
                <p:oleObj name="think-cell Slide" r:id="rId37"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1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grpSp>
        <p:nvGrpSpPr>
          <p:cNvPr id="170" name="Grid" hidden="1">
            <a:extLst>
              <a:ext uri="{FF2B5EF4-FFF2-40B4-BE49-F238E27FC236}">
                <a16:creationId xmlns:a16="http://schemas.microsoft.com/office/drawing/2014/main" id="{3BBFEB30-B5C9-4D5C-9A82-066C6BF363E3}"/>
              </a:ext>
            </a:extLst>
          </p:cNvPr>
          <p:cNvGrpSpPr/>
          <p:nvPr userDrawn="1"/>
        </p:nvGrpSpPr>
        <p:grpSpPr>
          <a:xfrm>
            <a:off x="0" y="0"/>
            <a:ext cx="12190476" cy="6858000"/>
            <a:chOff x="0" y="0"/>
            <a:chExt cx="12190476" cy="6858000"/>
          </a:xfrm>
        </p:grpSpPr>
        <p:sp>
          <p:nvSpPr>
            <p:cNvPr id="171" name="Freeform: Shape 170">
              <a:extLst>
                <a:ext uri="{FF2B5EF4-FFF2-40B4-BE49-F238E27FC236}">
                  <a16:creationId xmlns:a16="http://schemas.microsoft.com/office/drawing/2014/main" id="{950B3518-D8B6-4062-A4CE-0C1A1A286FE1}"/>
                </a:ext>
              </a:extLst>
            </p:cNvPr>
            <p:cNvSpPr/>
            <p:nvPr userDrawn="1"/>
          </p:nvSpPr>
          <p:spPr bwMode="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172" name="Freeform: Shape 171">
              <a:extLst>
                <a:ext uri="{FF2B5EF4-FFF2-40B4-BE49-F238E27FC236}">
                  <a16:creationId xmlns:a16="http://schemas.microsoft.com/office/drawing/2014/main" id="{EC45F528-EF91-4619-AF16-5D11F63D2FFC}"/>
                </a:ext>
              </a:extLst>
            </p:cNvPr>
            <p:cNvSpPr/>
            <p:nvPr/>
          </p:nvSpPr>
          <p:spPr bwMode="gray">
            <a:xfrm>
              <a:off x="1524" y="0"/>
              <a:ext cx="12188952" cy="6858000"/>
            </a:xfrm>
            <a:custGeom>
              <a:avLst/>
              <a:gdLst>
                <a:gd name="connsiteX0" fmla="*/ 553212 w 12188952"/>
                <a:gd name="connsiteY0" fmla="*/ 1405610 h 6858000"/>
                <a:gd name="connsiteX1" fmla="*/ 553212 w 12188952"/>
                <a:gd name="connsiteY1" fmla="*/ 1709928 h 6858000"/>
                <a:gd name="connsiteX2" fmla="*/ 551868 w 12188952"/>
                <a:gd name="connsiteY2" fmla="*/ 1709928 h 6858000"/>
                <a:gd name="connsiteX3" fmla="*/ 551868 w 12188952"/>
                <a:gd name="connsiteY3" fmla="*/ 6217920 h 6858000"/>
                <a:gd name="connsiteX4" fmla="*/ 553212 w 12188952"/>
                <a:gd name="connsiteY4" fmla="*/ 6217920 h 6858000"/>
                <a:gd name="connsiteX5" fmla="*/ 11635740 w 12188952"/>
                <a:gd name="connsiteY5" fmla="*/ 6217920 h 6858000"/>
                <a:gd name="connsiteX6" fmla="*/ 11636196 w 12188952"/>
                <a:gd name="connsiteY6" fmla="*/ 6217920 h 6858000"/>
                <a:gd name="connsiteX7" fmla="*/ 11636196 w 12188952"/>
                <a:gd name="connsiteY7" fmla="*/ 1709928 h 6858000"/>
                <a:gd name="connsiteX8" fmla="*/ 11635740 w 12188952"/>
                <a:gd name="connsiteY8" fmla="*/ 1709928 h 6858000"/>
                <a:gd name="connsiteX9" fmla="*/ 11635740 w 12188952"/>
                <a:gd name="connsiteY9" fmla="*/ 1405610 h 6858000"/>
                <a:gd name="connsiteX10" fmla="*/ 0 w 12188952"/>
                <a:gd name="connsiteY10" fmla="*/ 0 h 6858000"/>
                <a:gd name="connsiteX11" fmla="*/ 12188952 w 12188952"/>
                <a:gd name="connsiteY11" fmla="*/ 0 h 6858000"/>
                <a:gd name="connsiteX12" fmla="*/ 12188952 w 12188952"/>
                <a:gd name="connsiteY12" fmla="*/ 6858000 h 6858000"/>
                <a:gd name="connsiteX13" fmla="*/ 0 w 12188952"/>
                <a:gd name="connsiteY1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8952" h="6858000">
                  <a:moveTo>
                    <a:pt x="553212" y="1405610"/>
                  </a:moveTo>
                  <a:lnTo>
                    <a:pt x="553212" y="1709928"/>
                  </a:lnTo>
                  <a:lnTo>
                    <a:pt x="551868" y="1709928"/>
                  </a:lnTo>
                  <a:lnTo>
                    <a:pt x="551868" y="6217920"/>
                  </a:lnTo>
                  <a:lnTo>
                    <a:pt x="553212" y="6217920"/>
                  </a:lnTo>
                  <a:lnTo>
                    <a:pt x="11635740" y="6217920"/>
                  </a:lnTo>
                  <a:lnTo>
                    <a:pt x="11636196" y="6217920"/>
                  </a:lnTo>
                  <a:lnTo>
                    <a:pt x="11636196" y="1709928"/>
                  </a:lnTo>
                  <a:lnTo>
                    <a:pt x="11635740" y="1709928"/>
                  </a:lnTo>
                  <a:lnTo>
                    <a:pt x="11635740" y="1405610"/>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rtl="0"/>
              <a:endParaRPr lang="en-US">
                <a:solidFill>
                  <a:schemeClr val="tx1"/>
                </a:solidFill>
                <a:latin typeface="+mn-lt"/>
              </a:endParaRPr>
            </a:p>
          </p:txBody>
        </p:sp>
        <p:cxnSp>
          <p:nvCxnSpPr>
            <p:cNvPr id="173" name="Straight Connector 172">
              <a:extLst>
                <a:ext uri="{FF2B5EF4-FFF2-40B4-BE49-F238E27FC236}">
                  <a16:creationId xmlns:a16="http://schemas.microsoft.com/office/drawing/2014/main" id="{77ABF7BA-0428-4141-8351-03A2727DECBD}"/>
                </a:ext>
              </a:extLst>
            </p:cNvPr>
            <p:cNvCxnSpPr/>
            <p:nvPr/>
          </p:nvCxnSpPr>
          <p:spPr bwMode="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94EB93D9-2FE5-4212-8DB4-7A0327E33766}"/>
                </a:ext>
              </a:extLst>
            </p:cNvPr>
            <p:cNvCxnSpPr/>
            <p:nvPr/>
          </p:nvCxnSpPr>
          <p:spPr bwMode="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C2F34081-E688-4287-A553-264328F1E1E1}"/>
                </a:ext>
              </a:extLst>
            </p:cNvPr>
            <p:cNvCxnSpPr/>
            <p:nvPr/>
          </p:nvCxnSpPr>
          <p:spPr bwMode="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6868CDEE-044B-4D04-A5D3-6A526BE51179}"/>
                </a:ext>
              </a:extLst>
            </p:cNvPr>
            <p:cNvCxnSpPr/>
            <p:nvPr/>
          </p:nvCxnSpPr>
          <p:spPr bwMode="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0100C653-5CFA-4B3C-BD97-47499B419B53}"/>
                </a:ext>
              </a:extLst>
            </p:cNvPr>
            <p:cNvCxnSpPr/>
            <p:nvPr/>
          </p:nvCxnSpPr>
          <p:spPr bwMode="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8" name="Straight Connector 177">
              <a:extLst>
                <a:ext uri="{FF2B5EF4-FFF2-40B4-BE49-F238E27FC236}">
                  <a16:creationId xmlns:a16="http://schemas.microsoft.com/office/drawing/2014/main" id="{F21F5AB2-1154-4ACD-832F-CB2539EE783F}"/>
                </a:ext>
              </a:extLst>
            </p:cNvPr>
            <p:cNvCxnSpPr/>
            <p:nvPr/>
          </p:nvCxnSpPr>
          <p:spPr bwMode="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466910D2-AFA9-4FD1-8D04-D99BB3645452}"/>
                </a:ext>
              </a:extLst>
            </p:cNvPr>
            <p:cNvCxnSpPr/>
            <p:nvPr/>
          </p:nvCxnSpPr>
          <p:spPr bwMode="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a16="http://schemas.microsoft.com/office/drawing/2014/main" id="{1769A11B-0399-4716-A212-6F179313A427}"/>
                </a:ext>
              </a:extLst>
            </p:cNvPr>
            <p:cNvCxnSpPr/>
            <p:nvPr/>
          </p:nvCxnSpPr>
          <p:spPr bwMode="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99" name="Straight Connector 198">
              <a:extLst>
                <a:ext uri="{FF2B5EF4-FFF2-40B4-BE49-F238E27FC236}">
                  <a16:creationId xmlns:a16="http://schemas.microsoft.com/office/drawing/2014/main" id="{2CB3272D-021B-49B8-92A5-D1DEB3202AE0}"/>
                </a:ext>
              </a:extLst>
            </p:cNvPr>
            <p:cNvCxnSpPr/>
            <p:nvPr/>
          </p:nvCxnSpPr>
          <p:spPr bwMode="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0" name="Straight Connector 199">
              <a:extLst>
                <a:ext uri="{FF2B5EF4-FFF2-40B4-BE49-F238E27FC236}">
                  <a16:creationId xmlns:a16="http://schemas.microsoft.com/office/drawing/2014/main" id="{61701AE9-04C5-4AD4-8DEE-873680FD231F}"/>
                </a:ext>
              </a:extLst>
            </p:cNvPr>
            <p:cNvCxnSpPr/>
            <p:nvPr/>
          </p:nvCxnSpPr>
          <p:spPr bwMode="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1" name="Straight Connector 200">
              <a:extLst>
                <a:ext uri="{FF2B5EF4-FFF2-40B4-BE49-F238E27FC236}">
                  <a16:creationId xmlns:a16="http://schemas.microsoft.com/office/drawing/2014/main" id="{4050D91B-89C3-45DE-BE0C-1430E2BE6F4B}"/>
                </a:ext>
              </a:extLst>
            </p:cNvPr>
            <p:cNvCxnSpPr/>
            <p:nvPr/>
          </p:nvCxnSpPr>
          <p:spPr bwMode="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2" name="Straight Connector 201">
              <a:extLst>
                <a:ext uri="{FF2B5EF4-FFF2-40B4-BE49-F238E27FC236}">
                  <a16:creationId xmlns:a16="http://schemas.microsoft.com/office/drawing/2014/main" id="{68E5EF5D-0D94-4FCE-8BE2-F0790F7B1879}"/>
                </a:ext>
              </a:extLst>
            </p:cNvPr>
            <p:cNvCxnSpPr/>
            <p:nvPr/>
          </p:nvCxnSpPr>
          <p:spPr bwMode="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203" name="Freeform: Shape 202">
              <a:extLst>
                <a:ext uri="{FF2B5EF4-FFF2-40B4-BE49-F238E27FC236}">
                  <a16:creationId xmlns:a16="http://schemas.microsoft.com/office/drawing/2014/main" id="{205F8351-710E-49E9-A523-EA0755B417C5}"/>
                </a:ext>
              </a:extLst>
            </p:cNvPr>
            <p:cNvSpPr/>
            <p:nvPr/>
          </p:nvSpPr>
          <p:spPr bwMode="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04" name="Freeform: Shape 203">
              <a:extLst>
                <a:ext uri="{FF2B5EF4-FFF2-40B4-BE49-F238E27FC236}">
                  <a16:creationId xmlns:a16="http://schemas.microsoft.com/office/drawing/2014/main" id="{47C1C31B-A122-4A09-9500-27B0684B272F}"/>
                </a:ext>
              </a:extLst>
            </p:cNvPr>
            <p:cNvSpPr/>
            <p:nvPr/>
          </p:nvSpPr>
          <p:spPr bwMode="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05" name="Freeform: Shape 204">
              <a:extLst>
                <a:ext uri="{FF2B5EF4-FFF2-40B4-BE49-F238E27FC236}">
                  <a16:creationId xmlns:a16="http://schemas.microsoft.com/office/drawing/2014/main" id="{7DF86859-7D4B-4DA1-91AA-0992644F5903}"/>
                </a:ext>
              </a:extLst>
            </p:cNvPr>
            <p:cNvSpPr/>
            <p:nvPr/>
          </p:nvSpPr>
          <p:spPr bwMode="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06" name="Freeform: Shape 205">
              <a:extLst>
                <a:ext uri="{FF2B5EF4-FFF2-40B4-BE49-F238E27FC236}">
                  <a16:creationId xmlns:a16="http://schemas.microsoft.com/office/drawing/2014/main" id="{3DC3E9CA-569C-4414-A75A-C805A4A40B64}"/>
                </a:ext>
              </a:extLst>
            </p:cNvPr>
            <p:cNvSpPr/>
            <p:nvPr/>
          </p:nvSpPr>
          <p:spPr bwMode="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07" name="Freeform: Shape 206">
              <a:extLst>
                <a:ext uri="{FF2B5EF4-FFF2-40B4-BE49-F238E27FC236}">
                  <a16:creationId xmlns:a16="http://schemas.microsoft.com/office/drawing/2014/main" id="{B532C466-D8D3-43AC-995C-2B54885AC096}"/>
                </a:ext>
              </a:extLst>
            </p:cNvPr>
            <p:cNvSpPr/>
            <p:nvPr/>
          </p:nvSpPr>
          <p:spPr bwMode="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08" name="Freeform: Shape 207">
              <a:extLst>
                <a:ext uri="{FF2B5EF4-FFF2-40B4-BE49-F238E27FC236}">
                  <a16:creationId xmlns:a16="http://schemas.microsoft.com/office/drawing/2014/main" id="{B0920AE1-B909-471F-9E77-7C3A31509F84}"/>
                </a:ext>
              </a:extLst>
            </p:cNvPr>
            <p:cNvSpPr/>
            <p:nvPr/>
          </p:nvSpPr>
          <p:spPr bwMode="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09" name="Freeform: Shape 208">
              <a:extLst>
                <a:ext uri="{FF2B5EF4-FFF2-40B4-BE49-F238E27FC236}">
                  <a16:creationId xmlns:a16="http://schemas.microsoft.com/office/drawing/2014/main" id="{2A1E8190-F3C6-4BF7-97E3-90F3FC84746E}"/>
                </a:ext>
              </a:extLst>
            </p:cNvPr>
            <p:cNvSpPr/>
            <p:nvPr/>
          </p:nvSpPr>
          <p:spPr bwMode="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0" name="Freeform: Shape 209">
              <a:extLst>
                <a:ext uri="{FF2B5EF4-FFF2-40B4-BE49-F238E27FC236}">
                  <a16:creationId xmlns:a16="http://schemas.microsoft.com/office/drawing/2014/main" id="{33B1FC28-C9D6-4928-BCCE-9873C7DEEFDE}"/>
                </a:ext>
              </a:extLst>
            </p:cNvPr>
            <p:cNvSpPr/>
            <p:nvPr/>
          </p:nvSpPr>
          <p:spPr bwMode="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1" name="Freeform: Shape 210">
              <a:extLst>
                <a:ext uri="{FF2B5EF4-FFF2-40B4-BE49-F238E27FC236}">
                  <a16:creationId xmlns:a16="http://schemas.microsoft.com/office/drawing/2014/main" id="{13C9C1F2-E745-44A5-AEA3-9DE0D69F2B15}"/>
                </a:ext>
              </a:extLst>
            </p:cNvPr>
            <p:cNvSpPr/>
            <p:nvPr/>
          </p:nvSpPr>
          <p:spPr bwMode="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2" name="Freeform: Shape 211">
              <a:extLst>
                <a:ext uri="{FF2B5EF4-FFF2-40B4-BE49-F238E27FC236}">
                  <a16:creationId xmlns:a16="http://schemas.microsoft.com/office/drawing/2014/main" id="{3F7DB9B8-09EF-46A7-9839-EE0FA8E11651}"/>
                </a:ext>
              </a:extLst>
            </p:cNvPr>
            <p:cNvSpPr/>
            <p:nvPr/>
          </p:nvSpPr>
          <p:spPr bwMode="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3" name="Freeform: Shape 212">
              <a:extLst>
                <a:ext uri="{FF2B5EF4-FFF2-40B4-BE49-F238E27FC236}">
                  <a16:creationId xmlns:a16="http://schemas.microsoft.com/office/drawing/2014/main" id="{759DC929-939A-40DF-96D2-82427AD8E191}"/>
                </a:ext>
              </a:extLst>
            </p:cNvPr>
            <p:cNvSpPr/>
            <p:nvPr/>
          </p:nvSpPr>
          <p:spPr bwMode="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4" name="Freeform: Shape 213">
              <a:extLst>
                <a:ext uri="{FF2B5EF4-FFF2-40B4-BE49-F238E27FC236}">
                  <a16:creationId xmlns:a16="http://schemas.microsoft.com/office/drawing/2014/main" id="{71E475EA-3BCA-4BD2-9129-0A15F92784B0}"/>
                </a:ext>
              </a:extLst>
            </p:cNvPr>
            <p:cNvSpPr/>
            <p:nvPr/>
          </p:nvSpPr>
          <p:spPr bwMode="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5" name="Freeform: Shape 214">
              <a:extLst>
                <a:ext uri="{FF2B5EF4-FFF2-40B4-BE49-F238E27FC236}">
                  <a16:creationId xmlns:a16="http://schemas.microsoft.com/office/drawing/2014/main" id="{B58358D8-4286-4ED9-A0FF-82879D8C9183}"/>
                </a:ext>
              </a:extLst>
            </p:cNvPr>
            <p:cNvSpPr/>
            <p:nvPr/>
          </p:nvSpPr>
          <p:spPr bwMode="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6" name="Freeform: Shape 215">
              <a:extLst>
                <a:ext uri="{FF2B5EF4-FFF2-40B4-BE49-F238E27FC236}">
                  <a16:creationId xmlns:a16="http://schemas.microsoft.com/office/drawing/2014/main" id="{07E8672D-5A21-4EE8-8FA5-FBB35E3AF6F8}"/>
                </a:ext>
              </a:extLst>
            </p:cNvPr>
            <p:cNvSpPr/>
            <p:nvPr/>
          </p:nvSpPr>
          <p:spPr bwMode="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7" name="Freeform: Shape 216">
              <a:extLst>
                <a:ext uri="{FF2B5EF4-FFF2-40B4-BE49-F238E27FC236}">
                  <a16:creationId xmlns:a16="http://schemas.microsoft.com/office/drawing/2014/main" id="{FA059A59-9BBE-4F86-862A-48E139D1EE64}"/>
                </a:ext>
              </a:extLst>
            </p:cNvPr>
            <p:cNvSpPr/>
            <p:nvPr userDrawn="1"/>
          </p:nvSpPr>
          <p:spPr bwMode="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8" name="Freeform: Shape 217">
              <a:extLst>
                <a:ext uri="{FF2B5EF4-FFF2-40B4-BE49-F238E27FC236}">
                  <a16:creationId xmlns:a16="http://schemas.microsoft.com/office/drawing/2014/main" id="{55CF5402-4FC2-4420-ABC5-BBFA3EA9D203}"/>
                </a:ext>
              </a:extLst>
            </p:cNvPr>
            <p:cNvSpPr/>
            <p:nvPr userDrawn="1"/>
          </p:nvSpPr>
          <p:spPr bwMode="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9" name="Freeform: Shape 218">
              <a:extLst>
                <a:ext uri="{FF2B5EF4-FFF2-40B4-BE49-F238E27FC236}">
                  <a16:creationId xmlns:a16="http://schemas.microsoft.com/office/drawing/2014/main" id="{10BB1258-8102-4E47-BE2F-816FBB6BA408}"/>
                </a:ext>
              </a:extLst>
            </p:cNvPr>
            <p:cNvSpPr/>
            <p:nvPr userDrawn="1"/>
          </p:nvSpPr>
          <p:spPr bwMode="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20" name="Freeform: Shape 219">
              <a:extLst>
                <a:ext uri="{FF2B5EF4-FFF2-40B4-BE49-F238E27FC236}">
                  <a16:creationId xmlns:a16="http://schemas.microsoft.com/office/drawing/2014/main" id="{B270BD53-6742-47F1-853C-FA770237F3FD}"/>
                </a:ext>
              </a:extLst>
            </p:cNvPr>
            <p:cNvSpPr/>
            <p:nvPr userDrawn="1"/>
          </p:nvSpPr>
          <p:spPr bwMode="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21" name="Freeform: Shape 220">
              <a:extLst>
                <a:ext uri="{FF2B5EF4-FFF2-40B4-BE49-F238E27FC236}">
                  <a16:creationId xmlns:a16="http://schemas.microsoft.com/office/drawing/2014/main" id="{3395B319-4702-4CD9-838C-C0612B6879BC}"/>
                </a:ext>
              </a:extLst>
            </p:cNvPr>
            <p:cNvSpPr/>
            <p:nvPr userDrawn="1"/>
          </p:nvSpPr>
          <p:spPr bwMode="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22" name="Freeform: Shape 221">
              <a:extLst>
                <a:ext uri="{FF2B5EF4-FFF2-40B4-BE49-F238E27FC236}">
                  <a16:creationId xmlns:a16="http://schemas.microsoft.com/office/drawing/2014/main" id="{AE5E70F1-247D-4F01-A473-C5A9226BCADC}"/>
                </a:ext>
              </a:extLst>
            </p:cNvPr>
            <p:cNvSpPr/>
            <p:nvPr userDrawn="1"/>
          </p:nvSpPr>
          <p:spPr bwMode="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23" name="Freeform: Shape 222">
              <a:extLst>
                <a:ext uri="{FF2B5EF4-FFF2-40B4-BE49-F238E27FC236}">
                  <a16:creationId xmlns:a16="http://schemas.microsoft.com/office/drawing/2014/main" id="{732858E4-B133-4A91-9BCA-BF80F093194A}"/>
                </a:ext>
              </a:extLst>
            </p:cNvPr>
            <p:cNvSpPr/>
            <p:nvPr userDrawn="1"/>
          </p:nvSpPr>
          <p:spPr bwMode="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24" name="Freeform: Shape 223">
              <a:extLst>
                <a:ext uri="{FF2B5EF4-FFF2-40B4-BE49-F238E27FC236}">
                  <a16:creationId xmlns:a16="http://schemas.microsoft.com/office/drawing/2014/main" id="{027DED92-EF7A-4687-A1A4-BDAA2F1EAF12}"/>
                </a:ext>
              </a:extLst>
            </p:cNvPr>
            <p:cNvSpPr/>
            <p:nvPr userDrawn="1"/>
          </p:nvSpPr>
          <p:spPr bwMode="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25" name="Freeform: Shape 224">
              <a:extLst>
                <a:ext uri="{FF2B5EF4-FFF2-40B4-BE49-F238E27FC236}">
                  <a16:creationId xmlns:a16="http://schemas.microsoft.com/office/drawing/2014/main" id="{53D72483-35F2-49AC-989D-0E1BC8456803}"/>
                </a:ext>
              </a:extLst>
            </p:cNvPr>
            <p:cNvSpPr/>
            <p:nvPr userDrawn="1"/>
          </p:nvSpPr>
          <p:spPr bwMode="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26" name="Freeform: Shape 225">
              <a:extLst>
                <a:ext uri="{FF2B5EF4-FFF2-40B4-BE49-F238E27FC236}">
                  <a16:creationId xmlns:a16="http://schemas.microsoft.com/office/drawing/2014/main" id="{2DD2F54E-53A3-49F6-905E-B0F8E1348C8E}"/>
                </a:ext>
              </a:extLst>
            </p:cNvPr>
            <p:cNvSpPr/>
            <p:nvPr userDrawn="1"/>
          </p:nvSpPr>
          <p:spPr bwMode="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cxnSp>
          <p:nvCxnSpPr>
            <p:cNvPr id="227" name="Straight Connector 226">
              <a:extLst>
                <a:ext uri="{FF2B5EF4-FFF2-40B4-BE49-F238E27FC236}">
                  <a16:creationId xmlns:a16="http://schemas.microsoft.com/office/drawing/2014/main" id="{557A01EE-7FB2-4BA0-B35A-2F95546E4624}"/>
                </a:ext>
              </a:extLst>
            </p:cNvPr>
            <p:cNvCxnSpPr/>
            <p:nvPr userDrawn="1"/>
          </p:nvCxnSpPr>
          <p:spPr bwMode="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8" name="Straight Connector 227">
              <a:extLst>
                <a:ext uri="{FF2B5EF4-FFF2-40B4-BE49-F238E27FC236}">
                  <a16:creationId xmlns:a16="http://schemas.microsoft.com/office/drawing/2014/main" id="{7FC1C45B-2B29-4A42-8D4B-721F68CA1348}"/>
                </a:ext>
              </a:extLst>
            </p:cNvPr>
            <p:cNvCxnSpPr/>
            <p:nvPr userDrawn="1"/>
          </p:nvCxnSpPr>
          <p:spPr bwMode="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B1A27E92-9270-4990-A7E0-13762B5DCF31}"/>
                </a:ext>
              </a:extLst>
            </p:cNvPr>
            <p:cNvCxnSpPr/>
            <p:nvPr userDrawn="1"/>
          </p:nvCxnSpPr>
          <p:spPr bwMode="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0" name="Straight Connector 229">
              <a:extLst>
                <a:ext uri="{FF2B5EF4-FFF2-40B4-BE49-F238E27FC236}">
                  <a16:creationId xmlns:a16="http://schemas.microsoft.com/office/drawing/2014/main" id="{9F46154D-791B-4F7D-8E1C-E15CD03A29AA}"/>
                </a:ext>
              </a:extLst>
            </p:cNvPr>
            <p:cNvCxnSpPr/>
            <p:nvPr userDrawn="1"/>
          </p:nvCxnSpPr>
          <p:spPr bwMode="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C9B4B757-25C9-484E-A4FE-A49FBA3319A4}"/>
                </a:ext>
              </a:extLst>
            </p:cNvPr>
            <p:cNvCxnSpPr/>
            <p:nvPr userDrawn="1"/>
          </p:nvCxnSpPr>
          <p:spPr bwMode="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2" name="Straight Connector 231">
              <a:extLst>
                <a:ext uri="{FF2B5EF4-FFF2-40B4-BE49-F238E27FC236}">
                  <a16:creationId xmlns:a16="http://schemas.microsoft.com/office/drawing/2014/main" id="{75535B4E-91AD-45A5-B3C9-3699892DFD15}"/>
                </a:ext>
              </a:extLst>
            </p:cNvPr>
            <p:cNvCxnSpPr/>
            <p:nvPr userDrawn="1"/>
          </p:nvCxnSpPr>
          <p:spPr bwMode="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3" name="Straight Connector 232">
              <a:extLst>
                <a:ext uri="{FF2B5EF4-FFF2-40B4-BE49-F238E27FC236}">
                  <a16:creationId xmlns:a16="http://schemas.microsoft.com/office/drawing/2014/main" id="{BB8DA04A-5D80-45BB-8266-4A4ECB242742}"/>
                </a:ext>
              </a:extLst>
            </p:cNvPr>
            <p:cNvCxnSpPr/>
            <p:nvPr userDrawn="1"/>
          </p:nvCxnSpPr>
          <p:spPr bwMode="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4" name="Straight Connector 233">
              <a:extLst>
                <a:ext uri="{FF2B5EF4-FFF2-40B4-BE49-F238E27FC236}">
                  <a16:creationId xmlns:a16="http://schemas.microsoft.com/office/drawing/2014/main" id="{E5E52966-F7BC-421A-9050-FFBE6C9FDFFC}"/>
                </a:ext>
              </a:extLst>
            </p:cNvPr>
            <p:cNvCxnSpPr/>
            <p:nvPr userDrawn="1"/>
          </p:nvCxnSpPr>
          <p:spPr bwMode="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5" name="Straight Connector 234">
              <a:extLst>
                <a:ext uri="{FF2B5EF4-FFF2-40B4-BE49-F238E27FC236}">
                  <a16:creationId xmlns:a16="http://schemas.microsoft.com/office/drawing/2014/main" id="{27183FD6-ADDC-4DBA-AD69-7D5A08920C83}"/>
                </a:ext>
              </a:extLst>
            </p:cNvPr>
            <p:cNvCxnSpPr/>
            <p:nvPr userDrawn="1"/>
          </p:nvCxnSpPr>
          <p:spPr bwMode="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3B1C3B52-250A-482D-AE65-9AAC3A76868D}"/>
                </a:ext>
              </a:extLst>
            </p:cNvPr>
            <p:cNvCxnSpPr/>
            <p:nvPr userDrawn="1"/>
          </p:nvCxnSpPr>
          <p:spPr bwMode="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a16="http://schemas.microsoft.com/office/drawing/2014/main" id="{3AB6E369-DE4F-4AA3-9B2B-FD9286DC14EB}"/>
                </a:ext>
              </a:extLst>
            </p:cNvPr>
            <p:cNvCxnSpPr/>
            <p:nvPr userDrawn="1"/>
          </p:nvCxnSpPr>
          <p:spPr bwMode="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02D96B38-98DE-4984-BD84-08887A144206}"/>
                </a:ext>
              </a:extLst>
            </p:cNvPr>
            <p:cNvCxnSpPr/>
            <p:nvPr userDrawn="1"/>
          </p:nvCxnSpPr>
          <p:spPr bwMode="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9" name="Straight Connector 238">
              <a:extLst>
                <a:ext uri="{FF2B5EF4-FFF2-40B4-BE49-F238E27FC236}">
                  <a16:creationId xmlns:a16="http://schemas.microsoft.com/office/drawing/2014/main" id="{2A47B8B7-112A-4075-B20A-90A845CE256B}"/>
                </a:ext>
              </a:extLst>
            </p:cNvPr>
            <p:cNvCxnSpPr/>
            <p:nvPr userDrawn="1"/>
          </p:nvCxnSpPr>
          <p:spPr bwMode="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0" name="Straight Connector 239">
              <a:extLst>
                <a:ext uri="{FF2B5EF4-FFF2-40B4-BE49-F238E27FC236}">
                  <a16:creationId xmlns:a16="http://schemas.microsoft.com/office/drawing/2014/main" id="{0FEBE3CB-E087-4212-96D5-920E5C903EF2}"/>
                </a:ext>
              </a:extLst>
            </p:cNvPr>
            <p:cNvCxnSpPr/>
            <p:nvPr userDrawn="1"/>
          </p:nvCxnSpPr>
          <p:spPr bwMode="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1" name="Straight Connector 240">
              <a:extLst>
                <a:ext uri="{FF2B5EF4-FFF2-40B4-BE49-F238E27FC236}">
                  <a16:creationId xmlns:a16="http://schemas.microsoft.com/office/drawing/2014/main" id="{3686B76C-7301-4C4A-B5BE-0AFF241FAEB0}"/>
                </a:ext>
              </a:extLst>
            </p:cNvPr>
            <p:cNvCxnSpPr/>
            <p:nvPr userDrawn="1"/>
          </p:nvCxnSpPr>
          <p:spPr bwMode="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2" name="Straight Connector 241">
              <a:extLst>
                <a:ext uri="{FF2B5EF4-FFF2-40B4-BE49-F238E27FC236}">
                  <a16:creationId xmlns:a16="http://schemas.microsoft.com/office/drawing/2014/main" id="{2B029B6E-808D-40CF-A2D1-AADA131A0D00}"/>
                </a:ext>
              </a:extLst>
            </p:cNvPr>
            <p:cNvCxnSpPr/>
            <p:nvPr userDrawn="1"/>
          </p:nvCxnSpPr>
          <p:spPr bwMode="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3" name="Straight Connector 242">
              <a:extLst>
                <a:ext uri="{FF2B5EF4-FFF2-40B4-BE49-F238E27FC236}">
                  <a16:creationId xmlns:a16="http://schemas.microsoft.com/office/drawing/2014/main" id="{8705E053-FBF3-4534-A74B-EC16CC92EE77}"/>
                </a:ext>
              </a:extLst>
            </p:cNvPr>
            <p:cNvCxnSpPr/>
            <p:nvPr userDrawn="1"/>
          </p:nvCxnSpPr>
          <p:spPr bwMode="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4" name="Straight Connector 243">
              <a:extLst>
                <a:ext uri="{FF2B5EF4-FFF2-40B4-BE49-F238E27FC236}">
                  <a16:creationId xmlns:a16="http://schemas.microsoft.com/office/drawing/2014/main" id="{BE0E44BE-C4B0-46A9-A59B-A43157B927C1}"/>
                </a:ext>
              </a:extLst>
            </p:cNvPr>
            <p:cNvCxnSpPr/>
            <p:nvPr userDrawn="1"/>
          </p:nvCxnSpPr>
          <p:spPr bwMode="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5" name="Straight Connector 244">
              <a:extLst>
                <a:ext uri="{FF2B5EF4-FFF2-40B4-BE49-F238E27FC236}">
                  <a16:creationId xmlns:a16="http://schemas.microsoft.com/office/drawing/2014/main" id="{9B09A95B-D404-461F-A093-7C895E3A741F}"/>
                </a:ext>
              </a:extLst>
            </p:cNvPr>
            <p:cNvCxnSpPr/>
            <p:nvPr userDrawn="1"/>
          </p:nvCxnSpPr>
          <p:spPr bwMode="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6" name="Straight Connector 245">
              <a:extLst>
                <a:ext uri="{FF2B5EF4-FFF2-40B4-BE49-F238E27FC236}">
                  <a16:creationId xmlns:a16="http://schemas.microsoft.com/office/drawing/2014/main" id="{A79A7095-2656-44EB-B0A3-4271C7264720}"/>
                </a:ext>
              </a:extLst>
            </p:cNvPr>
            <p:cNvCxnSpPr/>
            <p:nvPr userDrawn="1"/>
          </p:nvCxnSpPr>
          <p:spPr bwMode="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7" name="Straight Connector 246">
              <a:extLst>
                <a:ext uri="{FF2B5EF4-FFF2-40B4-BE49-F238E27FC236}">
                  <a16:creationId xmlns:a16="http://schemas.microsoft.com/office/drawing/2014/main" id="{BA4BC595-5B69-4C71-A5EC-2940C48186D2}"/>
                </a:ext>
              </a:extLst>
            </p:cNvPr>
            <p:cNvCxnSpPr/>
            <p:nvPr userDrawn="1"/>
          </p:nvCxnSpPr>
          <p:spPr bwMode="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8" name="Straight Connector 247">
              <a:extLst>
                <a:ext uri="{FF2B5EF4-FFF2-40B4-BE49-F238E27FC236}">
                  <a16:creationId xmlns:a16="http://schemas.microsoft.com/office/drawing/2014/main" id="{97474A32-631C-4FA8-B250-D9C17610DA92}"/>
                </a:ext>
              </a:extLst>
            </p:cNvPr>
            <p:cNvCxnSpPr/>
            <p:nvPr userDrawn="1"/>
          </p:nvCxnSpPr>
          <p:spPr bwMode="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4FA397D1-2FFD-4719-93E4-17828F08EC1D}"/>
                </a:ext>
              </a:extLst>
            </p:cNvPr>
            <p:cNvCxnSpPr/>
            <p:nvPr userDrawn="1"/>
          </p:nvCxnSpPr>
          <p:spPr bwMode="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0" name="Straight Connector 249">
              <a:extLst>
                <a:ext uri="{FF2B5EF4-FFF2-40B4-BE49-F238E27FC236}">
                  <a16:creationId xmlns:a16="http://schemas.microsoft.com/office/drawing/2014/main" id="{12CDBCAF-60C0-40A4-97EA-7B190F17D13D}"/>
                </a:ext>
              </a:extLst>
            </p:cNvPr>
            <p:cNvCxnSpPr/>
            <p:nvPr userDrawn="1"/>
          </p:nvCxnSpPr>
          <p:spPr bwMode="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1" name="Straight Connector 250">
              <a:extLst>
                <a:ext uri="{FF2B5EF4-FFF2-40B4-BE49-F238E27FC236}">
                  <a16:creationId xmlns:a16="http://schemas.microsoft.com/office/drawing/2014/main" id="{88614279-F6F1-4779-A908-BEF080C471AB}"/>
                </a:ext>
              </a:extLst>
            </p:cNvPr>
            <p:cNvCxnSpPr/>
            <p:nvPr userDrawn="1"/>
          </p:nvCxnSpPr>
          <p:spPr bwMode="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2" name="Straight Connector 251">
              <a:extLst>
                <a:ext uri="{FF2B5EF4-FFF2-40B4-BE49-F238E27FC236}">
                  <a16:creationId xmlns:a16="http://schemas.microsoft.com/office/drawing/2014/main" id="{D77A8DFC-FE4B-4B06-8AEF-607F9AEE764E}"/>
                </a:ext>
              </a:extLst>
            </p:cNvPr>
            <p:cNvCxnSpPr/>
            <p:nvPr userDrawn="1"/>
          </p:nvCxnSpPr>
          <p:spPr bwMode="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3" name="Straight Connector 252">
              <a:extLst>
                <a:ext uri="{FF2B5EF4-FFF2-40B4-BE49-F238E27FC236}">
                  <a16:creationId xmlns:a16="http://schemas.microsoft.com/office/drawing/2014/main" id="{942E819A-5DA8-4032-B3EB-D10DC14D6C84}"/>
                </a:ext>
              </a:extLst>
            </p:cNvPr>
            <p:cNvCxnSpPr/>
            <p:nvPr userDrawn="1"/>
          </p:nvCxnSpPr>
          <p:spPr bwMode="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4" name="Straight Connector 253">
              <a:extLst>
                <a:ext uri="{FF2B5EF4-FFF2-40B4-BE49-F238E27FC236}">
                  <a16:creationId xmlns:a16="http://schemas.microsoft.com/office/drawing/2014/main" id="{1912236D-CA1F-4315-989A-12010EB46505}"/>
                </a:ext>
              </a:extLst>
            </p:cNvPr>
            <p:cNvCxnSpPr/>
            <p:nvPr userDrawn="1"/>
          </p:nvCxnSpPr>
          <p:spPr bwMode="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5" name="Straight Connector 254">
              <a:extLst>
                <a:ext uri="{FF2B5EF4-FFF2-40B4-BE49-F238E27FC236}">
                  <a16:creationId xmlns:a16="http://schemas.microsoft.com/office/drawing/2014/main" id="{44ED2ACF-C68A-42CC-A632-CD03AB2544F3}"/>
                </a:ext>
              </a:extLst>
            </p:cNvPr>
            <p:cNvCxnSpPr/>
            <p:nvPr userDrawn="1"/>
          </p:nvCxnSpPr>
          <p:spPr bwMode="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6" name="Straight Connector 255">
              <a:extLst>
                <a:ext uri="{FF2B5EF4-FFF2-40B4-BE49-F238E27FC236}">
                  <a16:creationId xmlns:a16="http://schemas.microsoft.com/office/drawing/2014/main" id="{4A8F039F-D473-4D39-8AC6-81810B219B3E}"/>
                </a:ext>
              </a:extLst>
            </p:cNvPr>
            <p:cNvCxnSpPr/>
            <p:nvPr userDrawn="1"/>
          </p:nvCxnSpPr>
          <p:spPr bwMode="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7" name="Straight Connector 256">
              <a:extLst>
                <a:ext uri="{FF2B5EF4-FFF2-40B4-BE49-F238E27FC236}">
                  <a16:creationId xmlns:a16="http://schemas.microsoft.com/office/drawing/2014/main" id="{BA241E12-AAE1-45D8-9D67-A8007269A3E0}"/>
                </a:ext>
              </a:extLst>
            </p:cNvPr>
            <p:cNvCxnSpPr/>
            <p:nvPr userDrawn="1"/>
          </p:nvCxnSpPr>
          <p:spPr bwMode="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8" name="Straight Connector 257">
              <a:extLst>
                <a:ext uri="{FF2B5EF4-FFF2-40B4-BE49-F238E27FC236}">
                  <a16:creationId xmlns:a16="http://schemas.microsoft.com/office/drawing/2014/main" id="{B3D829D9-0D54-4FB5-9FD5-512316CE5897}"/>
                </a:ext>
              </a:extLst>
            </p:cNvPr>
            <p:cNvCxnSpPr/>
            <p:nvPr userDrawn="1"/>
          </p:nvCxnSpPr>
          <p:spPr bwMode="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9" name="Straight Connector 258">
              <a:extLst>
                <a:ext uri="{FF2B5EF4-FFF2-40B4-BE49-F238E27FC236}">
                  <a16:creationId xmlns:a16="http://schemas.microsoft.com/office/drawing/2014/main" id="{6DCAEE40-53ED-4281-A3F1-ACB0AA93B7BD}"/>
                </a:ext>
              </a:extLst>
            </p:cNvPr>
            <p:cNvCxnSpPr/>
            <p:nvPr userDrawn="1"/>
          </p:nvCxnSpPr>
          <p:spPr bwMode="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0" name="Straight Connector 259">
              <a:extLst>
                <a:ext uri="{FF2B5EF4-FFF2-40B4-BE49-F238E27FC236}">
                  <a16:creationId xmlns:a16="http://schemas.microsoft.com/office/drawing/2014/main" id="{716D3477-104A-45EC-ABA6-46CC43BAB1CA}"/>
                </a:ext>
              </a:extLst>
            </p:cNvPr>
            <p:cNvCxnSpPr/>
            <p:nvPr userDrawn="1"/>
          </p:nvCxnSpPr>
          <p:spPr bwMode="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1" name="Straight Connector 260">
              <a:extLst>
                <a:ext uri="{FF2B5EF4-FFF2-40B4-BE49-F238E27FC236}">
                  <a16:creationId xmlns:a16="http://schemas.microsoft.com/office/drawing/2014/main" id="{25EC7B04-40CF-4499-BF37-9874AB2E42BC}"/>
                </a:ext>
              </a:extLst>
            </p:cNvPr>
            <p:cNvCxnSpPr/>
            <p:nvPr userDrawn="1"/>
          </p:nvCxnSpPr>
          <p:spPr bwMode="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2" name="Straight Connector 261">
              <a:extLst>
                <a:ext uri="{FF2B5EF4-FFF2-40B4-BE49-F238E27FC236}">
                  <a16:creationId xmlns:a16="http://schemas.microsoft.com/office/drawing/2014/main" id="{A1B7D422-DF11-439B-AA7B-5AE071A4C7DC}"/>
                </a:ext>
              </a:extLst>
            </p:cNvPr>
            <p:cNvCxnSpPr/>
            <p:nvPr userDrawn="1"/>
          </p:nvCxnSpPr>
          <p:spPr bwMode="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3" name="Straight Connector 262">
              <a:extLst>
                <a:ext uri="{FF2B5EF4-FFF2-40B4-BE49-F238E27FC236}">
                  <a16:creationId xmlns:a16="http://schemas.microsoft.com/office/drawing/2014/main" id="{21103B97-22A5-4A41-A8B4-4FBC1AB3251F}"/>
                </a:ext>
              </a:extLst>
            </p:cNvPr>
            <p:cNvCxnSpPr/>
            <p:nvPr userDrawn="1"/>
          </p:nvCxnSpPr>
          <p:spPr bwMode="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4" name="Straight Connector 263">
              <a:extLst>
                <a:ext uri="{FF2B5EF4-FFF2-40B4-BE49-F238E27FC236}">
                  <a16:creationId xmlns:a16="http://schemas.microsoft.com/office/drawing/2014/main" id="{706654E2-EE76-422E-8306-19CDD004E451}"/>
                </a:ext>
              </a:extLst>
            </p:cNvPr>
            <p:cNvCxnSpPr/>
            <p:nvPr userDrawn="1"/>
          </p:nvCxnSpPr>
          <p:spPr bwMode="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5" name="Straight Connector 264">
              <a:extLst>
                <a:ext uri="{FF2B5EF4-FFF2-40B4-BE49-F238E27FC236}">
                  <a16:creationId xmlns:a16="http://schemas.microsoft.com/office/drawing/2014/main" id="{61A46DB1-E3F1-48B8-8CD6-686C08337E3D}"/>
                </a:ext>
              </a:extLst>
            </p:cNvPr>
            <p:cNvCxnSpPr/>
            <p:nvPr userDrawn="1"/>
          </p:nvCxnSpPr>
          <p:spPr bwMode="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6" name="Straight Connector 265">
              <a:extLst>
                <a:ext uri="{FF2B5EF4-FFF2-40B4-BE49-F238E27FC236}">
                  <a16:creationId xmlns:a16="http://schemas.microsoft.com/office/drawing/2014/main" id="{C7EB58E3-EE98-4C63-A5FA-31A1F31261BD}"/>
                </a:ext>
              </a:extLst>
            </p:cNvPr>
            <p:cNvCxnSpPr/>
            <p:nvPr userDrawn="1"/>
          </p:nvCxnSpPr>
          <p:spPr bwMode="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7" name="Straight Connector 266">
              <a:extLst>
                <a:ext uri="{FF2B5EF4-FFF2-40B4-BE49-F238E27FC236}">
                  <a16:creationId xmlns:a16="http://schemas.microsoft.com/office/drawing/2014/main" id="{FDF83986-66A6-442D-9688-89B353D5848C}"/>
                </a:ext>
              </a:extLst>
            </p:cNvPr>
            <p:cNvCxnSpPr/>
            <p:nvPr userDrawn="1"/>
          </p:nvCxnSpPr>
          <p:spPr bwMode="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8" name="Straight Connector 267">
              <a:extLst>
                <a:ext uri="{FF2B5EF4-FFF2-40B4-BE49-F238E27FC236}">
                  <a16:creationId xmlns:a16="http://schemas.microsoft.com/office/drawing/2014/main" id="{AC32EE19-D046-4DA8-83C8-C7090C2032B7}"/>
                </a:ext>
              </a:extLst>
            </p:cNvPr>
            <p:cNvCxnSpPr/>
            <p:nvPr userDrawn="1"/>
          </p:nvCxnSpPr>
          <p:spPr bwMode="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9" name="Straight Connector 268">
              <a:extLst>
                <a:ext uri="{FF2B5EF4-FFF2-40B4-BE49-F238E27FC236}">
                  <a16:creationId xmlns:a16="http://schemas.microsoft.com/office/drawing/2014/main" id="{AE9073FA-D009-4B43-AE1C-76B2371EDB72}"/>
                </a:ext>
              </a:extLst>
            </p:cNvPr>
            <p:cNvCxnSpPr/>
            <p:nvPr userDrawn="1"/>
          </p:nvCxnSpPr>
          <p:spPr bwMode="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70" name="Straight Connector 269">
              <a:extLst>
                <a:ext uri="{FF2B5EF4-FFF2-40B4-BE49-F238E27FC236}">
                  <a16:creationId xmlns:a16="http://schemas.microsoft.com/office/drawing/2014/main" id="{A37EEEBC-9035-46B4-859D-8637EB5F71E7}"/>
                </a:ext>
              </a:extLst>
            </p:cNvPr>
            <p:cNvCxnSpPr/>
            <p:nvPr userDrawn="1"/>
          </p:nvCxnSpPr>
          <p:spPr bwMode="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271" name="main body box">
              <a:extLst>
                <a:ext uri="{FF2B5EF4-FFF2-40B4-BE49-F238E27FC236}">
                  <a16:creationId xmlns:a16="http://schemas.microsoft.com/office/drawing/2014/main" id="{5A4E68D2-98C2-4107-A058-DD36C69DD1BD}"/>
                </a:ext>
              </a:extLst>
            </p:cNvPr>
            <p:cNvSpPr/>
            <p:nvPr userDrawn="1"/>
          </p:nvSpPr>
          <p:spPr bwMode="gray">
            <a:xfrm>
              <a:off x="554736" y="1405610"/>
              <a:ext cx="11082528" cy="4812310"/>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a:solidFill>
                  <a:schemeClr val="tx1"/>
                </a:solidFill>
                <a:latin typeface="+mn-lt"/>
              </a:endParaRPr>
            </a:p>
          </p:txBody>
        </p:sp>
        <p:cxnSp>
          <p:nvCxnSpPr>
            <p:cNvPr id="272" name="Straight Connector 271">
              <a:extLst>
                <a:ext uri="{FF2B5EF4-FFF2-40B4-BE49-F238E27FC236}">
                  <a16:creationId xmlns:a16="http://schemas.microsoft.com/office/drawing/2014/main" id="{CD320E2E-9A90-4FBD-95ED-547D38976E3C}"/>
                </a:ext>
              </a:extLst>
            </p:cNvPr>
            <p:cNvCxnSpPr/>
            <p:nvPr userDrawn="1"/>
          </p:nvCxnSpPr>
          <p:spPr bwMode="gray">
            <a:xfrm>
              <a:off x="554736" y="1865376"/>
              <a:ext cx="11082528" cy="0"/>
            </a:xfrm>
            <a:prstGeom prst="line">
              <a:avLst/>
            </a:prstGeom>
            <a:noFill/>
            <a:ln w="12700">
              <a:solidFill>
                <a:srgbClr val="19D3C5">
                  <a:alpha val="50000"/>
                </a:srgbClr>
              </a:solidFill>
            </a:ln>
          </p:spPr>
        </p:cxnSp>
        <p:cxnSp>
          <p:nvCxnSpPr>
            <p:cNvPr id="273" name="Straight Connector 272">
              <a:extLst>
                <a:ext uri="{FF2B5EF4-FFF2-40B4-BE49-F238E27FC236}">
                  <a16:creationId xmlns:a16="http://schemas.microsoft.com/office/drawing/2014/main" id="{70454B89-8DFA-4EF3-83A9-38CF648F4CD1}"/>
                </a:ext>
              </a:extLst>
            </p:cNvPr>
            <p:cNvCxnSpPr/>
            <p:nvPr userDrawn="1"/>
          </p:nvCxnSpPr>
          <p:spPr bwMode="gray">
            <a:xfrm>
              <a:off x="554736" y="1408557"/>
              <a:ext cx="11082528" cy="0"/>
            </a:xfrm>
            <a:prstGeom prst="line">
              <a:avLst/>
            </a:prstGeom>
            <a:noFill/>
            <a:ln w="12700">
              <a:solidFill>
                <a:srgbClr val="19D3C5">
                  <a:alpha val="50000"/>
                </a:srgbClr>
              </a:solidFill>
            </a:ln>
          </p:spPr>
        </p:cxnSp>
      </p:gr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9"/>
            </p:custDataLst>
          </p:nvPr>
        </p:nvSpPr>
        <p:spPr>
          <a:xfrm>
            <a:off x="1908209"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rt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0"/>
            </p:custDataLst>
          </p:nvPr>
        </p:nvSpPr>
        <p:spPr>
          <a:xfrm>
            <a:off x="554736" y="172212"/>
            <a:ext cx="10330434"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p>
            <a:pPr lvl="0"/>
            <a:r>
              <a:rPr lang="en-US"/>
              <a:t>Click to edit Master title style</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1"/>
            </p:custDataLst>
          </p:nvPr>
        </p:nvSpPr>
        <p:spPr>
          <a:xfrm>
            <a:off x="5987738" y="2170800"/>
            <a:ext cx="3049253" cy="53860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a:t>Above Chart Exhibit Title</a:t>
            </a:r>
          </a:p>
          <a:p>
            <a:pPr lvl="0" rtl="0"/>
            <a:r>
              <a:rPr lang="en-US" sz="1400"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5" name="Sticker" hidden="1">
            <a:extLst>
              <a:ext uri="{FF2B5EF4-FFF2-40B4-BE49-F238E27FC236}">
                <a16:creationId xmlns:a16="http://schemas.microsoft.com/office/drawing/2014/main" id="{97ED2832-F2D3-4BBC-B741-D13502E9DAA9}"/>
              </a:ext>
            </a:extLst>
          </p:cNvPr>
          <p:cNvSpPr txBox="1"/>
          <p:nvPr userDrawn="1"/>
        </p:nvSpPr>
        <p:spPr>
          <a:xfrm>
            <a:off x="558489" y="964729"/>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rtl="0"/>
            <a:r>
              <a:rPr lang="en-US"/>
              <a:t>STICKER</a:t>
            </a:r>
          </a:p>
        </p:txBody>
      </p:sp>
      <p:grpSp>
        <p:nvGrpSpPr>
          <p:cNvPr id="6" name="LegendLines" hidden="1">
            <a:extLst>
              <a:ext uri="{FF2B5EF4-FFF2-40B4-BE49-F238E27FC236}">
                <a16:creationId xmlns:a16="http://schemas.microsoft.com/office/drawing/2014/main" id="{86E1290F-59A3-F05F-6669-923CFD574531}"/>
              </a:ext>
            </a:extLst>
          </p:cNvPr>
          <p:cNvGrpSpPr/>
          <p:nvPr userDrawn="1"/>
        </p:nvGrpSpPr>
        <p:grpSpPr>
          <a:xfrm>
            <a:off x="10317304" y="3355023"/>
            <a:ext cx="1319960" cy="958286"/>
            <a:chOff x="10162879" y="3243772"/>
            <a:chExt cx="1319960" cy="958286"/>
          </a:xfrm>
        </p:grpSpPr>
        <p:sp>
          <p:nvSpPr>
            <p:cNvPr id="7" name="Legend1" hidden="1">
              <a:extLst>
                <a:ext uri="{FF2B5EF4-FFF2-40B4-BE49-F238E27FC236}">
                  <a16:creationId xmlns:a16="http://schemas.microsoft.com/office/drawing/2014/main" id="{A59B9293-2150-3B65-B955-EE1CE9E21122}"/>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8" name="Legend2" hidden="1">
              <a:extLst>
                <a:ext uri="{FF2B5EF4-FFF2-40B4-BE49-F238E27FC236}">
                  <a16:creationId xmlns:a16="http://schemas.microsoft.com/office/drawing/2014/main" id="{D48B0FE1-5553-72FC-1C3A-41AB87DFECD9}"/>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9" name="Legend3" hidden="1">
              <a:extLst>
                <a:ext uri="{FF2B5EF4-FFF2-40B4-BE49-F238E27FC236}">
                  <a16:creationId xmlns:a16="http://schemas.microsoft.com/office/drawing/2014/main" id="{368E6BFA-9DC6-022A-0231-34738D1C2ED4}"/>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0" name="LineLegend3" hidden="1">
              <a:extLst>
                <a:ext uri="{FF2B5EF4-FFF2-40B4-BE49-F238E27FC236}">
                  <a16:creationId xmlns:a16="http://schemas.microsoft.com/office/drawing/2014/main" id="{1525540C-5573-E690-C17B-A46D0D11428A}"/>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US" sz="1400" baseline="0">
                <a:ea typeface="+mn-ea"/>
              </a:endParaRPr>
            </a:p>
          </p:txBody>
        </p:sp>
        <p:sp>
          <p:nvSpPr>
            <p:cNvPr id="11" name="LineLegend2" hidden="1">
              <a:extLst>
                <a:ext uri="{FF2B5EF4-FFF2-40B4-BE49-F238E27FC236}">
                  <a16:creationId xmlns:a16="http://schemas.microsoft.com/office/drawing/2014/main" id="{1E09278C-D709-ABB5-01ED-571531E2E1C1}"/>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US" sz="1400" baseline="0">
                <a:ea typeface="+mn-ea"/>
              </a:endParaRPr>
            </a:p>
          </p:txBody>
        </p:sp>
        <p:sp>
          <p:nvSpPr>
            <p:cNvPr id="12" name="LineLegend1" hidden="1">
              <a:extLst>
                <a:ext uri="{FF2B5EF4-FFF2-40B4-BE49-F238E27FC236}">
                  <a16:creationId xmlns:a16="http://schemas.microsoft.com/office/drawing/2014/main" id="{6D382F74-1691-72EC-587C-A7C3EEF22C6C}"/>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US" sz="1400" baseline="0">
                <a:ea typeface="+mn-ea"/>
              </a:endParaRPr>
            </a:p>
          </p:txBody>
        </p:sp>
      </p:grpSp>
      <p:grpSp>
        <p:nvGrpSpPr>
          <p:cNvPr id="13" name="LegendMoons" hidden="1">
            <a:extLst>
              <a:ext uri="{FF2B5EF4-FFF2-40B4-BE49-F238E27FC236}">
                <a16:creationId xmlns:a16="http://schemas.microsoft.com/office/drawing/2014/main" id="{C09CFDA9-2EBC-BD81-899D-AB392466ADC6}"/>
              </a:ext>
            </a:extLst>
          </p:cNvPr>
          <p:cNvGrpSpPr/>
          <p:nvPr userDrawn="1"/>
        </p:nvGrpSpPr>
        <p:grpSpPr>
          <a:xfrm>
            <a:off x="10688315" y="1415983"/>
            <a:ext cx="948949" cy="1731859"/>
            <a:chOff x="7723680" y="1702457"/>
            <a:chExt cx="948949" cy="1731859"/>
          </a:xfrm>
        </p:grpSpPr>
        <p:sp>
          <p:nvSpPr>
            <p:cNvPr id="14" name="Legend1" hidden="1">
              <a:extLst>
                <a:ext uri="{FF2B5EF4-FFF2-40B4-BE49-F238E27FC236}">
                  <a16:creationId xmlns:a16="http://schemas.microsoft.com/office/drawing/2014/main" id="{D15C79C4-2EA6-F988-215F-F94045A6E62E}"/>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5" name="Legend2" hidden="1">
              <a:extLst>
                <a:ext uri="{FF2B5EF4-FFF2-40B4-BE49-F238E27FC236}">
                  <a16:creationId xmlns:a16="http://schemas.microsoft.com/office/drawing/2014/main" id="{ABFAE727-89B5-608A-59F3-E3098B0E8268}"/>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7" name="Legend3" hidden="1">
              <a:extLst>
                <a:ext uri="{FF2B5EF4-FFF2-40B4-BE49-F238E27FC236}">
                  <a16:creationId xmlns:a16="http://schemas.microsoft.com/office/drawing/2014/main" id="{5A3D378B-769D-B794-CFC2-6559736668B9}"/>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8" name="Legend4" hidden="1">
              <a:extLst>
                <a:ext uri="{FF2B5EF4-FFF2-40B4-BE49-F238E27FC236}">
                  <a16:creationId xmlns:a16="http://schemas.microsoft.com/office/drawing/2014/main" id="{7761677E-F43C-B4D4-C999-91BA581A58D8}"/>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9" name="Legend5" hidden="1">
              <a:extLst>
                <a:ext uri="{FF2B5EF4-FFF2-40B4-BE49-F238E27FC236}">
                  <a16:creationId xmlns:a16="http://schemas.microsoft.com/office/drawing/2014/main" id="{3BE1D2D9-9411-4FCF-7B84-712437CBFA50}"/>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grpSp>
          <p:nvGrpSpPr>
            <p:cNvPr id="20" name="MoonLegend1" hidden="1">
              <a:extLst>
                <a:ext uri="{FF2B5EF4-FFF2-40B4-BE49-F238E27FC236}">
                  <a16:creationId xmlns:a16="http://schemas.microsoft.com/office/drawing/2014/main" id="{49B5B63B-C252-6B36-D95B-E67071FDC853}"/>
                </a:ext>
              </a:extLst>
            </p:cNvPr>
            <p:cNvGrpSpPr>
              <a:grpSpLocks noChangeAspect="1"/>
            </p:cNvGrpSpPr>
            <p:nvPr>
              <p:custDataLst>
                <p:tags r:id="rId22"/>
              </p:custDataLst>
            </p:nvPr>
          </p:nvGrpSpPr>
          <p:grpSpPr>
            <a:xfrm>
              <a:off x="7723680" y="1702457"/>
              <a:ext cx="228600" cy="228600"/>
              <a:chOff x="762000" y="1270000"/>
              <a:chExt cx="254000" cy="254000"/>
            </a:xfrm>
          </p:grpSpPr>
          <p:sp>
            <p:nvSpPr>
              <p:cNvPr id="33" name="Oval 32" hidden="1">
                <a:extLst>
                  <a:ext uri="{FF2B5EF4-FFF2-40B4-BE49-F238E27FC236}">
                    <a16:creationId xmlns:a16="http://schemas.microsoft.com/office/drawing/2014/main" id="{D833C508-62BB-B13B-5044-1C5DBEB09D30}"/>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a:solidFill>
                    <a:schemeClr val="tx1"/>
                  </a:solidFill>
                </a:endParaRPr>
              </a:p>
            </p:txBody>
          </p:sp>
          <p:sp>
            <p:nvSpPr>
              <p:cNvPr id="34" name="Arc 33" hidden="1">
                <a:extLst>
                  <a:ext uri="{FF2B5EF4-FFF2-40B4-BE49-F238E27FC236}">
                    <a16:creationId xmlns:a16="http://schemas.microsoft.com/office/drawing/2014/main" id="{2FC996B4-917B-0178-65F3-F224273FA7C1}"/>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a:p>
            </p:txBody>
          </p:sp>
        </p:grpSp>
        <p:grpSp>
          <p:nvGrpSpPr>
            <p:cNvPr id="21" name="MoonLegend2" hidden="1">
              <a:extLst>
                <a:ext uri="{FF2B5EF4-FFF2-40B4-BE49-F238E27FC236}">
                  <a16:creationId xmlns:a16="http://schemas.microsoft.com/office/drawing/2014/main" id="{4DAC3E68-1551-5E8E-174E-742F7A700BAC}"/>
                </a:ext>
              </a:extLst>
            </p:cNvPr>
            <p:cNvGrpSpPr>
              <a:grpSpLocks noChangeAspect="1"/>
            </p:cNvGrpSpPr>
            <p:nvPr>
              <p:custDataLst>
                <p:tags r:id="rId23"/>
              </p:custDataLst>
            </p:nvPr>
          </p:nvGrpSpPr>
          <p:grpSpPr>
            <a:xfrm>
              <a:off x="7723680" y="2078270"/>
              <a:ext cx="228600" cy="228600"/>
              <a:chOff x="762000" y="1270000"/>
              <a:chExt cx="254000" cy="254000"/>
            </a:xfrm>
          </p:grpSpPr>
          <p:sp>
            <p:nvSpPr>
              <p:cNvPr id="31" name="Oval 30" hidden="1">
                <a:extLst>
                  <a:ext uri="{FF2B5EF4-FFF2-40B4-BE49-F238E27FC236}">
                    <a16:creationId xmlns:a16="http://schemas.microsoft.com/office/drawing/2014/main" id="{6A29836C-87A5-9458-02D2-3F55D8FE9BA8}"/>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a:solidFill>
                    <a:schemeClr val="tx1"/>
                  </a:solidFill>
                </a:endParaRPr>
              </a:p>
            </p:txBody>
          </p:sp>
          <p:sp>
            <p:nvSpPr>
              <p:cNvPr id="32" name="Arc 31" hidden="1">
                <a:extLst>
                  <a:ext uri="{FF2B5EF4-FFF2-40B4-BE49-F238E27FC236}">
                    <a16:creationId xmlns:a16="http://schemas.microsoft.com/office/drawing/2014/main" id="{6241E742-059C-6644-F38B-8806776C0B43}"/>
                  </a:ext>
                </a:extLst>
              </p:cNvPr>
              <p:cNvSpPr/>
              <p:nvPr>
                <p:custDataLst>
                  <p:tags r:id="rId34"/>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a:p>
            </p:txBody>
          </p:sp>
        </p:grpSp>
        <p:grpSp>
          <p:nvGrpSpPr>
            <p:cNvPr id="22" name="MoonLegend3" hidden="1">
              <a:extLst>
                <a:ext uri="{FF2B5EF4-FFF2-40B4-BE49-F238E27FC236}">
                  <a16:creationId xmlns:a16="http://schemas.microsoft.com/office/drawing/2014/main" id="{AF86AAED-FFBA-F635-10D7-118F96372A84}"/>
                </a:ext>
              </a:extLst>
            </p:cNvPr>
            <p:cNvGrpSpPr>
              <a:grpSpLocks noChangeAspect="1"/>
            </p:cNvGrpSpPr>
            <p:nvPr>
              <p:custDataLst>
                <p:tags r:id="rId24"/>
              </p:custDataLst>
            </p:nvPr>
          </p:nvGrpSpPr>
          <p:grpSpPr>
            <a:xfrm>
              <a:off x="7723680" y="2454085"/>
              <a:ext cx="228600" cy="228600"/>
              <a:chOff x="762000" y="1270000"/>
              <a:chExt cx="254000" cy="254000"/>
            </a:xfrm>
          </p:grpSpPr>
          <p:sp>
            <p:nvSpPr>
              <p:cNvPr id="29" name="Oval 28" hidden="1">
                <a:extLst>
                  <a:ext uri="{FF2B5EF4-FFF2-40B4-BE49-F238E27FC236}">
                    <a16:creationId xmlns:a16="http://schemas.microsoft.com/office/drawing/2014/main" id="{822552E5-5765-6C17-4381-C10F707EAA16}"/>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a:solidFill>
                    <a:schemeClr val="tx1"/>
                  </a:solidFill>
                </a:endParaRPr>
              </a:p>
            </p:txBody>
          </p:sp>
          <p:sp>
            <p:nvSpPr>
              <p:cNvPr id="30" name="Arc 29" hidden="1">
                <a:extLst>
                  <a:ext uri="{FF2B5EF4-FFF2-40B4-BE49-F238E27FC236}">
                    <a16:creationId xmlns:a16="http://schemas.microsoft.com/office/drawing/2014/main" id="{CCAEA881-D3E7-7FC5-E1D2-F09CACA20FC3}"/>
                  </a:ext>
                </a:extLst>
              </p:cNvPr>
              <p:cNvSpPr/>
              <p:nvPr>
                <p:custDataLst>
                  <p:tags r:id="rId3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a:p>
            </p:txBody>
          </p:sp>
        </p:grpSp>
        <p:grpSp>
          <p:nvGrpSpPr>
            <p:cNvPr id="23" name="MoonLegend4" hidden="1">
              <a:extLst>
                <a:ext uri="{FF2B5EF4-FFF2-40B4-BE49-F238E27FC236}">
                  <a16:creationId xmlns:a16="http://schemas.microsoft.com/office/drawing/2014/main" id="{E8B5055F-7ADE-51A4-EF55-AC7D4D5D1EEA}"/>
                </a:ext>
              </a:extLst>
            </p:cNvPr>
            <p:cNvGrpSpPr>
              <a:grpSpLocks noChangeAspect="1"/>
            </p:cNvGrpSpPr>
            <p:nvPr>
              <p:custDataLst>
                <p:tags r:id="rId25"/>
              </p:custDataLst>
            </p:nvPr>
          </p:nvGrpSpPr>
          <p:grpSpPr>
            <a:xfrm>
              <a:off x="7723680" y="2829900"/>
              <a:ext cx="228600" cy="228600"/>
              <a:chOff x="762000" y="1270000"/>
              <a:chExt cx="254000" cy="254000"/>
            </a:xfrm>
          </p:grpSpPr>
          <p:sp>
            <p:nvSpPr>
              <p:cNvPr id="27" name="Oval 26" hidden="1">
                <a:extLst>
                  <a:ext uri="{FF2B5EF4-FFF2-40B4-BE49-F238E27FC236}">
                    <a16:creationId xmlns:a16="http://schemas.microsoft.com/office/drawing/2014/main" id="{4F7B9C5F-A75F-B73F-013B-944EC1D4A2D5}"/>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a:solidFill>
                    <a:schemeClr val="tx1"/>
                  </a:solidFill>
                </a:endParaRPr>
              </a:p>
            </p:txBody>
          </p:sp>
          <p:sp>
            <p:nvSpPr>
              <p:cNvPr id="28" name="Arc 27" hidden="1">
                <a:extLst>
                  <a:ext uri="{FF2B5EF4-FFF2-40B4-BE49-F238E27FC236}">
                    <a16:creationId xmlns:a16="http://schemas.microsoft.com/office/drawing/2014/main" id="{6C5957BA-F9FD-8830-65A1-7AE07D08738C}"/>
                  </a:ext>
                </a:extLst>
              </p:cNvPr>
              <p:cNvSpPr/>
              <p:nvPr>
                <p:custDataLst>
                  <p:tags r:id="rId30"/>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a:p>
            </p:txBody>
          </p:sp>
        </p:grpSp>
        <p:grpSp>
          <p:nvGrpSpPr>
            <p:cNvPr id="24" name="MoonLegend5" hidden="1">
              <a:extLst>
                <a:ext uri="{FF2B5EF4-FFF2-40B4-BE49-F238E27FC236}">
                  <a16:creationId xmlns:a16="http://schemas.microsoft.com/office/drawing/2014/main" id="{64E7B95C-6B83-E546-012B-5A9CE7908ECF}"/>
                </a:ext>
              </a:extLst>
            </p:cNvPr>
            <p:cNvGrpSpPr>
              <a:grpSpLocks noChangeAspect="1"/>
            </p:cNvGrpSpPr>
            <p:nvPr>
              <p:custDataLst>
                <p:tags r:id="rId26"/>
              </p:custDataLst>
            </p:nvPr>
          </p:nvGrpSpPr>
          <p:grpSpPr>
            <a:xfrm>
              <a:off x="7723680" y="3205716"/>
              <a:ext cx="228600" cy="228600"/>
              <a:chOff x="762000" y="1270000"/>
              <a:chExt cx="254000" cy="254000"/>
            </a:xfrm>
          </p:grpSpPr>
          <p:sp>
            <p:nvSpPr>
              <p:cNvPr id="25" name="Oval 24" hidden="1">
                <a:extLst>
                  <a:ext uri="{FF2B5EF4-FFF2-40B4-BE49-F238E27FC236}">
                    <a16:creationId xmlns:a16="http://schemas.microsoft.com/office/drawing/2014/main" id="{AFA3DB6E-CBB8-EFAD-E13D-39CAAF4108ED}"/>
                  </a:ext>
                </a:extLst>
              </p:cNvPr>
              <p:cNvSpPr/>
              <p:nvPr>
                <p:custDataLst>
                  <p:tags r:id="rId2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a:solidFill>
                    <a:schemeClr val="tx1"/>
                  </a:solidFill>
                </a:endParaRPr>
              </a:p>
            </p:txBody>
          </p:sp>
          <p:sp>
            <p:nvSpPr>
              <p:cNvPr id="26" name="Arc 25" hidden="1">
                <a:extLst>
                  <a:ext uri="{FF2B5EF4-FFF2-40B4-BE49-F238E27FC236}">
                    <a16:creationId xmlns:a16="http://schemas.microsoft.com/office/drawing/2014/main" id="{4F64343F-FC15-AFF0-CE44-9450AF248BAA}"/>
                  </a:ext>
                </a:extLst>
              </p:cNvPr>
              <p:cNvSpPr/>
              <p:nvPr>
                <p:custDataLst>
                  <p:tags r:id="rId28"/>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a:p>
            </p:txBody>
          </p:sp>
        </p:grpSp>
      </p:grpSp>
      <p:grpSp>
        <p:nvGrpSpPr>
          <p:cNvPr id="35" name="LegendBoxes" hidden="1">
            <a:extLst>
              <a:ext uri="{FF2B5EF4-FFF2-40B4-BE49-F238E27FC236}">
                <a16:creationId xmlns:a16="http://schemas.microsoft.com/office/drawing/2014/main" id="{7CB1A242-A584-8373-EEB3-D7539963D60F}"/>
              </a:ext>
            </a:extLst>
          </p:cNvPr>
          <p:cNvGrpSpPr/>
          <p:nvPr userDrawn="1"/>
        </p:nvGrpSpPr>
        <p:grpSpPr>
          <a:xfrm>
            <a:off x="10714801" y="4520490"/>
            <a:ext cx="922463" cy="1717282"/>
            <a:chOff x="10652400" y="4322824"/>
            <a:chExt cx="922463" cy="1717282"/>
          </a:xfrm>
        </p:grpSpPr>
        <p:sp>
          <p:nvSpPr>
            <p:cNvPr id="36" name="RectangleLegend1" hidden="1">
              <a:extLst>
                <a:ext uri="{FF2B5EF4-FFF2-40B4-BE49-F238E27FC236}">
                  <a16:creationId xmlns:a16="http://schemas.microsoft.com/office/drawing/2014/main" id="{5548191F-D77A-BF2F-E825-76FE7034E21D}"/>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a:solidFill>
                  <a:schemeClr val="tx1"/>
                </a:solidFill>
              </a:endParaRPr>
            </a:p>
          </p:txBody>
        </p:sp>
        <p:sp>
          <p:nvSpPr>
            <p:cNvPr id="37" name="RectangleLegend2" hidden="1">
              <a:extLst>
                <a:ext uri="{FF2B5EF4-FFF2-40B4-BE49-F238E27FC236}">
                  <a16:creationId xmlns:a16="http://schemas.microsoft.com/office/drawing/2014/main" id="{ECB3D115-C0F0-C5B1-74E7-2658840C31C4}"/>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a:solidFill>
                  <a:schemeClr val="tx1"/>
                </a:solidFill>
              </a:endParaRPr>
            </a:p>
          </p:txBody>
        </p:sp>
        <p:sp>
          <p:nvSpPr>
            <p:cNvPr id="38" name="RectangleLegend3" hidden="1">
              <a:extLst>
                <a:ext uri="{FF2B5EF4-FFF2-40B4-BE49-F238E27FC236}">
                  <a16:creationId xmlns:a16="http://schemas.microsoft.com/office/drawing/2014/main" id="{1864F374-1132-DA9D-21EE-3231A5397C96}"/>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a:solidFill>
                  <a:schemeClr val="tx1"/>
                </a:solidFill>
              </a:endParaRPr>
            </a:p>
          </p:txBody>
        </p:sp>
        <p:sp>
          <p:nvSpPr>
            <p:cNvPr id="39" name="RectangleLegend4" hidden="1">
              <a:extLst>
                <a:ext uri="{FF2B5EF4-FFF2-40B4-BE49-F238E27FC236}">
                  <a16:creationId xmlns:a16="http://schemas.microsoft.com/office/drawing/2014/main" id="{6266ED7F-5EC4-7AFF-2067-1A0FFEEEBB68}"/>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a:solidFill>
                  <a:schemeClr val="tx1"/>
                </a:solidFill>
              </a:endParaRPr>
            </a:p>
          </p:txBody>
        </p:sp>
        <p:sp>
          <p:nvSpPr>
            <p:cNvPr id="40" name="RectangleLegend5" hidden="1">
              <a:extLst>
                <a:ext uri="{FF2B5EF4-FFF2-40B4-BE49-F238E27FC236}">
                  <a16:creationId xmlns:a16="http://schemas.microsoft.com/office/drawing/2014/main" id="{A6EEE657-0DAF-D310-84F6-7A04209A4DD5}"/>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a:solidFill>
                  <a:schemeClr val="tx1"/>
                </a:solidFill>
              </a:endParaRPr>
            </a:p>
          </p:txBody>
        </p:sp>
        <p:sp>
          <p:nvSpPr>
            <p:cNvPr id="41" name="Legend1" hidden="1">
              <a:extLst>
                <a:ext uri="{FF2B5EF4-FFF2-40B4-BE49-F238E27FC236}">
                  <a16:creationId xmlns:a16="http://schemas.microsoft.com/office/drawing/2014/main" id="{1A64E857-00FF-9829-CBB5-45109FDE0FC8}"/>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42" name="Legend2" hidden="1">
              <a:extLst>
                <a:ext uri="{FF2B5EF4-FFF2-40B4-BE49-F238E27FC236}">
                  <a16:creationId xmlns:a16="http://schemas.microsoft.com/office/drawing/2014/main" id="{6E14895C-3DBC-5BA4-F749-9AA476995B79}"/>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43" name="Legend3" hidden="1">
              <a:extLst>
                <a:ext uri="{FF2B5EF4-FFF2-40B4-BE49-F238E27FC236}">
                  <a16:creationId xmlns:a16="http://schemas.microsoft.com/office/drawing/2014/main" id="{CD5ECC93-E839-AF54-67A6-68DE39A30FEB}"/>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44" name="Legend4" hidden="1">
              <a:extLst>
                <a:ext uri="{FF2B5EF4-FFF2-40B4-BE49-F238E27FC236}">
                  <a16:creationId xmlns:a16="http://schemas.microsoft.com/office/drawing/2014/main" id="{C7965413-BD9F-38DE-015D-AE5C7CF3BB59}"/>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45" name="Legend5" hidden="1">
              <a:extLst>
                <a:ext uri="{FF2B5EF4-FFF2-40B4-BE49-F238E27FC236}">
                  <a16:creationId xmlns:a16="http://schemas.microsoft.com/office/drawing/2014/main" id="{1FB1C655-7032-B480-D297-6765240D55FA}"/>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grpSp>
      <p:pic>
        <p:nvPicPr>
          <p:cNvPr id="46" name="Picture 45">
            <a:extLst>
              <a:ext uri="{FF2B5EF4-FFF2-40B4-BE49-F238E27FC236}">
                <a16:creationId xmlns:a16="http://schemas.microsoft.com/office/drawing/2014/main" id="{11DDB3CE-EA53-0C3D-6B66-B4CD95BD92BF}"/>
              </a:ext>
            </a:extLst>
          </p:cNvPr>
          <p:cNvPicPr>
            <a:picLocks noChangeAspect="1"/>
          </p:cNvPicPr>
          <p:nvPr userDrawn="1"/>
        </p:nvPicPr>
        <p:blipFill>
          <a:blip r:embed="rId39"/>
          <a:stretch>
            <a:fillRect/>
          </a:stretch>
        </p:blipFill>
        <p:spPr>
          <a:xfrm>
            <a:off x="489965" y="6244882"/>
            <a:ext cx="1217587" cy="429476"/>
          </a:xfrm>
          <a:prstGeom prst="rect">
            <a:avLst/>
          </a:prstGeom>
        </p:spPr>
      </p:pic>
      <p:pic>
        <p:nvPicPr>
          <p:cNvPr id="47" name="Picture 46">
            <a:extLst>
              <a:ext uri="{FF2B5EF4-FFF2-40B4-BE49-F238E27FC236}">
                <a16:creationId xmlns:a16="http://schemas.microsoft.com/office/drawing/2014/main" id="{C32B1E1F-ED3A-7E8D-0B37-E1C426641F71}"/>
              </a:ext>
            </a:extLst>
          </p:cNvPr>
          <p:cNvPicPr>
            <a:picLocks noChangeAspect="1"/>
          </p:cNvPicPr>
          <p:nvPr userDrawn="1"/>
        </p:nvPicPr>
        <p:blipFill>
          <a:blip r:embed="rId40" cstate="print">
            <a:extLst>
              <a:ext uri="{28A0092B-C50C-407E-A947-70E740481C1C}">
                <a14:useLocalDpi xmlns:a14="http://schemas.microsoft.com/office/drawing/2010/main" val="0"/>
              </a:ext>
            </a:extLst>
          </a:blip>
          <a:srcRect l="16119" t="18456" r="15825" b="24005"/>
          <a:stretch/>
        </p:blipFill>
        <p:spPr>
          <a:xfrm>
            <a:off x="10925108" y="183978"/>
            <a:ext cx="712156" cy="361189"/>
          </a:xfrm>
          <a:prstGeom prst="rect">
            <a:avLst/>
          </a:prstGeom>
        </p:spPr>
      </p:pic>
    </p:spTree>
    <p:extLst>
      <p:ext uri="{BB962C8B-B14F-4D97-AF65-F5344CB8AC3E}">
        <p14:creationId xmlns:p14="http://schemas.microsoft.com/office/powerpoint/2010/main" val="30795978"/>
      </p:ext>
    </p:extLst>
  </p:cSld>
  <p:clrMap bg1="lt1" tx1="dk1" bg2="lt2" tx2="dk2" accent1="accent1" accent2="accent2" accent3="accent3" accent4="accent4" accent5="accent5" accent6="accent6" hlink="hlink" folHlink="folHlink"/>
  <p:sldLayoutIdLst>
    <p:sldLayoutId id="2147483940" r:id="rId1"/>
    <p:sldLayoutId id="2147483941" r:id="rId2"/>
    <p:sldLayoutId id="2147483942" r:id="rId3"/>
    <p:sldLayoutId id="2147483943" r:id="rId4"/>
    <p:sldLayoutId id="2147483944" r:id="rId5"/>
    <p:sldLayoutId id="2147483945" r:id="rId6"/>
    <p:sldLayoutId id="2147483946" r:id="rId7"/>
    <p:sldLayoutId id="2147483947" r:id="rId8"/>
    <p:sldLayoutId id="2147483948" r:id="rId9"/>
    <p:sldLayoutId id="2147483949" r:id="rId10"/>
    <p:sldLayoutId id="2147483950" r:id="rId11"/>
    <p:sldLayoutId id="2147483951" r:id="rId12"/>
    <p:sldLayoutId id="2147483952" r:id="rId13"/>
    <p:sldLayoutId id="2147483953" r:id="rId14"/>
    <p:sldLayoutId id="2147483954" r:id="rId15"/>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78">
          <p15:clr>
            <a:srgbClr val="5ACBF0"/>
          </p15:clr>
        </p15:guide>
        <p15:guide id="3" orient="horz" pos="3912">
          <p15:clr>
            <a:srgbClr val="5ACBF0"/>
          </p15:clr>
        </p15:guide>
        <p15:guide id="4" orient="horz" pos="890">
          <p15:clr>
            <a:srgbClr val="F26B43"/>
          </p15:clr>
        </p15:guide>
        <p15:guide id="5" pos="7329">
          <p15:clr>
            <a:srgbClr val="F26B43"/>
          </p15:clr>
        </p15:guide>
        <p15:guide id="6" pos="345">
          <p15:clr>
            <a:srgbClr val="F26B43"/>
          </p15:clr>
        </p15:guide>
        <p15:guide id="8" orient="horz" pos="397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9"/>
            </p:custDataLst>
            <p:extLst>
              <p:ext uri="{D42A27DB-BD31-4B8C-83A1-F6EECF244321}">
                <p14:modId xmlns:p14="http://schemas.microsoft.com/office/powerpoint/2010/main" val="29381812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413" imgH="416" progId="TCLayout.ActiveDocument.1">
                  <p:embed/>
                </p:oleObj>
              </mc:Choice>
              <mc:Fallback>
                <p:oleObj name="think-cell Slide" r:id="rId25"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0"/>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grpSp>
        <p:nvGrpSpPr>
          <p:cNvPr id="170" name="Grid" hidden="1">
            <a:extLst>
              <a:ext uri="{FF2B5EF4-FFF2-40B4-BE49-F238E27FC236}">
                <a16:creationId xmlns:a16="http://schemas.microsoft.com/office/drawing/2014/main" id="{3BBFEB30-B5C9-4D5C-9A82-066C6BF363E3}"/>
              </a:ext>
            </a:extLst>
          </p:cNvPr>
          <p:cNvGrpSpPr/>
          <p:nvPr userDrawn="1">
            <p:custDataLst>
              <p:tags r:id="rId21"/>
            </p:custDataLst>
          </p:nvPr>
        </p:nvGrpSpPr>
        <p:grpSpPr>
          <a:xfrm>
            <a:off x="0" y="0"/>
            <a:ext cx="12190476" cy="6858000"/>
            <a:chOff x="0" y="0"/>
            <a:chExt cx="12190476" cy="6858000"/>
          </a:xfrm>
        </p:grpSpPr>
        <p:sp>
          <p:nvSpPr>
            <p:cNvPr id="171" name="Freeform: Shape 170">
              <a:extLst>
                <a:ext uri="{FF2B5EF4-FFF2-40B4-BE49-F238E27FC236}">
                  <a16:creationId xmlns:a16="http://schemas.microsoft.com/office/drawing/2014/main" id="{950B3518-D8B6-4062-A4CE-0C1A1A286FE1}"/>
                </a:ext>
              </a:extLst>
            </p:cNvPr>
            <p:cNvSpPr/>
            <p:nvPr userDrawn="1"/>
          </p:nvSpPr>
          <p:spPr bwMode="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172" name="Freeform: Shape 171">
              <a:extLst>
                <a:ext uri="{FF2B5EF4-FFF2-40B4-BE49-F238E27FC236}">
                  <a16:creationId xmlns:a16="http://schemas.microsoft.com/office/drawing/2014/main" id="{EC45F528-EF91-4619-AF16-5D11F63D2FFC}"/>
                </a:ext>
              </a:extLst>
            </p:cNvPr>
            <p:cNvSpPr/>
            <p:nvPr/>
          </p:nvSpPr>
          <p:spPr bwMode="gray">
            <a:xfrm>
              <a:off x="1524" y="0"/>
              <a:ext cx="12188952" cy="6858000"/>
            </a:xfrm>
            <a:custGeom>
              <a:avLst/>
              <a:gdLst>
                <a:gd name="connsiteX0" fmla="*/ 553212 w 12188952"/>
                <a:gd name="connsiteY0" fmla="*/ 1405610 h 6858000"/>
                <a:gd name="connsiteX1" fmla="*/ 553212 w 12188952"/>
                <a:gd name="connsiteY1" fmla="*/ 1709928 h 6858000"/>
                <a:gd name="connsiteX2" fmla="*/ 551868 w 12188952"/>
                <a:gd name="connsiteY2" fmla="*/ 1709928 h 6858000"/>
                <a:gd name="connsiteX3" fmla="*/ 551868 w 12188952"/>
                <a:gd name="connsiteY3" fmla="*/ 6217920 h 6858000"/>
                <a:gd name="connsiteX4" fmla="*/ 553212 w 12188952"/>
                <a:gd name="connsiteY4" fmla="*/ 6217920 h 6858000"/>
                <a:gd name="connsiteX5" fmla="*/ 11635740 w 12188952"/>
                <a:gd name="connsiteY5" fmla="*/ 6217920 h 6858000"/>
                <a:gd name="connsiteX6" fmla="*/ 11636196 w 12188952"/>
                <a:gd name="connsiteY6" fmla="*/ 6217920 h 6858000"/>
                <a:gd name="connsiteX7" fmla="*/ 11636196 w 12188952"/>
                <a:gd name="connsiteY7" fmla="*/ 1709928 h 6858000"/>
                <a:gd name="connsiteX8" fmla="*/ 11635740 w 12188952"/>
                <a:gd name="connsiteY8" fmla="*/ 1709928 h 6858000"/>
                <a:gd name="connsiteX9" fmla="*/ 11635740 w 12188952"/>
                <a:gd name="connsiteY9" fmla="*/ 1405610 h 6858000"/>
                <a:gd name="connsiteX10" fmla="*/ 0 w 12188952"/>
                <a:gd name="connsiteY10" fmla="*/ 0 h 6858000"/>
                <a:gd name="connsiteX11" fmla="*/ 12188952 w 12188952"/>
                <a:gd name="connsiteY11" fmla="*/ 0 h 6858000"/>
                <a:gd name="connsiteX12" fmla="*/ 12188952 w 12188952"/>
                <a:gd name="connsiteY12" fmla="*/ 6858000 h 6858000"/>
                <a:gd name="connsiteX13" fmla="*/ 0 w 12188952"/>
                <a:gd name="connsiteY1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8952" h="6858000">
                  <a:moveTo>
                    <a:pt x="553212" y="1405610"/>
                  </a:moveTo>
                  <a:lnTo>
                    <a:pt x="553212" y="1709928"/>
                  </a:lnTo>
                  <a:lnTo>
                    <a:pt x="551868" y="1709928"/>
                  </a:lnTo>
                  <a:lnTo>
                    <a:pt x="551868" y="6217920"/>
                  </a:lnTo>
                  <a:lnTo>
                    <a:pt x="553212" y="6217920"/>
                  </a:lnTo>
                  <a:lnTo>
                    <a:pt x="11635740" y="6217920"/>
                  </a:lnTo>
                  <a:lnTo>
                    <a:pt x="11636196" y="6217920"/>
                  </a:lnTo>
                  <a:lnTo>
                    <a:pt x="11636196" y="1709928"/>
                  </a:lnTo>
                  <a:lnTo>
                    <a:pt x="11635740" y="1709928"/>
                  </a:lnTo>
                  <a:lnTo>
                    <a:pt x="11635740" y="1405610"/>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rtl="0"/>
              <a:endParaRPr lang="en-US">
                <a:solidFill>
                  <a:schemeClr val="tx1"/>
                </a:solidFill>
                <a:latin typeface="+mn-lt"/>
              </a:endParaRPr>
            </a:p>
          </p:txBody>
        </p:sp>
        <p:cxnSp>
          <p:nvCxnSpPr>
            <p:cNvPr id="173" name="Straight Connector 172">
              <a:extLst>
                <a:ext uri="{FF2B5EF4-FFF2-40B4-BE49-F238E27FC236}">
                  <a16:creationId xmlns:a16="http://schemas.microsoft.com/office/drawing/2014/main" id="{77ABF7BA-0428-4141-8351-03A2727DECBD}"/>
                </a:ext>
              </a:extLst>
            </p:cNvPr>
            <p:cNvCxnSpPr/>
            <p:nvPr/>
          </p:nvCxnSpPr>
          <p:spPr bwMode="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94EB93D9-2FE5-4212-8DB4-7A0327E33766}"/>
                </a:ext>
              </a:extLst>
            </p:cNvPr>
            <p:cNvCxnSpPr/>
            <p:nvPr/>
          </p:nvCxnSpPr>
          <p:spPr bwMode="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C2F34081-E688-4287-A553-264328F1E1E1}"/>
                </a:ext>
              </a:extLst>
            </p:cNvPr>
            <p:cNvCxnSpPr/>
            <p:nvPr/>
          </p:nvCxnSpPr>
          <p:spPr bwMode="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6868CDEE-044B-4D04-A5D3-6A526BE51179}"/>
                </a:ext>
              </a:extLst>
            </p:cNvPr>
            <p:cNvCxnSpPr/>
            <p:nvPr/>
          </p:nvCxnSpPr>
          <p:spPr bwMode="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0100C653-5CFA-4B3C-BD97-47499B419B53}"/>
                </a:ext>
              </a:extLst>
            </p:cNvPr>
            <p:cNvCxnSpPr/>
            <p:nvPr/>
          </p:nvCxnSpPr>
          <p:spPr bwMode="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8" name="Straight Connector 177">
              <a:extLst>
                <a:ext uri="{FF2B5EF4-FFF2-40B4-BE49-F238E27FC236}">
                  <a16:creationId xmlns:a16="http://schemas.microsoft.com/office/drawing/2014/main" id="{F21F5AB2-1154-4ACD-832F-CB2539EE783F}"/>
                </a:ext>
              </a:extLst>
            </p:cNvPr>
            <p:cNvCxnSpPr/>
            <p:nvPr/>
          </p:nvCxnSpPr>
          <p:spPr bwMode="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466910D2-AFA9-4FD1-8D04-D99BB3645452}"/>
                </a:ext>
              </a:extLst>
            </p:cNvPr>
            <p:cNvCxnSpPr/>
            <p:nvPr/>
          </p:nvCxnSpPr>
          <p:spPr bwMode="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a16="http://schemas.microsoft.com/office/drawing/2014/main" id="{1769A11B-0399-4716-A212-6F179313A427}"/>
                </a:ext>
              </a:extLst>
            </p:cNvPr>
            <p:cNvCxnSpPr/>
            <p:nvPr/>
          </p:nvCxnSpPr>
          <p:spPr bwMode="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99" name="Straight Connector 198">
              <a:extLst>
                <a:ext uri="{FF2B5EF4-FFF2-40B4-BE49-F238E27FC236}">
                  <a16:creationId xmlns:a16="http://schemas.microsoft.com/office/drawing/2014/main" id="{2CB3272D-021B-49B8-92A5-D1DEB3202AE0}"/>
                </a:ext>
              </a:extLst>
            </p:cNvPr>
            <p:cNvCxnSpPr/>
            <p:nvPr/>
          </p:nvCxnSpPr>
          <p:spPr bwMode="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0" name="Straight Connector 199">
              <a:extLst>
                <a:ext uri="{FF2B5EF4-FFF2-40B4-BE49-F238E27FC236}">
                  <a16:creationId xmlns:a16="http://schemas.microsoft.com/office/drawing/2014/main" id="{61701AE9-04C5-4AD4-8DEE-873680FD231F}"/>
                </a:ext>
              </a:extLst>
            </p:cNvPr>
            <p:cNvCxnSpPr/>
            <p:nvPr/>
          </p:nvCxnSpPr>
          <p:spPr bwMode="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1" name="Straight Connector 200">
              <a:extLst>
                <a:ext uri="{FF2B5EF4-FFF2-40B4-BE49-F238E27FC236}">
                  <a16:creationId xmlns:a16="http://schemas.microsoft.com/office/drawing/2014/main" id="{4050D91B-89C3-45DE-BE0C-1430E2BE6F4B}"/>
                </a:ext>
              </a:extLst>
            </p:cNvPr>
            <p:cNvCxnSpPr/>
            <p:nvPr/>
          </p:nvCxnSpPr>
          <p:spPr bwMode="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2" name="Straight Connector 201">
              <a:extLst>
                <a:ext uri="{FF2B5EF4-FFF2-40B4-BE49-F238E27FC236}">
                  <a16:creationId xmlns:a16="http://schemas.microsoft.com/office/drawing/2014/main" id="{68E5EF5D-0D94-4FCE-8BE2-F0790F7B1879}"/>
                </a:ext>
              </a:extLst>
            </p:cNvPr>
            <p:cNvCxnSpPr/>
            <p:nvPr/>
          </p:nvCxnSpPr>
          <p:spPr bwMode="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203" name="Freeform: Shape 202">
              <a:extLst>
                <a:ext uri="{FF2B5EF4-FFF2-40B4-BE49-F238E27FC236}">
                  <a16:creationId xmlns:a16="http://schemas.microsoft.com/office/drawing/2014/main" id="{205F8351-710E-49E9-A523-EA0755B417C5}"/>
                </a:ext>
              </a:extLst>
            </p:cNvPr>
            <p:cNvSpPr/>
            <p:nvPr/>
          </p:nvSpPr>
          <p:spPr bwMode="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04" name="Freeform: Shape 203">
              <a:extLst>
                <a:ext uri="{FF2B5EF4-FFF2-40B4-BE49-F238E27FC236}">
                  <a16:creationId xmlns:a16="http://schemas.microsoft.com/office/drawing/2014/main" id="{47C1C31B-A122-4A09-9500-27B0684B272F}"/>
                </a:ext>
              </a:extLst>
            </p:cNvPr>
            <p:cNvSpPr/>
            <p:nvPr/>
          </p:nvSpPr>
          <p:spPr bwMode="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05" name="Freeform: Shape 204">
              <a:extLst>
                <a:ext uri="{FF2B5EF4-FFF2-40B4-BE49-F238E27FC236}">
                  <a16:creationId xmlns:a16="http://schemas.microsoft.com/office/drawing/2014/main" id="{7DF86859-7D4B-4DA1-91AA-0992644F5903}"/>
                </a:ext>
              </a:extLst>
            </p:cNvPr>
            <p:cNvSpPr/>
            <p:nvPr/>
          </p:nvSpPr>
          <p:spPr bwMode="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06" name="Freeform: Shape 205">
              <a:extLst>
                <a:ext uri="{FF2B5EF4-FFF2-40B4-BE49-F238E27FC236}">
                  <a16:creationId xmlns:a16="http://schemas.microsoft.com/office/drawing/2014/main" id="{3DC3E9CA-569C-4414-A75A-C805A4A40B64}"/>
                </a:ext>
              </a:extLst>
            </p:cNvPr>
            <p:cNvSpPr/>
            <p:nvPr/>
          </p:nvSpPr>
          <p:spPr bwMode="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07" name="Freeform: Shape 206">
              <a:extLst>
                <a:ext uri="{FF2B5EF4-FFF2-40B4-BE49-F238E27FC236}">
                  <a16:creationId xmlns:a16="http://schemas.microsoft.com/office/drawing/2014/main" id="{B532C466-D8D3-43AC-995C-2B54885AC096}"/>
                </a:ext>
              </a:extLst>
            </p:cNvPr>
            <p:cNvSpPr/>
            <p:nvPr/>
          </p:nvSpPr>
          <p:spPr bwMode="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08" name="Freeform: Shape 207">
              <a:extLst>
                <a:ext uri="{FF2B5EF4-FFF2-40B4-BE49-F238E27FC236}">
                  <a16:creationId xmlns:a16="http://schemas.microsoft.com/office/drawing/2014/main" id="{B0920AE1-B909-471F-9E77-7C3A31509F84}"/>
                </a:ext>
              </a:extLst>
            </p:cNvPr>
            <p:cNvSpPr/>
            <p:nvPr/>
          </p:nvSpPr>
          <p:spPr bwMode="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09" name="Freeform: Shape 208">
              <a:extLst>
                <a:ext uri="{FF2B5EF4-FFF2-40B4-BE49-F238E27FC236}">
                  <a16:creationId xmlns:a16="http://schemas.microsoft.com/office/drawing/2014/main" id="{2A1E8190-F3C6-4BF7-97E3-90F3FC84746E}"/>
                </a:ext>
              </a:extLst>
            </p:cNvPr>
            <p:cNvSpPr/>
            <p:nvPr/>
          </p:nvSpPr>
          <p:spPr bwMode="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0" name="Freeform: Shape 209">
              <a:extLst>
                <a:ext uri="{FF2B5EF4-FFF2-40B4-BE49-F238E27FC236}">
                  <a16:creationId xmlns:a16="http://schemas.microsoft.com/office/drawing/2014/main" id="{33B1FC28-C9D6-4928-BCCE-9873C7DEEFDE}"/>
                </a:ext>
              </a:extLst>
            </p:cNvPr>
            <p:cNvSpPr/>
            <p:nvPr/>
          </p:nvSpPr>
          <p:spPr bwMode="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1" name="Freeform: Shape 210">
              <a:extLst>
                <a:ext uri="{FF2B5EF4-FFF2-40B4-BE49-F238E27FC236}">
                  <a16:creationId xmlns:a16="http://schemas.microsoft.com/office/drawing/2014/main" id="{13C9C1F2-E745-44A5-AEA3-9DE0D69F2B15}"/>
                </a:ext>
              </a:extLst>
            </p:cNvPr>
            <p:cNvSpPr/>
            <p:nvPr/>
          </p:nvSpPr>
          <p:spPr bwMode="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2" name="Freeform: Shape 211">
              <a:extLst>
                <a:ext uri="{FF2B5EF4-FFF2-40B4-BE49-F238E27FC236}">
                  <a16:creationId xmlns:a16="http://schemas.microsoft.com/office/drawing/2014/main" id="{3F7DB9B8-09EF-46A7-9839-EE0FA8E11651}"/>
                </a:ext>
              </a:extLst>
            </p:cNvPr>
            <p:cNvSpPr/>
            <p:nvPr/>
          </p:nvSpPr>
          <p:spPr bwMode="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3" name="Freeform: Shape 212">
              <a:extLst>
                <a:ext uri="{FF2B5EF4-FFF2-40B4-BE49-F238E27FC236}">
                  <a16:creationId xmlns:a16="http://schemas.microsoft.com/office/drawing/2014/main" id="{759DC929-939A-40DF-96D2-82427AD8E191}"/>
                </a:ext>
              </a:extLst>
            </p:cNvPr>
            <p:cNvSpPr/>
            <p:nvPr/>
          </p:nvSpPr>
          <p:spPr bwMode="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4" name="Freeform: Shape 213">
              <a:extLst>
                <a:ext uri="{FF2B5EF4-FFF2-40B4-BE49-F238E27FC236}">
                  <a16:creationId xmlns:a16="http://schemas.microsoft.com/office/drawing/2014/main" id="{71E475EA-3BCA-4BD2-9129-0A15F92784B0}"/>
                </a:ext>
              </a:extLst>
            </p:cNvPr>
            <p:cNvSpPr/>
            <p:nvPr/>
          </p:nvSpPr>
          <p:spPr bwMode="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5" name="Freeform: Shape 214">
              <a:extLst>
                <a:ext uri="{FF2B5EF4-FFF2-40B4-BE49-F238E27FC236}">
                  <a16:creationId xmlns:a16="http://schemas.microsoft.com/office/drawing/2014/main" id="{B58358D8-4286-4ED9-A0FF-82879D8C9183}"/>
                </a:ext>
              </a:extLst>
            </p:cNvPr>
            <p:cNvSpPr/>
            <p:nvPr/>
          </p:nvSpPr>
          <p:spPr bwMode="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6" name="Freeform: Shape 215">
              <a:extLst>
                <a:ext uri="{FF2B5EF4-FFF2-40B4-BE49-F238E27FC236}">
                  <a16:creationId xmlns:a16="http://schemas.microsoft.com/office/drawing/2014/main" id="{07E8672D-5A21-4EE8-8FA5-FBB35E3AF6F8}"/>
                </a:ext>
              </a:extLst>
            </p:cNvPr>
            <p:cNvSpPr/>
            <p:nvPr/>
          </p:nvSpPr>
          <p:spPr bwMode="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7" name="Freeform: Shape 216">
              <a:extLst>
                <a:ext uri="{FF2B5EF4-FFF2-40B4-BE49-F238E27FC236}">
                  <a16:creationId xmlns:a16="http://schemas.microsoft.com/office/drawing/2014/main" id="{FA059A59-9BBE-4F86-862A-48E139D1EE64}"/>
                </a:ext>
              </a:extLst>
            </p:cNvPr>
            <p:cNvSpPr/>
            <p:nvPr userDrawn="1"/>
          </p:nvSpPr>
          <p:spPr bwMode="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8" name="Freeform: Shape 217">
              <a:extLst>
                <a:ext uri="{FF2B5EF4-FFF2-40B4-BE49-F238E27FC236}">
                  <a16:creationId xmlns:a16="http://schemas.microsoft.com/office/drawing/2014/main" id="{55CF5402-4FC2-4420-ABC5-BBFA3EA9D203}"/>
                </a:ext>
              </a:extLst>
            </p:cNvPr>
            <p:cNvSpPr/>
            <p:nvPr userDrawn="1"/>
          </p:nvSpPr>
          <p:spPr bwMode="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9" name="Freeform: Shape 218">
              <a:extLst>
                <a:ext uri="{FF2B5EF4-FFF2-40B4-BE49-F238E27FC236}">
                  <a16:creationId xmlns:a16="http://schemas.microsoft.com/office/drawing/2014/main" id="{10BB1258-8102-4E47-BE2F-816FBB6BA408}"/>
                </a:ext>
              </a:extLst>
            </p:cNvPr>
            <p:cNvSpPr/>
            <p:nvPr userDrawn="1"/>
          </p:nvSpPr>
          <p:spPr bwMode="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20" name="Freeform: Shape 219">
              <a:extLst>
                <a:ext uri="{FF2B5EF4-FFF2-40B4-BE49-F238E27FC236}">
                  <a16:creationId xmlns:a16="http://schemas.microsoft.com/office/drawing/2014/main" id="{B270BD53-6742-47F1-853C-FA770237F3FD}"/>
                </a:ext>
              </a:extLst>
            </p:cNvPr>
            <p:cNvSpPr/>
            <p:nvPr userDrawn="1"/>
          </p:nvSpPr>
          <p:spPr bwMode="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21" name="Freeform: Shape 220">
              <a:extLst>
                <a:ext uri="{FF2B5EF4-FFF2-40B4-BE49-F238E27FC236}">
                  <a16:creationId xmlns:a16="http://schemas.microsoft.com/office/drawing/2014/main" id="{3395B319-4702-4CD9-838C-C0612B6879BC}"/>
                </a:ext>
              </a:extLst>
            </p:cNvPr>
            <p:cNvSpPr/>
            <p:nvPr userDrawn="1"/>
          </p:nvSpPr>
          <p:spPr bwMode="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22" name="Freeform: Shape 221">
              <a:extLst>
                <a:ext uri="{FF2B5EF4-FFF2-40B4-BE49-F238E27FC236}">
                  <a16:creationId xmlns:a16="http://schemas.microsoft.com/office/drawing/2014/main" id="{AE5E70F1-247D-4F01-A473-C5A9226BCADC}"/>
                </a:ext>
              </a:extLst>
            </p:cNvPr>
            <p:cNvSpPr/>
            <p:nvPr userDrawn="1"/>
          </p:nvSpPr>
          <p:spPr bwMode="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23" name="Freeform: Shape 222">
              <a:extLst>
                <a:ext uri="{FF2B5EF4-FFF2-40B4-BE49-F238E27FC236}">
                  <a16:creationId xmlns:a16="http://schemas.microsoft.com/office/drawing/2014/main" id="{732858E4-B133-4A91-9BCA-BF80F093194A}"/>
                </a:ext>
              </a:extLst>
            </p:cNvPr>
            <p:cNvSpPr/>
            <p:nvPr userDrawn="1"/>
          </p:nvSpPr>
          <p:spPr bwMode="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24" name="Freeform: Shape 223">
              <a:extLst>
                <a:ext uri="{FF2B5EF4-FFF2-40B4-BE49-F238E27FC236}">
                  <a16:creationId xmlns:a16="http://schemas.microsoft.com/office/drawing/2014/main" id="{027DED92-EF7A-4687-A1A4-BDAA2F1EAF12}"/>
                </a:ext>
              </a:extLst>
            </p:cNvPr>
            <p:cNvSpPr/>
            <p:nvPr userDrawn="1"/>
          </p:nvSpPr>
          <p:spPr bwMode="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25" name="Freeform: Shape 224">
              <a:extLst>
                <a:ext uri="{FF2B5EF4-FFF2-40B4-BE49-F238E27FC236}">
                  <a16:creationId xmlns:a16="http://schemas.microsoft.com/office/drawing/2014/main" id="{53D72483-35F2-49AC-989D-0E1BC8456803}"/>
                </a:ext>
              </a:extLst>
            </p:cNvPr>
            <p:cNvSpPr/>
            <p:nvPr userDrawn="1"/>
          </p:nvSpPr>
          <p:spPr bwMode="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26" name="Freeform: Shape 225">
              <a:extLst>
                <a:ext uri="{FF2B5EF4-FFF2-40B4-BE49-F238E27FC236}">
                  <a16:creationId xmlns:a16="http://schemas.microsoft.com/office/drawing/2014/main" id="{2DD2F54E-53A3-49F6-905E-B0F8E1348C8E}"/>
                </a:ext>
              </a:extLst>
            </p:cNvPr>
            <p:cNvSpPr/>
            <p:nvPr userDrawn="1"/>
          </p:nvSpPr>
          <p:spPr bwMode="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cxnSp>
          <p:nvCxnSpPr>
            <p:cNvPr id="227" name="Straight Connector 226">
              <a:extLst>
                <a:ext uri="{FF2B5EF4-FFF2-40B4-BE49-F238E27FC236}">
                  <a16:creationId xmlns:a16="http://schemas.microsoft.com/office/drawing/2014/main" id="{557A01EE-7FB2-4BA0-B35A-2F95546E4624}"/>
                </a:ext>
              </a:extLst>
            </p:cNvPr>
            <p:cNvCxnSpPr/>
            <p:nvPr userDrawn="1"/>
          </p:nvCxnSpPr>
          <p:spPr bwMode="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8" name="Straight Connector 227">
              <a:extLst>
                <a:ext uri="{FF2B5EF4-FFF2-40B4-BE49-F238E27FC236}">
                  <a16:creationId xmlns:a16="http://schemas.microsoft.com/office/drawing/2014/main" id="{7FC1C45B-2B29-4A42-8D4B-721F68CA1348}"/>
                </a:ext>
              </a:extLst>
            </p:cNvPr>
            <p:cNvCxnSpPr/>
            <p:nvPr userDrawn="1"/>
          </p:nvCxnSpPr>
          <p:spPr bwMode="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B1A27E92-9270-4990-A7E0-13762B5DCF31}"/>
                </a:ext>
              </a:extLst>
            </p:cNvPr>
            <p:cNvCxnSpPr/>
            <p:nvPr userDrawn="1"/>
          </p:nvCxnSpPr>
          <p:spPr bwMode="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0" name="Straight Connector 229">
              <a:extLst>
                <a:ext uri="{FF2B5EF4-FFF2-40B4-BE49-F238E27FC236}">
                  <a16:creationId xmlns:a16="http://schemas.microsoft.com/office/drawing/2014/main" id="{9F46154D-791B-4F7D-8E1C-E15CD03A29AA}"/>
                </a:ext>
              </a:extLst>
            </p:cNvPr>
            <p:cNvCxnSpPr/>
            <p:nvPr userDrawn="1"/>
          </p:nvCxnSpPr>
          <p:spPr bwMode="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C9B4B757-25C9-484E-A4FE-A49FBA3319A4}"/>
                </a:ext>
              </a:extLst>
            </p:cNvPr>
            <p:cNvCxnSpPr/>
            <p:nvPr userDrawn="1"/>
          </p:nvCxnSpPr>
          <p:spPr bwMode="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2" name="Straight Connector 231">
              <a:extLst>
                <a:ext uri="{FF2B5EF4-FFF2-40B4-BE49-F238E27FC236}">
                  <a16:creationId xmlns:a16="http://schemas.microsoft.com/office/drawing/2014/main" id="{75535B4E-91AD-45A5-B3C9-3699892DFD15}"/>
                </a:ext>
              </a:extLst>
            </p:cNvPr>
            <p:cNvCxnSpPr/>
            <p:nvPr userDrawn="1"/>
          </p:nvCxnSpPr>
          <p:spPr bwMode="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3" name="Straight Connector 232">
              <a:extLst>
                <a:ext uri="{FF2B5EF4-FFF2-40B4-BE49-F238E27FC236}">
                  <a16:creationId xmlns:a16="http://schemas.microsoft.com/office/drawing/2014/main" id="{BB8DA04A-5D80-45BB-8266-4A4ECB242742}"/>
                </a:ext>
              </a:extLst>
            </p:cNvPr>
            <p:cNvCxnSpPr/>
            <p:nvPr userDrawn="1"/>
          </p:nvCxnSpPr>
          <p:spPr bwMode="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4" name="Straight Connector 233">
              <a:extLst>
                <a:ext uri="{FF2B5EF4-FFF2-40B4-BE49-F238E27FC236}">
                  <a16:creationId xmlns:a16="http://schemas.microsoft.com/office/drawing/2014/main" id="{E5E52966-F7BC-421A-9050-FFBE6C9FDFFC}"/>
                </a:ext>
              </a:extLst>
            </p:cNvPr>
            <p:cNvCxnSpPr/>
            <p:nvPr userDrawn="1"/>
          </p:nvCxnSpPr>
          <p:spPr bwMode="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5" name="Straight Connector 234">
              <a:extLst>
                <a:ext uri="{FF2B5EF4-FFF2-40B4-BE49-F238E27FC236}">
                  <a16:creationId xmlns:a16="http://schemas.microsoft.com/office/drawing/2014/main" id="{27183FD6-ADDC-4DBA-AD69-7D5A08920C83}"/>
                </a:ext>
              </a:extLst>
            </p:cNvPr>
            <p:cNvCxnSpPr/>
            <p:nvPr userDrawn="1"/>
          </p:nvCxnSpPr>
          <p:spPr bwMode="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3B1C3B52-250A-482D-AE65-9AAC3A76868D}"/>
                </a:ext>
              </a:extLst>
            </p:cNvPr>
            <p:cNvCxnSpPr/>
            <p:nvPr userDrawn="1"/>
          </p:nvCxnSpPr>
          <p:spPr bwMode="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a16="http://schemas.microsoft.com/office/drawing/2014/main" id="{3AB6E369-DE4F-4AA3-9B2B-FD9286DC14EB}"/>
                </a:ext>
              </a:extLst>
            </p:cNvPr>
            <p:cNvCxnSpPr/>
            <p:nvPr userDrawn="1"/>
          </p:nvCxnSpPr>
          <p:spPr bwMode="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02D96B38-98DE-4984-BD84-08887A144206}"/>
                </a:ext>
              </a:extLst>
            </p:cNvPr>
            <p:cNvCxnSpPr/>
            <p:nvPr userDrawn="1"/>
          </p:nvCxnSpPr>
          <p:spPr bwMode="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9" name="Straight Connector 238">
              <a:extLst>
                <a:ext uri="{FF2B5EF4-FFF2-40B4-BE49-F238E27FC236}">
                  <a16:creationId xmlns:a16="http://schemas.microsoft.com/office/drawing/2014/main" id="{2A47B8B7-112A-4075-B20A-90A845CE256B}"/>
                </a:ext>
              </a:extLst>
            </p:cNvPr>
            <p:cNvCxnSpPr/>
            <p:nvPr userDrawn="1"/>
          </p:nvCxnSpPr>
          <p:spPr bwMode="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0" name="Straight Connector 239">
              <a:extLst>
                <a:ext uri="{FF2B5EF4-FFF2-40B4-BE49-F238E27FC236}">
                  <a16:creationId xmlns:a16="http://schemas.microsoft.com/office/drawing/2014/main" id="{0FEBE3CB-E087-4212-96D5-920E5C903EF2}"/>
                </a:ext>
              </a:extLst>
            </p:cNvPr>
            <p:cNvCxnSpPr/>
            <p:nvPr userDrawn="1"/>
          </p:nvCxnSpPr>
          <p:spPr bwMode="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1" name="Straight Connector 240">
              <a:extLst>
                <a:ext uri="{FF2B5EF4-FFF2-40B4-BE49-F238E27FC236}">
                  <a16:creationId xmlns:a16="http://schemas.microsoft.com/office/drawing/2014/main" id="{3686B76C-7301-4C4A-B5BE-0AFF241FAEB0}"/>
                </a:ext>
              </a:extLst>
            </p:cNvPr>
            <p:cNvCxnSpPr/>
            <p:nvPr userDrawn="1"/>
          </p:nvCxnSpPr>
          <p:spPr bwMode="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2" name="Straight Connector 241">
              <a:extLst>
                <a:ext uri="{FF2B5EF4-FFF2-40B4-BE49-F238E27FC236}">
                  <a16:creationId xmlns:a16="http://schemas.microsoft.com/office/drawing/2014/main" id="{2B029B6E-808D-40CF-A2D1-AADA131A0D00}"/>
                </a:ext>
              </a:extLst>
            </p:cNvPr>
            <p:cNvCxnSpPr/>
            <p:nvPr userDrawn="1"/>
          </p:nvCxnSpPr>
          <p:spPr bwMode="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3" name="Straight Connector 242">
              <a:extLst>
                <a:ext uri="{FF2B5EF4-FFF2-40B4-BE49-F238E27FC236}">
                  <a16:creationId xmlns:a16="http://schemas.microsoft.com/office/drawing/2014/main" id="{8705E053-FBF3-4534-A74B-EC16CC92EE77}"/>
                </a:ext>
              </a:extLst>
            </p:cNvPr>
            <p:cNvCxnSpPr/>
            <p:nvPr userDrawn="1"/>
          </p:nvCxnSpPr>
          <p:spPr bwMode="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4" name="Straight Connector 243">
              <a:extLst>
                <a:ext uri="{FF2B5EF4-FFF2-40B4-BE49-F238E27FC236}">
                  <a16:creationId xmlns:a16="http://schemas.microsoft.com/office/drawing/2014/main" id="{BE0E44BE-C4B0-46A9-A59B-A43157B927C1}"/>
                </a:ext>
              </a:extLst>
            </p:cNvPr>
            <p:cNvCxnSpPr/>
            <p:nvPr userDrawn="1"/>
          </p:nvCxnSpPr>
          <p:spPr bwMode="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5" name="Straight Connector 244">
              <a:extLst>
                <a:ext uri="{FF2B5EF4-FFF2-40B4-BE49-F238E27FC236}">
                  <a16:creationId xmlns:a16="http://schemas.microsoft.com/office/drawing/2014/main" id="{9B09A95B-D404-461F-A093-7C895E3A741F}"/>
                </a:ext>
              </a:extLst>
            </p:cNvPr>
            <p:cNvCxnSpPr/>
            <p:nvPr userDrawn="1"/>
          </p:nvCxnSpPr>
          <p:spPr bwMode="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6" name="Straight Connector 245">
              <a:extLst>
                <a:ext uri="{FF2B5EF4-FFF2-40B4-BE49-F238E27FC236}">
                  <a16:creationId xmlns:a16="http://schemas.microsoft.com/office/drawing/2014/main" id="{A79A7095-2656-44EB-B0A3-4271C7264720}"/>
                </a:ext>
              </a:extLst>
            </p:cNvPr>
            <p:cNvCxnSpPr/>
            <p:nvPr userDrawn="1"/>
          </p:nvCxnSpPr>
          <p:spPr bwMode="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7" name="Straight Connector 246">
              <a:extLst>
                <a:ext uri="{FF2B5EF4-FFF2-40B4-BE49-F238E27FC236}">
                  <a16:creationId xmlns:a16="http://schemas.microsoft.com/office/drawing/2014/main" id="{BA4BC595-5B69-4C71-A5EC-2940C48186D2}"/>
                </a:ext>
              </a:extLst>
            </p:cNvPr>
            <p:cNvCxnSpPr/>
            <p:nvPr userDrawn="1"/>
          </p:nvCxnSpPr>
          <p:spPr bwMode="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8" name="Straight Connector 247">
              <a:extLst>
                <a:ext uri="{FF2B5EF4-FFF2-40B4-BE49-F238E27FC236}">
                  <a16:creationId xmlns:a16="http://schemas.microsoft.com/office/drawing/2014/main" id="{97474A32-631C-4FA8-B250-D9C17610DA92}"/>
                </a:ext>
              </a:extLst>
            </p:cNvPr>
            <p:cNvCxnSpPr/>
            <p:nvPr userDrawn="1"/>
          </p:nvCxnSpPr>
          <p:spPr bwMode="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4FA397D1-2FFD-4719-93E4-17828F08EC1D}"/>
                </a:ext>
              </a:extLst>
            </p:cNvPr>
            <p:cNvCxnSpPr/>
            <p:nvPr userDrawn="1"/>
          </p:nvCxnSpPr>
          <p:spPr bwMode="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0" name="Straight Connector 249">
              <a:extLst>
                <a:ext uri="{FF2B5EF4-FFF2-40B4-BE49-F238E27FC236}">
                  <a16:creationId xmlns:a16="http://schemas.microsoft.com/office/drawing/2014/main" id="{12CDBCAF-60C0-40A4-97EA-7B190F17D13D}"/>
                </a:ext>
              </a:extLst>
            </p:cNvPr>
            <p:cNvCxnSpPr/>
            <p:nvPr userDrawn="1"/>
          </p:nvCxnSpPr>
          <p:spPr bwMode="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1" name="Straight Connector 250">
              <a:extLst>
                <a:ext uri="{FF2B5EF4-FFF2-40B4-BE49-F238E27FC236}">
                  <a16:creationId xmlns:a16="http://schemas.microsoft.com/office/drawing/2014/main" id="{88614279-F6F1-4779-A908-BEF080C471AB}"/>
                </a:ext>
              </a:extLst>
            </p:cNvPr>
            <p:cNvCxnSpPr/>
            <p:nvPr userDrawn="1"/>
          </p:nvCxnSpPr>
          <p:spPr bwMode="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2" name="Straight Connector 251">
              <a:extLst>
                <a:ext uri="{FF2B5EF4-FFF2-40B4-BE49-F238E27FC236}">
                  <a16:creationId xmlns:a16="http://schemas.microsoft.com/office/drawing/2014/main" id="{D77A8DFC-FE4B-4B06-8AEF-607F9AEE764E}"/>
                </a:ext>
              </a:extLst>
            </p:cNvPr>
            <p:cNvCxnSpPr/>
            <p:nvPr userDrawn="1"/>
          </p:nvCxnSpPr>
          <p:spPr bwMode="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3" name="Straight Connector 252">
              <a:extLst>
                <a:ext uri="{FF2B5EF4-FFF2-40B4-BE49-F238E27FC236}">
                  <a16:creationId xmlns:a16="http://schemas.microsoft.com/office/drawing/2014/main" id="{942E819A-5DA8-4032-B3EB-D10DC14D6C84}"/>
                </a:ext>
              </a:extLst>
            </p:cNvPr>
            <p:cNvCxnSpPr/>
            <p:nvPr userDrawn="1"/>
          </p:nvCxnSpPr>
          <p:spPr bwMode="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4" name="Straight Connector 253">
              <a:extLst>
                <a:ext uri="{FF2B5EF4-FFF2-40B4-BE49-F238E27FC236}">
                  <a16:creationId xmlns:a16="http://schemas.microsoft.com/office/drawing/2014/main" id="{1912236D-CA1F-4315-989A-12010EB46505}"/>
                </a:ext>
              </a:extLst>
            </p:cNvPr>
            <p:cNvCxnSpPr/>
            <p:nvPr userDrawn="1"/>
          </p:nvCxnSpPr>
          <p:spPr bwMode="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5" name="Straight Connector 254">
              <a:extLst>
                <a:ext uri="{FF2B5EF4-FFF2-40B4-BE49-F238E27FC236}">
                  <a16:creationId xmlns:a16="http://schemas.microsoft.com/office/drawing/2014/main" id="{44ED2ACF-C68A-42CC-A632-CD03AB2544F3}"/>
                </a:ext>
              </a:extLst>
            </p:cNvPr>
            <p:cNvCxnSpPr/>
            <p:nvPr userDrawn="1"/>
          </p:nvCxnSpPr>
          <p:spPr bwMode="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6" name="Straight Connector 255">
              <a:extLst>
                <a:ext uri="{FF2B5EF4-FFF2-40B4-BE49-F238E27FC236}">
                  <a16:creationId xmlns:a16="http://schemas.microsoft.com/office/drawing/2014/main" id="{4A8F039F-D473-4D39-8AC6-81810B219B3E}"/>
                </a:ext>
              </a:extLst>
            </p:cNvPr>
            <p:cNvCxnSpPr/>
            <p:nvPr userDrawn="1"/>
          </p:nvCxnSpPr>
          <p:spPr bwMode="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7" name="Straight Connector 256">
              <a:extLst>
                <a:ext uri="{FF2B5EF4-FFF2-40B4-BE49-F238E27FC236}">
                  <a16:creationId xmlns:a16="http://schemas.microsoft.com/office/drawing/2014/main" id="{BA241E12-AAE1-45D8-9D67-A8007269A3E0}"/>
                </a:ext>
              </a:extLst>
            </p:cNvPr>
            <p:cNvCxnSpPr/>
            <p:nvPr userDrawn="1"/>
          </p:nvCxnSpPr>
          <p:spPr bwMode="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8" name="Straight Connector 257">
              <a:extLst>
                <a:ext uri="{FF2B5EF4-FFF2-40B4-BE49-F238E27FC236}">
                  <a16:creationId xmlns:a16="http://schemas.microsoft.com/office/drawing/2014/main" id="{B3D829D9-0D54-4FB5-9FD5-512316CE5897}"/>
                </a:ext>
              </a:extLst>
            </p:cNvPr>
            <p:cNvCxnSpPr/>
            <p:nvPr userDrawn="1"/>
          </p:nvCxnSpPr>
          <p:spPr bwMode="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9" name="Straight Connector 258">
              <a:extLst>
                <a:ext uri="{FF2B5EF4-FFF2-40B4-BE49-F238E27FC236}">
                  <a16:creationId xmlns:a16="http://schemas.microsoft.com/office/drawing/2014/main" id="{6DCAEE40-53ED-4281-A3F1-ACB0AA93B7BD}"/>
                </a:ext>
              </a:extLst>
            </p:cNvPr>
            <p:cNvCxnSpPr/>
            <p:nvPr userDrawn="1"/>
          </p:nvCxnSpPr>
          <p:spPr bwMode="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0" name="Straight Connector 259">
              <a:extLst>
                <a:ext uri="{FF2B5EF4-FFF2-40B4-BE49-F238E27FC236}">
                  <a16:creationId xmlns:a16="http://schemas.microsoft.com/office/drawing/2014/main" id="{716D3477-104A-45EC-ABA6-46CC43BAB1CA}"/>
                </a:ext>
              </a:extLst>
            </p:cNvPr>
            <p:cNvCxnSpPr/>
            <p:nvPr userDrawn="1"/>
          </p:nvCxnSpPr>
          <p:spPr bwMode="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1" name="Straight Connector 260">
              <a:extLst>
                <a:ext uri="{FF2B5EF4-FFF2-40B4-BE49-F238E27FC236}">
                  <a16:creationId xmlns:a16="http://schemas.microsoft.com/office/drawing/2014/main" id="{25EC7B04-40CF-4499-BF37-9874AB2E42BC}"/>
                </a:ext>
              </a:extLst>
            </p:cNvPr>
            <p:cNvCxnSpPr/>
            <p:nvPr userDrawn="1"/>
          </p:nvCxnSpPr>
          <p:spPr bwMode="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2" name="Straight Connector 261">
              <a:extLst>
                <a:ext uri="{FF2B5EF4-FFF2-40B4-BE49-F238E27FC236}">
                  <a16:creationId xmlns:a16="http://schemas.microsoft.com/office/drawing/2014/main" id="{A1B7D422-DF11-439B-AA7B-5AE071A4C7DC}"/>
                </a:ext>
              </a:extLst>
            </p:cNvPr>
            <p:cNvCxnSpPr/>
            <p:nvPr userDrawn="1"/>
          </p:nvCxnSpPr>
          <p:spPr bwMode="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3" name="Straight Connector 262">
              <a:extLst>
                <a:ext uri="{FF2B5EF4-FFF2-40B4-BE49-F238E27FC236}">
                  <a16:creationId xmlns:a16="http://schemas.microsoft.com/office/drawing/2014/main" id="{21103B97-22A5-4A41-A8B4-4FBC1AB3251F}"/>
                </a:ext>
              </a:extLst>
            </p:cNvPr>
            <p:cNvCxnSpPr/>
            <p:nvPr userDrawn="1"/>
          </p:nvCxnSpPr>
          <p:spPr bwMode="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4" name="Straight Connector 263">
              <a:extLst>
                <a:ext uri="{FF2B5EF4-FFF2-40B4-BE49-F238E27FC236}">
                  <a16:creationId xmlns:a16="http://schemas.microsoft.com/office/drawing/2014/main" id="{706654E2-EE76-422E-8306-19CDD004E451}"/>
                </a:ext>
              </a:extLst>
            </p:cNvPr>
            <p:cNvCxnSpPr/>
            <p:nvPr userDrawn="1"/>
          </p:nvCxnSpPr>
          <p:spPr bwMode="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5" name="Straight Connector 264">
              <a:extLst>
                <a:ext uri="{FF2B5EF4-FFF2-40B4-BE49-F238E27FC236}">
                  <a16:creationId xmlns:a16="http://schemas.microsoft.com/office/drawing/2014/main" id="{61A46DB1-E3F1-48B8-8CD6-686C08337E3D}"/>
                </a:ext>
              </a:extLst>
            </p:cNvPr>
            <p:cNvCxnSpPr/>
            <p:nvPr userDrawn="1"/>
          </p:nvCxnSpPr>
          <p:spPr bwMode="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6" name="Straight Connector 265">
              <a:extLst>
                <a:ext uri="{FF2B5EF4-FFF2-40B4-BE49-F238E27FC236}">
                  <a16:creationId xmlns:a16="http://schemas.microsoft.com/office/drawing/2014/main" id="{C7EB58E3-EE98-4C63-A5FA-31A1F31261BD}"/>
                </a:ext>
              </a:extLst>
            </p:cNvPr>
            <p:cNvCxnSpPr/>
            <p:nvPr userDrawn="1"/>
          </p:nvCxnSpPr>
          <p:spPr bwMode="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7" name="Straight Connector 266">
              <a:extLst>
                <a:ext uri="{FF2B5EF4-FFF2-40B4-BE49-F238E27FC236}">
                  <a16:creationId xmlns:a16="http://schemas.microsoft.com/office/drawing/2014/main" id="{FDF83986-66A6-442D-9688-89B353D5848C}"/>
                </a:ext>
              </a:extLst>
            </p:cNvPr>
            <p:cNvCxnSpPr/>
            <p:nvPr userDrawn="1"/>
          </p:nvCxnSpPr>
          <p:spPr bwMode="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8" name="Straight Connector 267">
              <a:extLst>
                <a:ext uri="{FF2B5EF4-FFF2-40B4-BE49-F238E27FC236}">
                  <a16:creationId xmlns:a16="http://schemas.microsoft.com/office/drawing/2014/main" id="{AC32EE19-D046-4DA8-83C8-C7090C2032B7}"/>
                </a:ext>
              </a:extLst>
            </p:cNvPr>
            <p:cNvCxnSpPr/>
            <p:nvPr userDrawn="1"/>
          </p:nvCxnSpPr>
          <p:spPr bwMode="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9" name="Straight Connector 268">
              <a:extLst>
                <a:ext uri="{FF2B5EF4-FFF2-40B4-BE49-F238E27FC236}">
                  <a16:creationId xmlns:a16="http://schemas.microsoft.com/office/drawing/2014/main" id="{AE9073FA-D009-4B43-AE1C-76B2371EDB72}"/>
                </a:ext>
              </a:extLst>
            </p:cNvPr>
            <p:cNvCxnSpPr/>
            <p:nvPr userDrawn="1"/>
          </p:nvCxnSpPr>
          <p:spPr bwMode="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70" name="Straight Connector 269">
              <a:extLst>
                <a:ext uri="{FF2B5EF4-FFF2-40B4-BE49-F238E27FC236}">
                  <a16:creationId xmlns:a16="http://schemas.microsoft.com/office/drawing/2014/main" id="{A37EEEBC-9035-46B4-859D-8637EB5F71E7}"/>
                </a:ext>
              </a:extLst>
            </p:cNvPr>
            <p:cNvCxnSpPr/>
            <p:nvPr userDrawn="1"/>
          </p:nvCxnSpPr>
          <p:spPr bwMode="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271" name="main body box">
              <a:extLst>
                <a:ext uri="{FF2B5EF4-FFF2-40B4-BE49-F238E27FC236}">
                  <a16:creationId xmlns:a16="http://schemas.microsoft.com/office/drawing/2014/main" id="{5A4E68D2-98C2-4107-A058-DD36C69DD1BD}"/>
                </a:ext>
              </a:extLst>
            </p:cNvPr>
            <p:cNvSpPr/>
            <p:nvPr userDrawn="1"/>
          </p:nvSpPr>
          <p:spPr bwMode="gray">
            <a:xfrm>
              <a:off x="554736" y="1405610"/>
              <a:ext cx="11082528" cy="4812310"/>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a:solidFill>
                  <a:schemeClr val="tx1"/>
                </a:solidFill>
                <a:latin typeface="+mn-lt"/>
              </a:endParaRPr>
            </a:p>
          </p:txBody>
        </p:sp>
        <p:cxnSp>
          <p:nvCxnSpPr>
            <p:cNvPr id="272" name="Straight Connector 271">
              <a:extLst>
                <a:ext uri="{FF2B5EF4-FFF2-40B4-BE49-F238E27FC236}">
                  <a16:creationId xmlns:a16="http://schemas.microsoft.com/office/drawing/2014/main" id="{CD320E2E-9A90-4FBD-95ED-547D38976E3C}"/>
                </a:ext>
              </a:extLst>
            </p:cNvPr>
            <p:cNvCxnSpPr/>
            <p:nvPr userDrawn="1"/>
          </p:nvCxnSpPr>
          <p:spPr bwMode="gray">
            <a:xfrm>
              <a:off x="554736" y="1865376"/>
              <a:ext cx="11082528" cy="0"/>
            </a:xfrm>
            <a:prstGeom prst="line">
              <a:avLst/>
            </a:prstGeom>
            <a:noFill/>
            <a:ln w="12700">
              <a:solidFill>
                <a:srgbClr val="19D3C5">
                  <a:alpha val="50000"/>
                </a:srgbClr>
              </a:solidFill>
            </a:ln>
          </p:spPr>
        </p:cxnSp>
        <p:cxnSp>
          <p:nvCxnSpPr>
            <p:cNvPr id="273" name="Straight Connector 272">
              <a:extLst>
                <a:ext uri="{FF2B5EF4-FFF2-40B4-BE49-F238E27FC236}">
                  <a16:creationId xmlns:a16="http://schemas.microsoft.com/office/drawing/2014/main" id="{70454B89-8DFA-4EF3-83A9-38CF648F4CD1}"/>
                </a:ext>
              </a:extLst>
            </p:cNvPr>
            <p:cNvCxnSpPr/>
            <p:nvPr userDrawn="1"/>
          </p:nvCxnSpPr>
          <p:spPr bwMode="gray">
            <a:xfrm>
              <a:off x="554736" y="1408557"/>
              <a:ext cx="11082528" cy="0"/>
            </a:xfrm>
            <a:prstGeom prst="line">
              <a:avLst/>
            </a:prstGeom>
            <a:noFill/>
            <a:ln w="12700">
              <a:solidFill>
                <a:srgbClr val="19D3C5">
                  <a:alpha val="50000"/>
                </a:srgbClr>
              </a:solidFill>
            </a:ln>
          </p:spPr>
        </p:cxnSp>
      </p:gr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2"/>
            </p:custDataLst>
          </p:nvPr>
        </p:nvSpPr>
        <p:spPr>
          <a:xfrm>
            <a:off x="1887472"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3"/>
            </p:custDataLst>
          </p:nvPr>
        </p:nvSpPr>
        <p:spPr>
          <a:xfrm>
            <a:off x="554736" y="172212"/>
            <a:ext cx="10197083"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p>
            <a:pPr lvl="0"/>
            <a:r>
              <a:rPr lang="en-US"/>
              <a:t>Click to edit Master title style</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4"/>
            </p:custDataLst>
          </p:nvPr>
        </p:nvSpPr>
        <p:spPr>
          <a:xfrm>
            <a:off x="5987738" y="2170800"/>
            <a:ext cx="3049253" cy="53860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sz="1400"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5" name="Sticker" hidden="1">
            <a:extLst>
              <a:ext uri="{FF2B5EF4-FFF2-40B4-BE49-F238E27FC236}">
                <a16:creationId xmlns:a16="http://schemas.microsoft.com/office/drawing/2014/main" id="{97ED2832-F2D3-4BBC-B741-D13502E9DAA9}"/>
              </a:ext>
            </a:extLst>
          </p:cNvPr>
          <p:cNvSpPr txBox="1"/>
          <p:nvPr userDrawn="1"/>
        </p:nvSpPr>
        <p:spPr>
          <a:xfrm>
            <a:off x="558489" y="964729"/>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pic>
        <p:nvPicPr>
          <p:cNvPr id="6" name="Picture 5">
            <a:extLst>
              <a:ext uri="{FF2B5EF4-FFF2-40B4-BE49-F238E27FC236}">
                <a16:creationId xmlns:a16="http://schemas.microsoft.com/office/drawing/2014/main" id="{8AEC8637-56BD-EAAB-7651-B0BAA725D75C}"/>
              </a:ext>
            </a:extLst>
          </p:cNvPr>
          <p:cNvPicPr>
            <a:picLocks noChangeAspect="1"/>
          </p:cNvPicPr>
          <p:nvPr userDrawn="1"/>
        </p:nvPicPr>
        <p:blipFill>
          <a:blip r:embed="rId27"/>
          <a:srcRect l="13114" t="38701" r="12969" b="36443"/>
          <a:stretch>
            <a:fillRect/>
          </a:stretch>
        </p:blipFill>
        <p:spPr bwMode="ltGray">
          <a:xfrm>
            <a:off x="554736" y="6254067"/>
            <a:ext cx="1211306" cy="246221"/>
          </a:xfrm>
          <a:prstGeom prst="rect">
            <a:avLst/>
          </a:prstGeom>
        </p:spPr>
      </p:pic>
      <p:pic>
        <p:nvPicPr>
          <p:cNvPr id="7" name="Picture 6">
            <a:extLst>
              <a:ext uri="{FF2B5EF4-FFF2-40B4-BE49-F238E27FC236}">
                <a16:creationId xmlns:a16="http://schemas.microsoft.com/office/drawing/2014/main" id="{6145CACB-C924-3C6C-FAB5-10889ADF4FC8}"/>
              </a:ext>
            </a:extLst>
          </p:cNvPr>
          <p:cNvPicPr>
            <a:picLocks noChangeAspect="1"/>
          </p:cNvPicPr>
          <p:nvPr userDrawn="1"/>
        </p:nvPicPr>
        <p:blipFill>
          <a:blip r:embed="rId28" cstate="print">
            <a:extLst>
              <a:ext uri="{28A0092B-C50C-407E-A947-70E740481C1C}">
                <a14:useLocalDpi xmlns:a14="http://schemas.microsoft.com/office/drawing/2010/main" val="0"/>
              </a:ext>
            </a:extLst>
          </a:blip>
          <a:srcRect/>
          <a:stretch/>
        </p:blipFill>
        <p:spPr bwMode="ltGray">
          <a:xfrm>
            <a:off x="10936538" y="183978"/>
            <a:ext cx="712156" cy="361189"/>
          </a:xfrm>
          <a:prstGeom prst="rect">
            <a:avLst/>
          </a:prstGeom>
        </p:spPr>
      </p:pic>
    </p:spTree>
    <p:custDataLst>
      <p:tags r:id="rId18"/>
    </p:custDataLst>
    <p:extLst>
      <p:ext uri="{BB962C8B-B14F-4D97-AF65-F5344CB8AC3E}">
        <p14:creationId xmlns:p14="http://schemas.microsoft.com/office/powerpoint/2010/main" val="58892929"/>
      </p:ext>
    </p:extLst>
  </p:cSld>
  <p:clrMap bg1="lt1" tx1="dk1" bg2="lt2" tx2="dk2" accent1="accent1" accent2="accent2" accent3="accent3" accent4="accent4" accent5="accent5" accent6="accent6" hlink="hlink" folHlink="folHlink"/>
  <p:sldLayoutIdLst>
    <p:sldLayoutId id="2147484000" r:id="rId1"/>
    <p:sldLayoutId id="2147484001" r:id="rId2"/>
    <p:sldLayoutId id="2147484002" r:id="rId3"/>
    <p:sldLayoutId id="2147484003" r:id="rId4"/>
    <p:sldLayoutId id="2147484004" r:id="rId5"/>
    <p:sldLayoutId id="2147484005" r:id="rId6"/>
    <p:sldLayoutId id="2147484006" r:id="rId7"/>
    <p:sldLayoutId id="2147484007" r:id="rId8"/>
    <p:sldLayoutId id="2147484008" r:id="rId9"/>
    <p:sldLayoutId id="2147484009" r:id="rId10"/>
    <p:sldLayoutId id="2147484010" r:id="rId11"/>
    <p:sldLayoutId id="2147484011" r:id="rId12"/>
    <p:sldLayoutId id="2147484012" r:id="rId13"/>
    <p:sldLayoutId id="2147484013" r:id="rId14"/>
    <p:sldLayoutId id="2147484014" r:id="rId15"/>
    <p:sldLayoutId id="2147484015" r:id="rId16"/>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78">
          <p15:clr>
            <a:srgbClr val="5ACBF0"/>
          </p15:clr>
        </p15:guide>
        <p15:guide id="3" orient="horz" pos="3912">
          <p15:clr>
            <a:srgbClr val="5ACBF0"/>
          </p15:clr>
        </p15:guide>
        <p15:guide id="4" orient="horz" pos="890">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Layout" Target="../slideLayouts/slideLayout48.xml"/><Relationship Id="rId1" Type="http://schemas.openxmlformats.org/officeDocument/2006/relationships/tags" Target="../tags/tag482.xml"/><Relationship Id="rId6" Type="http://schemas.openxmlformats.org/officeDocument/2006/relationships/image" Target="../media/image47.png"/><Relationship Id="rId5" Type="http://schemas.openxmlformats.org/officeDocument/2006/relationships/image" Target="../media/image32.png"/><Relationship Id="rId4" Type="http://schemas.openxmlformats.org/officeDocument/2006/relationships/image" Target="../media/image46.emf"/></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48.xml"/><Relationship Id="rId2" Type="http://schemas.openxmlformats.org/officeDocument/2006/relationships/tags" Target="../tags/tag520.xml"/><Relationship Id="rId1" Type="http://schemas.openxmlformats.org/officeDocument/2006/relationships/tags" Target="../tags/tag519.xml"/><Relationship Id="rId6" Type="http://schemas.openxmlformats.org/officeDocument/2006/relationships/image" Target="../media/image65.png"/><Relationship Id="rId5" Type="http://schemas.openxmlformats.org/officeDocument/2006/relationships/image" Target="../media/image49.emf"/><Relationship Id="rId4" Type="http://schemas.openxmlformats.org/officeDocument/2006/relationships/oleObject" Target="../embeddings/oleObject66.bin"/></Relationships>
</file>

<file path=ppt/slides/_rels/slide11.xml.rels><?xml version="1.0" encoding="UTF-8" standalone="yes"?>
<Relationships xmlns="http://schemas.openxmlformats.org/package/2006/relationships"><Relationship Id="rId8" Type="http://schemas.openxmlformats.org/officeDocument/2006/relationships/oleObject" Target="../embeddings/oleObject67.bin"/><Relationship Id="rId13" Type="http://schemas.openxmlformats.org/officeDocument/2006/relationships/image" Target="../media/image33.png"/><Relationship Id="rId3" Type="http://schemas.openxmlformats.org/officeDocument/2006/relationships/tags" Target="../tags/tag523.xml"/><Relationship Id="rId7" Type="http://schemas.openxmlformats.org/officeDocument/2006/relationships/slideLayout" Target="../slideLayouts/slideLayout57.xml"/><Relationship Id="rId12" Type="http://schemas.openxmlformats.org/officeDocument/2006/relationships/image" Target="../media/image68.svg"/><Relationship Id="rId2" Type="http://schemas.openxmlformats.org/officeDocument/2006/relationships/tags" Target="../tags/tag522.xml"/><Relationship Id="rId1" Type="http://schemas.openxmlformats.org/officeDocument/2006/relationships/tags" Target="../tags/tag521.xml"/><Relationship Id="rId6" Type="http://schemas.openxmlformats.org/officeDocument/2006/relationships/tags" Target="../tags/tag526.xml"/><Relationship Id="rId11" Type="http://schemas.openxmlformats.org/officeDocument/2006/relationships/image" Target="../media/image67.svg"/><Relationship Id="rId5" Type="http://schemas.openxmlformats.org/officeDocument/2006/relationships/tags" Target="../tags/tag525.xml"/><Relationship Id="rId10" Type="http://schemas.openxmlformats.org/officeDocument/2006/relationships/image" Target="../media/image66.svg"/><Relationship Id="rId4" Type="http://schemas.openxmlformats.org/officeDocument/2006/relationships/tags" Target="../tags/tag524.xml"/><Relationship Id="rId9" Type="http://schemas.openxmlformats.org/officeDocument/2006/relationships/image" Target="../media/image49.emf"/><Relationship Id="rId14" Type="http://schemas.openxmlformats.org/officeDocument/2006/relationships/image" Target="../media/image69.png"/></Relationships>
</file>

<file path=ppt/slides/_rels/slide12.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tags" Target="../tags/tag529.xml"/><Relationship Id="rId7" Type="http://schemas.openxmlformats.org/officeDocument/2006/relationships/image" Target="../media/image49.emf"/><Relationship Id="rId2" Type="http://schemas.openxmlformats.org/officeDocument/2006/relationships/tags" Target="../tags/tag528.xml"/><Relationship Id="rId1" Type="http://schemas.openxmlformats.org/officeDocument/2006/relationships/tags" Target="../tags/tag527.xml"/><Relationship Id="rId6" Type="http://schemas.openxmlformats.org/officeDocument/2006/relationships/oleObject" Target="../embeddings/oleObject68.bin"/><Relationship Id="rId5" Type="http://schemas.openxmlformats.org/officeDocument/2006/relationships/slideLayout" Target="../slideLayouts/slideLayout48.xml"/><Relationship Id="rId4" Type="http://schemas.openxmlformats.org/officeDocument/2006/relationships/tags" Target="../tags/tag530.xml"/><Relationship Id="rId9" Type="http://schemas.openxmlformats.org/officeDocument/2006/relationships/image" Target="../media/image33.png"/></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Layout" Target="../slideLayouts/slideLayout48.xml"/><Relationship Id="rId1" Type="http://schemas.openxmlformats.org/officeDocument/2006/relationships/tags" Target="../tags/tag531.xml"/><Relationship Id="rId5" Type="http://schemas.openxmlformats.org/officeDocument/2006/relationships/image" Target="../media/image71.png"/><Relationship Id="rId4" Type="http://schemas.openxmlformats.org/officeDocument/2006/relationships/image" Target="../media/image49.emf"/></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48.xml"/><Relationship Id="rId2" Type="http://schemas.openxmlformats.org/officeDocument/2006/relationships/tags" Target="../tags/tag533.xml"/><Relationship Id="rId1" Type="http://schemas.openxmlformats.org/officeDocument/2006/relationships/tags" Target="../tags/tag532.xml"/><Relationship Id="rId6" Type="http://schemas.openxmlformats.org/officeDocument/2006/relationships/image" Target="../media/image72.png"/><Relationship Id="rId5" Type="http://schemas.openxmlformats.org/officeDocument/2006/relationships/image" Target="../media/image49.emf"/><Relationship Id="rId4" Type="http://schemas.openxmlformats.org/officeDocument/2006/relationships/oleObject" Target="../embeddings/oleObject70.bin"/></Relationships>
</file>

<file path=ppt/slides/_rels/slide15.xml.rels><?xml version="1.0" encoding="UTF-8" standalone="yes"?>
<Relationships xmlns="http://schemas.openxmlformats.org/package/2006/relationships"><Relationship Id="rId8" Type="http://schemas.openxmlformats.org/officeDocument/2006/relationships/image" Target="../media/image49.emf"/><Relationship Id="rId13" Type="http://schemas.openxmlformats.org/officeDocument/2006/relationships/image" Target="../media/image75.png"/><Relationship Id="rId3" Type="http://schemas.openxmlformats.org/officeDocument/2006/relationships/tags" Target="../tags/tag536.xml"/><Relationship Id="rId7" Type="http://schemas.openxmlformats.org/officeDocument/2006/relationships/oleObject" Target="../embeddings/oleObject71.bin"/><Relationship Id="rId12" Type="http://schemas.openxmlformats.org/officeDocument/2006/relationships/image" Target="../media/image33.png"/><Relationship Id="rId2" Type="http://schemas.openxmlformats.org/officeDocument/2006/relationships/tags" Target="../tags/tag535.xml"/><Relationship Id="rId1" Type="http://schemas.openxmlformats.org/officeDocument/2006/relationships/tags" Target="../tags/tag534.xml"/><Relationship Id="rId6" Type="http://schemas.openxmlformats.org/officeDocument/2006/relationships/slideLayout" Target="../slideLayouts/slideLayout57.xml"/><Relationship Id="rId11" Type="http://schemas.openxmlformats.org/officeDocument/2006/relationships/image" Target="../media/image74.svg"/><Relationship Id="rId5" Type="http://schemas.openxmlformats.org/officeDocument/2006/relationships/tags" Target="../tags/tag538.xml"/><Relationship Id="rId10" Type="http://schemas.openxmlformats.org/officeDocument/2006/relationships/image" Target="../media/image73.svg"/><Relationship Id="rId4" Type="http://schemas.openxmlformats.org/officeDocument/2006/relationships/tags" Target="../tags/tag537.xml"/><Relationship Id="rId9" Type="http://schemas.openxmlformats.org/officeDocument/2006/relationships/image" Target="../media/image54.jpeg"/></Relationships>
</file>

<file path=ppt/slides/_rels/slide16.xml.rels><?xml version="1.0" encoding="UTF-8" standalone="yes"?>
<Relationships xmlns="http://schemas.openxmlformats.org/package/2006/relationships"><Relationship Id="rId8" Type="http://schemas.openxmlformats.org/officeDocument/2006/relationships/image" Target="../media/image49.emf"/><Relationship Id="rId13" Type="http://schemas.openxmlformats.org/officeDocument/2006/relationships/image" Target="../media/image79.png"/><Relationship Id="rId3" Type="http://schemas.openxmlformats.org/officeDocument/2006/relationships/tags" Target="../tags/tag541.xml"/><Relationship Id="rId7" Type="http://schemas.openxmlformats.org/officeDocument/2006/relationships/oleObject" Target="../embeddings/oleObject72.bin"/><Relationship Id="rId12" Type="http://schemas.openxmlformats.org/officeDocument/2006/relationships/image" Target="../media/image33.png"/><Relationship Id="rId2" Type="http://schemas.openxmlformats.org/officeDocument/2006/relationships/tags" Target="../tags/tag540.xml"/><Relationship Id="rId1" Type="http://schemas.openxmlformats.org/officeDocument/2006/relationships/tags" Target="../tags/tag539.xml"/><Relationship Id="rId6" Type="http://schemas.openxmlformats.org/officeDocument/2006/relationships/slideLayout" Target="../slideLayouts/slideLayout57.xml"/><Relationship Id="rId11" Type="http://schemas.openxmlformats.org/officeDocument/2006/relationships/image" Target="../media/image78.svg"/><Relationship Id="rId5" Type="http://schemas.openxmlformats.org/officeDocument/2006/relationships/tags" Target="../tags/tag543.xml"/><Relationship Id="rId10" Type="http://schemas.openxmlformats.org/officeDocument/2006/relationships/image" Target="../media/image77.svg"/><Relationship Id="rId4" Type="http://schemas.openxmlformats.org/officeDocument/2006/relationships/tags" Target="../tags/tag542.xml"/><Relationship Id="rId9" Type="http://schemas.openxmlformats.org/officeDocument/2006/relationships/image" Target="../media/image76.jpeg"/></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Layout" Target="../slideLayouts/slideLayout61.xml"/><Relationship Id="rId1" Type="http://schemas.openxmlformats.org/officeDocument/2006/relationships/tags" Target="../tags/tag544.xml"/><Relationship Id="rId4" Type="http://schemas.openxmlformats.org/officeDocument/2006/relationships/image" Target="../media/image80.emf"/></Relationships>
</file>

<file path=ppt/slides/_rels/slide2.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48.xml"/></Relationships>
</file>

<file path=ppt/slides/_rels/slide3.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tags" Target="../tags/tag485.xml"/><Relationship Id="rId7" Type="http://schemas.openxmlformats.org/officeDocument/2006/relationships/image" Target="../media/image49.emf"/><Relationship Id="rId2" Type="http://schemas.openxmlformats.org/officeDocument/2006/relationships/tags" Target="../tags/tag484.xml"/><Relationship Id="rId1" Type="http://schemas.openxmlformats.org/officeDocument/2006/relationships/tags" Target="../tags/tag483.xml"/><Relationship Id="rId6" Type="http://schemas.openxmlformats.org/officeDocument/2006/relationships/oleObject" Target="../embeddings/oleObject59.bin"/><Relationship Id="rId5" Type="http://schemas.openxmlformats.org/officeDocument/2006/relationships/slideLayout" Target="../slideLayouts/slideLayout48.xml"/><Relationship Id="rId4" Type="http://schemas.openxmlformats.org/officeDocument/2006/relationships/tags" Target="../tags/tag486.xml"/><Relationship Id="rId9" Type="http://schemas.openxmlformats.org/officeDocument/2006/relationships/image" Target="../media/image50.jpeg"/></Relationships>
</file>

<file path=ppt/slides/_rels/slide4.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tags" Target="../tags/tag489.xml"/><Relationship Id="rId7" Type="http://schemas.openxmlformats.org/officeDocument/2006/relationships/image" Target="../media/image32.png"/><Relationship Id="rId2" Type="http://schemas.openxmlformats.org/officeDocument/2006/relationships/tags" Target="../tags/tag488.xml"/><Relationship Id="rId1" Type="http://schemas.openxmlformats.org/officeDocument/2006/relationships/tags" Target="../tags/tag487.xml"/><Relationship Id="rId6" Type="http://schemas.openxmlformats.org/officeDocument/2006/relationships/image" Target="../media/image49.emf"/><Relationship Id="rId5" Type="http://schemas.openxmlformats.org/officeDocument/2006/relationships/oleObject" Target="../embeddings/oleObject60.bin"/><Relationship Id="rId4" Type="http://schemas.openxmlformats.org/officeDocument/2006/relationships/slideLayout" Target="../slideLayouts/slideLayout48.xml"/></Relationships>
</file>

<file path=ppt/slides/_rels/slide5.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tags" Target="../tags/tag492.xml"/><Relationship Id="rId7" Type="http://schemas.openxmlformats.org/officeDocument/2006/relationships/image" Target="../media/image49.emf"/><Relationship Id="rId2" Type="http://schemas.openxmlformats.org/officeDocument/2006/relationships/tags" Target="../tags/tag491.xml"/><Relationship Id="rId1" Type="http://schemas.openxmlformats.org/officeDocument/2006/relationships/tags" Target="../tags/tag490.xml"/><Relationship Id="rId6" Type="http://schemas.openxmlformats.org/officeDocument/2006/relationships/oleObject" Target="../embeddings/oleObject61.bin"/><Relationship Id="rId5" Type="http://schemas.openxmlformats.org/officeDocument/2006/relationships/slideLayout" Target="../slideLayouts/slideLayout57.xml"/><Relationship Id="rId4" Type="http://schemas.openxmlformats.org/officeDocument/2006/relationships/tags" Target="../tags/tag493.xml"/><Relationship Id="rId9" Type="http://schemas.openxmlformats.org/officeDocument/2006/relationships/image" Target="../media/image52.png"/></Relationships>
</file>

<file path=ppt/slides/_rels/slide6.xml.rels><?xml version="1.0" encoding="UTF-8" standalone="yes"?>
<Relationships xmlns="http://schemas.openxmlformats.org/package/2006/relationships"><Relationship Id="rId8" Type="http://schemas.openxmlformats.org/officeDocument/2006/relationships/slideLayout" Target="../slideLayouts/slideLayout58.xml"/><Relationship Id="rId3" Type="http://schemas.openxmlformats.org/officeDocument/2006/relationships/tags" Target="../tags/tag496.xml"/><Relationship Id="rId7" Type="http://schemas.openxmlformats.org/officeDocument/2006/relationships/tags" Target="../tags/tag500.xml"/><Relationship Id="rId12" Type="http://schemas.openxmlformats.org/officeDocument/2006/relationships/image" Target="../media/image53.png"/><Relationship Id="rId2" Type="http://schemas.openxmlformats.org/officeDocument/2006/relationships/tags" Target="../tags/tag495.xml"/><Relationship Id="rId1" Type="http://schemas.openxmlformats.org/officeDocument/2006/relationships/tags" Target="../tags/tag494.xml"/><Relationship Id="rId6" Type="http://schemas.openxmlformats.org/officeDocument/2006/relationships/tags" Target="../tags/tag499.xml"/><Relationship Id="rId11" Type="http://schemas.openxmlformats.org/officeDocument/2006/relationships/image" Target="../media/image33.png"/><Relationship Id="rId5" Type="http://schemas.openxmlformats.org/officeDocument/2006/relationships/tags" Target="../tags/tag498.xml"/><Relationship Id="rId10" Type="http://schemas.openxmlformats.org/officeDocument/2006/relationships/image" Target="../media/image49.emf"/><Relationship Id="rId4" Type="http://schemas.openxmlformats.org/officeDocument/2006/relationships/tags" Target="../tags/tag497.xml"/><Relationship Id="rId9" Type="http://schemas.openxmlformats.org/officeDocument/2006/relationships/oleObject" Target="../embeddings/oleObject62.bin"/></Relationships>
</file>

<file path=ppt/slides/_rels/slide7.xml.rels><?xml version="1.0" encoding="UTF-8" standalone="yes"?>
<Relationships xmlns="http://schemas.openxmlformats.org/package/2006/relationships"><Relationship Id="rId8" Type="http://schemas.openxmlformats.org/officeDocument/2006/relationships/image" Target="../media/image54.jpeg"/><Relationship Id="rId13" Type="http://schemas.openxmlformats.org/officeDocument/2006/relationships/image" Target="../media/image57.svg"/><Relationship Id="rId3" Type="http://schemas.openxmlformats.org/officeDocument/2006/relationships/tags" Target="../tags/tag503.xml"/><Relationship Id="rId7" Type="http://schemas.openxmlformats.org/officeDocument/2006/relationships/slideLayout" Target="../slideLayouts/slideLayout48.xml"/><Relationship Id="rId12" Type="http://schemas.openxmlformats.org/officeDocument/2006/relationships/image" Target="../media/image56.svg"/><Relationship Id="rId2" Type="http://schemas.openxmlformats.org/officeDocument/2006/relationships/tags" Target="../tags/tag502.xml"/><Relationship Id="rId1" Type="http://schemas.openxmlformats.org/officeDocument/2006/relationships/tags" Target="../tags/tag501.xml"/><Relationship Id="rId6" Type="http://schemas.openxmlformats.org/officeDocument/2006/relationships/tags" Target="../tags/tag506.xml"/><Relationship Id="rId11" Type="http://schemas.openxmlformats.org/officeDocument/2006/relationships/image" Target="../media/image55.svg"/><Relationship Id="rId5" Type="http://schemas.openxmlformats.org/officeDocument/2006/relationships/tags" Target="../tags/tag505.xml"/><Relationship Id="rId10" Type="http://schemas.openxmlformats.org/officeDocument/2006/relationships/image" Target="../media/image49.emf"/><Relationship Id="rId4" Type="http://schemas.openxmlformats.org/officeDocument/2006/relationships/tags" Target="../tags/tag504.xml"/><Relationship Id="rId9" Type="http://schemas.openxmlformats.org/officeDocument/2006/relationships/oleObject" Target="../embeddings/oleObject63.bin"/><Relationship Id="rId14" Type="http://schemas.openxmlformats.org/officeDocument/2006/relationships/image" Target="../media/image33.png"/></Relationships>
</file>

<file path=ppt/slides/_rels/slide8.xml.rels><?xml version="1.0" encoding="UTF-8" standalone="yes"?>
<Relationships xmlns="http://schemas.openxmlformats.org/package/2006/relationships"><Relationship Id="rId8" Type="http://schemas.openxmlformats.org/officeDocument/2006/relationships/tags" Target="../tags/tag514.xml"/><Relationship Id="rId13" Type="http://schemas.openxmlformats.org/officeDocument/2006/relationships/image" Target="../media/image49.emf"/><Relationship Id="rId18" Type="http://schemas.openxmlformats.org/officeDocument/2006/relationships/image" Target="../media/image57.svg"/><Relationship Id="rId3" Type="http://schemas.openxmlformats.org/officeDocument/2006/relationships/tags" Target="../tags/tag509.xml"/><Relationship Id="rId21" Type="http://schemas.openxmlformats.org/officeDocument/2006/relationships/image" Target="../media/image63.svg"/><Relationship Id="rId7" Type="http://schemas.openxmlformats.org/officeDocument/2006/relationships/tags" Target="../tags/tag513.xml"/><Relationship Id="rId12" Type="http://schemas.openxmlformats.org/officeDocument/2006/relationships/oleObject" Target="../embeddings/oleObject64.bin"/><Relationship Id="rId17" Type="http://schemas.openxmlformats.org/officeDocument/2006/relationships/image" Target="../media/image61.svg"/><Relationship Id="rId2" Type="http://schemas.openxmlformats.org/officeDocument/2006/relationships/tags" Target="../tags/tag508.xml"/><Relationship Id="rId16" Type="http://schemas.openxmlformats.org/officeDocument/2006/relationships/image" Target="../media/image60.svg"/><Relationship Id="rId20" Type="http://schemas.openxmlformats.org/officeDocument/2006/relationships/image" Target="../media/image62.svg"/><Relationship Id="rId1" Type="http://schemas.openxmlformats.org/officeDocument/2006/relationships/tags" Target="../tags/tag507.xml"/><Relationship Id="rId6" Type="http://schemas.openxmlformats.org/officeDocument/2006/relationships/tags" Target="../tags/tag512.xml"/><Relationship Id="rId11" Type="http://schemas.openxmlformats.org/officeDocument/2006/relationships/slideLayout" Target="../slideLayouts/slideLayout56.xml"/><Relationship Id="rId5" Type="http://schemas.openxmlformats.org/officeDocument/2006/relationships/tags" Target="../tags/tag511.xml"/><Relationship Id="rId15" Type="http://schemas.openxmlformats.org/officeDocument/2006/relationships/image" Target="../media/image59.svg"/><Relationship Id="rId10" Type="http://schemas.openxmlformats.org/officeDocument/2006/relationships/tags" Target="../tags/tag516.xml"/><Relationship Id="rId19" Type="http://schemas.openxmlformats.org/officeDocument/2006/relationships/image" Target="../media/image56.svg"/><Relationship Id="rId4" Type="http://schemas.openxmlformats.org/officeDocument/2006/relationships/tags" Target="../tags/tag510.xml"/><Relationship Id="rId9" Type="http://schemas.openxmlformats.org/officeDocument/2006/relationships/tags" Target="../tags/tag515.xml"/><Relationship Id="rId14" Type="http://schemas.openxmlformats.org/officeDocument/2006/relationships/image" Target="../media/image58.sv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48.xml"/><Relationship Id="rId2" Type="http://schemas.openxmlformats.org/officeDocument/2006/relationships/tags" Target="../tags/tag518.xml"/><Relationship Id="rId1" Type="http://schemas.openxmlformats.org/officeDocument/2006/relationships/tags" Target="../tags/tag517.xml"/><Relationship Id="rId6" Type="http://schemas.openxmlformats.org/officeDocument/2006/relationships/image" Target="../media/image64.png"/><Relationship Id="rId5" Type="http://schemas.openxmlformats.org/officeDocument/2006/relationships/image" Target="../media/image49.emf"/><Relationship Id="rId4" Type="http://schemas.openxmlformats.org/officeDocument/2006/relationships/oleObject" Target="../embeddings/oleObject65.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D0C09A-AEB4-C21F-A33A-280DD1B78273}"/>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B482B78-51CB-1E4C-E455-487E547719E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5" name="think-cell data - do not delete" hidden="1">
                        <a:extLst>
                          <a:ext uri="{FF2B5EF4-FFF2-40B4-BE49-F238E27FC236}">
                            <a16:creationId xmlns:a16="http://schemas.microsoft.com/office/drawing/2014/main" id="{BB482B78-51CB-1E4C-E455-487E547719E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08118D5F-1CE9-4CE8-EF22-8F43E0251FE5}"/>
              </a:ext>
            </a:extLst>
          </p:cNvPr>
          <p:cNvSpPr>
            <a:spLocks noGrp="1"/>
          </p:cNvSpPr>
          <p:nvPr>
            <p:ph type="title"/>
          </p:nvPr>
        </p:nvSpPr>
        <p:spPr>
          <a:xfrm>
            <a:off x="5971698" y="2321004"/>
            <a:ext cx="5987385" cy="2215991"/>
          </a:xfrm>
        </p:spPr>
        <p:txBody>
          <a:bodyPr vert="horz" wrap="square">
            <a:spAutoFit/>
          </a:bodyPr>
          <a:lstStyle/>
          <a:p>
            <a:r>
              <a:rPr lang="en-US" sz="4800" dirty="0"/>
              <a:t>County Aggregation and Industrial Parks (CAIPs)</a:t>
            </a:r>
          </a:p>
        </p:txBody>
      </p:sp>
      <p:pic>
        <p:nvPicPr>
          <p:cNvPr id="36" name="Picture 35">
            <a:extLst>
              <a:ext uri="{FF2B5EF4-FFF2-40B4-BE49-F238E27FC236}">
                <a16:creationId xmlns:a16="http://schemas.microsoft.com/office/drawing/2014/main" id="{387CC8B7-7E92-78CB-BA5F-5914DFCD5B81}"/>
              </a:ext>
            </a:extLst>
          </p:cNvPr>
          <p:cNvPicPr>
            <a:picLocks noChangeAspect="1"/>
          </p:cNvPicPr>
          <p:nvPr/>
        </p:nvPicPr>
        <p:blipFill>
          <a:blip r:embed="rId5"/>
          <a:srcRect l="13114" t="38701" r="12969" b="36443"/>
          <a:stretch>
            <a:fillRect/>
          </a:stretch>
        </p:blipFill>
        <p:spPr bwMode="ltGray">
          <a:xfrm>
            <a:off x="5727858" y="5856666"/>
            <a:ext cx="2463473" cy="500748"/>
          </a:xfrm>
          <a:prstGeom prst="rect">
            <a:avLst/>
          </a:prstGeom>
        </p:spPr>
      </p:pic>
      <p:sp>
        <p:nvSpPr>
          <p:cNvPr id="2" name="Flowchart: Delay 1">
            <a:extLst>
              <a:ext uri="{FF2B5EF4-FFF2-40B4-BE49-F238E27FC236}">
                <a16:creationId xmlns:a16="http://schemas.microsoft.com/office/drawing/2014/main" id="{C878E01E-322D-BCF7-30B4-F1CA51ACF7FB}"/>
              </a:ext>
            </a:extLst>
          </p:cNvPr>
          <p:cNvSpPr/>
          <p:nvPr/>
        </p:nvSpPr>
        <p:spPr>
          <a:xfrm>
            <a:off x="0" y="0"/>
            <a:ext cx="5727858" cy="6858000"/>
          </a:xfrm>
          <a:prstGeom prst="flowChartDelay">
            <a:avLst/>
          </a:prstGeom>
          <a:blipFill>
            <a:blip r:embed="rId6"/>
            <a:stretch>
              <a:fillRect/>
            </a:stretch>
          </a:bli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KE" sz="1600" dirty="0" err="1">
              <a:solidFill>
                <a:schemeClr val="bg1"/>
              </a:solidFill>
            </a:endParaRPr>
          </a:p>
        </p:txBody>
      </p:sp>
    </p:spTree>
    <p:extLst>
      <p:ext uri="{BB962C8B-B14F-4D97-AF65-F5344CB8AC3E}">
        <p14:creationId xmlns:p14="http://schemas.microsoft.com/office/powerpoint/2010/main" val="24143599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121ACF-746B-4646-6204-DD7A7182823F}"/>
            </a:ext>
          </a:extLst>
        </p:cNvPr>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6712CAA5-7937-17EB-20D9-A6CA03517B6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91" imgH="290" progId="TCLayout.ActiveDocument.1">
                  <p:embed/>
                </p:oleObj>
              </mc:Choice>
              <mc:Fallback>
                <p:oleObj name="think-cell Slide" r:id="rId4" imgW="291" imgH="290" progId="TCLayout.ActiveDocument.1">
                  <p:embed/>
                  <p:pic>
                    <p:nvPicPr>
                      <p:cNvPr id="5" name="Object 6" hidden="1">
                        <a:extLst>
                          <a:ext uri="{FF2B5EF4-FFF2-40B4-BE49-F238E27FC236}">
                            <a16:creationId xmlns:a16="http://schemas.microsoft.com/office/drawing/2014/main" id="{6712CAA5-7937-17EB-20D9-A6CA03517B6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object 4">
            <a:extLst>
              <a:ext uri="{FF2B5EF4-FFF2-40B4-BE49-F238E27FC236}">
                <a16:creationId xmlns:a16="http://schemas.microsoft.com/office/drawing/2014/main" id="{0968C801-10F4-0B78-130A-90AE9816E6D6}"/>
              </a:ext>
            </a:extLst>
          </p:cNvPr>
          <p:cNvSpPr>
            <a:spLocks/>
          </p:cNvSpPr>
          <p:nvPr/>
        </p:nvSpPr>
        <p:spPr>
          <a:xfrm>
            <a:off x="0" y="895271"/>
            <a:ext cx="12192000" cy="619761"/>
          </a:xfrm>
          <a:prstGeom prst="rect">
            <a:avLst/>
          </a:prstGeom>
          <a:solidFill>
            <a:schemeClr val="bg1">
              <a:lumMod val="95000"/>
            </a:schemeClr>
          </a:solidFill>
          <a:effectLst/>
        </p:spPr>
        <p:txBody>
          <a:bodyPr wrap="square" lIns="0" tIns="0" rIns="0" bIns="0" rtlCol="0">
            <a:noAutofit/>
          </a:bodyPr>
          <a:lstStyle/>
          <a:p>
            <a:endParaRPr/>
          </a:p>
        </p:txBody>
      </p:sp>
      <p:sp>
        <p:nvSpPr>
          <p:cNvPr id="4" name="2. Slide Title">
            <a:extLst>
              <a:ext uri="{FF2B5EF4-FFF2-40B4-BE49-F238E27FC236}">
                <a16:creationId xmlns:a16="http://schemas.microsoft.com/office/drawing/2014/main" id="{DFEE65BA-63D3-7A49-9F03-DFB5829215E5}"/>
              </a:ext>
            </a:extLst>
          </p:cNvPr>
          <p:cNvSpPr>
            <a:spLocks noGrp="1"/>
          </p:cNvSpPr>
          <p:nvPr>
            <p:ph type="title"/>
            <p:custDataLst>
              <p:tags r:id="rId2"/>
            </p:custDataLst>
          </p:nvPr>
        </p:nvSpPr>
        <p:spPr/>
        <p:txBody>
          <a:bodyPr vert="horz">
            <a:noAutofit/>
          </a:bodyPr>
          <a:lstStyle/>
          <a:p>
            <a:r>
              <a:rPr lang="en-US"/>
              <a:t>Targeted value chains (2/2)</a:t>
            </a:r>
          </a:p>
        </p:txBody>
      </p:sp>
      <p:sp>
        <p:nvSpPr>
          <p:cNvPr id="9" name="TextBox 8">
            <a:extLst>
              <a:ext uri="{FF2B5EF4-FFF2-40B4-BE49-F238E27FC236}">
                <a16:creationId xmlns:a16="http://schemas.microsoft.com/office/drawing/2014/main" id="{66678FFA-8528-ECF7-7AC6-1B0428DFC90F}"/>
              </a:ext>
            </a:extLst>
          </p:cNvPr>
          <p:cNvSpPr txBox="1">
            <a:spLocks/>
          </p:cNvSpPr>
          <p:nvPr/>
        </p:nvSpPr>
        <p:spPr>
          <a:xfrm>
            <a:off x="554736" y="989708"/>
            <a:ext cx="11080052" cy="43088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t>The CAIP roll-out does not take a one-size-fits-all approach. Each park is strictly optimized around the specific ecological and agricultural competitive advantages of its host county:</a:t>
            </a:r>
          </a:p>
        </p:txBody>
      </p:sp>
      <p:graphicFrame>
        <p:nvGraphicFramePr>
          <p:cNvPr id="10" name="Table 9" hidden="1">
            <a:extLst>
              <a:ext uri="{FF2B5EF4-FFF2-40B4-BE49-F238E27FC236}">
                <a16:creationId xmlns:a16="http://schemas.microsoft.com/office/drawing/2014/main" id="{054E87E5-8FD9-3A13-DD1A-14A6C14AEFDE}"/>
              </a:ext>
            </a:extLst>
          </p:cNvPr>
          <p:cNvGraphicFramePr>
            <a:graphicFrameLocks noGrp="1"/>
          </p:cNvGraphicFramePr>
          <p:nvPr/>
        </p:nvGraphicFramePr>
        <p:xfrm>
          <a:off x="554736" y="2093559"/>
          <a:ext cx="11080052" cy="4155851"/>
        </p:xfrm>
        <a:graphic>
          <a:graphicData uri="http://schemas.openxmlformats.org/drawingml/2006/table">
            <a:tbl>
              <a:tblPr firstRow="1" firstCol="1" bandRow="1">
                <a:tableStyleId>{5C22544A-7EE6-4342-B048-85BDC9FD1C3A}</a:tableStyleId>
              </a:tblPr>
              <a:tblGrid>
                <a:gridCol w="675284">
                  <a:extLst>
                    <a:ext uri="{9D8B030D-6E8A-4147-A177-3AD203B41FA5}">
                      <a16:colId xmlns:a16="http://schemas.microsoft.com/office/drawing/2014/main" val="3412539321"/>
                    </a:ext>
                  </a:extLst>
                </a:gridCol>
                <a:gridCol w="1847576">
                  <a:extLst>
                    <a:ext uri="{9D8B030D-6E8A-4147-A177-3AD203B41FA5}">
                      <a16:colId xmlns:a16="http://schemas.microsoft.com/office/drawing/2014/main" val="1880973378"/>
                    </a:ext>
                  </a:extLst>
                </a:gridCol>
                <a:gridCol w="8557192">
                  <a:extLst>
                    <a:ext uri="{9D8B030D-6E8A-4147-A177-3AD203B41FA5}">
                      <a16:colId xmlns:a16="http://schemas.microsoft.com/office/drawing/2014/main" val="3486079481"/>
                    </a:ext>
                  </a:extLst>
                </a:gridCol>
              </a:tblGrid>
              <a:tr h="845050">
                <a:tc>
                  <a:txBody>
                    <a:bodyPr/>
                    <a:lstStyle/>
                    <a:p>
                      <a:pPr marL="0" marR="0">
                        <a:lnSpc>
                          <a:spcPct val="115000"/>
                        </a:lnSpc>
                        <a:spcAft>
                          <a:spcPts val="330"/>
                        </a:spcAft>
                        <a:buNone/>
                        <a:tabLst>
                          <a:tab pos="4156710" algn="ctr"/>
                          <a:tab pos="6209030" algn="ctr"/>
                          <a:tab pos="11074400" algn="r"/>
                        </a:tabLst>
                      </a:pPr>
                      <a:r>
                        <a:rPr lang="en-US" sz="1300" kern="0">
                          <a:effectLst/>
                        </a:rPr>
                        <a:t>No.</a:t>
                      </a: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marL="0" marR="0">
                        <a:lnSpc>
                          <a:spcPct val="115000"/>
                        </a:lnSpc>
                        <a:spcAft>
                          <a:spcPts val="330"/>
                        </a:spcAft>
                        <a:buNone/>
                        <a:tabLst>
                          <a:tab pos="4156710" algn="ctr"/>
                          <a:tab pos="6209030" algn="ctr"/>
                          <a:tab pos="11074400" algn="r"/>
                        </a:tabLst>
                      </a:pPr>
                      <a:r>
                        <a:rPr lang="en-US" sz="1300" kern="0">
                          <a:effectLst/>
                        </a:rPr>
                        <a:t>County</a:t>
                      </a: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marL="0" marR="0">
                        <a:lnSpc>
                          <a:spcPct val="115000"/>
                        </a:lnSpc>
                        <a:spcAft>
                          <a:spcPts val="330"/>
                        </a:spcAft>
                        <a:buNone/>
                        <a:tabLst>
                          <a:tab pos="4156710" algn="ctr"/>
                          <a:tab pos="6209030" algn="ctr"/>
                          <a:tab pos="11074400" algn="r"/>
                        </a:tabLst>
                      </a:pPr>
                      <a:r>
                        <a:rPr lang="en-US" sz="1300" kern="0">
                          <a:effectLst/>
                        </a:rPr>
                        <a:t>Investment </a:t>
                      </a:r>
                    </a:p>
                    <a:p>
                      <a:pPr marL="0" marR="0">
                        <a:lnSpc>
                          <a:spcPct val="115000"/>
                        </a:lnSpc>
                        <a:spcAft>
                          <a:spcPts val="330"/>
                        </a:spcAft>
                        <a:buNone/>
                        <a:tabLst>
                          <a:tab pos="4156710" algn="ctr"/>
                          <a:tab pos="6209030" algn="ctr"/>
                          <a:tab pos="11074400" algn="r"/>
                        </a:tabLst>
                      </a:pPr>
                      <a:r>
                        <a:rPr lang="en-US" sz="1300" kern="0">
                          <a:effectLst/>
                        </a:rPr>
                        <a:t>Priority Value Chains</a:t>
                      </a:r>
                      <a:endParaRPr lang="en-US" sz="1200" kern="100">
                        <a:effectLst/>
                      </a:endParaRPr>
                    </a:p>
                  </a:txBody>
                  <a:tcPr marL="68580" marR="68580" marT="0" marB="0"/>
                </a:tc>
                <a:extLst>
                  <a:ext uri="{0D108BD9-81ED-4DB2-BD59-A6C34878D82A}">
                    <a16:rowId xmlns:a16="http://schemas.microsoft.com/office/drawing/2014/main" val="986440372"/>
                  </a:ext>
                </a:extLst>
              </a:tr>
              <a:tr h="534817">
                <a:tc>
                  <a:txBody>
                    <a:bodyPr/>
                    <a:lstStyle/>
                    <a:p>
                      <a:pPr marL="0" marR="0">
                        <a:lnSpc>
                          <a:spcPct val="115000"/>
                        </a:lnSpc>
                        <a:spcAft>
                          <a:spcPts val="330"/>
                        </a:spcAft>
                        <a:buNone/>
                        <a:tabLst>
                          <a:tab pos="4156710" algn="ctr"/>
                          <a:tab pos="6209030" algn="ctr"/>
                          <a:tab pos="11074400" algn="r"/>
                        </a:tabLst>
                      </a:pPr>
                      <a:r>
                        <a:rPr lang="en-US" sz="1300" kern="0">
                          <a:effectLst/>
                        </a:rPr>
                        <a:t>1</a:t>
                      </a: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marL="0" marR="0">
                        <a:lnSpc>
                          <a:spcPct val="115000"/>
                        </a:lnSpc>
                        <a:spcAft>
                          <a:spcPts val="800"/>
                        </a:spcAft>
                        <a:buNone/>
                      </a:pPr>
                      <a:r>
                        <a:rPr lang="en-US" sz="1300" kern="0">
                          <a:effectLst/>
                        </a:rPr>
                        <a:t>Meru</a:t>
                      </a: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marL="0" marR="0" algn="just">
                        <a:lnSpc>
                          <a:spcPct val="115000"/>
                        </a:lnSpc>
                        <a:spcAft>
                          <a:spcPts val="800"/>
                        </a:spcAft>
                        <a:buNone/>
                      </a:pPr>
                      <a:r>
                        <a:rPr lang="en-US" sz="1300" kern="100">
                          <a:effectLst/>
                        </a:rPr>
                        <a:t>Macadamia, Irish Potatoes, Miraa, Avocado, Bananas and Coffee</a:t>
                      </a: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86093679"/>
                  </a:ext>
                </a:extLst>
              </a:tr>
              <a:tr h="534817">
                <a:tc>
                  <a:txBody>
                    <a:bodyPr/>
                    <a:lstStyle/>
                    <a:p>
                      <a:pPr marL="0" marR="0">
                        <a:lnSpc>
                          <a:spcPct val="115000"/>
                        </a:lnSpc>
                        <a:spcAft>
                          <a:spcPts val="330"/>
                        </a:spcAft>
                        <a:buNone/>
                        <a:tabLst>
                          <a:tab pos="4156710" algn="ctr"/>
                          <a:tab pos="6209030" algn="ctr"/>
                          <a:tab pos="11074400" algn="r"/>
                        </a:tabLst>
                      </a:pPr>
                      <a:r>
                        <a:rPr lang="en-US" sz="1300" kern="0">
                          <a:effectLst/>
                        </a:rPr>
                        <a:t>2</a:t>
                      </a: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marL="0" marR="0">
                        <a:lnSpc>
                          <a:spcPct val="115000"/>
                        </a:lnSpc>
                        <a:spcAft>
                          <a:spcPts val="800"/>
                        </a:spcAft>
                        <a:buNone/>
                      </a:pPr>
                      <a:r>
                        <a:rPr lang="en-US" sz="1300" kern="0">
                          <a:effectLst/>
                        </a:rPr>
                        <a:t>Migori</a:t>
                      </a: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marL="0" marR="0">
                        <a:lnSpc>
                          <a:spcPct val="115000"/>
                        </a:lnSpc>
                        <a:spcAft>
                          <a:spcPts val="330"/>
                        </a:spcAft>
                        <a:buNone/>
                        <a:tabLst>
                          <a:tab pos="4156710" algn="ctr"/>
                          <a:tab pos="6209030" algn="ctr"/>
                          <a:tab pos="11074400" algn="r"/>
                        </a:tabLst>
                      </a:pPr>
                      <a:r>
                        <a:rPr lang="en-US" sz="1300" kern="0">
                          <a:effectLst/>
                        </a:rPr>
                        <a:t>Meat  and Leather, Fish, Livestock, Rice and Mining (Gold and Copper)</a:t>
                      </a: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4160905502"/>
                  </a:ext>
                </a:extLst>
              </a:tr>
              <a:tr h="534817">
                <a:tc>
                  <a:txBody>
                    <a:bodyPr/>
                    <a:lstStyle/>
                    <a:p>
                      <a:pPr marL="0" marR="0">
                        <a:lnSpc>
                          <a:spcPct val="115000"/>
                        </a:lnSpc>
                        <a:spcAft>
                          <a:spcPts val="330"/>
                        </a:spcAft>
                        <a:buNone/>
                        <a:tabLst>
                          <a:tab pos="4156710" algn="ctr"/>
                          <a:tab pos="6209030" algn="ctr"/>
                          <a:tab pos="11074400" algn="r"/>
                        </a:tabLst>
                      </a:pPr>
                      <a:r>
                        <a:rPr lang="en-US" sz="1300" kern="0">
                          <a:effectLst/>
                        </a:rPr>
                        <a:t>3</a:t>
                      </a: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marL="0" marR="0">
                        <a:lnSpc>
                          <a:spcPct val="115000"/>
                        </a:lnSpc>
                        <a:spcAft>
                          <a:spcPts val="800"/>
                        </a:spcAft>
                        <a:buNone/>
                      </a:pPr>
                      <a:r>
                        <a:rPr lang="en-US" sz="1300" kern="0">
                          <a:effectLst/>
                        </a:rPr>
                        <a:t>Kirinyaga</a:t>
                      </a: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marL="0" marR="0">
                        <a:lnSpc>
                          <a:spcPct val="115000"/>
                        </a:lnSpc>
                        <a:spcAft>
                          <a:spcPts val="330"/>
                        </a:spcAft>
                        <a:buNone/>
                        <a:tabLst>
                          <a:tab pos="4156710" algn="ctr"/>
                          <a:tab pos="6209030" algn="ctr"/>
                          <a:tab pos="11074400" algn="r"/>
                        </a:tabLst>
                      </a:pPr>
                      <a:r>
                        <a:rPr lang="en-US" sz="1300" kern="0">
                          <a:effectLst/>
                        </a:rPr>
                        <a:t>Tomato, Avocado, Coffee, Macadamia,  and Banana</a:t>
                      </a: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049848994"/>
                  </a:ext>
                </a:extLst>
              </a:tr>
              <a:tr h="1171533">
                <a:tc>
                  <a:txBody>
                    <a:bodyPr/>
                    <a:lstStyle/>
                    <a:p>
                      <a:pPr marL="0" marR="0">
                        <a:lnSpc>
                          <a:spcPct val="115000"/>
                        </a:lnSpc>
                        <a:spcAft>
                          <a:spcPts val="330"/>
                        </a:spcAft>
                        <a:buNone/>
                        <a:tabLst>
                          <a:tab pos="4156710" algn="ctr"/>
                          <a:tab pos="6209030" algn="ctr"/>
                          <a:tab pos="11074400" algn="r"/>
                        </a:tabLst>
                      </a:pPr>
                      <a:r>
                        <a:rPr lang="en-US" sz="1300" kern="0">
                          <a:effectLst/>
                        </a:rPr>
                        <a:t>4</a:t>
                      </a: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marL="0" marR="0">
                        <a:lnSpc>
                          <a:spcPct val="115000"/>
                        </a:lnSpc>
                        <a:spcAft>
                          <a:spcPts val="800"/>
                        </a:spcAft>
                        <a:buNone/>
                      </a:pPr>
                      <a:r>
                        <a:rPr lang="en-US" sz="1300" kern="0">
                          <a:effectLst/>
                        </a:rPr>
                        <a:t>Kakamega</a:t>
                      </a:r>
                      <a:endParaRPr lang="en-US" sz="1200" kern="100">
                        <a:effectLst/>
                      </a:endParaRPr>
                    </a:p>
                    <a:p>
                      <a:pPr marL="0" marR="0">
                        <a:lnSpc>
                          <a:spcPct val="115000"/>
                        </a:lnSpc>
                        <a:spcAft>
                          <a:spcPts val="330"/>
                        </a:spcAft>
                        <a:buNone/>
                        <a:tabLst>
                          <a:tab pos="4156710" algn="ctr"/>
                          <a:tab pos="6209030" algn="ctr"/>
                          <a:tab pos="11074400" algn="r"/>
                        </a:tabLst>
                      </a:pPr>
                      <a:r>
                        <a:rPr lang="en-US" sz="1300" kern="0">
                          <a:effectLst/>
                        </a:rPr>
                        <a:t> </a:t>
                      </a: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marL="0" marR="0">
                        <a:lnSpc>
                          <a:spcPct val="115000"/>
                        </a:lnSpc>
                        <a:spcAft>
                          <a:spcPts val="330"/>
                        </a:spcAft>
                        <a:buNone/>
                        <a:tabLst>
                          <a:tab pos="4156710" algn="ctr"/>
                          <a:tab pos="6209030" algn="ctr"/>
                          <a:tab pos="11074400" algn="r"/>
                        </a:tabLst>
                      </a:pPr>
                      <a:r>
                        <a:rPr lang="en-US" sz="1300" kern="0">
                          <a:effectLst/>
                        </a:rPr>
                        <a:t>Sugarcane, Maize, Avocado, Sunflower  Palm Oil (Edible Oils), Bananas, Coffee, Milk  and Poultry</a:t>
                      </a: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314559520"/>
                  </a:ext>
                </a:extLst>
              </a:tr>
              <a:tr h="534817">
                <a:tc>
                  <a:txBody>
                    <a:bodyPr/>
                    <a:lstStyle/>
                    <a:p>
                      <a:pPr marL="0" marR="0">
                        <a:lnSpc>
                          <a:spcPct val="115000"/>
                        </a:lnSpc>
                        <a:spcAft>
                          <a:spcPts val="330"/>
                        </a:spcAft>
                        <a:buNone/>
                        <a:tabLst>
                          <a:tab pos="4156710" algn="ctr"/>
                          <a:tab pos="6209030" algn="ctr"/>
                          <a:tab pos="11074400" algn="r"/>
                        </a:tabLst>
                      </a:pPr>
                      <a:r>
                        <a:rPr lang="en-US" sz="1300" kern="0">
                          <a:effectLst/>
                        </a:rPr>
                        <a:t>5</a:t>
                      </a: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marL="0" marR="0">
                        <a:lnSpc>
                          <a:spcPct val="115000"/>
                        </a:lnSpc>
                        <a:spcAft>
                          <a:spcPts val="800"/>
                        </a:spcAft>
                        <a:buNone/>
                      </a:pPr>
                      <a:r>
                        <a:rPr lang="en-US" sz="1300" kern="0">
                          <a:effectLst/>
                        </a:rPr>
                        <a:t>Kisii</a:t>
                      </a: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marL="0" marR="0">
                        <a:lnSpc>
                          <a:spcPct val="115000"/>
                        </a:lnSpc>
                        <a:spcAft>
                          <a:spcPts val="330"/>
                        </a:spcAft>
                        <a:buNone/>
                        <a:tabLst>
                          <a:tab pos="4156710" algn="ctr"/>
                          <a:tab pos="6209030" algn="ctr"/>
                          <a:tab pos="11074400" algn="r"/>
                        </a:tabLst>
                      </a:pPr>
                      <a:r>
                        <a:rPr lang="en-US" sz="1300" kern="0">
                          <a:effectLst/>
                        </a:rPr>
                        <a:t>Bananas; Avocado; Indigenous Vegetables; Dairy;  and Chicken</a:t>
                      </a: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757820758"/>
                  </a:ext>
                </a:extLst>
              </a:tr>
            </a:tbl>
          </a:graphicData>
        </a:graphic>
      </p:graphicFrame>
      <p:sp>
        <p:nvSpPr>
          <p:cNvPr id="31" name="TextBox 30">
            <a:extLst>
              <a:ext uri="{FF2B5EF4-FFF2-40B4-BE49-F238E27FC236}">
                <a16:creationId xmlns:a16="http://schemas.microsoft.com/office/drawing/2014/main" id="{6C212B68-A2E5-BA98-2F05-3A784D445E6D}"/>
              </a:ext>
            </a:extLst>
          </p:cNvPr>
          <p:cNvSpPr txBox="1"/>
          <p:nvPr/>
        </p:nvSpPr>
        <p:spPr>
          <a:xfrm>
            <a:off x="554736" y="1576474"/>
            <a:ext cx="407372" cy="215444"/>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solidFill>
                  <a:schemeClr val="bg1"/>
                </a:solidFill>
              </a:rPr>
              <a:t>No.</a:t>
            </a:r>
          </a:p>
        </p:txBody>
      </p:sp>
      <p:sp>
        <p:nvSpPr>
          <p:cNvPr id="33" name="TextBox 32">
            <a:extLst>
              <a:ext uri="{FF2B5EF4-FFF2-40B4-BE49-F238E27FC236}">
                <a16:creationId xmlns:a16="http://schemas.microsoft.com/office/drawing/2014/main" id="{3E18168C-5A44-BD89-81E7-9B39B328D92B}"/>
              </a:ext>
            </a:extLst>
          </p:cNvPr>
          <p:cNvSpPr txBox="1"/>
          <p:nvPr/>
        </p:nvSpPr>
        <p:spPr>
          <a:xfrm>
            <a:off x="1179552" y="1576474"/>
            <a:ext cx="956589" cy="215444"/>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solidFill>
                  <a:schemeClr val="bg1"/>
                </a:solidFill>
              </a:rPr>
              <a:t>County</a:t>
            </a:r>
          </a:p>
        </p:txBody>
      </p:sp>
      <p:sp>
        <p:nvSpPr>
          <p:cNvPr id="35" name="TextBox 34">
            <a:extLst>
              <a:ext uri="{FF2B5EF4-FFF2-40B4-BE49-F238E27FC236}">
                <a16:creationId xmlns:a16="http://schemas.microsoft.com/office/drawing/2014/main" id="{B9E5A20F-7EC3-9900-8A02-9F7F3F35D933}"/>
              </a:ext>
            </a:extLst>
          </p:cNvPr>
          <p:cNvSpPr txBox="1"/>
          <p:nvPr/>
        </p:nvSpPr>
        <p:spPr>
          <a:xfrm>
            <a:off x="2353586" y="1576474"/>
            <a:ext cx="9281202" cy="215444"/>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solidFill>
                  <a:schemeClr val="bg1"/>
                </a:solidFill>
              </a:rPr>
              <a:t>Investment - Priority Value Chains</a:t>
            </a:r>
          </a:p>
        </p:txBody>
      </p:sp>
      <p:pic>
        <p:nvPicPr>
          <p:cNvPr id="13" name="Picture 12">
            <a:extLst>
              <a:ext uri="{FF2B5EF4-FFF2-40B4-BE49-F238E27FC236}">
                <a16:creationId xmlns:a16="http://schemas.microsoft.com/office/drawing/2014/main" id="{BC1F9293-1C7B-572B-FAC9-1A039BDF565F}"/>
              </a:ext>
            </a:extLst>
          </p:cNvPr>
          <p:cNvPicPr>
            <a:picLocks noChangeAspect="1"/>
          </p:cNvPicPr>
          <p:nvPr/>
        </p:nvPicPr>
        <p:blipFill>
          <a:blip r:embed="rId6"/>
          <a:srcRect/>
          <a:stretch/>
        </p:blipFill>
        <p:spPr>
          <a:xfrm>
            <a:off x="513175" y="1609469"/>
            <a:ext cx="10499273" cy="4661041"/>
          </a:xfrm>
          <a:prstGeom prst="rect">
            <a:avLst/>
          </a:prstGeom>
        </p:spPr>
      </p:pic>
    </p:spTree>
    <p:extLst>
      <p:ext uri="{BB962C8B-B14F-4D97-AF65-F5344CB8AC3E}">
        <p14:creationId xmlns:p14="http://schemas.microsoft.com/office/powerpoint/2010/main" val="313422784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00FEEF-4DCD-ECFA-2BF1-E025F5D248BE}"/>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B1BE763-7C33-6060-4F77-9AD7566D22A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291" imgH="290" progId="TCLayout.ActiveDocument.1">
                  <p:embed/>
                </p:oleObj>
              </mc:Choice>
              <mc:Fallback>
                <p:oleObj name="think-cell Slide" r:id="rId8" imgW="291" imgH="290" progId="TCLayout.ActiveDocument.1">
                  <p:embed/>
                  <p:pic>
                    <p:nvPicPr>
                      <p:cNvPr id="5" name="think-cell data - do not delete" hidden="1">
                        <a:extLst>
                          <a:ext uri="{FF2B5EF4-FFF2-40B4-BE49-F238E27FC236}">
                            <a16:creationId xmlns:a16="http://schemas.microsoft.com/office/drawing/2014/main" id="{2B1BE763-7C33-6060-4F77-9AD7566D22A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8" name="object 4">
            <a:extLst>
              <a:ext uri="{FF2B5EF4-FFF2-40B4-BE49-F238E27FC236}">
                <a16:creationId xmlns:a16="http://schemas.microsoft.com/office/drawing/2014/main" id="{2E2375CF-CE49-5178-DE36-4275E7966E65}"/>
              </a:ext>
            </a:extLst>
          </p:cNvPr>
          <p:cNvSpPr>
            <a:spLocks/>
          </p:cNvSpPr>
          <p:nvPr/>
        </p:nvSpPr>
        <p:spPr>
          <a:xfrm>
            <a:off x="0" y="916929"/>
            <a:ext cx="7793929" cy="1010932"/>
          </a:xfrm>
          <a:prstGeom prst="rect">
            <a:avLst/>
          </a:prstGeom>
          <a:solidFill>
            <a:schemeClr val="bg1">
              <a:lumMod val="95000"/>
            </a:schemeClr>
          </a:solidFill>
          <a:effectLst/>
        </p:spPr>
        <p:txBody>
          <a:bodyPr wrap="square" lIns="0" tIns="0" rIns="0" bIns="0" rtlCol="0">
            <a:noAutofit/>
          </a:bodyPr>
          <a:lstStyle/>
          <a:p>
            <a:endParaRPr/>
          </a:p>
        </p:txBody>
      </p:sp>
      <p:sp>
        <p:nvSpPr>
          <p:cNvPr id="4" name="2. Slide Title">
            <a:extLst>
              <a:ext uri="{FF2B5EF4-FFF2-40B4-BE49-F238E27FC236}">
                <a16:creationId xmlns:a16="http://schemas.microsoft.com/office/drawing/2014/main" id="{51F958E5-1857-5BD2-F3C1-F0F6AF42FD63}"/>
              </a:ext>
            </a:extLst>
          </p:cNvPr>
          <p:cNvSpPr>
            <a:spLocks noGrp="1"/>
          </p:cNvSpPr>
          <p:nvPr>
            <p:ph type="title"/>
            <p:custDataLst>
              <p:tags r:id="rId2"/>
            </p:custDataLst>
          </p:nvPr>
        </p:nvSpPr>
        <p:spPr>
          <a:xfrm>
            <a:off x="554736" y="172212"/>
            <a:ext cx="6967728" cy="384721"/>
          </a:xfrm>
        </p:spPr>
        <p:txBody>
          <a:bodyPr vert="horz">
            <a:noAutofit/>
          </a:bodyPr>
          <a:lstStyle/>
          <a:p>
            <a:r>
              <a:rPr lang="en-US"/>
              <a:t>Strategic fiscal &amp; regulatory incentives</a:t>
            </a:r>
          </a:p>
        </p:txBody>
      </p:sp>
      <p:sp>
        <p:nvSpPr>
          <p:cNvPr id="12" name="Text Placeholder 11">
            <a:extLst>
              <a:ext uri="{FF2B5EF4-FFF2-40B4-BE49-F238E27FC236}">
                <a16:creationId xmlns:a16="http://schemas.microsoft.com/office/drawing/2014/main" id="{94994356-F52E-7230-5D6D-90F11CC53535}"/>
              </a:ext>
            </a:extLst>
          </p:cNvPr>
          <p:cNvSpPr>
            <a:spLocks noGrp="1"/>
          </p:cNvSpPr>
          <p:nvPr>
            <p:ph type="body" sz="quarter" idx="10"/>
          </p:nvPr>
        </p:nvSpPr>
        <p:spPr/>
        <p:txBody>
          <a:bodyPr/>
          <a:lstStyle/>
          <a:p>
            <a:endParaRPr lang="en-US"/>
          </a:p>
        </p:txBody>
      </p:sp>
      <p:sp>
        <p:nvSpPr>
          <p:cNvPr id="24" name="TextBox 23">
            <a:extLst>
              <a:ext uri="{FF2B5EF4-FFF2-40B4-BE49-F238E27FC236}">
                <a16:creationId xmlns:a16="http://schemas.microsoft.com/office/drawing/2014/main" id="{C78BB04C-4974-F7C9-3EB0-1061C41DF984}"/>
              </a:ext>
            </a:extLst>
          </p:cNvPr>
          <p:cNvSpPr txBox="1">
            <a:spLocks/>
          </p:cNvSpPr>
          <p:nvPr/>
        </p:nvSpPr>
        <p:spPr>
          <a:xfrm>
            <a:off x="554736" y="1006896"/>
            <a:ext cx="6967728" cy="83099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a:solidFill>
                  <a:srgbClr val="000000"/>
                </a:solidFill>
                <a:latin typeface="Arial" panose="020B0604020202020204" pitchFamily="34" charset="0"/>
                <a:sym typeface=""/>
              </a:rPr>
              <a:t>To maximize internal rates of return (IRR) for private partners, the Government of Kenya has packaged CAIPs with an aggressive suite of fiscal incentives and regulatory carve-outs:</a:t>
            </a:r>
          </a:p>
        </p:txBody>
      </p:sp>
      <p:sp>
        <p:nvSpPr>
          <p:cNvPr id="25" name="TextBox 24">
            <a:extLst>
              <a:ext uri="{FF2B5EF4-FFF2-40B4-BE49-F238E27FC236}">
                <a16:creationId xmlns:a16="http://schemas.microsoft.com/office/drawing/2014/main" id="{82D7C1FD-1BAE-BCA0-2C7C-5E3FEA690725}"/>
              </a:ext>
            </a:extLst>
          </p:cNvPr>
          <p:cNvSpPr txBox="1"/>
          <p:nvPr/>
        </p:nvSpPr>
        <p:spPr>
          <a:xfrm>
            <a:off x="1371600" y="2142560"/>
            <a:ext cx="6150864" cy="109260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a:solidFill>
                  <a:schemeClr val="accent1"/>
                </a:solidFill>
                <a:latin typeface="Arial" panose="020B0604020202020204" pitchFamily="34" charset="0"/>
                <a:sym typeface=""/>
              </a:rPr>
              <a:t>Tax Holidays &amp; Exemptions </a:t>
            </a:r>
          </a:p>
          <a:p>
            <a:r>
              <a:rPr lang="en-US">
                <a:solidFill>
                  <a:srgbClr val="000000"/>
                </a:solidFill>
                <a:latin typeface="Arial" panose="020B0604020202020204" pitchFamily="34" charset="0"/>
                <a:sym typeface=""/>
              </a:rPr>
              <a:t>Dedicated corporate tax discounts, duty-free importation of all capital machinery, equipment, and raw materials, and statutory exemptions on Value Added Tax (VAT).</a:t>
            </a:r>
          </a:p>
        </p:txBody>
      </p:sp>
      <p:sp>
        <p:nvSpPr>
          <p:cNvPr id="26" name="TextBox 25">
            <a:extLst>
              <a:ext uri="{FF2B5EF4-FFF2-40B4-BE49-F238E27FC236}">
                <a16:creationId xmlns:a16="http://schemas.microsoft.com/office/drawing/2014/main" id="{5E24B2AF-0790-62AE-58C3-B5FB303BEE8E}"/>
              </a:ext>
            </a:extLst>
          </p:cNvPr>
          <p:cNvSpPr txBox="1"/>
          <p:nvPr/>
        </p:nvSpPr>
        <p:spPr>
          <a:xfrm>
            <a:off x="1371600" y="3449866"/>
            <a:ext cx="6150864" cy="133882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a:solidFill>
                  <a:schemeClr val="accent1"/>
                </a:solidFill>
                <a:latin typeface="Arial" panose="020B0604020202020204" pitchFamily="34" charset="0"/>
                <a:sym typeface=""/>
              </a:rPr>
              <a:t>The "One-Stop Shop" Desk </a:t>
            </a:r>
          </a:p>
          <a:p>
            <a:r>
              <a:rPr lang="en-US">
                <a:solidFill>
                  <a:srgbClr val="000000"/>
                </a:solidFill>
                <a:latin typeface="Arial" panose="020B0604020202020204" pitchFamily="34" charset="0"/>
                <a:sym typeface=""/>
              </a:rPr>
              <a:t>On-site, fast-tracked regulatory clearance hubs housing officers from the Kenya Revenue Authority (KRA), KEBS (Standards), NEMA (Environment), and KEPHIS (Phytosanitary). This cuts red tape and slashes setup times from months to days. </a:t>
            </a:r>
          </a:p>
        </p:txBody>
      </p:sp>
      <p:sp>
        <p:nvSpPr>
          <p:cNvPr id="32" name="object 6">
            <a:extLst>
              <a:ext uri="{FF2B5EF4-FFF2-40B4-BE49-F238E27FC236}">
                <a16:creationId xmlns:a16="http://schemas.microsoft.com/office/drawing/2014/main" id="{BE0CB834-4504-87EF-79F5-F2339AFFEAE9}"/>
              </a:ext>
            </a:extLst>
          </p:cNvPr>
          <p:cNvSpPr/>
          <p:nvPr/>
        </p:nvSpPr>
        <p:spPr>
          <a:xfrm>
            <a:off x="554736" y="3449866"/>
            <a:ext cx="643128" cy="606488"/>
          </a:xfrm>
          <a:custGeom>
            <a:avLst/>
            <a:gdLst/>
            <a:ahLst/>
            <a:cxnLst/>
            <a:rect l="l" t="t" r="r" b="b"/>
            <a:pathLst>
              <a:path w="969644" h="914400">
                <a:moveTo>
                  <a:pt x="880237" y="0"/>
                </a:moveTo>
                <a:lnTo>
                  <a:pt x="218363" y="0"/>
                </a:lnTo>
                <a:lnTo>
                  <a:pt x="168294" y="5768"/>
                </a:lnTo>
                <a:lnTo>
                  <a:pt x="122332" y="22200"/>
                </a:lnTo>
                <a:lnTo>
                  <a:pt x="81788" y="47986"/>
                </a:lnTo>
                <a:lnTo>
                  <a:pt x="47972" y="81813"/>
                </a:lnTo>
                <a:lnTo>
                  <a:pt x="22194" y="122371"/>
                </a:lnTo>
                <a:lnTo>
                  <a:pt x="5767" y="168350"/>
                </a:lnTo>
                <a:lnTo>
                  <a:pt x="0" y="218440"/>
                </a:lnTo>
                <a:lnTo>
                  <a:pt x="0" y="825373"/>
                </a:lnTo>
                <a:lnTo>
                  <a:pt x="6997" y="860018"/>
                </a:lnTo>
                <a:lnTo>
                  <a:pt x="26081" y="888317"/>
                </a:lnTo>
                <a:lnTo>
                  <a:pt x="54387" y="907401"/>
                </a:lnTo>
                <a:lnTo>
                  <a:pt x="89052" y="914400"/>
                </a:lnTo>
                <a:lnTo>
                  <a:pt x="750900" y="914400"/>
                </a:lnTo>
                <a:lnTo>
                  <a:pt x="800961" y="908631"/>
                </a:lnTo>
                <a:lnTo>
                  <a:pt x="846920" y="892199"/>
                </a:lnTo>
                <a:lnTo>
                  <a:pt x="887465" y="866413"/>
                </a:lnTo>
                <a:lnTo>
                  <a:pt x="921283" y="832586"/>
                </a:lnTo>
                <a:lnTo>
                  <a:pt x="947064" y="792028"/>
                </a:lnTo>
                <a:lnTo>
                  <a:pt x="963495" y="746049"/>
                </a:lnTo>
                <a:lnTo>
                  <a:pt x="969263" y="695959"/>
                </a:lnTo>
                <a:lnTo>
                  <a:pt x="969263" y="89153"/>
                </a:lnTo>
                <a:lnTo>
                  <a:pt x="962265" y="54435"/>
                </a:lnTo>
                <a:lnTo>
                  <a:pt x="943181" y="26098"/>
                </a:lnTo>
                <a:lnTo>
                  <a:pt x="914882" y="7000"/>
                </a:lnTo>
                <a:lnTo>
                  <a:pt x="880237" y="0"/>
                </a:lnTo>
                <a:close/>
              </a:path>
            </a:pathLst>
          </a:custGeom>
          <a:solidFill>
            <a:srgbClr val="D41117"/>
          </a:solidFill>
        </p:spPr>
        <p:txBody>
          <a:bodyPr wrap="square" lIns="0" tIns="0" rIns="0" bIns="0" rtlCol="0"/>
          <a:lstStyle/>
          <a:p>
            <a:endParaRPr sz="1400"/>
          </a:p>
        </p:txBody>
      </p:sp>
      <p:sp>
        <p:nvSpPr>
          <p:cNvPr id="27" name="TextBox 26">
            <a:extLst>
              <a:ext uri="{FF2B5EF4-FFF2-40B4-BE49-F238E27FC236}">
                <a16:creationId xmlns:a16="http://schemas.microsoft.com/office/drawing/2014/main" id="{4C9FAF93-0CCD-5619-76C0-0458CC1C900C}"/>
              </a:ext>
            </a:extLst>
          </p:cNvPr>
          <p:cNvSpPr txBox="1"/>
          <p:nvPr/>
        </p:nvSpPr>
        <p:spPr>
          <a:xfrm>
            <a:off x="1371600" y="5003394"/>
            <a:ext cx="6150864" cy="109260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a:solidFill>
                  <a:schemeClr val="accent1"/>
                </a:solidFill>
                <a:latin typeface="Arial" panose="020B0604020202020204" pitchFamily="34" charset="0"/>
                <a:sym typeface=""/>
              </a:rPr>
              <a:t>Subsidized Utilities </a:t>
            </a:r>
          </a:p>
          <a:p>
            <a:r>
              <a:rPr lang="en-US">
                <a:solidFill>
                  <a:srgbClr val="000000"/>
                </a:solidFill>
                <a:latin typeface="Arial" panose="020B0604020202020204" pitchFamily="34" charset="0"/>
                <a:sym typeface=""/>
              </a:rPr>
              <a:t>Artificially cushioned lease structures on public land paired with preferential industrial power tariffs from Kenya’s 90%+ </a:t>
            </a:r>
            <a:br>
              <a:rPr lang="en-US">
                <a:solidFill>
                  <a:srgbClr val="000000"/>
                </a:solidFill>
                <a:latin typeface="Arial" panose="020B0604020202020204" pitchFamily="34" charset="0"/>
                <a:sym typeface=""/>
              </a:rPr>
            </a:br>
            <a:r>
              <a:rPr lang="en-US">
                <a:solidFill>
                  <a:srgbClr val="000000"/>
                </a:solidFill>
                <a:latin typeface="Arial" panose="020B0604020202020204" pitchFamily="34" charset="0"/>
                <a:sym typeface=""/>
              </a:rPr>
              <a:t>green energy grid.</a:t>
            </a:r>
          </a:p>
        </p:txBody>
      </p:sp>
      <p:sp>
        <p:nvSpPr>
          <p:cNvPr id="33" name="object 6">
            <a:extLst>
              <a:ext uri="{FF2B5EF4-FFF2-40B4-BE49-F238E27FC236}">
                <a16:creationId xmlns:a16="http://schemas.microsoft.com/office/drawing/2014/main" id="{813965E7-0249-C39D-3420-99803FE1214E}"/>
              </a:ext>
            </a:extLst>
          </p:cNvPr>
          <p:cNvSpPr/>
          <p:nvPr/>
        </p:nvSpPr>
        <p:spPr>
          <a:xfrm>
            <a:off x="554736" y="5003394"/>
            <a:ext cx="643128" cy="606488"/>
          </a:xfrm>
          <a:custGeom>
            <a:avLst/>
            <a:gdLst/>
            <a:ahLst/>
            <a:cxnLst/>
            <a:rect l="l" t="t" r="r" b="b"/>
            <a:pathLst>
              <a:path w="969644" h="914400">
                <a:moveTo>
                  <a:pt x="880237" y="0"/>
                </a:moveTo>
                <a:lnTo>
                  <a:pt x="218363" y="0"/>
                </a:lnTo>
                <a:lnTo>
                  <a:pt x="168294" y="5768"/>
                </a:lnTo>
                <a:lnTo>
                  <a:pt x="122332" y="22200"/>
                </a:lnTo>
                <a:lnTo>
                  <a:pt x="81788" y="47986"/>
                </a:lnTo>
                <a:lnTo>
                  <a:pt x="47972" y="81813"/>
                </a:lnTo>
                <a:lnTo>
                  <a:pt x="22194" y="122371"/>
                </a:lnTo>
                <a:lnTo>
                  <a:pt x="5767" y="168350"/>
                </a:lnTo>
                <a:lnTo>
                  <a:pt x="0" y="218440"/>
                </a:lnTo>
                <a:lnTo>
                  <a:pt x="0" y="825373"/>
                </a:lnTo>
                <a:lnTo>
                  <a:pt x="6997" y="860018"/>
                </a:lnTo>
                <a:lnTo>
                  <a:pt x="26081" y="888317"/>
                </a:lnTo>
                <a:lnTo>
                  <a:pt x="54387" y="907401"/>
                </a:lnTo>
                <a:lnTo>
                  <a:pt x="89052" y="914400"/>
                </a:lnTo>
                <a:lnTo>
                  <a:pt x="750900" y="914400"/>
                </a:lnTo>
                <a:lnTo>
                  <a:pt x="800961" y="908631"/>
                </a:lnTo>
                <a:lnTo>
                  <a:pt x="846920" y="892199"/>
                </a:lnTo>
                <a:lnTo>
                  <a:pt x="887465" y="866413"/>
                </a:lnTo>
                <a:lnTo>
                  <a:pt x="921283" y="832586"/>
                </a:lnTo>
                <a:lnTo>
                  <a:pt x="947064" y="792028"/>
                </a:lnTo>
                <a:lnTo>
                  <a:pt x="963495" y="746049"/>
                </a:lnTo>
                <a:lnTo>
                  <a:pt x="969263" y="695959"/>
                </a:lnTo>
                <a:lnTo>
                  <a:pt x="969263" y="89153"/>
                </a:lnTo>
                <a:lnTo>
                  <a:pt x="962265" y="54435"/>
                </a:lnTo>
                <a:lnTo>
                  <a:pt x="943181" y="26098"/>
                </a:lnTo>
                <a:lnTo>
                  <a:pt x="914882" y="7000"/>
                </a:lnTo>
                <a:lnTo>
                  <a:pt x="880237" y="0"/>
                </a:lnTo>
                <a:close/>
              </a:path>
            </a:pathLst>
          </a:custGeom>
          <a:solidFill>
            <a:srgbClr val="D41117"/>
          </a:solidFill>
        </p:spPr>
        <p:txBody>
          <a:bodyPr wrap="square" lIns="0" tIns="0" rIns="0" bIns="0" rtlCol="0"/>
          <a:lstStyle/>
          <a:p>
            <a:endParaRPr sz="1400"/>
          </a:p>
        </p:txBody>
      </p:sp>
      <p:grpSp>
        <p:nvGrpSpPr>
          <p:cNvPr id="50" name="Group 49">
            <a:extLst>
              <a:ext uri="{FF2B5EF4-FFF2-40B4-BE49-F238E27FC236}">
                <a16:creationId xmlns:a16="http://schemas.microsoft.com/office/drawing/2014/main" id="{F5BAF66D-C83E-6DBC-5BE6-C261F0A4914A}"/>
              </a:ext>
            </a:extLst>
          </p:cNvPr>
          <p:cNvGrpSpPr/>
          <p:nvPr/>
        </p:nvGrpSpPr>
        <p:grpSpPr>
          <a:xfrm>
            <a:off x="554736" y="2142560"/>
            <a:ext cx="643128" cy="606488"/>
            <a:chOff x="554736" y="2142560"/>
            <a:chExt cx="643128" cy="606488"/>
          </a:xfrm>
        </p:grpSpPr>
        <p:sp>
          <p:nvSpPr>
            <p:cNvPr id="31" name="object 6">
              <a:extLst>
                <a:ext uri="{FF2B5EF4-FFF2-40B4-BE49-F238E27FC236}">
                  <a16:creationId xmlns:a16="http://schemas.microsoft.com/office/drawing/2014/main" id="{44BEB0B3-20B9-0082-4466-D3341A336B87}"/>
                </a:ext>
              </a:extLst>
            </p:cNvPr>
            <p:cNvSpPr/>
            <p:nvPr/>
          </p:nvSpPr>
          <p:spPr>
            <a:xfrm>
              <a:off x="554736" y="2142560"/>
              <a:ext cx="643128" cy="606488"/>
            </a:xfrm>
            <a:custGeom>
              <a:avLst/>
              <a:gdLst/>
              <a:ahLst/>
              <a:cxnLst/>
              <a:rect l="l" t="t" r="r" b="b"/>
              <a:pathLst>
                <a:path w="969644" h="914400">
                  <a:moveTo>
                    <a:pt x="880237" y="0"/>
                  </a:moveTo>
                  <a:lnTo>
                    <a:pt x="218363" y="0"/>
                  </a:lnTo>
                  <a:lnTo>
                    <a:pt x="168294" y="5768"/>
                  </a:lnTo>
                  <a:lnTo>
                    <a:pt x="122332" y="22200"/>
                  </a:lnTo>
                  <a:lnTo>
                    <a:pt x="81788" y="47986"/>
                  </a:lnTo>
                  <a:lnTo>
                    <a:pt x="47972" y="81813"/>
                  </a:lnTo>
                  <a:lnTo>
                    <a:pt x="22194" y="122371"/>
                  </a:lnTo>
                  <a:lnTo>
                    <a:pt x="5767" y="168350"/>
                  </a:lnTo>
                  <a:lnTo>
                    <a:pt x="0" y="218440"/>
                  </a:lnTo>
                  <a:lnTo>
                    <a:pt x="0" y="825373"/>
                  </a:lnTo>
                  <a:lnTo>
                    <a:pt x="6997" y="860018"/>
                  </a:lnTo>
                  <a:lnTo>
                    <a:pt x="26081" y="888317"/>
                  </a:lnTo>
                  <a:lnTo>
                    <a:pt x="54387" y="907401"/>
                  </a:lnTo>
                  <a:lnTo>
                    <a:pt x="89052" y="914400"/>
                  </a:lnTo>
                  <a:lnTo>
                    <a:pt x="750900" y="914400"/>
                  </a:lnTo>
                  <a:lnTo>
                    <a:pt x="800961" y="908631"/>
                  </a:lnTo>
                  <a:lnTo>
                    <a:pt x="846920" y="892199"/>
                  </a:lnTo>
                  <a:lnTo>
                    <a:pt x="887465" y="866413"/>
                  </a:lnTo>
                  <a:lnTo>
                    <a:pt x="921283" y="832586"/>
                  </a:lnTo>
                  <a:lnTo>
                    <a:pt x="947064" y="792028"/>
                  </a:lnTo>
                  <a:lnTo>
                    <a:pt x="963495" y="746049"/>
                  </a:lnTo>
                  <a:lnTo>
                    <a:pt x="969263" y="695959"/>
                  </a:lnTo>
                  <a:lnTo>
                    <a:pt x="969263" y="89153"/>
                  </a:lnTo>
                  <a:lnTo>
                    <a:pt x="962265" y="54435"/>
                  </a:lnTo>
                  <a:lnTo>
                    <a:pt x="943181" y="26098"/>
                  </a:lnTo>
                  <a:lnTo>
                    <a:pt x="914882" y="7000"/>
                  </a:lnTo>
                  <a:lnTo>
                    <a:pt x="880237" y="0"/>
                  </a:lnTo>
                  <a:close/>
                </a:path>
              </a:pathLst>
            </a:custGeom>
            <a:solidFill>
              <a:srgbClr val="D41117"/>
            </a:solidFill>
          </p:spPr>
          <p:txBody>
            <a:bodyPr wrap="square" lIns="0" tIns="0" rIns="0" bIns="0" rtlCol="0"/>
            <a:lstStyle/>
            <a:p>
              <a:endParaRPr sz="1400"/>
            </a:p>
          </p:txBody>
        </p:sp>
        <p:pic>
          <p:nvPicPr>
            <p:cNvPr id="44" name="CustomIcon">
              <a:extLst>
                <a:ext uri="{FF2B5EF4-FFF2-40B4-BE49-F238E27FC236}">
                  <a16:creationId xmlns:a16="http://schemas.microsoft.com/office/drawing/2014/main" id="{6DFD3904-95B5-AC30-F5C0-9B8100A13CD4}"/>
                </a:ext>
              </a:extLst>
            </p:cNvPr>
            <p:cNvPicPr>
              <a:picLocks/>
            </p:cNvPicPr>
            <p:nvPr>
              <p:custDataLst>
                <p:tags r:id="rId6"/>
              </p:custDataLst>
            </p:nvPr>
          </p:nvPicPr>
          <p:blipFill>
            <a:blip>
              <a:extLst>
                <a:ext uri="{96DAC541-7B7A-43D3-8B79-37D633B846F1}">
                  <asvg:svgBlip xmlns:asvg="http://schemas.microsoft.com/office/drawing/2016/SVG/main" r:embed="rId10"/>
                </a:ext>
              </a:extLst>
            </a:blip>
            <a:stretch>
              <a:fillRect/>
            </a:stretch>
          </p:blipFill>
          <p:spPr>
            <a:xfrm>
              <a:off x="696592" y="2266096"/>
              <a:ext cx="359416" cy="359417"/>
            </a:xfrm>
            <a:prstGeom prst="rect">
              <a:avLst/>
            </a:prstGeom>
          </p:spPr>
        </p:pic>
      </p:grpSp>
      <p:pic>
        <p:nvPicPr>
          <p:cNvPr id="46" name="CustomIcon">
            <a:extLst>
              <a:ext uri="{FF2B5EF4-FFF2-40B4-BE49-F238E27FC236}">
                <a16:creationId xmlns:a16="http://schemas.microsoft.com/office/drawing/2014/main" id="{45E8696E-078D-A9CA-6A84-6B2FADB8B817}"/>
              </a:ext>
            </a:extLst>
          </p:cNvPr>
          <p:cNvPicPr>
            <a:picLocks/>
          </p:cNvPicPr>
          <p:nvPr>
            <p:custDataLst>
              <p:tags r:id="rId3"/>
            </p:custDataLst>
          </p:nvPr>
        </p:nvPicPr>
        <p:blipFill>
          <a:blip>
            <a:extLst>
              <a:ext uri="{96DAC541-7B7A-43D3-8B79-37D633B846F1}">
                <asvg:svgBlip xmlns:asvg="http://schemas.microsoft.com/office/drawing/2016/SVG/main" r:embed="rId11"/>
              </a:ext>
            </a:extLst>
          </a:blip>
          <a:stretch>
            <a:fillRect/>
          </a:stretch>
        </p:blipFill>
        <p:spPr>
          <a:xfrm>
            <a:off x="696592" y="3573402"/>
            <a:ext cx="359416" cy="359417"/>
          </a:xfrm>
          <a:prstGeom prst="rect">
            <a:avLst/>
          </a:prstGeom>
        </p:spPr>
      </p:pic>
      <p:pic>
        <p:nvPicPr>
          <p:cNvPr id="48" name="CustomIcon">
            <a:extLst>
              <a:ext uri="{FF2B5EF4-FFF2-40B4-BE49-F238E27FC236}">
                <a16:creationId xmlns:a16="http://schemas.microsoft.com/office/drawing/2014/main" id="{ECFF6EBC-8E95-7E9B-88F9-851A47A37D9B}"/>
              </a:ext>
            </a:extLst>
          </p:cNvPr>
          <p:cNvPicPr>
            <a:picLocks/>
          </p:cNvPicPr>
          <p:nvPr>
            <p:custDataLst>
              <p:tags r:id="rId4"/>
            </p:custDataLst>
          </p:nvPr>
        </p:nvPicPr>
        <p:blipFill>
          <a:blip>
            <a:extLst>
              <a:ext uri="{96DAC541-7B7A-43D3-8B79-37D633B846F1}">
                <asvg:svgBlip xmlns:asvg="http://schemas.microsoft.com/office/drawing/2016/SVG/main" r:embed="rId12"/>
              </a:ext>
            </a:extLst>
          </a:blip>
          <a:stretch>
            <a:fillRect/>
          </a:stretch>
        </p:blipFill>
        <p:spPr>
          <a:xfrm>
            <a:off x="696592" y="5126930"/>
            <a:ext cx="359416" cy="359417"/>
          </a:xfrm>
          <a:prstGeom prst="rect">
            <a:avLst/>
          </a:prstGeom>
        </p:spPr>
      </p:pic>
      <p:sp>
        <p:nvSpPr>
          <p:cNvPr id="49" name="Slide Number">
            <a:extLst>
              <a:ext uri="{FF2B5EF4-FFF2-40B4-BE49-F238E27FC236}">
                <a16:creationId xmlns:a16="http://schemas.microsoft.com/office/drawing/2014/main" id="{4DC5F720-F9F0-37B1-F6C7-CE97F280D2F2}"/>
              </a:ext>
            </a:extLst>
          </p:cNvPr>
          <p:cNvSpPr>
            <a:spLocks noChangeArrowheads="1"/>
          </p:cNvSpPr>
          <p:nvPr>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610744" rtl="0" fontAlgn="auto">
                <a:spcBef>
                  <a:spcPts val="0"/>
                </a:spcBef>
                <a:spcAft>
                  <a:spcPts val="0"/>
                </a:spcAft>
                <a:defRPr/>
              </a:pPr>
              <a:t>11</a:t>
            </a:fld>
            <a:endParaRPr lang="en-US" sz="900" b="0">
              <a:solidFill>
                <a:schemeClr val="bg1"/>
              </a:solidFill>
              <a:latin typeface="+mn-lt"/>
              <a:ea typeface="+mn-ea"/>
              <a:cs typeface="Arial" panose="020B0604020202020204" pitchFamily="34" charset="0"/>
            </a:endParaRPr>
          </a:p>
        </p:txBody>
      </p:sp>
      <p:pic>
        <p:nvPicPr>
          <p:cNvPr id="51" name="Picture 5">
            <a:extLst>
              <a:ext uri="{FF2B5EF4-FFF2-40B4-BE49-F238E27FC236}">
                <a16:creationId xmlns:a16="http://schemas.microsoft.com/office/drawing/2014/main" id="{D5D30EF9-5853-57E8-C015-2970721C845A}"/>
              </a:ext>
            </a:extLst>
          </p:cNvPr>
          <p:cNvPicPr>
            <a:picLocks noChangeAspect="1"/>
          </p:cNvPicPr>
          <p:nvPr/>
        </p:nvPicPr>
        <p:blipFill>
          <a:blip r:embed="rId13" cstate="print">
            <a:extLst>
              <a:ext uri="{28A0092B-C50C-407E-A947-70E740481C1C}">
                <a14:useLocalDpi xmlns:a14="http://schemas.microsoft.com/office/drawing/2010/main" val="0"/>
              </a:ext>
            </a:extLst>
          </a:blip>
          <a:srcRect/>
          <a:stretch/>
        </p:blipFill>
        <p:spPr bwMode="ltGray">
          <a:xfrm>
            <a:off x="10936538" y="183978"/>
            <a:ext cx="712156" cy="361189"/>
          </a:xfrm>
          <a:prstGeom prst="rect">
            <a:avLst/>
          </a:prstGeom>
        </p:spPr>
      </p:pic>
      <p:pic>
        <p:nvPicPr>
          <p:cNvPr id="6" name="Picture 5">
            <a:extLst>
              <a:ext uri="{FF2B5EF4-FFF2-40B4-BE49-F238E27FC236}">
                <a16:creationId xmlns:a16="http://schemas.microsoft.com/office/drawing/2014/main" id="{82EF5443-757B-F417-786C-0A68AD94409C}"/>
              </a:ext>
            </a:extLst>
          </p:cNvPr>
          <p:cNvPicPr>
            <a:picLocks noChangeAspect="1"/>
          </p:cNvPicPr>
          <p:nvPr/>
        </p:nvPicPr>
        <p:blipFill>
          <a:blip r:embed="rId14"/>
          <a:stretch>
            <a:fillRect/>
          </a:stretch>
        </p:blipFill>
        <p:spPr>
          <a:xfrm>
            <a:off x="7854043" y="41597"/>
            <a:ext cx="4337957" cy="6514615"/>
          </a:xfrm>
          <a:prstGeom prst="rect">
            <a:avLst/>
          </a:prstGeom>
        </p:spPr>
      </p:pic>
    </p:spTree>
    <p:extLst>
      <p:ext uri="{BB962C8B-B14F-4D97-AF65-F5344CB8AC3E}">
        <p14:creationId xmlns:p14="http://schemas.microsoft.com/office/powerpoint/2010/main" val="38815871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33AA4F-FDFB-4443-123E-068BA1AFE1BD}"/>
            </a:ext>
          </a:extLst>
        </p:cNvPr>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429139EA-2AAD-DD08-4804-FFEA01D5FC65}"/>
              </a:ext>
            </a:extLst>
          </p:cNvPr>
          <p:cNvGraphicFramePr>
            <a:graphicFrameLocks noChangeAspect="1"/>
          </p:cNvGraphicFramePr>
          <p:nvPr>
            <p:custDataLst>
              <p:tags r:id="rId1"/>
            </p:custDataLst>
            <p:extLst>
              <p:ext uri="{D42A27DB-BD31-4B8C-83A1-F6EECF244321}">
                <p14:modId xmlns:p14="http://schemas.microsoft.com/office/powerpoint/2010/main" val="27908875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91" imgH="290" progId="TCLayout.ActiveDocument.1">
                  <p:embed/>
                </p:oleObj>
              </mc:Choice>
              <mc:Fallback>
                <p:oleObj name="think-cell Slide" r:id="rId6" imgW="291" imgH="290" progId="TCLayout.ActiveDocument.1">
                  <p:embed/>
                  <p:pic>
                    <p:nvPicPr>
                      <p:cNvPr id="5" name="Object 6" hidden="1">
                        <a:extLst>
                          <a:ext uri="{FF2B5EF4-FFF2-40B4-BE49-F238E27FC236}">
                            <a16:creationId xmlns:a16="http://schemas.microsoft.com/office/drawing/2014/main" id="{429139EA-2AAD-DD08-4804-FFEA01D5FC6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E0EE011B-B2AE-0C58-7C66-277EDF92C87B}"/>
              </a:ext>
            </a:extLst>
          </p:cNvPr>
          <p:cNvSpPr>
            <a:spLocks noGrp="1"/>
          </p:cNvSpPr>
          <p:nvPr>
            <p:ph type="title"/>
            <p:custDataLst>
              <p:tags r:id="rId2"/>
            </p:custDataLst>
          </p:nvPr>
        </p:nvSpPr>
        <p:spPr>
          <a:xfrm>
            <a:off x="554736" y="172212"/>
            <a:ext cx="10197084" cy="384721"/>
          </a:xfrm>
        </p:spPr>
        <p:txBody>
          <a:bodyPr vert="horz"/>
          <a:lstStyle/>
          <a:p>
            <a:r>
              <a:rPr lang="en-US"/>
              <a:t>Operational models</a:t>
            </a:r>
          </a:p>
        </p:txBody>
      </p:sp>
      <p:sp>
        <p:nvSpPr>
          <p:cNvPr id="15" name="TextBox 14">
            <a:extLst>
              <a:ext uri="{FF2B5EF4-FFF2-40B4-BE49-F238E27FC236}">
                <a16:creationId xmlns:a16="http://schemas.microsoft.com/office/drawing/2014/main" id="{A45DEF90-C8C6-BB0B-BB64-0D9844EA1301}"/>
              </a:ext>
            </a:extLst>
          </p:cNvPr>
          <p:cNvSpPr txBox="1"/>
          <p:nvPr>
            <p:custDataLst>
              <p:tags r:id="rId3"/>
            </p:custDataLst>
          </p:nvPr>
        </p:nvSpPr>
        <p:spPr>
          <a:xfrm>
            <a:off x="554736" y="1914619"/>
            <a:ext cx="4474464" cy="246221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500"/>
              </a:spcBef>
            </a:pPr>
            <a:r>
              <a:rPr lang="en-US" sz="2000"/>
              <a:t>Private operators can sign long-term master concessions to develop, manage, and lease out specialized segments of the parks. You build and operate the common user infrastructure (like specialized cold storage or water processing) and collect steady yield-backed revenues from tenants.</a:t>
            </a:r>
          </a:p>
        </p:txBody>
      </p:sp>
      <p:pic>
        <p:nvPicPr>
          <p:cNvPr id="9" name="Picture 8">
            <a:extLst>
              <a:ext uri="{FF2B5EF4-FFF2-40B4-BE49-F238E27FC236}">
                <a16:creationId xmlns:a16="http://schemas.microsoft.com/office/drawing/2014/main" id="{6421F585-B56C-DC02-4E4F-065F6A8BAA5D}"/>
              </a:ext>
            </a:extLst>
          </p:cNvPr>
          <p:cNvPicPr>
            <a:picLocks noChangeAspect="1"/>
          </p:cNvPicPr>
          <p:nvPr/>
        </p:nvPicPr>
        <p:blipFill>
          <a:blip r:embed="rId8"/>
          <a:srcRect l="13833" r="13833"/>
          <a:stretch/>
        </p:blipFill>
        <p:spPr>
          <a:xfrm>
            <a:off x="5577840" y="0"/>
            <a:ext cx="6614160" cy="6858000"/>
          </a:xfrm>
          <a:prstGeom prst="rect">
            <a:avLst/>
          </a:prstGeom>
        </p:spPr>
      </p:pic>
      <p:sp>
        <p:nvSpPr>
          <p:cNvPr id="12" name="Rectangle: Top Corners Rounded 11">
            <a:extLst>
              <a:ext uri="{FF2B5EF4-FFF2-40B4-BE49-F238E27FC236}">
                <a16:creationId xmlns:a16="http://schemas.microsoft.com/office/drawing/2014/main" id="{220A2F30-8AAF-4DC0-4A0F-45D493CC2C20}"/>
              </a:ext>
            </a:extLst>
          </p:cNvPr>
          <p:cNvSpPr/>
          <p:nvPr/>
        </p:nvSpPr>
        <p:spPr>
          <a:xfrm rot="5400000">
            <a:off x="3093062" y="-1982034"/>
            <a:ext cx="569386" cy="6755510"/>
          </a:xfrm>
          <a:prstGeom prst="round2SameRect">
            <a:avLst>
              <a:gd name="adj1" fmla="val 50000"/>
              <a:gd name="adj2" fmla="val 0"/>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3" name="TextBox 12">
            <a:extLst>
              <a:ext uri="{FF2B5EF4-FFF2-40B4-BE49-F238E27FC236}">
                <a16:creationId xmlns:a16="http://schemas.microsoft.com/office/drawing/2014/main" id="{3B7F9ABE-03CB-6993-D46A-C41259FC75F4}"/>
              </a:ext>
            </a:extLst>
          </p:cNvPr>
          <p:cNvSpPr txBox="1">
            <a:spLocks/>
          </p:cNvSpPr>
          <p:nvPr/>
        </p:nvSpPr>
        <p:spPr>
          <a:xfrm>
            <a:off x="554736" y="1241833"/>
            <a:ext cx="5934456" cy="30777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b="1">
                <a:solidFill>
                  <a:schemeClr val="bg1"/>
                </a:solidFill>
                <a:latin typeface="Arial" panose="020B0604020202020204" pitchFamily="34" charset="0"/>
                <a:sym typeface=""/>
              </a:rPr>
              <a:t>Economic Zones (SEZs) / Park Developers</a:t>
            </a:r>
          </a:p>
        </p:txBody>
      </p:sp>
      <p:sp>
        <p:nvSpPr>
          <p:cNvPr id="14" name="Slide Number">
            <a:extLst>
              <a:ext uri="{FF2B5EF4-FFF2-40B4-BE49-F238E27FC236}">
                <a16:creationId xmlns:a16="http://schemas.microsoft.com/office/drawing/2014/main" id="{D96B953C-F887-F4B9-6CCB-05D386D5833D}"/>
              </a:ext>
            </a:extLst>
          </p:cNvPr>
          <p:cNvSpPr>
            <a:spLocks noChangeArrowheads="1"/>
          </p:cNvSpPr>
          <p:nvPr>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610744" rtl="0" fontAlgn="auto">
                <a:spcBef>
                  <a:spcPts val="0"/>
                </a:spcBef>
                <a:spcAft>
                  <a:spcPts val="0"/>
                </a:spcAft>
                <a:defRPr/>
              </a:pPr>
              <a:t>12</a:t>
            </a:fld>
            <a:endParaRPr lang="en-US" sz="900" b="0">
              <a:solidFill>
                <a:schemeClr val="bg1"/>
              </a:solidFill>
              <a:latin typeface="+mn-lt"/>
              <a:ea typeface="+mn-ea"/>
              <a:cs typeface="Arial" panose="020B0604020202020204" pitchFamily="34" charset="0"/>
            </a:endParaRPr>
          </a:p>
        </p:txBody>
      </p:sp>
      <p:pic>
        <p:nvPicPr>
          <p:cNvPr id="16" name="Picture 5">
            <a:extLst>
              <a:ext uri="{FF2B5EF4-FFF2-40B4-BE49-F238E27FC236}">
                <a16:creationId xmlns:a16="http://schemas.microsoft.com/office/drawing/2014/main" id="{8DCC1E15-2A98-5ED9-1A10-A93B58E55253}"/>
              </a:ext>
            </a:extLst>
          </p:cNvPr>
          <p:cNvPicPr>
            <a:picLocks noChangeAspect="1"/>
          </p:cNvPicPr>
          <p:nvPr/>
        </p:nvPicPr>
        <p:blipFill>
          <a:blip r:embed="rId9" cstate="print">
            <a:extLst>
              <a:ext uri="{28A0092B-C50C-407E-A947-70E740481C1C}">
                <a14:useLocalDpi xmlns:a14="http://schemas.microsoft.com/office/drawing/2010/main" val="0"/>
              </a:ext>
            </a:extLst>
          </a:blip>
          <a:srcRect/>
          <a:stretch/>
        </p:blipFill>
        <p:spPr bwMode="ltGray">
          <a:xfrm>
            <a:off x="10936538" y="183978"/>
            <a:ext cx="712156" cy="361189"/>
          </a:xfrm>
          <a:prstGeom prst="rect">
            <a:avLst/>
          </a:prstGeom>
        </p:spPr>
      </p:pic>
    </p:spTree>
    <p:extLst>
      <p:ext uri="{BB962C8B-B14F-4D97-AF65-F5344CB8AC3E}">
        <p14:creationId xmlns:p14="http://schemas.microsoft.com/office/powerpoint/2010/main" val="182625705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981A27-2969-1E8D-05E9-929C7756F954}"/>
            </a:ext>
          </a:extLst>
        </p:cNvPr>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5A38671D-C991-E36C-97E7-31C2277A32E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91" imgH="290" progId="TCLayout.ActiveDocument.1">
                  <p:embed/>
                </p:oleObj>
              </mc:Choice>
              <mc:Fallback>
                <p:oleObj name="think-cell Slide" r:id="rId3" imgW="291" imgH="290" progId="TCLayout.ActiveDocument.1">
                  <p:embed/>
                  <p:pic>
                    <p:nvPicPr>
                      <p:cNvPr id="5" name="Object 6" hidden="1">
                        <a:extLst>
                          <a:ext uri="{FF2B5EF4-FFF2-40B4-BE49-F238E27FC236}">
                            <a16:creationId xmlns:a16="http://schemas.microsoft.com/office/drawing/2014/main" id="{5A38671D-C991-E36C-97E7-31C2277A32E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731C220A-22B9-8BC9-ECBA-B63D7F6ABCD7}"/>
              </a:ext>
            </a:extLst>
          </p:cNvPr>
          <p:cNvSpPr>
            <a:spLocks noGrp="1"/>
          </p:cNvSpPr>
          <p:nvPr>
            <p:ph type="title"/>
          </p:nvPr>
        </p:nvSpPr>
        <p:spPr/>
        <p:txBody>
          <a:bodyPr/>
          <a:lstStyle/>
          <a:p>
            <a:r>
              <a:rPr lang="en-US" dirty="0"/>
              <a:t>Anchor Manufacturers &amp; Processors</a:t>
            </a:r>
          </a:p>
        </p:txBody>
      </p:sp>
      <p:pic>
        <p:nvPicPr>
          <p:cNvPr id="11" name="Picture 10">
            <a:extLst>
              <a:ext uri="{FF2B5EF4-FFF2-40B4-BE49-F238E27FC236}">
                <a16:creationId xmlns:a16="http://schemas.microsoft.com/office/drawing/2014/main" id="{F25C8CBD-8BE8-EDDC-CA47-41A6661B21F1}"/>
              </a:ext>
            </a:extLst>
          </p:cNvPr>
          <p:cNvPicPr>
            <a:picLocks noChangeAspect="1"/>
          </p:cNvPicPr>
          <p:nvPr/>
        </p:nvPicPr>
        <p:blipFill>
          <a:blip r:embed="rId5"/>
          <a:stretch>
            <a:fillRect/>
          </a:stretch>
        </p:blipFill>
        <p:spPr>
          <a:xfrm>
            <a:off x="0" y="556932"/>
            <a:ext cx="12192000" cy="5643571"/>
          </a:xfrm>
          <a:prstGeom prst="rect">
            <a:avLst/>
          </a:prstGeom>
        </p:spPr>
      </p:pic>
    </p:spTree>
    <p:extLst>
      <p:ext uri="{BB962C8B-B14F-4D97-AF65-F5344CB8AC3E}">
        <p14:creationId xmlns:p14="http://schemas.microsoft.com/office/powerpoint/2010/main" val="43384490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24EB11-1DAD-F24D-52BB-5CBD4A5715C5}"/>
            </a:ext>
          </a:extLst>
        </p:cNvPr>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E6EDD362-3F90-FA15-4D07-47504EAE37B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91" imgH="290" progId="TCLayout.ActiveDocument.1">
                  <p:embed/>
                </p:oleObj>
              </mc:Choice>
              <mc:Fallback>
                <p:oleObj name="think-cell Slide" r:id="rId4" imgW="291" imgH="290" progId="TCLayout.ActiveDocument.1">
                  <p:embed/>
                  <p:pic>
                    <p:nvPicPr>
                      <p:cNvPr id="5" name="Object 6" hidden="1">
                        <a:extLst>
                          <a:ext uri="{FF2B5EF4-FFF2-40B4-BE49-F238E27FC236}">
                            <a16:creationId xmlns:a16="http://schemas.microsoft.com/office/drawing/2014/main" id="{E6EDD362-3F90-FA15-4D07-47504EAE37B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B4EDD8EF-C437-10AD-496C-DD82B5D351D7}"/>
              </a:ext>
            </a:extLst>
          </p:cNvPr>
          <p:cNvSpPr>
            <a:spLocks noGrp="1"/>
          </p:cNvSpPr>
          <p:nvPr>
            <p:ph type="title"/>
            <p:custDataLst>
              <p:tags r:id="rId2"/>
            </p:custDataLst>
          </p:nvPr>
        </p:nvSpPr>
        <p:spPr/>
        <p:txBody>
          <a:bodyPr vert="horz">
            <a:spAutoFit/>
          </a:bodyPr>
          <a:lstStyle/>
          <a:p>
            <a:r>
              <a:rPr lang="en-US"/>
              <a:t>County Government Operated Model </a:t>
            </a:r>
          </a:p>
        </p:txBody>
      </p:sp>
      <p:sp>
        <p:nvSpPr>
          <p:cNvPr id="6" name="TextBox 5">
            <a:extLst>
              <a:ext uri="{FF2B5EF4-FFF2-40B4-BE49-F238E27FC236}">
                <a16:creationId xmlns:a16="http://schemas.microsoft.com/office/drawing/2014/main" id="{B488280B-5E86-A5CD-951E-2BEF98441F54}"/>
              </a:ext>
            </a:extLst>
          </p:cNvPr>
          <p:cNvSpPr txBox="1">
            <a:spLocks/>
          </p:cNvSpPr>
          <p:nvPr/>
        </p:nvSpPr>
        <p:spPr>
          <a:xfrm>
            <a:off x="456208" y="2802863"/>
            <a:ext cx="3269973" cy="30777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b="1">
                <a:solidFill>
                  <a:schemeClr val="bg1"/>
                </a:solidFill>
                <a:sym typeface=""/>
              </a:rPr>
              <a:t>Responsibilities</a:t>
            </a:r>
            <a:endParaRPr lang="en-US" sz="2000">
              <a:solidFill>
                <a:schemeClr val="bg1"/>
              </a:solidFill>
              <a:sym typeface=""/>
            </a:endParaRPr>
          </a:p>
        </p:txBody>
      </p:sp>
      <p:sp>
        <p:nvSpPr>
          <p:cNvPr id="13" name="TextBox 12">
            <a:extLst>
              <a:ext uri="{FF2B5EF4-FFF2-40B4-BE49-F238E27FC236}">
                <a16:creationId xmlns:a16="http://schemas.microsoft.com/office/drawing/2014/main" id="{82F09671-ED46-EDB7-BF42-574CF58A07F4}"/>
              </a:ext>
            </a:extLst>
          </p:cNvPr>
          <p:cNvSpPr txBox="1">
            <a:spLocks/>
          </p:cNvSpPr>
          <p:nvPr/>
        </p:nvSpPr>
        <p:spPr>
          <a:xfrm>
            <a:off x="6168439" y="2895941"/>
            <a:ext cx="3269973" cy="30777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b="1">
                <a:solidFill>
                  <a:schemeClr val="bg1"/>
                </a:solidFill>
                <a:sym typeface=""/>
              </a:rPr>
              <a:t>Advantages</a:t>
            </a:r>
            <a:endParaRPr lang="en-US" sz="2000">
              <a:solidFill>
                <a:schemeClr val="bg1"/>
              </a:solidFill>
              <a:sym typeface=""/>
            </a:endParaRPr>
          </a:p>
        </p:txBody>
      </p:sp>
      <p:pic>
        <p:nvPicPr>
          <p:cNvPr id="3" name="Picture 2">
            <a:extLst>
              <a:ext uri="{FF2B5EF4-FFF2-40B4-BE49-F238E27FC236}">
                <a16:creationId xmlns:a16="http://schemas.microsoft.com/office/drawing/2014/main" id="{B4507D6C-C43E-936E-1301-AF945625B5BE}"/>
              </a:ext>
            </a:extLst>
          </p:cNvPr>
          <p:cNvPicPr>
            <a:picLocks noChangeAspect="1"/>
          </p:cNvPicPr>
          <p:nvPr/>
        </p:nvPicPr>
        <p:blipFill>
          <a:blip r:embed="rId6"/>
          <a:stretch>
            <a:fillRect/>
          </a:stretch>
        </p:blipFill>
        <p:spPr>
          <a:xfrm>
            <a:off x="0" y="556932"/>
            <a:ext cx="12192000" cy="5643571"/>
          </a:xfrm>
          <a:prstGeom prst="rect">
            <a:avLst/>
          </a:prstGeom>
        </p:spPr>
      </p:pic>
    </p:spTree>
    <p:extLst>
      <p:ext uri="{BB962C8B-B14F-4D97-AF65-F5344CB8AC3E}">
        <p14:creationId xmlns:p14="http://schemas.microsoft.com/office/powerpoint/2010/main" val="62744044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349EF1-3A2A-0CD9-ACEC-7C5F133A6D9F}"/>
            </a:ext>
          </a:extLst>
        </p:cNvPr>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7AA9D0AB-E89C-3E55-9E16-63F5D698278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291" imgH="290" progId="TCLayout.ActiveDocument.1">
                  <p:embed/>
                </p:oleObj>
              </mc:Choice>
              <mc:Fallback>
                <p:oleObj name="think-cell Slide" r:id="rId7" imgW="291" imgH="290" progId="TCLayout.ActiveDocument.1">
                  <p:embed/>
                  <p:pic>
                    <p:nvPicPr>
                      <p:cNvPr id="5" name="Object 6" hidden="1">
                        <a:extLst>
                          <a:ext uri="{FF2B5EF4-FFF2-40B4-BE49-F238E27FC236}">
                            <a16:creationId xmlns:a16="http://schemas.microsoft.com/office/drawing/2014/main" id="{7AA9D0AB-E89C-3E55-9E16-63F5D6982789}"/>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AEBAB9F8-DEEC-2E43-5571-A8E25E2F864A}"/>
              </a:ext>
            </a:extLst>
          </p:cNvPr>
          <p:cNvPicPr>
            <a:picLocks/>
          </p:cNvPicPr>
          <p:nvPr/>
        </p:nvPicPr>
        <p:blipFill rotWithShape="1">
          <a:blip r:embed="rId9"/>
          <a:srcRect r="64286"/>
          <a:stretch>
            <a:fillRect/>
          </a:stretch>
        </p:blipFill>
        <p:spPr>
          <a:xfrm>
            <a:off x="7839074" y="0"/>
            <a:ext cx="4352925" cy="6858000"/>
          </a:xfrm>
          <a:prstGeom prst="rect">
            <a:avLst/>
          </a:prstGeom>
        </p:spPr>
      </p:pic>
      <p:sp>
        <p:nvSpPr>
          <p:cNvPr id="21" name="object 4">
            <a:extLst>
              <a:ext uri="{FF2B5EF4-FFF2-40B4-BE49-F238E27FC236}">
                <a16:creationId xmlns:a16="http://schemas.microsoft.com/office/drawing/2014/main" id="{312E0342-517B-6FE0-8008-1E9BEFDCA2C5}"/>
              </a:ext>
            </a:extLst>
          </p:cNvPr>
          <p:cNvSpPr>
            <a:spLocks/>
          </p:cNvSpPr>
          <p:nvPr/>
        </p:nvSpPr>
        <p:spPr>
          <a:xfrm>
            <a:off x="0" y="916929"/>
            <a:ext cx="7839075" cy="1609744"/>
          </a:xfrm>
          <a:prstGeom prst="rect">
            <a:avLst/>
          </a:prstGeom>
          <a:solidFill>
            <a:schemeClr val="bg1">
              <a:lumMod val="95000"/>
            </a:schemeClr>
          </a:solidFill>
          <a:effectLst/>
        </p:spPr>
        <p:txBody>
          <a:bodyPr wrap="square" lIns="0" tIns="0" rIns="0" bIns="0" rtlCol="0">
            <a:noAutofit/>
          </a:bodyPr>
          <a:lstStyle/>
          <a:p>
            <a:endParaRPr/>
          </a:p>
        </p:txBody>
      </p:sp>
      <p:sp>
        <p:nvSpPr>
          <p:cNvPr id="4" name="2. Slide Title">
            <a:extLst>
              <a:ext uri="{FF2B5EF4-FFF2-40B4-BE49-F238E27FC236}">
                <a16:creationId xmlns:a16="http://schemas.microsoft.com/office/drawing/2014/main" id="{EE62B61F-9A89-9609-1084-318931038540}"/>
              </a:ext>
            </a:extLst>
          </p:cNvPr>
          <p:cNvSpPr>
            <a:spLocks noGrp="1"/>
          </p:cNvSpPr>
          <p:nvPr>
            <p:ph type="title"/>
            <p:custDataLst>
              <p:tags r:id="rId2"/>
            </p:custDataLst>
          </p:nvPr>
        </p:nvSpPr>
        <p:spPr>
          <a:xfrm>
            <a:off x="554736" y="172212"/>
            <a:ext cx="6967728" cy="384721"/>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a:t>Special Purpose Vehicle (SPV) Model </a:t>
            </a:r>
          </a:p>
        </p:txBody>
      </p:sp>
      <p:sp>
        <p:nvSpPr>
          <p:cNvPr id="30" name="TextBox 29">
            <a:extLst>
              <a:ext uri="{FF2B5EF4-FFF2-40B4-BE49-F238E27FC236}">
                <a16:creationId xmlns:a16="http://schemas.microsoft.com/office/drawing/2014/main" id="{D8FC1717-C85C-35E4-1337-579FC82CC149}"/>
              </a:ext>
            </a:extLst>
          </p:cNvPr>
          <p:cNvSpPr txBox="1">
            <a:spLocks/>
          </p:cNvSpPr>
          <p:nvPr/>
        </p:nvSpPr>
        <p:spPr>
          <a:xfrm>
            <a:off x="554736" y="1106248"/>
            <a:ext cx="6967728" cy="123110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a:t>Counties establish a dedicated corporate entity – wholly or majority-owned by the county government – to manage all aspects of the CAIP. This approach professionalizes management while maintaining public accountability.</a:t>
            </a:r>
          </a:p>
        </p:txBody>
      </p:sp>
      <p:sp>
        <p:nvSpPr>
          <p:cNvPr id="34" name="TextBox 33">
            <a:extLst>
              <a:ext uri="{FF2B5EF4-FFF2-40B4-BE49-F238E27FC236}">
                <a16:creationId xmlns:a16="http://schemas.microsoft.com/office/drawing/2014/main" id="{B1B65F56-15A6-55F0-C669-C7B29FD88E98}"/>
              </a:ext>
            </a:extLst>
          </p:cNvPr>
          <p:cNvSpPr txBox="1">
            <a:spLocks/>
          </p:cNvSpPr>
          <p:nvPr/>
        </p:nvSpPr>
        <p:spPr>
          <a:xfrm>
            <a:off x="554735" y="3902240"/>
            <a:ext cx="3188400" cy="215443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a:t>The SPV operates with legal autonomy and authority, enabling more autonomous, business-oriented decision-making while retaining public oversight.</a:t>
            </a:r>
          </a:p>
        </p:txBody>
      </p:sp>
      <p:sp>
        <p:nvSpPr>
          <p:cNvPr id="32" name="TextBox 31">
            <a:extLst>
              <a:ext uri="{FF2B5EF4-FFF2-40B4-BE49-F238E27FC236}">
                <a16:creationId xmlns:a16="http://schemas.microsoft.com/office/drawing/2014/main" id="{8B6EB393-1D3E-750C-C72C-2A2EA40E729B}"/>
              </a:ext>
            </a:extLst>
          </p:cNvPr>
          <p:cNvSpPr txBox="1">
            <a:spLocks/>
          </p:cNvSpPr>
          <p:nvPr/>
        </p:nvSpPr>
        <p:spPr>
          <a:xfrm>
            <a:off x="554735" y="3407212"/>
            <a:ext cx="3188400" cy="33855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200" b="1">
                <a:solidFill>
                  <a:schemeClr val="accent1"/>
                </a:solidFill>
              </a:rPr>
              <a:t>Characteristics</a:t>
            </a:r>
          </a:p>
        </p:txBody>
      </p:sp>
      <p:sp>
        <p:nvSpPr>
          <p:cNvPr id="36" name="TextBox 35">
            <a:extLst>
              <a:ext uri="{FF2B5EF4-FFF2-40B4-BE49-F238E27FC236}">
                <a16:creationId xmlns:a16="http://schemas.microsoft.com/office/drawing/2014/main" id="{101E8AB0-4DB9-5205-7BD7-BA5BCBA8D83F}"/>
              </a:ext>
            </a:extLst>
          </p:cNvPr>
          <p:cNvSpPr txBox="1">
            <a:spLocks/>
          </p:cNvSpPr>
          <p:nvPr/>
        </p:nvSpPr>
        <p:spPr>
          <a:xfrm>
            <a:off x="4334064" y="3407212"/>
            <a:ext cx="3188400" cy="33855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200" b="1">
                <a:solidFill>
                  <a:schemeClr val="accent1"/>
                </a:solidFill>
              </a:rPr>
              <a:t>Examples</a:t>
            </a:r>
          </a:p>
        </p:txBody>
      </p:sp>
      <p:sp>
        <p:nvSpPr>
          <p:cNvPr id="38" name="TextBox 37">
            <a:extLst>
              <a:ext uri="{FF2B5EF4-FFF2-40B4-BE49-F238E27FC236}">
                <a16:creationId xmlns:a16="http://schemas.microsoft.com/office/drawing/2014/main" id="{19D387F9-2677-2CDA-221F-0D571246A8BB}"/>
              </a:ext>
            </a:extLst>
          </p:cNvPr>
          <p:cNvSpPr txBox="1">
            <a:spLocks/>
          </p:cNvSpPr>
          <p:nvPr/>
        </p:nvSpPr>
        <p:spPr>
          <a:xfrm>
            <a:off x="4334064" y="3902240"/>
            <a:ext cx="3188400" cy="184665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a:t>Existing county investment authorities, such as those established function as SPVs and can be effectively utilized to run CAIPs.</a:t>
            </a:r>
          </a:p>
        </p:txBody>
      </p:sp>
      <p:sp>
        <p:nvSpPr>
          <p:cNvPr id="16" name="object 6">
            <a:extLst>
              <a:ext uri="{FF2B5EF4-FFF2-40B4-BE49-F238E27FC236}">
                <a16:creationId xmlns:a16="http://schemas.microsoft.com/office/drawing/2014/main" id="{98A34DC7-9588-6518-D8B1-8DD698D69BAB}"/>
              </a:ext>
            </a:extLst>
          </p:cNvPr>
          <p:cNvSpPr/>
          <p:nvPr/>
        </p:nvSpPr>
        <p:spPr>
          <a:xfrm>
            <a:off x="554736" y="2712036"/>
            <a:ext cx="571246" cy="538701"/>
          </a:xfrm>
          <a:custGeom>
            <a:avLst/>
            <a:gdLst/>
            <a:ahLst/>
            <a:cxnLst/>
            <a:rect l="l" t="t" r="r" b="b"/>
            <a:pathLst>
              <a:path w="969644" h="914400">
                <a:moveTo>
                  <a:pt x="880237" y="0"/>
                </a:moveTo>
                <a:lnTo>
                  <a:pt x="218363" y="0"/>
                </a:lnTo>
                <a:lnTo>
                  <a:pt x="168294" y="5768"/>
                </a:lnTo>
                <a:lnTo>
                  <a:pt x="122332" y="22200"/>
                </a:lnTo>
                <a:lnTo>
                  <a:pt x="81788" y="47986"/>
                </a:lnTo>
                <a:lnTo>
                  <a:pt x="47972" y="81813"/>
                </a:lnTo>
                <a:lnTo>
                  <a:pt x="22194" y="122371"/>
                </a:lnTo>
                <a:lnTo>
                  <a:pt x="5767" y="168350"/>
                </a:lnTo>
                <a:lnTo>
                  <a:pt x="0" y="218440"/>
                </a:lnTo>
                <a:lnTo>
                  <a:pt x="0" y="825373"/>
                </a:lnTo>
                <a:lnTo>
                  <a:pt x="6997" y="860018"/>
                </a:lnTo>
                <a:lnTo>
                  <a:pt x="26081" y="888317"/>
                </a:lnTo>
                <a:lnTo>
                  <a:pt x="54387" y="907401"/>
                </a:lnTo>
                <a:lnTo>
                  <a:pt x="89052" y="914400"/>
                </a:lnTo>
                <a:lnTo>
                  <a:pt x="750900" y="914400"/>
                </a:lnTo>
                <a:lnTo>
                  <a:pt x="800961" y="908631"/>
                </a:lnTo>
                <a:lnTo>
                  <a:pt x="846920" y="892199"/>
                </a:lnTo>
                <a:lnTo>
                  <a:pt x="887465" y="866413"/>
                </a:lnTo>
                <a:lnTo>
                  <a:pt x="921283" y="832586"/>
                </a:lnTo>
                <a:lnTo>
                  <a:pt x="947064" y="792028"/>
                </a:lnTo>
                <a:lnTo>
                  <a:pt x="963495" y="746049"/>
                </a:lnTo>
                <a:lnTo>
                  <a:pt x="969263" y="695959"/>
                </a:lnTo>
                <a:lnTo>
                  <a:pt x="969263" y="89153"/>
                </a:lnTo>
                <a:lnTo>
                  <a:pt x="962265" y="54435"/>
                </a:lnTo>
                <a:lnTo>
                  <a:pt x="943181" y="26098"/>
                </a:lnTo>
                <a:lnTo>
                  <a:pt x="914882" y="7000"/>
                </a:lnTo>
                <a:lnTo>
                  <a:pt x="880237" y="0"/>
                </a:lnTo>
                <a:close/>
              </a:path>
            </a:pathLst>
          </a:custGeom>
          <a:solidFill>
            <a:srgbClr val="D41117"/>
          </a:solidFill>
        </p:spPr>
        <p:txBody>
          <a:bodyPr wrap="square" lIns="0" tIns="0" rIns="0" bIns="0" rtlCol="0"/>
          <a:lstStyle/>
          <a:p>
            <a:endParaRPr sz="1400"/>
          </a:p>
        </p:txBody>
      </p:sp>
      <p:sp>
        <p:nvSpPr>
          <p:cNvPr id="17" name="object 6">
            <a:extLst>
              <a:ext uri="{FF2B5EF4-FFF2-40B4-BE49-F238E27FC236}">
                <a16:creationId xmlns:a16="http://schemas.microsoft.com/office/drawing/2014/main" id="{267AAF0A-3BD3-1CE9-1B4B-27F500F054D8}"/>
              </a:ext>
            </a:extLst>
          </p:cNvPr>
          <p:cNvSpPr/>
          <p:nvPr/>
        </p:nvSpPr>
        <p:spPr>
          <a:xfrm>
            <a:off x="4334064" y="2712036"/>
            <a:ext cx="571246" cy="538701"/>
          </a:xfrm>
          <a:custGeom>
            <a:avLst/>
            <a:gdLst/>
            <a:ahLst/>
            <a:cxnLst/>
            <a:rect l="l" t="t" r="r" b="b"/>
            <a:pathLst>
              <a:path w="969644" h="914400">
                <a:moveTo>
                  <a:pt x="880237" y="0"/>
                </a:moveTo>
                <a:lnTo>
                  <a:pt x="218363" y="0"/>
                </a:lnTo>
                <a:lnTo>
                  <a:pt x="168294" y="5768"/>
                </a:lnTo>
                <a:lnTo>
                  <a:pt x="122332" y="22200"/>
                </a:lnTo>
                <a:lnTo>
                  <a:pt x="81788" y="47986"/>
                </a:lnTo>
                <a:lnTo>
                  <a:pt x="47972" y="81813"/>
                </a:lnTo>
                <a:lnTo>
                  <a:pt x="22194" y="122371"/>
                </a:lnTo>
                <a:lnTo>
                  <a:pt x="5767" y="168350"/>
                </a:lnTo>
                <a:lnTo>
                  <a:pt x="0" y="218440"/>
                </a:lnTo>
                <a:lnTo>
                  <a:pt x="0" y="825373"/>
                </a:lnTo>
                <a:lnTo>
                  <a:pt x="6997" y="860018"/>
                </a:lnTo>
                <a:lnTo>
                  <a:pt x="26081" y="888317"/>
                </a:lnTo>
                <a:lnTo>
                  <a:pt x="54387" y="907401"/>
                </a:lnTo>
                <a:lnTo>
                  <a:pt x="89052" y="914400"/>
                </a:lnTo>
                <a:lnTo>
                  <a:pt x="750900" y="914400"/>
                </a:lnTo>
                <a:lnTo>
                  <a:pt x="800961" y="908631"/>
                </a:lnTo>
                <a:lnTo>
                  <a:pt x="846920" y="892199"/>
                </a:lnTo>
                <a:lnTo>
                  <a:pt x="887465" y="866413"/>
                </a:lnTo>
                <a:lnTo>
                  <a:pt x="921283" y="832586"/>
                </a:lnTo>
                <a:lnTo>
                  <a:pt x="947064" y="792028"/>
                </a:lnTo>
                <a:lnTo>
                  <a:pt x="963495" y="746049"/>
                </a:lnTo>
                <a:lnTo>
                  <a:pt x="969263" y="695959"/>
                </a:lnTo>
                <a:lnTo>
                  <a:pt x="969263" y="89153"/>
                </a:lnTo>
                <a:lnTo>
                  <a:pt x="962265" y="54435"/>
                </a:lnTo>
                <a:lnTo>
                  <a:pt x="943181" y="26098"/>
                </a:lnTo>
                <a:lnTo>
                  <a:pt x="914882" y="7000"/>
                </a:lnTo>
                <a:lnTo>
                  <a:pt x="880237" y="0"/>
                </a:lnTo>
                <a:close/>
              </a:path>
            </a:pathLst>
          </a:custGeom>
          <a:solidFill>
            <a:srgbClr val="D41117"/>
          </a:solidFill>
        </p:spPr>
        <p:txBody>
          <a:bodyPr wrap="square" lIns="0" tIns="0" rIns="0" bIns="0" rtlCol="0"/>
          <a:lstStyle/>
          <a:p>
            <a:endParaRPr sz="1400"/>
          </a:p>
        </p:txBody>
      </p:sp>
      <p:pic>
        <p:nvPicPr>
          <p:cNvPr id="15" name="CustomIcon">
            <a:extLst>
              <a:ext uri="{FF2B5EF4-FFF2-40B4-BE49-F238E27FC236}">
                <a16:creationId xmlns:a16="http://schemas.microsoft.com/office/drawing/2014/main" id="{9831C79B-E77C-1318-83D8-D4DC44DA1DC8}"/>
              </a:ext>
            </a:extLst>
          </p:cNvPr>
          <p:cNvPicPr>
            <a:picLocks/>
          </p:cNvPicPr>
          <p:nvPr>
            <p:custDataLst>
              <p:tags r:id="rId3"/>
            </p:custDataLst>
          </p:nvPr>
        </p:nvPicPr>
        <p:blipFill>
          <a:blip>
            <a:extLst>
              <a:ext uri="{96DAC541-7B7A-43D3-8B79-37D633B846F1}">
                <asvg:svgBlip xmlns:asvg="http://schemas.microsoft.com/office/drawing/2016/SVG/main" r:embed="rId10"/>
              </a:ext>
            </a:extLst>
          </a:blip>
          <a:stretch>
            <a:fillRect/>
          </a:stretch>
        </p:blipFill>
        <p:spPr>
          <a:xfrm>
            <a:off x="4460065" y="2821764"/>
            <a:ext cx="319245" cy="319245"/>
          </a:xfrm>
          <a:prstGeom prst="rect">
            <a:avLst/>
          </a:prstGeom>
        </p:spPr>
      </p:pic>
      <p:pic>
        <p:nvPicPr>
          <p:cNvPr id="12" name="CustomIcon">
            <a:extLst>
              <a:ext uri="{FF2B5EF4-FFF2-40B4-BE49-F238E27FC236}">
                <a16:creationId xmlns:a16="http://schemas.microsoft.com/office/drawing/2014/main" id="{33D1949D-E2C3-8F18-89D7-65CF3F189A42}"/>
              </a:ext>
            </a:extLst>
          </p:cNvPr>
          <p:cNvPicPr>
            <a:picLocks/>
          </p:cNvPicPr>
          <p:nvPr>
            <p:custDataLst>
              <p:tags r:id="rId4"/>
            </p:custDataLst>
          </p:nvPr>
        </p:nvPicPr>
        <p:blipFill>
          <a:blip>
            <a:extLst>
              <a:ext uri="{96DAC541-7B7A-43D3-8B79-37D633B846F1}">
                <asvg:svgBlip xmlns:asvg="http://schemas.microsoft.com/office/drawing/2016/SVG/main" r:embed="rId11"/>
              </a:ext>
            </a:extLst>
          </a:blip>
          <a:stretch>
            <a:fillRect/>
          </a:stretch>
        </p:blipFill>
        <p:spPr>
          <a:xfrm>
            <a:off x="680737" y="2821764"/>
            <a:ext cx="319245" cy="319245"/>
          </a:xfrm>
          <a:prstGeom prst="rect">
            <a:avLst/>
          </a:prstGeom>
        </p:spPr>
      </p:pic>
      <p:sp>
        <p:nvSpPr>
          <p:cNvPr id="28" name="Slide Number">
            <a:extLst>
              <a:ext uri="{FF2B5EF4-FFF2-40B4-BE49-F238E27FC236}">
                <a16:creationId xmlns:a16="http://schemas.microsoft.com/office/drawing/2014/main" id="{4DD64D83-1D92-D76A-29BA-5803F91E2386}"/>
              </a:ext>
            </a:extLst>
          </p:cNvPr>
          <p:cNvSpPr>
            <a:spLocks noChangeArrowheads="1"/>
          </p:cNvSpPr>
          <p:nvPr>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610744" rtl="0" fontAlgn="auto">
                <a:spcBef>
                  <a:spcPts val="0"/>
                </a:spcBef>
                <a:spcAft>
                  <a:spcPts val="0"/>
                </a:spcAft>
                <a:defRPr/>
              </a:pPr>
              <a:t>15</a:t>
            </a:fld>
            <a:endParaRPr lang="en-US" sz="900" b="0">
              <a:solidFill>
                <a:schemeClr val="bg1"/>
              </a:solidFill>
              <a:latin typeface="+mn-lt"/>
              <a:ea typeface="+mn-ea"/>
              <a:cs typeface="Arial" panose="020B0604020202020204" pitchFamily="34" charset="0"/>
            </a:endParaRPr>
          </a:p>
        </p:txBody>
      </p:sp>
      <p:pic>
        <p:nvPicPr>
          <p:cNvPr id="29" name="Picture 5">
            <a:extLst>
              <a:ext uri="{FF2B5EF4-FFF2-40B4-BE49-F238E27FC236}">
                <a16:creationId xmlns:a16="http://schemas.microsoft.com/office/drawing/2014/main" id="{38B2AF5C-6BA3-EBA0-06A4-F2BF88ABA7F0}"/>
              </a:ext>
            </a:extLst>
          </p:cNvPr>
          <p:cNvPicPr>
            <a:picLocks noChangeAspect="1"/>
          </p:cNvPicPr>
          <p:nvPr/>
        </p:nvPicPr>
        <p:blipFill>
          <a:blip r:embed="rId12" cstate="print">
            <a:extLst>
              <a:ext uri="{28A0092B-C50C-407E-A947-70E740481C1C}">
                <a14:useLocalDpi xmlns:a14="http://schemas.microsoft.com/office/drawing/2010/main" val="0"/>
              </a:ext>
            </a:extLst>
          </a:blip>
          <a:srcRect/>
          <a:stretch/>
        </p:blipFill>
        <p:spPr bwMode="ltGray">
          <a:xfrm>
            <a:off x="10936538" y="183978"/>
            <a:ext cx="712156" cy="361189"/>
          </a:xfrm>
          <a:prstGeom prst="rect">
            <a:avLst/>
          </a:prstGeom>
        </p:spPr>
      </p:pic>
      <p:pic>
        <p:nvPicPr>
          <p:cNvPr id="6" name="Picture 5">
            <a:extLst>
              <a:ext uri="{FF2B5EF4-FFF2-40B4-BE49-F238E27FC236}">
                <a16:creationId xmlns:a16="http://schemas.microsoft.com/office/drawing/2014/main" id="{7D6DD98C-3CE1-F8ED-562C-183D5F6B5D1B}"/>
              </a:ext>
            </a:extLst>
          </p:cNvPr>
          <p:cNvPicPr>
            <a:picLocks noChangeAspect="1"/>
          </p:cNvPicPr>
          <p:nvPr/>
        </p:nvPicPr>
        <p:blipFill>
          <a:blip r:embed="rId13"/>
          <a:stretch>
            <a:fillRect/>
          </a:stretch>
        </p:blipFill>
        <p:spPr>
          <a:xfrm>
            <a:off x="0" y="0"/>
            <a:ext cx="12191999" cy="6858000"/>
          </a:xfrm>
          <a:prstGeom prst="rect">
            <a:avLst/>
          </a:prstGeom>
        </p:spPr>
      </p:pic>
    </p:spTree>
    <p:extLst>
      <p:ext uri="{BB962C8B-B14F-4D97-AF65-F5344CB8AC3E}">
        <p14:creationId xmlns:p14="http://schemas.microsoft.com/office/powerpoint/2010/main" val="247301259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AECC19-B9F0-AEF0-9E87-B00E360F6EBC}"/>
            </a:ext>
          </a:extLst>
        </p:cNvPr>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039F6DFA-48B3-00D8-0C5C-0B9A48B8850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291" imgH="290" progId="TCLayout.ActiveDocument.1">
                  <p:embed/>
                </p:oleObj>
              </mc:Choice>
              <mc:Fallback>
                <p:oleObj name="think-cell Slide" r:id="rId7" imgW="291" imgH="290" progId="TCLayout.ActiveDocument.1">
                  <p:embed/>
                  <p:pic>
                    <p:nvPicPr>
                      <p:cNvPr id="5" name="Object 6" hidden="1">
                        <a:extLst>
                          <a:ext uri="{FF2B5EF4-FFF2-40B4-BE49-F238E27FC236}">
                            <a16:creationId xmlns:a16="http://schemas.microsoft.com/office/drawing/2014/main" id="{039F6DFA-48B3-00D8-0C5C-0B9A48B88502}"/>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63037E88-A408-C7D5-43AD-1A40469BF321}"/>
              </a:ext>
            </a:extLst>
          </p:cNvPr>
          <p:cNvPicPr>
            <a:picLocks/>
          </p:cNvPicPr>
          <p:nvPr/>
        </p:nvPicPr>
        <p:blipFill rotWithShape="1">
          <a:blip r:embed="rId9"/>
          <a:srcRect l="44269" t="5990" r="13827" b="5990"/>
          <a:stretch>
            <a:fillRect/>
          </a:stretch>
        </p:blipFill>
        <p:spPr>
          <a:xfrm>
            <a:off x="7839075" y="0"/>
            <a:ext cx="4352925" cy="6858000"/>
          </a:xfrm>
          <a:prstGeom prst="rect">
            <a:avLst/>
          </a:prstGeom>
        </p:spPr>
      </p:pic>
      <p:sp>
        <p:nvSpPr>
          <p:cNvPr id="8" name="object 4">
            <a:extLst>
              <a:ext uri="{FF2B5EF4-FFF2-40B4-BE49-F238E27FC236}">
                <a16:creationId xmlns:a16="http://schemas.microsoft.com/office/drawing/2014/main" id="{C0BA3900-4863-A65E-9EA1-10F4F7221B78}"/>
              </a:ext>
            </a:extLst>
          </p:cNvPr>
          <p:cNvSpPr>
            <a:spLocks/>
          </p:cNvSpPr>
          <p:nvPr/>
        </p:nvSpPr>
        <p:spPr>
          <a:xfrm>
            <a:off x="0" y="916929"/>
            <a:ext cx="7839075" cy="1609744"/>
          </a:xfrm>
          <a:prstGeom prst="rect">
            <a:avLst/>
          </a:prstGeom>
          <a:solidFill>
            <a:schemeClr val="bg1">
              <a:lumMod val="95000"/>
            </a:schemeClr>
          </a:solidFill>
          <a:effectLst/>
        </p:spPr>
        <p:txBody>
          <a:bodyPr wrap="square" lIns="0" tIns="0" rIns="0" bIns="0" rtlCol="0">
            <a:noAutofit/>
          </a:bodyPr>
          <a:lstStyle/>
          <a:p>
            <a:endParaRPr/>
          </a:p>
        </p:txBody>
      </p:sp>
      <p:sp>
        <p:nvSpPr>
          <p:cNvPr id="4" name="2. Slide Title">
            <a:extLst>
              <a:ext uri="{FF2B5EF4-FFF2-40B4-BE49-F238E27FC236}">
                <a16:creationId xmlns:a16="http://schemas.microsoft.com/office/drawing/2014/main" id="{698F0894-7405-867B-13D9-0005D5658064}"/>
              </a:ext>
            </a:extLst>
          </p:cNvPr>
          <p:cNvSpPr>
            <a:spLocks noGrp="1"/>
          </p:cNvSpPr>
          <p:nvPr>
            <p:ph type="title"/>
            <p:custDataLst>
              <p:tags r:id="rId2"/>
            </p:custDataLst>
          </p:nvPr>
        </p:nvSpPr>
        <p:spPr>
          <a:xfrm>
            <a:off x="554736" y="172212"/>
            <a:ext cx="6967728" cy="384721"/>
          </a:xfrm>
          <a:noFill/>
          <a:ln/>
          <a:extLst>
            <a:ext uri="{909E8E84-426E-40DD-AFC4-6F175D3DCCD1}">
              <a14:hiddenFill xmlns:a14="http://schemas.microsoft.com/office/drawing/2010/main">
                <a:solidFill>
                  <a:srgbClr val="FFFFFF"/>
                </a:solidFill>
              </a14:hiddenFill>
            </a:ext>
          </a:extLst>
        </p:spPr>
        <p:txBody>
          <a:bodyPr vert="horz">
            <a:noAutofit/>
          </a:bodyPr>
          <a:lstStyle/>
          <a:p>
            <a:r>
              <a:rPr lang="en-US"/>
              <a:t>Special Purpose Vehicle (SPV) Model </a:t>
            </a:r>
          </a:p>
        </p:txBody>
      </p:sp>
      <p:sp>
        <p:nvSpPr>
          <p:cNvPr id="23" name="TextBox 22">
            <a:extLst>
              <a:ext uri="{FF2B5EF4-FFF2-40B4-BE49-F238E27FC236}">
                <a16:creationId xmlns:a16="http://schemas.microsoft.com/office/drawing/2014/main" id="{85C77BD9-B74B-0694-5C3E-D4C5FF544758}"/>
              </a:ext>
            </a:extLst>
          </p:cNvPr>
          <p:cNvSpPr txBox="1">
            <a:spLocks/>
          </p:cNvSpPr>
          <p:nvPr/>
        </p:nvSpPr>
        <p:spPr>
          <a:xfrm>
            <a:off x="554736" y="1106248"/>
            <a:ext cx="6967728" cy="92333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a:t>This model involves leasing the CAIP facility to a competent private sector entity under a concession or management contract.</a:t>
            </a:r>
          </a:p>
        </p:txBody>
      </p:sp>
      <p:sp>
        <p:nvSpPr>
          <p:cNvPr id="9" name="TextBox 8">
            <a:extLst>
              <a:ext uri="{FF2B5EF4-FFF2-40B4-BE49-F238E27FC236}">
                <a16:creationId xmlns:a16="http://schemas.microsoft.com/office/drawing/2014/main" id="{8C517926-E0A3-AAC9-392C-4115FB3799E2}"/>
              </a:ext>
            </a:extLst>
          </p:cNvPr>
          <p:cNvSpPr txBox="1">
            <a:spLocks/>
          </p:cNvSpPr>
          <p:nvPr/>
        </p:nvSpPr>
        <p:spPr>
          <a:xfrm>
            <a:off x="554735" y="3902240"/>
            <a:ext cx="3188400" cy="184665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a:t>Promotes high operational efficiency, introduces private-sector expertise, and reduces the administrative burden on the county.</a:t>
            </a:r>
          </a:p>
        </p:txBody>
      </p:sp>
      <p:sp>
        <p:nvSpPr>
          <p:cNvPr id="10" name="TextBox 9">
            <a:extLst>
              <a:ext uri="{FF2B5EF4-FFF2-40B4-BE49-F238E27FC236}">
                <a16:creationId xmlns:a16="http://schemas.microsoft.com/office/drawing/2014/main" id="{9310B9FA-A310-1528-1FB7-32C94A4AE975}"/>
              </a:ext>
            </a:extLst>
          </p:cNvPr>
          <p:cNvSpPr txBox="1">
            <a:spLocks/>
          </p:cNvSpPr>
          <p:nvPr/>
        </p:nvSpPr>
        <p:spPr>
          <a:xfrm>
            <a:off x="554735" y="3407212"/>
            <a:ext cx="3188400" cy="33855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200" b="1">
                <a:solidFill>
                  <a:schemeClr val="accent1"/>
                </a:solidFill>
              </a:rPr>
              <a:t>Advantages</a:t>
            </a:r>
          </a:p>
        </p:txBody>
      </p:sp>
      <p:sp>
        <p:nvSpPr>
          <p:cNvPr id="11" name="TextBox 10">
            <a:extLst>
              <a:ext uri="{FF2B5EF4-FFF2-40B4-BE49-F238E27FC236}">
                <a16:creationId xmlns:a16="http://schemas.microsoft.com/office/drawing/2014/main" id="{B8FBBE94-B146-57BF-F7AF-A4D3DF186A40}"/>
              </a:ext>
            </a:extLst>
          </p:cNvPr>
          <p:cNvSpPr txBox="1">
            <a:spLocks/>
          </p:cNvSpPr>
          <p:nvPr/>
        </p:nvSpPr>
        <p:spPr>
          <a:xfrm>
            <a:off x="4334064" y="3407212"/>
            <a:ext cx="3188400" cy="33855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200" b="1">
                <a:solidFill>
                  <a:schemeClr val="accent1"/>
                </a:solidFill>
              </a:rPr>
              <a:t>Key Requirement</a:t>
            </a:r>
          </a:p>
        </p:txBody>
      </p:sp>
      <p:sp>
        <p:nvSpPr>
          <p:cNvPr id="12" name="TextBox 11">
            <a:extLst>
              <a:ext uri="{FF2B5EF4-FFF2-40B4-BE49-F238E27FC236}">
                <a16:creationId xmlns:a16="http://schemas.microsoft.com/office/drawing/2014/main" id="{02435049-BA26-DAF9-423D-567144E1264A}"/>
              </a:ext>
            </a:extLst>
          </p:cNvPr>
          <p:cNvSpPr txBox="1">
            <a:spLocks/>
          </p:cNvSpPr>
          <p:nvPr/>
        </p:nvSpPr>
        <p:spPr>
          <a:xfrm>
            <a:off x="4334064" y="3902240"/>
            <a:ext cx="3188400" cy="215443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a:t>Demands robust regulatory frameworks and strict performance-monitoring mechanisms to protect the interests of local Micro, Small, and Medium Enterprises (MSMEs).</a:t>
            </a:r>
          </a:p>
        </p:txBody>
      </p:sp>
      <p:sp>
        <p:nvSpPr>
          <p:cNvPr id="14" name="object 6">
            <a:extLst>
              <a:ext uri="{FF2B5EF4-FFF2-40B4-BE49-F238E27FC236}">
                <a16:creationId xmlns:a16="http://schemas.microsoft.com/office/drawing/2014/main" id="{2B2930BF-94ED-C499-71CA-8A9B5C548E4A}"/>
              </a:ext>
            </a:extLst>
          </p:cNvPr>
          <p:cNvSpPr/>
          <p:nvPr/>
        </p:nvSpPr>
        <p:spPr>
          <a:xfrm>
            <a:off x="554736" y="2712036"/>
            <a:ext cx="571246" cy="538701"/>
          </a:xfrm>
          <a:custGeom>
            <a:avLst/>
            <a:gdLst/>
            <a:ahLst/>
            <a:cxnLst/>
            <a:rect l="l" t="t" r="r" b="b"/>
            <a:pathLst>
              <a:path w="969644" h="914400">
                <a:moveTo>
                  <a:pt x="880237" y="0"/>
                </a:moveTo>
                <a:lnTo>
                  <a:pt x="218363" y="0"/>
                </a:lnTo>
                <a:lnTo>
                  <a:pt x="168294" y="5768"/>
                </a:lnTo>
                <a:lnTo>
                  <a:pt x="122332" y="22200"/>
                </a:lnTo>
                <a:lnTo>
                  <a:pt x="81788" y="47986"/>
                </a:lnTo>
                <a:lnTo>
                  <a:pt x="47972" y="81813"/>
                </a:lnTo>
                <a:lnTo>
                  <a:pt x="22194" y="122371"/>
                </a:lnTo>
                <a:lnTo>
                  <a:pt x="5767" y="168350"/>
                </a:lnTo>
                <a:lnTo>
                  <a:pt x="0" y="218440"/>
                </a:lnTo>
                <a:lnTo>
                  <a:pt x="0" y="825373"/>
                </a:lnTo>
                <a:lnTo>
                  <a:pt x="6997" y="860018"/>
                </a:lnTo>
                <a:lnTo>
                  <a:pt x="26081" y="888317"/>
                </a:lnTo>
                <a:lnTo>
                  <a:pt x="54387" y="907401"/>
                </a:lnTo>
                <a:lnTo>
                  <a:pt x="89052" y="914400"/>
                </a:lnTo>
                <a:lnTo>
                  <a:pt x="750900" y="914400"/>
                </a:lnTo>
                <a:lnTo>
                  <a:pt x="800961" y="908631"/>
                </a:lnTo>
                <a:lnTo>
                  <a:pt x="846920" y="892199"/>
                </a:lnTo>
                <a:lnTo>
                  <a:pt x="887465" y="866413"/>
                </a:lnTo>
                <a:lnTo>
                  <a:pt x="921283" y="832586"/>
                </a:lnTo>
                <a:lnTo>
                  <a:pt x="947064" y="792028"/>
                </a:lnTo>
                <a:lnTo>
                  <a:pt x="963495" y="746049"/>
                </a:lnTo>
                <a:lnTo>
                  <a:pt x="969263" y="695959"/>
                </a:lnTo>
                <a:lnTo>
                  <a:pt x="969263" y="89153"/>
                </a:lnTo>
                <a:lnTo>
                  <a:pt x="962265" y="54435"/>
                </a:lnTo>
                <a:lnTo>
                  <a:pt x="943181" y="26098"/>
                </a:lnTo>
                <a:lnTo>
                  <a:pt x="914882" y="7000"/>
                </a:lnTo>
                <a:lnTo>
                  <a:pt x="880237" y="0"/>
                </a:lnTo>
                <a:close/>
              </a:path>
            </a:pathLst>
          </a:custGeom>
          <a:solidFill>
            <a:srgbClr val="D41117"/>
          </a:solidFill>
        </p:spPr>
        <p:txBody>
          <a:bodyPr wrap="square" lIns="0" tIns="0" rIns="0" bIns="0" rtlCol="0"/>
          <a:lstStyle/>
          <a:p>
            <a:endParaRPr sz="1400"/>
          </a:p>
        </p:txBody>
      </p:sp>
      <p:sp>
        <p:nvSpPr>
          <p:cNvPr id="15" name="object 6">
            <a:extLst>
              <a:ext uri="{FF2B5EF4-FFF2-40B4-BE49-F238E27FC236}">
                <a16:creationId xmlns:a16="http://schemas.microsoft.com/office/drawing/2014/main" id="{ADB487DF-5645-3161-588E-2DD764E3A9DB}"/>
              </a:ext>
            </a:extLst>
          </p:cNvPr>
          <p:cNvSpPr/>
          <p:nvPr/>
        </p:nvSpPr>
        <p:spPr>
          <a:xfrm>
            <a:off x="4334064" y="2712036"/>
            <a:ext cx="571246" cy="538701"/>
          </a:xfrm>
          <a:custGeom>
            <a:avLst/>
            <a:gdLst/>
            <a:ahLst/>
            <a:cxnLst/>
            <a:rect l="l" t="t" r="r" b="b"/>
            <a:pathLst>
              <a:path w="969644" h="914400">
                <a:moveTo>
                  <a:pt x="880237" y="0"/>
                </a:moveTo>
                <a:lnTo>
                  <a:pt x="218363" y="0"/>
                </a:lnTo>
                <a:lnTo>
                  <a:pt x="168294" y="5768"/>
                </a:lnTo>
                <a:lnTo>
                  <a:pt x="122332" y="22200"/>
                </a:lnTo>
                <a:lnTo>
                  <a:pt x="81788" y="47986"/>
                </a:lnTo>
                <a:lnTo>
                  <a:pt x="47972" y="81813"/>
                </a:lnTo>
                <a:lnTo>
                  <a:pt x="22194" y="122371"/>
                </a:lnTo>
                <a:lnTo>
                  <a:pt x="5767" y="168350"/>
                </a:lnTo>
                <a:lnTo>
                  <a:pt x="0" y="218440"/>
                </a:lnTo>
                <a:lnTo>
                  <a:pt x="0" y="825373"/>
                </a:lnTo>
                <a:lnTo>
                  <a:pt x="6997" y="860018"/>
                </a:lnTo>
                <a:lnTo>
                  <a:pt x="26081" y="888317"/>
                </a:lnTo>
                <a:lnTo>
                  <a:pt x="54387" y="907401"/>
                </a:lnTo>
                <a:lnTo>
                  <a:pt x="89052" y="914400"/>
                </a:lnTo>
                <a:lnTo>
                  <a:pt x="750900" y="914400"/>
                </a:lnTo>
                <a:lnTo>
                  <a:pt x="800961" y="908631"/>
                </a:lnTo>
                <a:lnTo>
                  <a:pt x="846920" y="892199"/>
                </a:lnTo>
                <a:lnTo>
                  <a:pt x="887465" y="866413"/>
                </a:lnTo>
                <a:lnTo>
                  <a:pt x="921283" y="832586"/>
                </a:lnTo>
                <a:lnTo>
                  <a:pt x="947064" y="792028"/>
                </a:lnTo>
                <a:lnTo>
                  <a:pt x="963495" y="746049"/>
                </a:lnTo>
                <a:lnTo>
                  <a:pt x="969263" y="695959"/>
                </a:lnTo>
                <a:lnTo>
                  <a:pt x="969263" y="89153"/>
                </a:lnTo>
                <a:lnTo>
                  <a:pt x="962265" y="54435"/>
                </a:lnTo>
                <a:lnTo>
                  <a:pt x="943181" y="26098"/>
                </a:lnTo>
                <a:lnTo>
                  <a:pt x="914882" y="7000"/>
                </a:lnTo>
                <a:lnTo>
                  <a:pt x="880237" y="0"/>
                </a:lnTo>
                <a:close/>
              </a:path>
            </a:pathLst>
          </a:custGeom>
          <a:solidFill>
            <a:srgbClr val="D41117"/>
          </a:solidFill>
        </p:spPr>
        <p:txBody>
          <a:bodyPr wrap="square" lIns="0" tIns="0" rIns="0" bIns="0" rtlCol="0"/>
          <a:lstStyle/>
          <a:p>
            <a:endParaRPr sz="1400"/>
          </a:p>
        </p:txBody>
      </p:sp>
      <p:pic>
        <p:nvPicPr>
          <p:cNvPr id="18" name="CustomIcon">
            <a:extLst>
              <a:ext uri="{FF2B5EF4-FFF2-40B4-BE49-F238E27FC236}">
                <a16:creationId xmlns:a16="http://schemas.microsoft.com/office/drawing/2014/main" id="{92CBB4E1-8FDC-982E-8E04-59451729FFF9}"/>
              </a:ext>
            </a:extLst>
          </p:cNvPr>
          <p:cNvPicPr>
            <a:picLocks/>
          </p:cNvPicPr>
          <p:nvPr>
            <p:custDataLst>
              <p:tags r:id="rId3"/>
            </p:custDataLst>
          </p:nvPr>
        </p:nvPicPr>
        <p:blipFill>
          <a:blip>
            <a:extLst>
              <a:ext uri="{96DAC541-7B7A-43D3-8B79-37D633B846F1}">
                <asvg:svgBlip xmlns:asvg="http://schemas.microsoft.com/office/drawing/2016/SVG/main" r:embed="rId10"/>
              </a:ext>
            </a:extLst>
          </a:blip>
          <a:stretch>
            <a:fillRect/>
          </a:stretch>
        </p:blipFill>
        <p:spPr>
          <a:xfrm>
            <a:off x="4460065" y="2821764"/>
            <a:ext cx="319245" cy="319245"/>
          </a:xfrm>
          <a:prstGeom prst="rect">
            <a:avLst/>
          </a:prstGeom>
        </p:spPr>
      </p:pic>
      <p:pic>
        <p:nvPicPr>
          <p:cNvPr id="19" name="CustomIcon">
            <a:extLst>
              <a:ext uri="{FF2B5EF4-FFF2-40B4-BE49-F238E27FC236}">
                <a16:creationId xmlns:a16="http://schemas.microsoft.com/office/drawing/2014/main" id="{54B3DC10-8928-E02B-6B77-4360E7AE4E0B}"/>
              </a:ext>
            </a:extLst>
          </p:cNvPr>
          <p:cNvPicPr>
            <a:picLocks/>
          </p:cNvPicPr>
          <p:nvPr>
            <p:custDataLst>
              <p:tags r:id="rId4"/>
            </p:custDataLst>
          </p:nvPr>
        </p:nvPicPr>
        <p:blipFill>
          <a:blip>
            <a:extLst>
              <a:ext uri="{96DAC541-7B7A-43D3-8B79-37D633B846F1}">
                <asvg:svgBlip xmlns:asvg="http://schemas.microsoft.com/office/drawing/2016/SVG/main" r:embed="rId11"/>
              </a:ext>
            </a:extLst>
          </a:blip>
          <a:stretch>
            <a:fillRect/>
          </a:stretch>
        </p:blipFill>
        <p:spPr>
          <a:xfrm>
            <a:off x="680737" y="2821764"/>
            <a:ext cx="319245" cy="319245"/>
          </a:xfrm>
          <a:prstGeom prst="rect">
            <a:avLst/>
          </a:prstGeom>
        </p:spPr>
      </p:pic>
      <p:sp>
        <p:nvSpPr>
          <p:cNvPr id="7" name="Slide Number">
            <a:extLst>
              <a:ext uri="{FF2B5EF4-FFF2-40B4-BE49-F238E27FC236}">
                <a16:creationId xmlns:a16="http://schemas.microsoft.com/office/drawing/2014/main" id="{2C600C99-FB9D-A31D-F4BE-7201A9907C10}"/>
              </a:ext>
            </a:extLst>
          </p:cNvPr>
          <p:cNvSpPr>
            <a:spLocks noChangeArrowheads="1"/>
          </p:cNvSpPr>
          <p:nvPr>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610744" rtl="0" fontAlgn="auto">
                <a:spcBef>
                  <a:spcPts val="0"/>
                </a:spcBef>
                <a:spcAft>
                  <a:spcPts val="0"/>
                </a:spcAft>
                <a:defRPr/>
              </a:pPr>
              <a:t>16</a:t>
            </a:fld>
            <a:endParaRPr lang="en-US" sz="900" b="0">
              <a:solidFill>
                <a:schemeClr val="bg1"/>
              </a:solidFill>
              <a:latin typeface="+mn-lt"/>
              <a:ea typeface="+mn-ea"/>
              <a:cs typeface="Arial" panose="020B0604020202020204" pitchFamily="34" charset="0"/>
            </a:endParaRPr>
          </a:p>
        </p:txBody>
      </p:sp>
      <p:pic>
        <p:nvPicPr>
          <p:cNvPr id="13" name="Picture 5">
            <a:extLst>
              <a:ext uri="{FF2B5EF4-FFF2-40B4-BE49-F238E27FC236}">
                <a16:creationId xmlns:a16="http://schemas.microsoft.com/office/drawing/2014/main" id="{04A59410-0954-D8BF-8F3B-7C1131FB5AB0}"/>
              </a:ext>
            </a:extLst>
          </p:cNvPr>
          <p:cNvPicPr>
            <a:picLocks noChangeAspect="1"/>
          </p:cNvPicPr>
          <p:nvPr/>
        </p:nvPicPr>
        <p:blipFill>
          <a:blip r:embed="rId12" cstate="print">
            <a:extLst>
              <a:ext uri="{28A0092B-C50C-407E-A947-70E740481C1C}">
                <a14:useLocalDpi xmlns:a14="http://schemas.microsoft.com/office/drawing/2010/main" val="0"/>
              </a:ext>
            </a:extLst>
          </a:blip>
          <a:srcRect/>
          <a:stretch/>
        </p:blipFill>
        <p:spPr bwMode="ltGray">
          <a:xfrm>
            <a:off x="10936538" y="183978"/>
            <a:ext cx="712156" cy="361189"/>
          </a:xfrm>
          <a:prstGeom prst="rect">
            <a:avLst/>
          </a:prstGeom>
        </p:spPr>
      </p:pic>
      <p:pic>
        <p:nvPicPr>
          <p:cNvPr id="6" name="Picture 5">
            <a:extLst>
              <a:ext uri="{FF2B5EF4-FFF2-40B4-BE49-F238E27FC236}">
                <a16:creationId xmlns:a16="http://schemas.microsoft.com/office/drawing/2014/main" id="{8536810F-7A60-7472-8CD5-E53955AFC36A}"/>
              </a:ext>
            </a:extLst>
          </p:cNvPr>
          <p:cNvPicPr>
            <a:picLocks noChangeAspect="1"/>
          </p:cNvPicPr>
          <p:nvPr/>
        </p:nvPicPr>
        <p:blipFill>
          <a:blip r:embed="rId13"/>
          <a:stretch>
            <a:fillRect/>
          </a:stretch>
        </p:blipFill>
        <p:spPr>
          <a:xfrm>
            <a:off x="0" y="1"/>
            <a:ext cx="12192000" cy="6858000"/>
          </a:xfrm>
          <a:prstGeom prst="rect">
            <a:avLst/>
          </a:prstGeom>
        </p:spPr>
      </p:pic>
    </p:spTree>
    <p:extLst>
      <p:ext uri="{BB962C8B-B14F-4D97-AF65-F5344CB8AC3E}">
        <p14:creationId xmlns:p14="http://schemas.microsoft.com/office/powerpoint/2010/main" val="264614056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7DA3177-F14C-5D02-2A9F-C39B92BF40E4}"/>
              </a:ext>
            </a:extLst>
          </p:cNvPr>
          <p:cNvGraphicFramePr>
            <a:graphicFrameLocks noChangeAspect="1"/>
          </p:cNvGraphicFramePr>
          <p:nvPr>
            <p:custDataLst>
              <p:tags r:id="rId1"/>
            </p:custDataLst>
          </p:nvPr>
        </p:nvGraphicFramePr>
        <p:xfrm>
          <a:off x="1391" y="963"/>
          <a:ext cx="963" cy="963"/>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B7DA3177-F14C-5D02-2A9F-C39B92BF40E4}"/>
                          </a:ext>
                        </a:extLst>
                      </p:cNvPr>
                      <p:cNvPicPr/>
                      <p:nvPr/>
                    </p:nvPicPr>
                    <p:blipFill>
                      <a:blip r:embed="rId4"/>
                      <a:stretch>
                        <a:fillRect/>
                      </a:stretch>
                    </p:blipFill>
                    <p:spPr>
                      <a:xfrm>
                        <a:off x="1391" y="963"/>
                        <a:ext cx="963" cy="963"/>
                      </a:xfrm>
                      <a:prstGeom prst="rect">
                        <a:avLst/>
                      </a:prstGeom>
                    </p:spPr>
                  </p:pic>
                </p:oleObj>
              </mc:Fallback>
            </mc:AlternateContent>
          </a:graphicData>
        </a:graphic>
      </p:graphicFrame>
    </p:spTree>
    <p:extLst>
      <p:ext uri="{BB962C8B-B14F-4D97-AF65-F5344CB8AC3E}">
        <p14:creationId xmlns:p14="http://schemas.microsoft.com/office/powerpoint/2010/main" val="16972747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2590AA1-CF45-E3DC-707E-6DCDB181F73E}"/>
              </a:ext>
            </a:extLst>
          </p:cNvPr>
          <p:cNvPicPr>
            <a:picLocks noChangeAspect="1"/>
          </p:cNvPicPr>
          <p:nvPr/>
        </p:nvPicPr>
        <p:blipFill>
          <a:blip r:embed="rId2"/>
          <a:stretch>
            <a:fillRect/>
          </a:stretch>
        </p:blipFill>
        <p:spPr>
          <a:xfrm>
            <a:off x="0" y="1545150"/>
            <a:ext cx="12192000" cy="5430923"/>
          </a:xfrm>
          <a:prstGeom prst="rect">
            <a:avLst/>
          </a:prstGeom>
        </p:spPr>
      </p:pic>
      <p:sp>
        <p:nvSpPr>
          <p:cNvPr id="4" name="Title 3">
            <a:extLst>
              <a:ext uri="{FF2B5EF4-FFF2-40B4-BE49-F238E27FC236}">
                <a16:creationId xmlns:a16="http://schemas.microsoft.com/office/drawing/2014/main" id="{0165F234-8D5C-6CEA-C777-D1D512F91FB9}"/>
              </a:ext>
            </a:extLst>
          </p:cNvPr>
          <p:cNvSpPr>
            <a:spLocks noGrp="1"/>
          </p:cNvSpPr>
          <p:nvPr>
            <p:ph type="title"/>
          </p:nvPr>
        </p:nvSpPr>
        <p:spPr>
          <a:xfrm>
            <a:off x="554736" y="375412"/>
            <a:ext cx="10197084" cy="384721"/>
          </a:xfrm>
        </p:spPr>
        <p:txBody>
          <a:bodyPr/>
          <a:lstStyle/>
          <a:p>
            <a:r>
              <a:rPr lang="en-US"/>
              <a:t>Overview </a:t>
            </a:r>
            <a:endParaRPr lang="en-KE"/>
          </a:p>
        </p:txBody>
      </p:sp>
    </p:spTree>
    <p:extLst>
      <p:ext uri="{BB962C8B-B14F-4D97-AF65-F5344CB8AC3E}">
        <p14:creationId xmlns:p14="http://schemas.microsoft.com/office/powerpoint/2010/main" val="121892688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75940D-3F20-B73C-34F4-B61D8F9F27A1}"/>
            </a:ext>
          </a:extLst>
        </p:cNvPr>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75D3470A-CFE3-20F7-5F5D-83FC69818D4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91" imgH="290" progId="TCLayout.ActiveDocument.1">
                  <p:embed/>
                </p:oleObj>
              </mc:Choice>
              <mc:Fallback>
                <p:oleObj name="think-cell Slide" r:id="rId6" imgW="291" imgH="290" progId="TCLayout.ActiveDocument.1">
                  <p:embed/>
                  <p:pic>
                    <p:nvPicPr>
                      <p:cNvPr id="5" name="Object 6" hidden="1">
                        <a:extLst>
                          <a:ext uri="{FF2B5EF4-FFF2-40B4-BE49-F238E27FC236}">
                            <a16:creationId xmlns:a16="http://schemas.microsoft.com/office/drawing/2014/main" id="{75D3470A-CFE3-20F7-5F5D-83FC69818D4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pSp>
        <p:nvGrpSpPr>
          <p:cNvPr id="10" name="Group 9">
            <a:extLst>
              <a:ext uri="{FF2B5EF4-FFF2-40B4-BE49-F238E27FC236}">
                <a16:creationId xmlns:a16="http://schemas.microsoft.com/office/drawing/2014/main" id="{09D73C32-294D-58BA-8084-4088079E1443}"/>
              </a:ext>
            </a:extLst>
          </p:cNvPr>
          <p:cNvGrpSpPr/>
          <p:nvPr/>
        </p:nvGrpSpPr>
        <p:grpSpPr>
          <a:xfrm>
            <a:off x="1" y="3892506"/>
            <a:ext cx="12192000" cy="3127420"/>
            <a:chOff x="17075888" y="2318816"/>
            <a:chExt cx="11429982" cy="2749619"/>
          </a:xfrm>
          <a:solidFill>
            <a:schemeClr val="bg1">
              <a:alpha val="64000"/>
            </a:schemeClr>
          </a:solidFill>
        </p:grpSpPr>
        <p:sp>
          <p:nvSpPr>
            <p:cNvPr id="11" name="Freeform: Shape 10">
              <a:extLst>
                <a:ext uri="{FF2B5EF4-FFF2-40B4-BE49-F238E27FC236}">
                  <a16:creationId xmlns:a16="http://schemas.microsoft.com/office/drawing/2014/main" id="{870F5C29-C2A0-1EC0-3412-D422D730A421}"/>
                </a:ext>
              </a:extLst>
            </p:cNvPr>
            <p:cNvSpPr/>
            <p:nvPr/>
          </p:nvSpPr>
          <p:spPr>
            <a:xfrm flipV="1">
              <a:off x="17075888" y="4922404"/>
              <a:ext cx="11429982" cy="146031"/>
            </a:xfrm>
            <a:custGeom>
              <a:avLst/>
              <a:gdLst>
                <a:gd name="csX0" fmla="*/ 11422899 w 11429982"/>
                <a:gd name="csY0" fmla="*/ -3817 h 146031"/>
                <a:gd name="csX1" fmla="*/ -7083 w 11429982"/>
                <a:gd name="csY1" fmla="*/ -3817 h 146031"/>
                <a:gd name="csX2" fmla="*/ -7083 w 11429982"/>
                <a:gd name="csY2" fmla="*/ 142215 h 146031"/>
                <a:gd name="csX3" fmla="*/ 11422899 w 11429982"/>
                <a:gd name="csY3" fmla="*/ 142215 h 146031"/>
                <a:gd name="csX4" fmla="*/ 11422899 w 11429982"/>
                <a:gd name="csY4" fmla="*/ -3817 h 146031"/>
              </a:gdLst>
              <a:ahLst/>
              <a:cxnLst>
                <a:cxn ang="0">
                  <a:pos x="csX0" y="csY0"/>
                </a:cxn>
                <a:cxn ang="0">
                  <a:pos x="csX1" y="csY1"/>
                </a:cxn>
                <a:cxn ang="0">
                  <a:pos x="csX2" y="csY2"/>
                </a:cxn>
                <a:cxn ang="0">
                  <a:pos x="csX3" y="csY3"/>
                </a:cxn>
                <a:cxn ang="0">
                  <a:pos x="csX4" y="csY4"/>
                </a:cxn>
              </a:cxnLst>
              <a:rect l="l" t="t" r="r" b="b"/>
              <a:pathLst>
                <a:path w="11429982" h="146031">
                  <a:moveTo>
                    <a:pt x="11422899" y="-3817"/>
                  </a:moveTo>
                  <a:lnTo>
                    <a:pt x="-7083" y="-3817"/>
                  </a:lnTo>
                  <a:lnTo>
                    <a:pt x="-7083" y="142215"/>
                  </a:lnTo>
                  <a:lnTo>
                    <a:pt x="11422899" y="142215"/>
                  </a:lnTo>
                  <a:lnTo>
                    <a:pt x="11422899" y="-3817"/>
                  </a:lnTo>
                </a:path>
              </a:pathLst>
            </a:custGeom>
            <a:grpFill/>
            <a:ln w="548" cap="flat">
              <a:noFill/>
              <a:prstDash val="solid"/>
              <a:miter/>
            </a:ln>
          </p:spPr>
          <p:txBody>
            <a:bodyPr/>
            <a:lstStyle/>
            <a:p>
              <a:endParaRPr lang="en-US"/>
            </a:p>
          </p:txBody>
        </p:sp>
        <p:sp>
          <p:nvSpPr>
            <p:cNvPr id="12" name="Freeform: Shape 11">
              <a:extLst>
                <a:ext uri="{FF2B5EF4-FFF2-40B4-BE49-F238E27FC236}">
                  <a16:creationId xmlns:a16="http://schemas.microsoft.com/office/drawing/2014/main" id="{FA3EEB01-72E1-F621-F1BF-29D85FB7B3F3}"/>
                </a:ext>
              </a:extLst>
            </p:cNvPr>
            <p:cNvSpPr/>
            <p:nvPr/>
          </p:nvSpPr>
          <p:spPr>
            <a:xfrm flipV="1">
              <a:off x="20263513" y="2805756"/>
              <a:ext cx="353110" cy="2117854"/>
            </a:xfrm>
            <a:custGeom>
              <a:avLst/>
              <a:gdLst>
                <a:gd name="csX0" fmla="*/ 198536 w 353110"/>
                <a:gd name="csY0" fmla="*/ 2111318 h 2117854"/>
                <a:gd name="csX1" fmla="*/ 176788 w 353110"/>
                <a:gd name="csY1" fmla="*/ 2111318 h 2117854"/>
                <a:gd name="csX2" fmla="*/ -4170 w 353110"/>
                <a:gd name="csY2" fmla="*/ -6537 h 2117854"/>
                <a:gd name="csX3" fmla="*/ 348941 w 353110"/>
                <a:gd name="csY3" fmla="*/ -6537 h 2117854"/>
                <a:gd name="csX4" fmla="*/ 198536 w 353110"/>
                <a:gd name="csY4" fmla="*/ 2111318 h 2117854"/>
              </a:gdLst>
              <a:ahLst/>
              <a:cxnLst>
                <a:cxn ang="0">
                  <a:pos x="csX0" y="csY0"/>
                </a:cxn>
                <a:cxn ang="0">
                  <a:pos x="csX1" y="csY1"/>
                </a:cxn>
                <a:cxn ang="0">
                  <a:pos x="csX2" y="csY2"/>
                </a:cxn>
                <a:cxn ang="0">
                  <a:pos x="csX3" y="csY3"/>
                </a:cxn>
                <a:cxn ang="0">
                  <a:pos x="csX4" y="csY4"/>
                </a:cxn>
              </a:cxnLst>
              <a:rect l="l" t="t" r="r" b="b"/>
              <a:pathLst>
                <a:path w="353110" h="2117854">
                  <a:moveTo>
                    <a:pt x="198536" y="2111318"/>
                  </a:moveTo>
                  <a:lnTo>
                    <a:pt x="176788" y="2111318"/>
                  </a:lnTo>
                  <a:lnTo>
                    <a:pt x="-4170" y="-6537"/>
                  </a:lnTo>
                  <a:lnTo>
                    <a:pt x="348941" y="-6537"/>
                  </a:lnTo>
                  <a:lnTo>
                    <a:pt x="198536" y="2111318"/>
                  </a:lnTo>
                </a:path>
              </a:pathLst>
            </a:custGeom>
            <a:grpFill/>
            <a:ln w="548" cap="flat">
              <a:noFill/>
              <a:prstDash val="solid"/>
              <a:miter/>
            </a:ln>
          </p:spPr>
          <p:txBody>
            <a:bodyPr/>
            <a:lstStyle/>
            <a:p>
              <a:endParaRPr lang="en-US"/>
            </a:p>
          </p:txBody>
        </p:sp>
        <p:sp>
          <p:nvSpPr>
            <p:cNvPr id="13" name="Freeform: Shape 12">
              <a:extLst>
                <a:ext uri="{FF2B5EF4-FFF2-40B4-BE49-F238E27FC236}">
                  <a16:creationId xmlns:a16="http://schemas.microsoft.com/office/drawing/2014/main" id="{1C195C40-EB9D-AAD8-A0D4-E18F2ED728DE}"/>
                </a:ext>
              </a:extLst>
            </p:cNvPr>
            <p:cNvSpPr/>
            <p:nvPr/>
          </p:nvSpPr>
          <p:spPr>
            <a:xfrm flipV="1">
              <a:off x="19860247" y="2805756"/>
              <a:ext cx="353115" cy="2117854"/>
            </a:xfrm>
            <a:custGeom>
              <a:avLst/>
              <a:gdLst>
                <a:gd name="csX0" fmla="*/ 146740 w 353115"/>
                <a:gd name="csY0" fmla="*/ 2111318 h 2117854"/>
                <a:gd name="csX1" fmla="*/ -3670 w 353115"/>
                <a:gd name="csY1" fmla="*/ -6537 h 2117854"/>
                <a:gd name="csX2" fmla="*/ 349446 w 353115"/>
                <a:gd name="csY2" fmla="*/ -6537 h 2117854"/>
                <a:gd name="csX3" fmla="*/ 168482 w 353115"/>
                <a:gd name="csY3" fmla="*/ 2111318 h 2117854"/>
                <a:gd name="csX4" fmla="*/ 146740 w 353115"/>
                <a:gd name="csY4" fmla="*/ 2111318 h 2117854"/>
              </a:gdLst>
              <a:ahLst/>
              <a:cxnLst>
                <a:cxn ang="0">
                  <a:pos x="csX0" y="csY0"/>
                </a:cxn>
                <a:cxn ang="0">
                  <a:pos x="csX1" y="csY1"/>
                </a:cxn>
                <a:cxn ang="0">
                  <a:pos x="csX2" y="csY2"/>
                </a:cxn>
                <a:cxn ang="0">
                  <a:pos x="csX3" y="csY3"/>
                </a:cxn>
                <a:cxn ang="0">
                  <a:pos x="csX4" y="csY4"/>
                </a:cxn>
              </a:cxnLst>
              <a:rect l="l" t="t" r="r" b="b"/>
              <a:pathLst>
                <a:path w="353115" h="2117854">
                  <a:moveTo>
                    <a:pt x="146740" y="2111318"/>
                  </a:moveTo>
                  <a:lnTo>
                    <a:pt x="-3670" y="-6537"/>
                  </a:lnTo>
                  <a:lnTo>
                    <a:pt x="349446" y="-6537"/>
                  </a:lnTo>
                  <a:lnTo>
                    <a:pt x="168482" y="2111318"/>
                  </a:lnTo>
                  <a:lnTo>
                    <a:pt x="146740" y="2111318"/>
                  </a:lnTo>
                </a:path>
              </a:pathLst>
            </a:custGeom>
            <a:grpFill/>
            <a:ln w="548" cap="flat">
              <a:noFill/>
              <a:prstDash val="solid"/>
              <a:miter/>
            </a:ln>
          </p:spPr>
          <p:txBody>
            <a:bodyPr/>
            <a:lstStyle/>
            <a:p>
              <a:endParaRPr lang="en-US"/>
            </a:p>
          </p:txBody>
        </p:sp>
        <p:sp>
          <p:nvSpPr>
            <p:cNvPr id="14" name="Freeform: Shape 13">
              <a:extLst>
                <a:ext uri="{FF2B5EF4-FFF2-40B4-BE49-F238E27FC236}">
                  <a16:creationId xmlns:a16="http://schemas.microsoft.com/office/drawing/2014/main" id="{952117CB-8CC0-8592-47F2-DEB5F4B18E12}"/>
                </a:ext>
              </a:extLst>
            </p:cNvPr>
            <p:cNvSpPr/>
            <p:nvPr/>
          </p:nvSpPr>
          <p:spPr>
            <a:xfrm flipV="1">
              <a:off x="20036804" y="2318816"/>
              <a:ext cx="429415" cy="470936"/>
            </a:xfrm>
            <a:custGeom>
              <a:avLst/>
              <a:gdLst>
                <a:gd name="csX0" fmla="*/ 417425 w 429415"/>
                <a:gd name="csY0" fmla="*/ 137219 h 470936"/>
                <a:gd name="csX1" fmla="*/ 216387 w 429415"/>
                <a:gd name="csY1" fmla="*/ 99198 h 470936"/>
                <a:gd name="csX2" fmla="*/ 216387 w 429415"/>
                <a:gd name="csY2" fmla="*/ 298574 h 470936"/>
                <a:gd name="csX3" fmla="*/ 206275 w 429415"/>
                <a:gd name="csY3" fmla="*/ 309218 h 470936"/>
                <a:gd name="csX4" fmla="*/ 206989 w 429415"/>
                <a:gd name="csY4" fmla="*/ 310260 h 470936"/>
                <a:gd name="csX5" fmla="*/ 206989 w 429415"/>
                <a:gd name="csY5" fmla="*/ 460094 h 470936"/>
                <a:gd name="csX6" fmla="*/ 205842 w 429415"/>
                <a:gd name="csY6" fmla="*/ 461246 h 470936"/>
                <a:gd name="csX7" fmla="*/ 204701 w 429415"/>
                <a:gd name="csY7" fmla="*/ 460094 h 470936"/>
                <a:gd name="csX8" fmla="*/ 204701 w 429415"/>
                <a:gd name="csY8" fmla="*/ 310864 h 470936"/>
                <a:gd name="csX9" fmla="*/ 189822 w 429415"/>
                <a:gd name="csY9" fmla="*/ 326555 h 470936"/>
                <a:gd name="csX10" fmla="*/ 189822 w 429415"/>
                <a:gd name="csY10" fmla="*/ 94151 h 470936"/>
                <a:gd name="csX11" fmla="*/ -3936 w 429415"/>
                <a:gd name="csY11" fmla="*/ 57502 h 470936"/>
                <a:gd name="csX12" fmla="*/ -3936 w 429415"/>
                <a:gd name="csY12" fmla="*/ -9690 h 470936"/>
                <a:gd name="csX13" fmla="*/ 425479 w 429415"/>
                <a:gd name="csY13" fmla="*/ -9690 h 470936"/>
                <a:gd name="csX14" fmla="*/ 417425 w 429415"/>
                <a:gd name="csY14" fmla="*/ 137219 h 47093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Lst>
              <a:rect l="l" t="t" r="r" b="b"/>
              <a:pathLst>
                <a:path w="429415" h="470936">
                  <a:moveTo>
                    <a:pt x="417425" y="137219"/>
                  </a:moveTo>
                  <a:lnTo>
                    <a:pt x="216387" y="99198"/>
                  </a:lnTo>
                  <a:lnTo>
                    <a:pt x="216387" y="298574"/>
                  </a:lnTo>
                  <a:lnTo>
                    <a:pt x="206275" y="309218"/>
                  </a:lnTo>
                  <a:cubicBezTo>
                    <a:pt x="206693" y="309382"/>
                    <a:pt x="206989" y="309822"/>
                    <a:pt x="206989" y="310260"/>
                  </a:cubicBezTo>
                  <a:lnTo>
                    <a:pt x="206989" y="460094"/>
                  </a:lnTo>
                  <a:cubicBezTo>
                    <a:pt x="206989" y="460698"/>
                    <a:pt x="206473" y="461246"/>
                    <a:pt x="205842" y="461246"/>
                  </a:cubicBezTo>
                  <a:cubicBezTo>
                    <a:pt x="205211" y="461246"/>
                    <a:pt x="204701" y="460698"/>
                    <a:pt x="204701" y="460094"/>
                  </a:cubicBezTo>
                  <a:lnTo>
                    <a:pt x="204701" y="310864"/>
                  </a:lnTo>
                  <a:lnTo>
                    <a:pt x="189822" y="326555"/>
                  </a:lnTo>
                  <a:lnTo>
                    <a:pt x="189822" y="94151"/>
                  </a:lnTo>
                  <a:lnTo>
                    <a:pt x="-3936" y="57502"/>
                  </a:lnTo>
                  <a:lnTo>
                    <a:pt x="-3936" y="-9690"/>
                  </a:lnTo>
                  <a:lnTo>
                    <a:pt x="425479" y="-9690"/>
                  </a:lnTo>
                  <a:lnTo>
                    <a:pt x="417425" y="137219"/>
                  </a:lnTo>
                </a:path>
              </a:pathLst>
            </a:custGeom>
            <a:grpFill/>
            <a:ln w="548" cap="flat">
              <a:noFill/>
              <a:prstDash val="solid"/>
              <a:miter/>
            </a:ln>
          </p:spPr>
          <p:txBody>
            <a:bodyPr/>
            <a:lstStyle/>
            <a:p>
              <a:endParaRPr lang="en-US"/>
            </a:p>
          </p:txBody>
        </p:sp>
        <p:sp>
          <p:nvSpPr>
            <p:cNvPr id="15" name="Freeform: Shape 14">
              <a:extLst>
                <a:ext uri="{FF2B5EF4-FFF2-40B4-BE49-F238E27FC236}">
                  <a16:creationId xmlns:a16="http://schemas.microsoft.com/office/drawing/2014/main" id="{627F967B-363B-9253-9998-FFF4237B65B8}"/>
                </a:ext>
              </a:extLst>
            </p:cNvPr>
            <p:cNvSpPr/>
            <p:nvPr/>
          </p:nvSpPr>
          <p:spPr>
            <a:xfrm flipV="1">
              <a:off x="20111551" y="3436198"/>
              <a:ext cx="253817" cy="54364"/>
            </a:xfrm>
            <a:custGeom>
              <a:avLst/>
              <a:gdLst>
                <a:gd name="csX0" fmla="*/ 245251 w 253817"/>
                <a:gd name="csY0" fmla="*/ -7503 h 54364"/>
                <a:gd name="csX1" fmla="*/ 249898 w 253817"/>
                <a:gd name="csY1" fmla="*/ 46862 h 54364"/>
                <a:gd name="csX2" fmla="*/ -3920 w 253817"/>
                <a:gd name="csY2" fmla="*/ 46862 h 54364"/>
                <a:gd name="csX3" fmla="*/ 722 w 253817"/>
                <a:gd name="csY3" fmla="*/ -7503 h 54364"/>
                <a:gd name="csX4" fmla="*/ 1062 w 253817"/>
                <a:gd name="csY4" fmla="*/ -7470 h 54364"/>
                <a:gd name="csX5" fmla="*/ 244916 w 253817"/>
                <a:gd name="csY5" fmla="*/ -7470 h 54364"/>
                <a:gd name="csX6" fmla="*/ 245251 w 253817"/>
                <a:gd name="csY6" fmla="*/ -7503 h 54364"/>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253817" h="54364">
                  <a:moveTo>
                    <a:pt x="245251" y="-7503"/>
                  </a:moveTo>
                  <a:lnTo>
                    <a:pt x="249898" y="46862"/>
                  </a:lnTo>
                  <a:lnTo>
                    <a:pt x="-3920" y="46862"/>
                  </a:lnTo>
                  <a:lnTo>
                    <a:pt x="722" y="-7503"/>
                  </a:lnTo>
                  <a:cubicBezTo>
                    <a:pt x="837" y="-7492"/>
                    <a:pt x="941" y="-7470"/>
                    <a:pt x="1062" y="-7470"/>
                  </a:cubicBezTo>
                  <a:lnTo>
                    <a:pt x="244916" y="-7470"/>
                  </a:lnTo>
                  <a:cubicBezTo>
                    <a:pt x="245031" y="-7470"/>
                    <a:pt x="245141" y="-7492"/>
                    <a:pt x="245251" y="-7503"/>
                  </a:cubicBezTo>
                </a:path>
              </a:pathLst>
            </a:custGeom>
            <a:grpFill/>
            <a:ln w="548" cap="flat">
              <a:noFill/>
              <a:prstDash val="solid"/>
              <a:miter/>
            </a:ln>
          </p:spPr>
          <p:txBody>
            <a:bodyPr/>
            <a:lstStyle/>
            <a:p>
              <a:endParaRPr lang="en-US"/>
            </a:p>
          </p:txBody>
        </p:sp>
        <p:sp>
          <p:nvSpPr>
            <p:cNvPr id="18" name="Freeform: Shape 17">
              <a:extLst>
                <a:ext uri="{FF2B5EF4-FFF2-40B4-BE49-F238E27FC236}">
                  <a16:creationId xmlns:a16="http://schemas.microsoft.com/office/drawing/2014/main" id="{F68C3963-0D18-4D17-EE4E-B94D845A047F}"/>
                </a:ext>
              </a:extLst>
            </p:cNvPr>
            <p:cNvSpPr/>
            <p:nvPr/>
          </p:nvSpPr>
          <p:spPr>
            <a:xfrm flipV="1">
              <a:off x="20106224" y="3373269"/>
              <a:ext cx="264521" cy="54962"/>
            </a:xfrm>
            <a:custGeom>
              <a:avLst/>
              <a:gdLst>
                <a:gd name="csX0" fmla="*/ 255905 w 264521"/>
                <a:gd name="csY0" fmla="*/ -7653 h 54962"/>
                <a:gd name="csX1" fmla="*/ 260602 w 264521"/>
                <a:gd name="csY1" fmla="*/ 47309 h 54962"/>
                <a:gd name="csX2" fmla="*/ 258517 w 264521"/>
                <a:gd name="csY2" fmla="*/ 46711 h 54962"/>
                <a:gd name="csX3" fmla="*/ -3920 w 264521"/>
                <a:gd name="csY3" fmla="*/ 46711 h 54962"/>
                <a:gd name="csX4" fmla="*/ 722 w 264521"/>
                <a:gd name="csY4" fmla="*/ -7653 h 54962"/>
                <a:gd name="csX5" fmla="*/ 1068 w 264521"/>
                <a:gd name="csY5" fmla="*/ -7621 h 54962"/>
                <a:gd name="csX6" fmla="*/ 255565 w 264521"/>
                <a:gd name="csY6" fmla="*/ -7621 h 54962"/>
                <a:gd name="csX7" fmla="*/ 255905 w 264521"/>
                <a:gd name="csY7" fmla="*/ -7653 h 5496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264521" h="54962">
                  <a:moveTo>
                    <a:pt x="255905" y="-7653"/>
                  </a:moveTo>
                  <a:lnTo>
                    <a:pt x="260602" y="47309"/>
                  </a:lnTo>
                  <a:cubicBezTo>
                    <a:pt x="259993" y="46936"/>
                    <a:pt x="259285" y="46711"/>
                    <a:pt x="258517" y="46711"/>
                  </a:cubicBezTo>
                  <a:lnTo>
                    <a:pt x="-3920" y="46711"/>
                  </a:lnTo>
                  <a:lnTo>
                    <a:pt x="722" y="-7653"/>
                  </a:lnTo>
                  <a:cubicBezTo>
                    <a:pt x="837" y="-7643"/>
                    <a:pt x="947" y="-7621"/>
                    <a:pt x="1068" y="-7621"/>
                  </a:cubicBezTo>
                  <a:lnTo>
                    <a:pt x="255565" y="-7621"/>
                  </a:lnTo>
                  <a:cubicBezTo>
                    <a:pt x="255686" y="-7621"/>
                    <a:pt x="255790" y="-7643"/>
                    <a:pt x="255905" y="-7653"/>
                  </a:cubicBezTo>
                </a:path>
              </a:pathLst>
            </a:custGeom>
            <a:grpFill/>
            <a:ln w="548" cap="flat">
              <a:noFill/>
              <a:prstDash val="solid"/>
              <a:miter/>
            </a:ln>
          </p:spPr>
          <p:txBody>
            <a:bodyPr/>
            <a:lstStyle/>
            <a:p>
              <a:endParaRPr lang="en-US"/>
            </a:p>
          </p:txBody>
        </p:sp>
        <p:sp>
          <p:nvSpPr>
            <p:cNvPr id="19" name="Freeform: Shape 18">
              <a:extLst>
                <a:ext uri="{FF2B5EF4-FFF2-40B4-BE49-F238E27FC236}">
                  <a16:creationId xmlns:a16="http://schemas.microsoft.com/office/drawing/2014/main" id="{3FD24FAD-E16E-CFB4-8C99-F8CA9B409421}"/>
                </a:ext>
              </a:extLst>
            </p:cNvPr>
            <p:cNvSpPr/>
            <p:nvPr/>
          </p:nvSpPr>
          <p:spPr>
            <a:xfrm flipV="1">
              <a:off x="20116873" y="3498529"/>
              <a:ext cx="243168" cy="54365"/>
            </a:xfrm>
            <a:custGeom>
              <a:avLst/>
              <a:gdLst>
                <a:gd name="csX0" fmla="*/ 234601 w 243168"/>
                <a:gd name="csY0" fmla="*/ -7353 h 54365"/>
                <a:gd name="csX1" fmla="*/ 239249 w 243168"/>
                <a:gd name="csY1" fmla="*/ 47012 h 54365"/>
                <a:gd name="csX2" fmla="*/ -3920 w 243168"/>
                <a:gd name="csY2" fmla="*/ 47012 h 54365"/>
                <a:gd name="csX3" fmla="*/ 727 w 243168"/>
                <a:gd name="csY3" fmla="*/ -7353 h 54365"/>
                <a:gd name="csX4" fmla="*/ 1067 w 243168"/>
                <a:gd name="csY4" fmla="*/ -7314 h 54365"/>
                <a:gd name="csX5" fmla="*/ 234261 w 243168"/>
                <a:gd name="csY5" fmla="*/ -7314 h 54365"/>
                <a:gd name="csX6" fmla="*/ 234601 w 243168"/>
                <a:gd name="csY6" fmla="*/ -7353 h 54365"/>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243168" h="54365">
                  <a:moveTo>
                    <a:pt x="234601" y="-7353"/>
                  </a:moveTo>
                  <a:lnTo>
                    <a:pt x="239249" y="47012"/>
                  </a:lnTo>
                  <a:lnTo>
                    <a:pt x="-3920" y="47012"/>
                  </a:lnTo>
                  <a:lnTo>
                    <a:pt x="727" y="-7353"/>
                  </a:lnTo>
                  <a:cubicBezTo>
                    <a:pt x="843" y="-7342"/>
                    <a:pt x="947" y="-7314"/>
                    <a:pt x="1067" y="-7314"/>
                  </a:cubicBezTo>
                  <a:lnTo>
                    <a:pt x="234261" y="-7314"/>
                  </a:lnTo>
                  <a:cubicBezTo>
                    <a:pt x="234382" y="-7314"/>
                    <a:pt x="234492" y="-7342"/>
                    <a:pt x="234601" y="-7353"/>
                  </a:cubicBezTo>
                </a:path>
              </a:pathLst>
            </a:custGeom>
            <a:grpFill/>
            <a:ln w="548" cap="flat">
              <a:noFill/>
              <a:prstDash val="solid"/>
              <a:miter/>
            </a:ln>
          </p:spPr>
          <p:txBody>
            <a:bodyPr/>
            <a:lstStyle/>
            <a:p>
              <a:endParaRPr lang="en-US"/>
            </a:p>
          </p:txBody>
        </p:sp>
        <p:sp>
          <p:nvSpPr>
            <p:cNvPr id="20" name="Freeform: Shape 19">
              <a:extLst>
                <a:ext uri="{FF2B5EF4-FFF2-40B4-BE49-F238E27FC236}">
                  <a16:creationId xmlns:a16="http://schemas.microsoft.com/office/drawing/2014/main" id="{749E42CD-2244-9B2A-8FD6-E59B35D5D44C}"/>
                </a:ext>
              </a:extLst>
            </p:cNvPr>
            <p:cNvSpPr/>
            <p:nvPr/>
          </p:nvSpPr>
          <p:spPr>
            <a:xfrm flipV="1">
              <a:off x="20127528" y="3623191"/>
              <a:ext cx="221864" cy="54359"/>
            </a:xfrm>
            <a:custGeom>
              <a:avLst/>
              <a:gdLst>
                <a:gd name="csX0" fmla="*/ 213298 w 221864"/>
                <a:gd name="csY0" fmla="*/ -7053 h 54359"/>
                <a:gd name="csX1" fmla="*/ 217945 w 221864"/>
                <a:gd name="csY1" fmla="*/ 47306 h 54359"/>
                <a:gd name="csX2" fmla="*/ -3920 w 221864"/>
                <a:gd name="csY2" fmla="*/ 47306 h 54359"/>
                <a:gd name="csX3" fmla="*/ 722 w 221864"/>
                <a:gd name="csY3" fmla="*/ -7053 h 54359"/>
                <a:gd name="csX4" fmla="*/ 1062 w 221864"/>
                <a:gd name="csY4" fmla="*/ -7020 h 54359"/>
                <a:gd name="csX5" fmla="*/ 212958 w 221864"/>
                <a:gd name="csY5" fmla="*/ -7020 h 54359"/>
                <a:gd name="csX6" fmla="*/ 213298 w 221864"/>
                <a:gd name="csY6" fmla="*/ -7053 h 54359"/>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221864" h="54359">
                  <a:moveTo>
                    <a:pt x="213298" y="-7053"/>
                  </a:moveTo>
                  <a:lnTo>
                    <a:pt x="217945" y="47306"/>
                  </a:lnTo>
                  <a:lnTo>
                    <a:pt x="-3920" y="47306"/>
                  </a:lnTo>
                  <a:lnTo>
                    <a:pt x="722" y="-7053"/>
                  </a:lnTo>
                  <a:cubicBezTo>
                    <a:pt x="837" y="-7047"/>
                    <a:pt x="947" y="-7020"/>
                    <a:pt x="1062" y="-7020"/>
                  </a:cubicBezTo>
                  <a:lnTo>
                    <a:pt x="212958" y="-7020"/>
                  </a:lnTo>
                  <a:cubicBezTo>
                    <a:pt x="213073" y="-7020"/>
                    <a:pt x="213183" y="-7047"/>
                    <a:pt x="213298" y="-7053"/>
                  </a:cubicBezTo>
                </a:path>
              </a:pathLst>
            </a:custGeom>
            <a:grpFill/>
            <a:ln w="548" cap="flat">
              <a:noFill/>
              <a:prstDash val="solid"/>
              <a:miter/>
            </a:ln>
          </p:spPr>
          <p:txBody>
            <a:bodyPr/>
            <a:lstStyle/>
            <a:p>
              <a:endParaRPr lang="en-US"/>
            </a:p>
          </p:txBody>
        </p:sp>
        <p:sp>
          <p:nvSpPr>
            <p:cNvPr id="21" name="Freeform: Shape 20">
              <a:extLst>
                <a:ext uri="{FF2B5EF4-FFF2-40B4-BE49-F238E27FC236}">
                  <a16:creationId xmlns:a16="http://schemas.microsoft.com/office/drawing/2014/main" id="{ABE94C18-1456-971D-6AC2-AAC62377DC29}"/>
                </a:ext>
              </a:extLst>
            </p:cNvPr>
            <p:cNvSpPr/>
            <p:nvPr/>
          </p:nvSpPr>
          <p:spPr>
            <a:xfrm flipV="1">
              <a:off x="20132849" y="3685517"/>
              <a:ext cx="211215" cy="54381"/>
            </a:xfrm>
            <a:custGeom>
              <a:avLst/>
              <a:gdLst>
                <a:gd name="csX0" fmla="*/ 202649 w 211215"/>
                <a:gd name="csY0" fmla="*/ -6903 h 54381"/>
                <a:gd name="csX1" fmla="*/ 207296 w 211215"/>
                <a:gd name="csY1" fmla="*/ 47478 h 54381"/>
                <a:gd name="csX2" fmla="*/ -3920 w 211215"/>
                <a:gd name="csY2" fmla="*/ 47478 h 54381"/>
                <a:gd name="csX3" fmla="*/ 727 w 211215"/>
                <a:gd name="csY3" fmla="*/ -6886 h 54381"/>
                <a:gd name="csX4" fmla="*/ 1067 w 211215"/>
                <a:gd name="csY4" fmla="*/ -6854 h 54381"/>
                <a:gd name="csX5" fmla="*/ 202149 w 211215"/>
                <a:gd name="csY5" fmla="*/ -6854 h 54381"/>
                <a:gd name="csX6" fmla="*/ 202649 w 211215"/>
                <a:gd name="csY6" fmla="*/ -6903 h 54381"/>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211215" h="54381">
                  <a:moveTo>
                    <a:pt x="202649" y="-6903"/>
                  </a:moveTo>
                  <a:lnTo>
                    <a:pt x="207296" y="47478"/>
                  </a:lnTo>
                  <a:lnTo>
                    <a:pt x="-3920" y="47478"/>
                  </a:lnTo>
                  <a:lnTo>
                    <a:pt x="727" y="-6886"/>
                  </a:lnTo>
                  <a:cubicBezTo>
                    <a:pt x="842" y="-6881"/>
                    <a:pt x="952" y="-6854"/>
                    <a:pt x="1067" y="-6854"/>
                  </a:cubicBezTo>
                  <a:lnTo>
                    <a:pt x="202149" y="-6854"/>
                  </a:lnTo>
                  <a:cubicBezTo>
                    <a:pt x="202319" y="-6854"/>
                    <a:pt x="202484" y="-6881"/>
                    <a:pt x="202649" y="-6903"/>
                  </a:cubicBezTo>
                </a:path>
              </a:pathLst>
            </a:custGeom>
            <a:grpFill/>
            <a:ln w="548" cap="flat">
              <a:noFill/>
              <a:prstDash val="solid"/>
              <a:miter/>
            </a:ln>
          </p:spPr>
          <p:txBody>
            <a:bodyPr/>
            <a:lstStyle/>
            <a:p>
              <a:endParaRPr lang="en-US"/>
            </a:p>
          </p:txBody>
        </p:sp>
        <p:sp>
          <p:nvSpPr>
            <p:cNvPr id="22" name="Freeform: Shape 21">
              <a:extLst>
                <a:ext uri="{FF2B5EF4-FFF2-40B4-BE49-F238E27FC236}">
                  <a16:creationId xmlns:a16="http://schemas.microsoft.com/office/drawing/2014/main" id="{4E3C19D3-042A-6E6B-0844-12D652DD272E}"/>
                </a:ext>
              </a:extLst>
            </p:cNvPr>
            <p:cNvSpPr/>
            <p:nvPr/>
          </p:nvSpPr>
          <p:spPr>
            <a:xfrm flipV="1">
              <a:off x="20100897" y="3311536"/>
              <a:ext cx="275121" cy="55336"/>
            </a:xfrm>
            <a:custGeom>
              <a:avLst/>
              <a:gdLst>
                <a:gd name="csX0" fmla="*/ 271201 w 275121"/>
                <a:gd name="csY0" fmla="*/ 47534 h 55336"/>
                <a:gd name="csX1" fmla="*/ -3920 w 275121"/>
                <a:gd name="csY1" fmla="*/ 47534 h 55336"/>
                <a:gd name="csX2" fmla="*/ 727 w 275121"/>
                <a:gd name="csY2" fmla="*/ -6831 h 55336"/>
                <a:gd name="csX3" fmla="*/ 1062 w 275121"/>
                <a:gd name="csY3" fmla="*/ -6797 h 55336"/>
                <a:gd name="csX4" fmla="*/ 263844 w 275121"/>
                <a:gd name="csY4" fmla="*/ -6797 h 55336"/>
                <a:gd name="csX5" fmla="*/ 266478 w 275121"/>
                <a:gd name="csY5" fmla="*/ -7802 h 55336"/>
                <a:gd name="csX6" fmla="*/ 271201 w 275121"/>
                <a:gd name="csY6" fmla="*/ 47534 h 55336"/>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275121" h="55336">
                  <a:moveTo>
                    <a:pt x="271201" y="47534"/>
                  </a:moveTo>
                  <a:lnTo>
                    <a:pt x="-3920" y="47534"/>
                  </a:lnTo>
                  <a:lnTo>
                    <a:pt x="727" y="-6831"/>
                  </a:lnTo>
                  <a:cubicBezTo>
                    <a:pt x="837" y="-6819"/>
                    <a:pt x="947" y="-6797"/>
                    <a:pt x="1062" y="-6797"/>
                  </a:cubicBezTo>
                  <a:lnTo>
                    <a:pt x="263844" y="-6797"/>
                  </a:lnTo>
                  <a:cubicBezTo>
                    <a:pt x="264859" y="-6797"/>
                    <a:pt x="265770" y="-7187"/>
                    <a:pt x="266478" y="-7802"/>
                  </a:cubicBezTo>
                  <a:lnTo>
                    <a:pt x="271201" y="47534"/>
                  </a:lnTo>
                </a:path>
              </a:pathLst>
            </a:custGeom>
            <a:grpFill/>
            <a:ln w="548" cap="flat">
              <a:noFill/>
              <a:prstDash val="solid"/>
              <a:miter/>
            </a:ln>
          </p:spPr>
          <p:txBody>
            <a:bodyPr/>
            <a:lstStyle/>
            <a:p>
              <a:endParaRPr lang="en-US"/>
            </a:p>
          </p:txBody>
        </p:sp>
        <p:sp>
          <p:nvSpPr>
            <p:cNvPr id="23" name="Freeform: Shape 22">
              <a:extLst>
                <a:ext uri="{FF2B5EF4-FFF2-40B4-BE49-F238E27FC236}">
                  <a16:creationId xmlns:a16="http://schemas.microsoft.com/office/drawing/2014/main" id="{E90050D7-46A2-686A-6944-19A8B39FFB0B}"/>
                </a:ext>
              </a:extLst>
            </p:cNvPr>
            <p:cNvSpPr/>
            <p:nvPr/>
          </p:nvSpPr>
          <p:spPr>
            <a:xfrm flipV="1">
              <a:off x="20122200" y="3560860"/>
              <a:ext cx="232519" cy="54359"/>
            </a:xfrm>
            <a:custGeom>
              <a:avLst/>
              <a:gdLst>
                <a:gd name="csX0" fmla="*/ 223952 w 232519"/>
                <a:gd name="csY0" fmla="*/ -7203 h 54359"/>
                <a:gd name="csX1" fmla="*/ 228599 w 232519"/>
                <a:gd name="csY1" fmla="*/ 47156 h 54359"/>
                <a:gd name="csX2" fmla="*/ -3920 w 232519"/>
                <a:gd name="csY2" fmla="*/ 47156 h 54359"/>
                <a:gd name="csX3" fmla="*/ 727 w 232519"/>
                <a:gd name="csY3" fmla="*/ -7203 h 54359"/>
                <a:gd name="csX4" fmla="*/ 1062 w 232519"/>
                <a:gd name="csY4" fmla="*/ -7170 h 54359"/>
                <a:gd name="csX5" fmla="*/ 223612 w 232519"/>
                <a:gd name="csY5" fmla="*/ -7170 h 54359"/>
                <a:gd name="csX6" fmla="*/ 223952 w 232519"/>
                <a:gd name="csY6" fmla="*/ -7203 h 54359"/>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232519" h="54359">
                  <a:moveTo>
                    <a:pt x="223952" y="-7203"/>
                  </a:moveTo>
                  <a:lnTo>
                    <a:pt x="228599" y="47156"/>
                  </a:lnTo>
                  <a:lnTo>
                    <a:pt x="-3920" y="47156"/>
                  </a:lnTo>
                  <a:lnTo>
                    <a:pt x="727" y="-7203"/>
                  </a:lnTo>
                  <a:cubicBezTo>
                    <a:pt x="837" y="-7197"/>
                    <a:pt x="947" y="-7170"/>
                    <a:pt x="1062" y="-7170"/>
                  </a:cubicBezTo>
                  <a:lnTo>
                    <a:pt x="223612" y="-7170"/>
                  </a:lnTo>
                  <a:cubicBezTo>
                    <a:pt x="223728" y="-7170"/>
                    <a:pt x="223837" y="-7197"/>
                    <a:pt x="223952" y="-7203"/>
                  </a:cubicBezTo>
                </a:path>
              </a:pathLst>
            </a:custGeom>
            <a:grpFill/>
            <a:ln w="548" cap="flat">
              <a:noFill/>
              <a:prstDash val="solid"/>
              <a:miter/>
            </a:ln>
          </p:spPr>
          <p:txBody>
            <a:bodyPr/>
            <a:lstStyle/>
            <a:p>
              <a:endParaRPr lang="en-US"/>
            </a:p>
          </p:txBody>
        </p:sp>
        <p:sp>
          <p:nvSpPr>
            <p:cNvPr id="24" name="Freeform: Shape 23">
              <a:extLst>
                <a:ext uri="{FF2B5EF4-FFF2-40B4-BE49-F238E27FC236}">
                  <a16:creationId xmlns:a16="http://schemas.microsoft.com/office/drawing/2014/main" id="{DA714C02-6147-0A56-8BBC-BA88A153A45E}"/>
                </a:ext>
              </a:extLst>
            </p:cNvPr>
            <p:cNvSpPr/>
            <p:nvPr/>
          </p:nvSpPr>
          <p:spPr>
            <a:xfrm flipV="1">
              <a:off x="20090242" y="3186874"/>
              <a:ext cx="296430" cy="54364"/>
            </a:xfrm>
            <a:custGeom>
              <a:avLst/>
              <a:gdLst>
                <a:gd name="csX0" fmla="*/ 287864 w 296430"/>
                <a:gd name="csY0" fmla="*/ -8103 h 54364"/>
                <a:gd name="csX1" fmla="*/ 292510 w 296430"/>
                <a:gd name="csY1" fmla="*/ 46262 h 54364"/>
                <a:gd name="csX2" fmla="*/ -3920 w 296430"/>
                <a:gd name="csY2" fmla="*/ 46262 h 54364"/>
                <a:gd name="csX3" fmla="*/ 727 w 296430"/>
                <a:gd name="csY3" fmla="*/ -8103 h 54364"/>
                <a:gd name="csX4" fmla="*/ 1067 w 296430"/>
                <a:gd name="csY4" fmla="*/ -8070 h 54364"/>
                <a:gd name="csX5" fmla="*/ 287523 w 296430"/>
                <a:gd name="csY5" fmla="*/ -8070 h 54364"/>
                <a:gd name="csX6" fmla="*/ 287864 w 296430"/>
                <a:gd name="csY6" fmla="*/ -8103 h 54364"/>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296430" h="54364">
                  <a:moveTo>
                    <a:pt x="287864" y="-8103"/>
                  </a:moveTo>
                  <a:lnTo>
                    <a:pt x="292510" y="46262"/>
                  </a:lnTo>
                  <a:lnTo>
                    <a:pt x="-3920" y="46262"/>
                  </a:lnTo>
                  <a:lnTo>
                    <a:pt x="727" y="-8103"/>
                  </a:lnTo>
                  <a:cubicBezTo>
                    <a:pt x="843" y="-8092"/>
                    <a:pt x="952" y="-8070"/>
                    <a:pt x="1067" y="-8070"/>
                  </a:cubicBezTo>
                  <a:lnTo>
                    <a:pt x="287523" y="-8070"/>
                  </a:lnTo>
                  <a:cubicBezTo>
                    <a:pt x="287644" y="-8070"/>
                    <a:pt x="287754" y="-8092"/>
                    <a:pt x="287864" y="-8103"/>
                  </a:cubicBezTo>
                </a:path>
              </a:pathLst>
            </a:custGeom>
            <a:grpFill/>
            <a:ln w="548" cap="flat">
              <a:noFill/>
              <a:prstDash val="solid"/>
              <a:miter/>
            </a:ln>
          </p:spPr>
          <p:txBody>
            <a:bodyPr/>
            <a:lstStyle/>
            <a:p>
              <a:endParaRPr lang="en-US"/>
            </a:p>
          </p:txBody>
        </p:sp>
        <p:sp>
          <p:nvSpPr>
            <p:cNvPr id="25" name="Freeform: Shape 24">
              <a:extLst>
                <a:ext uri="{FF2B5EF4-FFF2-40B4-BE49-F238E27FC236}">
                  <a16:creationId xmlns:a16="http://schemas.microsoft.com/office/drawing/2014/main" id="{6328C9B4-1799-C950-5133-DB82C9A2245A}"/>
                </a:ext>
              </a:extLst>
            </p:cNvPr>
            <p:cNvSpPr/>
            <p:nvPr/>
          </p:nvSpPr>
          <p:spPr>
            <a:xfrm flipV="1">
              <a:off x="20063617" y="2875225"/>
              <a:ext cx="349686" cy="55094"/>
            </a:xfrm>
            <a:custGeom>
              <a:avLst/>
              <a:gdLst>
                <a:gd name="csX0" fmla="*/ 345767 w 349686"/>
                <a:gd name="csY0" fmla="*/ 46243 h 55094"/>
                <a:gd name="csX1" fmla="*/ -3920 w 349686"/>
                <a:gd name="csY1" fmla="*/ 46243 h 55094"/>
                <a:gd name="csX2" fmla="*/ 727 w 349686"/>
                <a:gd name="csY2" fmla="*/ -8122 h 55094"/>
                <a:gd name="csX3" fmla="*/ 1062 w 349686"/>
                <a:gd name="csY3" fmla="*/ -8089 h 55094"/>
                <a:gd name="csX4" fmla="*/ 338722 w 349686"/>
                <a:gd name="csY4" fmla="*/ -8089 h 55094"/>
                <a:gd name="csX5" fmla="*/ 341054 w 349686"/>
                <a:gd name="csY5" fmla="*/ -8852 h 55094"/>
                <a:gd name="csX6" fmla="*/ 345767 w 349686"/>
                <a:gd name="csY6" fmla="*/ 46243 h 55094"/>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49686" h="55094">
                  <a:moveTo>
                    <a:pt x="345767" y="46243"/>
                  </a:moveTo>
                  <a:lnTo>
                    <a:pt x="-3920" y="46243"/>
                  </a:lnTo>
                  <a:lnTo>
                    <a:pt x="727" y="-8122"/>
                  </a:lnTo>
                  <a:cubicBezTo>
                    <a:pt x="837" y="-8111"/>
                    <a:pt x="946" y="-8089"/>
                    <a:pt x="1062" y="-8089"/>
                  </a:cubicBezTo>
                  <a:lnTo>
                    <a:pt x="338722" y="-8089"/>
                  </a:lnTo>
                  <a:cubicBezTo>
                    <a:pt x="339595" y="-8089"/>
                    <a:pt x="340396" y="-8380"/>
                    <a:pt x="341054" y="-8852"/>
                  </a:cubicBezTo>
                  <a:lnTo>
                    <a:pt x="345767" y="46243"/>
                  </a:lnTo>
                </a:path>
              </a:pathLst>
            </a:custGeom>
            <a:grpFill/>
            <a:ln w="548" cap="flat">
              <a:noFill/>
              <a:prstDash val="solid"/>
              <a:miter/>
            </a:ln>
          </p:spPr>
          <p:txBody>
            <a:bodyPr/>
            <a:lstStyle/>
            <a:p>
              <a:endParaRPr lang="en-US"/>
            </a:p>
          </p:txBody>
        </p:sp>
        <p:sp>
          <p:nvSpPr>
            <p:cNvPr id="26" name="Freeform: Shape 25">
              <a:extLst>
                <a:ext uri="{FF2B5EF4-FFF2-40B4-BE49-F238E27FC236}">
                  <a16:creationId xmlns:a16="http://schemas.microsoft.com/office/drawing/2014/main" id="{F39FBB8D-CDAF-9073-9C96-9A40F35E26CA}"/>
                </a:ext>
              </a:extLst>
            </p:cNvPr>
            <p:cNvSpPr/>
            <p:nvPr/>
          </p:nvSpPr>
          <p:spPr>
            <a:xfrm flipV="1">
              <a:off x="20074266" y="2999887"/>
              <a:ext cx="328383" cy="54370"/>
            </a:xfrm>
            <a:custGeom>
              <a:avLst/>
              <a:gdLst>
                <a:gd name="csX0" fmla="*/ 319816 w 328383"/>
                <a:gd name="csY0" fmla="*/ -8547 h 54370"/>
                <a:gd name="csX1" fmla="*/ 324463 w 328383"/>
                <a:gd name="csY1" fmla="*/ 45818 h 54370"/>
                <a:gd name="csX2" fmla="*/ -3920 w 328383"/>
                <a:gd name="csY2" fmla="*/ 45818 h 54370"/>
                <a:gd name="csX3" fmla="*/ 727 w 328383"/>
                <a:gd name="csY3" fmla="*/ -8553 h 54370"/>
                <a:gd name="csX4" fmla="*/ 1155 w 328383"/>
                <a:gd name="csY4" fmla="*/ -8509 h 54370"/>
                <a:gd name="csX5" fmla="*/ 319482 w 328383"/>
                <a:gd name="csY5" fmla="*/ -8509 h 54370"/>
                <a:gd name="csX6" fmla="*/ 319816 w 328383"/>
                <a:gd name="csY6" fmla="*/ -8547 h 54370"/>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28383" h="54370">
                  <a:moveTo>
                    <a:pt x="319816" y="-8547"/>
                  </a:moveTo>
                  <a:lnTo>
                    <a:pt x="324463" y="45818"/>
                  </a:lnTo>
                  <a:lnTo>
                    <a:pt x="-3920" y="45818"/>
                  </a:lnTo>
                  <a:lnTo>
                    <a:pt x="727" y="-8553"/>
                  </a:lnTo>
                  <a:cubicBezTo>
                    <a:pt x="870" y="-8536"/>
                    <a:pt x="1007" y="-8509"/>
                    <a:pt x="1155" y="-8509"/>
                  </a:cubicBezTo>
                  <a:lnTo>
                    <a:pt x="319482" y="-8509"/>
                  </a:lnTo>
                  <a:cubicBezTo>
                    <a:pt x="319597" y="-8509"/>
                    <a:pt x="319707" y="-8536"/>
                    <a:pt x="319816" y="-8547"/>
                  </a:cubicBezTo>
                </a:path>
              </a:pathLst>
            </a:custGeom>
            <a:grpFill/>
            <a:ln w="548" cap="flat">
              <a:noFill/>
              <a:prstDash val="solid"/>
              <a:miter/>
            </a:ln>
          </p:spPr>
          <p:txBody>
            <a:bodyPr/>
            <a:lstStyle/>
            <a:p>
              <a:endParaRPr lang="en-US"/>
            </a:p>
          </p:txBody>
        </p:sp>
        <p:sp>
          <p:nvSpPr>
            <p:cNvPr id="27" name="Freeform: Shape 26">
              <a:extLst>
                <a:ext uri="{FF2B5EF4-FFF2-40B4-BE49-F238E27FC236}">
                  <a16:creationId xmlns:a16="http://schemas.microsoft.com/office/drawing/2014/main" id="{B837F5FF-F398-0D6C-3DDD-8335EB3E0276}"/>
                </a:ext>
              </a:extLst>
            </p:cNvPr>
            <p:cNvSpPr/>
            <p:nvPr/>
          </p:nvSpPr>
          <p:spPr>
            <a:xfrm flipV="1">
              <a:off x="20068944" y="2937133"/>
              <a:ext cx="339064" cy="54787"/>
            </a:xfrm>
            <a:custGeom>
              <a:avLst/>
              <a:gdLst>
                <a:gd name="csX0" fmla="*/ 330465 w 339064"/>
                <a:gd name="csY0" fmla="*/ -8703 h 54787"/>
                <a:gd name="csX1" fmla="*/ 335145 w 339064"/>
                <a:gd name="csY1" fmla="*/ 46084 h 54787"/>
                <a:gd name="csX2" fmla="*/ 333395 w 339064"/>
                <a:gd name="csY2" fmla="*/ 45662 h 54787"/>
                <a:gd name="csX3" fmla="*/ -3920 w 339064"/>
                <a:gd name="csY3" fmla="*/ 45662 h 54787"/>
                <a:gd name="csX4" fmla="*/ 727 w 339064"/>
                <a:gd name="csY4" fmla="*/ -8703 h 54787"/>
                <a:gd name="csX5" fmla="*/ 1062 w 339064"/>
                <a:gd name="csY5" fmla="*/ -8664 h 54787"/>
                <a:gd name="csX6" fmla="*/ 330130 w 339064"/>
                <a:gd name="csY6" fmla="*/ -8664 h 54787"/>
                <a:gd name="csX7" fmla="*/ 330465 w 339064"/>
                <a:gd name="csY7" fmla="*/ -8703 h 54787"/>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339064" h="54787">
                  <a:moveTo>
                    <a:pt x="330465" y="-8703"/>
                  </a:moveTo>
                  <a:lnTo>
                    <a:pt x="335145" y="46084"/>
                  </a:lnTo>
                  <a:cubicBezTo>
                    <a:pt x="334613" y="45821"/>
                    <a:pt x="334026" y="45662"/>
                    <a:pt x="333395" y="45662"/>
                  </a:cubicBezTo>
                  <a:lnTo>
                    <a:pt x="-3920" y="45662"/>
                  </a:lnTo>
                  <a:lnTo>
                    <a:pt x="727" y="-8703"/>
                  </a:lnTo>
                  <a:cubicBezTo>
                    <a:pt x="837" y="-8692"/>
                    <a:pt x="946" y="-8664"/>
                    <a:pt x="1062" y="-8664"/>
                  </a:cubicBezTo>
                  <a:lnTo>
                    <a:pt x="330130" y="-8664"/>
                  </a:lnTo>
                  <a:cubicBezTo>
                    <a:pt x="330240" y="-8664"/>
                    <a:pt x="330350" y="-8692"/>
                    <a:pt x="330465" y="-8703"/>
                  </a:cubicBezTo>
                </a:path>
              </a:pathLst>
            </a:custGeom>
            <a:grpFill/>
            <a:ln w="548" cap="flat">
              <a:noFill/>
              <a:prstDash val="solid"/>
              <a:miter/>
            </a:ln>
          </p:spPr>
          <p:txBody>
            <a:bodyPr/>
            <a:lstStyle/>
            <a:p>
              <a:endParaRPr lang="en-US"/>
            </a:p>
          </p:txBody>
        </p:sp>
        <p:sp>
          <p:nvSpPr>
            <p:cNvPr id="28" name="Freeform: Shape 27">
              <a:extLst>
                <a:ext uri="{FF2B5EF4-FFF2-40B4-BE49-F238E27FC236}">
                  <a16:creationId xmlns:a16="http://schemas.microsoft.com/office/drawing/2014/main" id="{E77C0E7F-964C-8635-48D8-27637BF171FF}"/>
                </a:ext>
              </a:extLst>
            </p:cNvPr>
            <p:cNvSpPr/>
            <p:nvPr/>
          </p:nvSpPr>
          <p:spPr>
            <a:xfrm flipV="1">
              <a:off x="20057680" y="2805756"/>
              <a:ext cx="361553" cy="61502"/>
            </a:xfrm>
            <a:custGeom>
              <a:avLst/>
              <a:gdLst>
                <a:gd name="csX0" fmla="*/ 352378 w 361553"/>
                <a:gd name="csY0" fmla="*/ -9011 h 61502"/>
                <a:gd name="csX1" fmla="*/ 357634 w 361553"/>
                <a:gd name="csY1" fmla="*/ 52492 h 61502"/>
                <a:gd name="csX2" fmla="*/ -3920 w 361553"/>
                <a:gd name="csY2" fmla="*/ 52492 h 61502"/>
                <a:gd name="csX3" fmla="*/ 1336 w 361553"/>
                <a:gd name="csY3" fmla="*/ -9011 h 61502"/>
                <a:gd name="csX4" fmla="*/ 1676 w 361553"/>
                <a:gd name="csY4" fmla="*/ -8978 h 61502"/>
                <a:gd name="csX5" fmla="*/ 352043 w 361553"/>
                <a:gd name="csY5" fmla="*/ -8978 h 61502"/>
                <a:gd name="csX6" fmla="*/ 352378 w 361553"/>
                <a:gd name="csY6" fmla="*/ -9011 h 61502"/>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61553" h="61502">
                  <a:moveTo>
                    <a:pt x="352378" y="-9011"/>
                  </a:moveTo>
                  <a:lnTo>
                    <a:pt x="357634" y="52492"/>
                  </a:lnTo>
                  <a:lnTo>
                    <a:pt x="-3920" y="52492"/>
                  </a:lnTo>
                  <a:lnTo>
                    <a:pt x="1336" y="-9011"/>
                  </a:lnTo>
                  <a:cubicBezTo>
                    <a:pt x="1446" y="-9006"/>
                    <a:pt x="1556" y="-8978"/>
                    <a:pt x="1676" y="-8978"/>
                  </a:cubicBezTo>
                  <a:lnTo>
                    <a:pt x="352043" y="-8978"/>
                  </a:lnTo>
                  <a:cubicBezTo>
                    <a:pt x="352159" y="-8978"/>
                    <a:pt x="352268" y="-9006"/>
                    <a:pt x="352378" y="-9011"/>
                  </a:cubicBezTo>
                </a:path>
              </a:pathLst>
            </a:custGeom>
            <a:grpFill/>
            <a:ln w="548" cap="flat">
              <a:noFill/>
              <a:prstDash val="solid"/>
              <a:miter/>
            </a:ln>
          </p:spPr>
          <p:txBody>
            <a:bodyPr/>
            <a:lstStyle/>
            <a:p>
              <a:endParaRPr lang="en-US"/>
            </a:p>
          </p:txBody>
        </p:sp>
        <p:sp>
          <p:nvSpPr>
            <p:cNvPr id="29" name="Freeform: Shape 28">
              <a:extLst>
                <a:ext uri="{FF2B5EF4-FFF2-40B4-BE49-F238E27FC236}">
                  <a16:creationId xmlns:a16="http://schemas.microsoft.com/office/drawing/2014/main" id="{9F136D11-4033-B912-6F2C-C3DCF7876990}"/>
                </a:ext>
              </a:extLst>
            </p:cNvPr>
            <p:cNvSpPr/>
            <p:nvPr/>
          </p:nvSpPr>
          <p:spPr>
            <a:xfrm flipV="1">
              <a:off x="20095569" y="3249205"/>
              <a:ext cx="285775" cy="54381"/>
            </a:xfrm>
            <a:custGeom>
              <a:avLst/>
              <a:gdLst>
                <a:gd name="csX0" fmla="*/ 277209 w 285775"/>
                <a:gd name="csY0" fmla="*/ -7936 h 54381"/>
                <a:gd name="csX1" fmla="*/ 281856 w 285775"/>
                <a:gd name="csY1" fmla="*/ 46429 h 54381"/>
                <a:gd name="csX2" fmla="*/ -3920 w 285775"/>
                <a:gd name="csY2" fmla="*/ 46429 h 54381"/>
                <a:gd name="csX3" fmla="*/ 727 w 285775"/>
                <a:gd name="csY3" fmla="*/ -7953 h 54381"/>
                <a:gd name="csX4" fmla="*/ 1199 w 285775"/>
                <a:gd name="csY4" fmla="*/ -7903 h 54381"/>
                <a:gd name="csX5" fmla="*/ 276869 w 285775"/>
                <a:gd name="csY5" fmla="*/ -7903 h 54381"/>
                <a:gd name="csX6" fmla="*/ 277209 w 285775"/>
                <a:gd name="csY6" fmla="*/ -7936 h 54381"/>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285775" h="54381">
                  <a:moveTo>
                    <a:pt x="277209" y="-7936"/>
                  </a:moveTo>
                  <a:lnTo>
                    <a:pt x="281856" y="46429"/>
                  </a:lnTo>
                  <a:lnTo>
                    <a:pt x="-3920" y="46429"/>
                  </a:lnTo>
                  <a:lnTo>
                    <a:pt x="727" y="-7953"/>
                  </a:lnTo>
                  <a:cubicBezTo>
                    <a:pt x="886" y="-7931"/>
                    <a:pt x="1035" y="-7903"/>
                    <a:pt x="1199" y="-7903"/>
                  </a:cubicBezTo>
                  <a:lnTo>
                    <a:pt x="276869" y="-7903"/>
                  </a:lnTo>
                  <a:cubicBezTo>
                    <a:pt x="276990" y="-7903"/>
                    <a:pt x="277094" y="-7925"/>
                    <a:pt x="277209" y="-7936"/>
                  </a:cubicBezTo>
                </a:path>
              </a:pathLst>
            </a:custGeom>
            <a:grpFill/>
            <a:ln w="548" cap="flat">
              <a:noFill/>
              <a:prstDash val="solid"/>
              <a:miter/>
            </a:ln>
          </p:spPr>
          <p:txBody>
            <a:bodyPr/>
            <a:lstStyle/>
            <a:p>
              <a:endParaRPr lang="en-US"/>
            </a:p>
          </p:txBody>
        </p:sp>
        <p:sp>
          <p:nvSpPr>
            <p:cNvPr id="30" name="Freeform: Shape 29">
              <a:extLst>
                <a:ext uri="{FF2B5EF4-FFF2-40B4-BE49-F238E27FC236}">
                  <a16:creationId xmlns:a16="http://schemas.microsoft.com/office/drawing/2014/main" id="{4BF2E381-61A4-942F-28F2-8329AE88D091}"/>
                </a:ext>
              </a:extLst>
            </p:cNvPr>
            <p:cNvSpPr/>
            <p:nvPr/>
          </p:nvSpPr>
          <p:spPr>
            <a:xfrm flipV="1">
              <a:off x="20138177" y="3747853"/>
              <a:ext cx="200560" cy="54359"/>
            </a:xfrm>
            <a:custGeom>
              <a:avLst/>
              <a:gdLst>
                <a:gd name="csX0" fmla="*/ 192000 w 200560"/>
                <a:gd name="csY0" fmla="*/ -6753 h 54359"/>
                <a:gd name="csX1" fmla="*/ 196641 w 200560"/>
                <a:gd name="csY1" fmla="*/ 47606 h 54359"/>
                <a:gd name="csX2" fmla="*/ -3920 w 200560"/>
                <a:gd name="csY2" fmla="*/ 47606 h 54359"/>
                <a:gd name="csX3" fmla="*/ 727 w 200560"/>
                <a:gd name="csY3" fmla="*/ -6736 h 54359"/>
                <a:gd name="csX4" fmla="*/ 925 w 200560"/>
                <a:gd name="csY4" fmla="*/ -6720 h 54359"/>
                <a:gd name="csX5" fmla="*/ 191654 w 200560"/>
                <a:gd name="csY5" fmla="*/ -6720 h 54359"/>
                <a:gd name="csX6" fmla="*/ 192000 w 200560"/>
                <a:gd name="csY6" fmla="*/ -6753 h 54359"/>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200560" h="54359">
                  <a:moveTo>
                    <a:pt x="192000" y="-6753"/>
                  </a:moveTo>
                  <a:lnTo>
                    <a:pt x="196641" y="47606"/>
                  </a:lnTo>
                  <a:lnTo>
                    <a:pt x="-3920" y="47606"/>
                  </a:lnTo>
                  <a:lnTo>
                    <a:pt x="727" y="-6736"/>
                  </a:lnTo>
                  <a:cubicBezTo>
                    <a:pt x="793" y="-6736"/>
                    <a:pt x="853" y="-6720"/>
                    <a:pt x="925" y="-6720"/>
                  </a:cubicBezTo>
                  <a:lnTo>
                    <a:pt x="191654" y="-6720"/>
                  </a:lnTo>
                  <a:cubicBezTo>
                    <a:pt x="191775" y="-6720"/>
                    <a:pt x="191884" y="-6742"/>
                    <a:pt x="192000" y="-6753"/>
                  </a:cubicBezTo>
                </a:path>
              </a:pathLst>
            </a:custGeom>
            <a:grpFill/>
            <a:ln w="548" cap="flat">
              <a:noFill/>
              <a:prstDash val="solid"/>
              <a:miter/>
            </a:ln>
          </p:spPr>
          <p:txBody>
            <a:bodyPr/>
            <a:lstStyle/>
            <a:p>
              <a:endParaRPr lang="en-US"/>
            </a:p>
          </p:txBody>
        </p:sp>
        <p:sp>
          <p:nvSpPr>
            <p:cNvPr id="31" name="Freeform: Shape 30">
              <a:extLst>
                <a:ext uri="{FF2B5EF4-FFF2-40B4-BE49-F238E27FC236}">
                  <a16:creationId xmlns:a16="http://schemas.microsoft.com/office/drawing/2014/main" id="{B01BCECF-F4F4-FAE3-88E4-6AC96F27C93F}"/>
                </a:ext>
              </a:extLst>
            </p:cNvPr>
            <p:cNvSpPr/>
            <p:nvPr/>
          </p:nvSpPr>
          <p:spPr>
            <a:xfrm flipV="1">
              <a:off x="20084920" y="3124549"/>
              <a:ext cx="307073" cy="54364"/>
            </a:xfrm>
            <a:custGeom>
              <a:avLst/>
              <a:gdLst>
                <a:gd name="csX0" fmla="*/ 298513 w 307073"/>
                <a:gd name="csY0" fmla="*/ -8253 h 54364"/>
                <a:gd name="csX1" fmla="*/ 303154 w 307073"/>
                <a:gd name="csY1" fmla="*/ 46112 h 54364"/>
                <a:gd name="csX2" fmla="*/ -3920 w 307073"/>
                <a:gd name="csY2" fmla="*/ 46112 h 54364"/>
                <a:gd name="csX3" fmla="*/ 722 w 307073"/>
                <a:gd name="csY3" fmla="*/ -8231 h 54364"/>
                <a:gd name="csX4" fmla="*/ 886 w 307073"/>
                <a:gd name="csY4" fmla="*/ -8214 h 54364"/>
                <a:gd name="csX5" fmla="*/ 298172 w 307073"/>
                <a:gd name="csY5" fmla="*/ -8214 h 54364"/>
                <a:gd name="csX6" fmla="*/ 298513 w 307073"/>
                <a:gd name="csY6" fmla="*/ -8253 h 54364"/>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07073" h="54364">
                  <a:moveTo>
                    <a:pt x="298513" y="-8253"/>
                  </a:moveTo>
                  <a:lnTo>
                    <a:pt x="303154" y="46112"/>
                  </a:lnTo>
                  <a:lnTo>
                    <a:pt x="-3920" y="46112"/>
                  </a:lnTo>
                  <a:lnTo>
                    <a:pt x="722" y="-8231"/>
                  </a:lnTo>
                  <a:cubicBezTo>
                    <a:pt x="777" y="-8231"/>
                    <a:pt x="832" y="-8214"/>
                    <a:pt x="886" y="-8214"/>
                  </a:cubicBezTo>
                  <a:lnTo>
                    <a:pt x="298172" y="-8214"/>
                  </a:lnTo>
                  <a:cubicBezTo>
                    <a:pt x="298288" y="-8214"/>
                    <a:pt x="298397" y="-8241"/>
                    <a:pt x="298513" y="-8253"/>
                  </a:cubicBezTo>
                </a:path>
              </a:pathLst>
            </a:custGeom>
            <a:grpFill/>
            <a:ln w="548" cap="flat">
              <a:noFill/>
              <a:prstDash val="solid"/>
              <a:miter/>
            </a:ln>
          </p:spPr>
          <p:txBody>
            <a:bodyPr/>
            <a:lstStyle/>
            <a:p>
              <a:endParaRPr lang="en-US"/>
            </a:p>
          </p:txBody>
        </p:sp>
        <p:sp>
          <p:nvSpPr>
            <p:cNvPr id="32" name="Freeform: Shape 31">
              <a:extLst>
                <a:ext uri="{FF2B5EF4-FFF2-40B4-BE49-F238E27FC236}">
                  <a16:creationId xmlns:a16="http://schemas.microsoft.com/office/drawing/2014/main" id="{F534613C-ECE7-4494-30CE-3FB7538B0DE0}"/>
                </a:ext>
              </a:extLst>
            </p:cNvPr>
            <p:cNvSpPr/>
            <p:nvPr/>
          </p:nvSpPr>
          <p:spPr>
            <a:xfrm flipV="1">
              <a:off x="20079593" y="3062218"/>
              <a:ext cx="317728" cy="54364"/>
            </a:xfrm>
            <a:custGeom>
              <a:avLst/>
              <a:gdLst>
                <a:gd name="csX0" fmla="*/ 309167 w 317728"/>
                <a:gd name="csY0" fmla="*/ -8392 h 54364"/>
                <a:gd name="csX1" fmla="*/ 313809 w 317728"/>
                <a:gd name="csY1" fmla="*/ 45962 h 54364"/>
                <a:gd name="csX2" fmla="*/ -3920 w 317728"/>
                <a:gd name="csY2" fmla="*/ 45962 h 54364"/>
                <a:gd name="csX3" fmla="*/ 727 w 317728"/>
                <a:gd name="csY3" fmla="*/ -8403 h 54364"/>
                <a:gd name="csX4" fmla="*/ 1068 w 317728"/>
                <a:gd name="csY4" fmla="*/ -8365 h 54364"/>
                <a:gd name="csX5" fmla="*/ 308909 w 317728"/>
                <a:gd name="csY5" fmla="*/ -8365 h 54364"/>
                <a:gd name="csX6" fmla="*/ 309167 w 317728"/>
                <a:gd name="csY6" fmla="*/ -8392 h 54364"/>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17728" h="54364">
                  <a:moveTo>
                    <a:pt x="309167" y="-8392"/>
                  </a:moveTo>
                  <a:lnTo>
                    <a:pt x="313809" y="45962"/>
                  </a:lnTo>
                  <a:lnTo>
                    <a:pt x="-3920" y="45962"/>
                  </a:lnTo>
                  <a:lnTo>
                    <a:pt x="727" y="-8403"/>
                  </a:lnTo>
                  <a:cubicBezTo>
                    <a:pt x="837" y="-8392"/>
                    <a:pt x="947" y="-8365"/>
                    <a:pt x="1068" y="-8365"/>
                  </a:cubicBezTo>
                  <a:lnTo>
                    <a:pt x="308909" y="-8365"/>
                  </a:lnTo>
                  <a:cubicBezTo>
                    <a:pt x="308997" y="-8365"/>
                    <a:pt x="309079" y="-8386"/>
                    <a:pt x="309167" y="-8392"/>
                  </a:cubicBezTo>
                </a:path>
              </a:pathLst>
            </a:custGeom>
            <a:grpFill/>
            <a:ln w="548" cap="flat">
              <a:noFill/>
              <a:prstDash val="solid"/>
              <a:miter/>
            </a:ln>
          </p:spPr>
          <p:txBody>
            <a:bodyPr/>
            <a:lstStyle/>
            <a:p>
              <a:endParaRPr lang="en-US"/>
            </a:p>
          </p:txBody>
        </p:sp>
        <p:sp>
          <p:nvSpPr>
            <p:cNvPr id="33" name="Freeform: Shape 32">
              <a:extLst>
                <a:ext uri="{FF2B5EF4-FFF2-40B4-BE49-F238E27FC236}">
                  <a16:creationId xmlns:a16="http://schemas.microsoft.com/office/drawing/2014/main" id="{7A595568-9605-7A4E-20A3-2E49FD1DFDE5}"/>
                </a:ext>
              </a:extLst>
            </p:cNvPr>
            <p:cNvSpPr/>
            <p:nvPr/>
          </p:nvSpPr>
          <p:spPr>
            <a:xfrm flipV="1">
              <a:off x="20143504" y="3810179"/>
              <a:ext cx="189911" cy="54391"/>
            </a:xfrm>
            <a:custGeom>
              <a:avLst/>
              <a:gdLst>
                <a:gd name="csX0" fmla="*/ 181339 w 189911"/>
                <a:gd name="csY0" fmla="*/ -6603 h 54391"/>
                <a:gd name="csX1" fmla="*/ 185992 w 189911"/>
                <a:gd name="csY1" fmla="*/ 47789 h 54391"/>
                <a:gd name="csX2" fmla="*/ -3920 w 189911"/>
                <a:gd name="csY2" fmla="*/ 47789 h 54391"/>
                <a:gd name="csX3" fmla="*/ 727 w 189911"/>
                <a:gd name="csY3" fmla="*/ -6576 h 54391"/>
                <a:gd name="csX4" fmla="*/ 1062 w 189911"/>
                <a:gd name="csY4" fmla="*/ -6543 h 54391"/>
                <a:gd name="csX5" fmla="*/ 180709 w 189911"/>
                <a:gd name="csY5" fmla="*/ -6543 h 54391"/>
                <a:gd name="csX6" fmla="*/ 181339 w 189911"/>
                <a:gd name="csY6" fmla="*/ -6603 h 54391"/>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189911" h="54391">
                  <a:moveTo>
                    <a:pt x="181339" y="-6603"/>
                  </a:moveTo>
                  <a:lnTo>
                    <a:pt x="185992" y="47789"/>
                  </a:lnTo>
                  <a:lnTo>
                    <a:pt x="-3920" y="47789"/>
                  </a:lnTo>
                  <a:lnTo>
                    <a:pt x="727" y="-6576"/>
                  </a:lnTo>
                  <a:cubicBezTo>
                    <a:pt x="837" y="-6565"/>
                    <a:pt x="947" y="-6543"/>
                    <a:pt x="1062" y="-6543"/>
                  </a:cubicBezTo>
                  <a:lnTo>
                    <a:pt x="180709" y="-6543"/>
                  </a:lnTo>
                  <a:cubicBezTo>
                    <a:pt x="180923" y="-6543"/>
                    <a:pt x="181136" y="-6576"/>
                    <a:pt x="181339" y="-6603"/>
                  </a:cubicBezTo>
                </a:path>
              </a:pathLst>
            </a:custGeom>
            <a:grpFill/>
            <a:ln w="548" cap="flat">
              <a:noFill/>
              <a:prstDash val="solid"/>
              <a:miter/>
            </a:ln>
          </p:spPr>
          <p:txBody>
            <a:bodyPr/>
            <a:lstStyle/>
            <a:p>
              <a:endParaRPr lang="en-US"/>
            </a:p>
          </p:txBody>
        </p:sp>
        <p:sp>
          <p:nvSpPr>
            <p:cNvPr id="34" name="Freeform: Shape 33">
              <a:extLst>
                <a:ext uri="{FF2B5EF4-FFF2-40B4-BE49-F238E27FC236}">
                  <a16:creationId xmlns:a16="http://schemas.microsoft.com/office/drawing/2014/main" id="{A7291E11-4493-4813-25CF-38810A988033}"/>
                </a:ext>
              </a:extLst>
            </p:cNvPr>
            <p:cNvSpPr/>
            <p:nvPr/>
          </p:nvSpPr>
          <p:spPr>
            <a:xfrm flipV="1">
              <a:off x="20191439" y="4371152"/>
              <a:ext cx="94042" cy="54359"/>
            </a:xfrm>
            <a:custGeom>
              <a:avLst/>
              <a:gdLst>
                <a:gd name="csX0" fmla="*/ 85476 w 94042"/>
                <a:gd name="csY0" fmla="*/ -5253 h 54359"/>
                <a:gd name="csX1" fmla="*/ 90122 w 94042"/>
                <a:gd name="csY1" fmla="*/ 49106 h 54359"/>
                <a:gd name="csX2" fmla="*/ -3920 w 94042"/>
                <a:gd name="csY2" fmla="*/ 49106 h 54359"/>
                <a:gd name="csX3" fmla="*/ 722 w 94042"/>
                <a:gd name="csY3" fmla="*/ -5253 h 54359"/>
                <a:gd name="csX4" fmla="*/ 1062 w 94042"/>
                <a:gd name="csY4" fmla="*/ -5220 h 54359"/>
                <a:gd name="csX5" fmla="*/ 85135 w 94042"/>
                <a:gd name="csY5" fmla="*/ -5220 h 54359"/>
                <a:gd name="csX6" fmla="*/ 85476 w 94042"/>
                <a:gd name="csY6" fmla="*/ -5253 h 54359"/>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94042" h="54359">
                  <a:moveTo>
                    <a:pt x="85476" y="-5253"/>
                  </a:moveTo>
                  <a:lnTo>
                    <a:pt x="90122" y="49106"/>
                  </a:lnTo>
                  <a:lnTo>
                    <a:pt x="-3920" y="49106"/>
                  </a:lnTo>
                  <a:lnTo>
                    <a:pt x="722" y="-5253"/>
                  </a:lnTo>
                  <a:cubicBezTo>
                    <a:pt x="837" y="-5248"/>
                    <a:pt x="946" y="-5220"/>
                    <a:pt x="1062" y="-5220"/>
                  </a:cubicBezTo>
                  <a:lnTo>
                    <a:pt x="85135" y="-5220"/>
                  </a:lnTo>
                  <a:cubicBezTo>
                    <a:pt x="85251" y="-5220"/>
                    <a:pt x="85360" y="-5248"/>
                    <a:pt x="85476" y="-5253"/>
                  </a:cubicBezTo>
                </a:path>
              </a:pathLst>
            </a:custGeom>
            <a:grpFill/>
            <a:ln w="548" cap="flat">
              <a:noFill/>
              <a:prstDash val="solid"/>
              <a:miter/>
            </a:ln>
          </p:spPr>
          <p:txBody>
            <a:bodyPr/>
            <a:lstStyle/>
            <a:p>
              <a:endParaRPr lang="en-US"/>
            </a:p>
          </p:txBody>
        </p:sp>
        <p:sp>
          <p:nvSpPr>
            <p:cNvPr id="35" name="Freeform: Shape 34">
              <a:extLst>
                <a:ext uri="{FF2B5EF4-FFF2-40B4-BE49-F238E27FC236}">
                  <a16:creationId xmlns:a16="http://schemas.microsoft.com/office/drawing/2014/main" id="{346F9EF0-19CE-EF4D-A082-B7876C4F00A9}"/>
                </a:ext>
              </a:extLst>
            </p:cNvPr>
            <p:cNvSpPr/>
            <p:nvPr/>
          </p:nvSpPr>
          <p:spPr>
            <a:xfrm flipV="1">
              <a:off x="20207415" y="4558140"/>
              <a:ext cx="62084" cy="54364"/>
            </a:xfrm>
            <a:custGeom>
              <a:avLst/>
              <a:gdLst>
                <a:gd name="csX0" fmla="*/ 1062 w 62084"/>
                <a:gd name="csY0" fmla="*/ -4765 h 54364"/>
                <a:gd name="csX1" fmla="*/ 53183 w 62084"/>
                <a:gd name="csY1" fmla="*/ -4765 h 54364"/>
                <a:gd name="csX2" fmla="*/ 53523 w 62084"/>
                <a:gd name="csY2" fmla="*/ -4803 h 54364"/>
                <a:gd name="csX3" fmla="*/ 58164 w 62084"/>
                <a:gd name="csY3" fmla="*/ 49561 h 54364"/>
                <a:gd name="csX4" fmla="*/ -3920 w 62084"/>
                <a:gd name="csY4" fmla="*/ 49561 h 54364"/>
                <a:gd name="csX5" fmla="*/ 727 w 62084"/>
                <a:gd name="csY5" fmla="*/ -4803 h 54364"/>
                <a:gd name="csX6" fmla="*/ 1062 w 62084"/>
                <a:gd name="csY6" fmla="*/ -4765 h 54364"/>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62084" h="54364">
                  <a:moveTo>
                    <a:pt x="1062" y="-4765"/>
                  </a:moveTo>
                  <a:lnTo>
                    <a:pt x="53183" y="-4765"/>
                  </a:lnTo>
                  <a:cubicBezTo>
                    <a:pt x="53298" y="-4765"/>
                    <a:pt x="53408" y="-4792"/>
                    <a:pt x="53523" y="-4803"/>
                  </a:cubicBezTo>
                  <a:lnTo>
                    <a:pt x="58164" y="49561"/>
                  </a:lnTo>
                  <a:lnTo>
                    <a:pt x="-3920" y="49561"/>
                  </a:lnTo>
                  <a:lnTo>
                    <a:pt x="727" y="-4803"/>
                  </a:lnTo>
                  <a:cubicBezTo>
                    <a:pt x="837" y="-4792"/>
                    <a:pt x="947" y="-4765"/>
                    <a:pt x="1062" y="-4765"/>
                  </a:cubicBezTo>
                </a:path>
              </a:pathLst>
            </a:custGeom>
            <a:grpFill/>
            <a:ln w="548" cap="flat">
              <a:noFill/>
              <a:prstDash val="solid"/>
              <a:miter/>
            </a:ln>
          </p:spPr>
          <p:txBody>
            <a:bodyPr/>
            <a:lstStyle/>
            <a:p>
              <a:endParaRPr lang="en-US"/>
            </a:p>
          </p:txBody>
        </p:sp>
        <p:sp>
          <p:nvSpPr>
            <p:cNvPr id="36" name="Freeform: Shape 35">
              <a:extLst>
                <a:ext uri="{FF2B5EF4-FFF2-40B4-BE49-F238E27FC236}">
                  <a16:creationId xmlns:a16="http://schemas.microsoft.com/office/drawing/2014/main" id="{C2743546-199E-0BBB-A478-63D08802C7FE}"/>
                </a:ext>
              </a:extLst>
            </p:cNvPr>
            <p:cNvSpPr/>
            <p:nvPr/>
          </p:nvSpPr>
          <p:spPr>
            <a:xfrm flipV="1">
              <a:off x="20196760" y="4433483"/>
              <a:ext cx="83393" cy="54397"/>
            </a:xfrm>
            <a:custGeom>
              <a:avLst/>
              <a:gdLst>
                <a:gd name="csX0" fmla="*/ 79474 w 83393"/>
                <a:gd name="csY0" fmla="*/ 49294 h 54397"/>
                <a:gd name="csX1" fmla="*/ -3920 w 83393"/>
                <a:gd name="csY1" fmla="*/ 49294 h 54397"/>
                <a:gd name="csX2" fmla="*/ 727 w 83393"/>
                <a:gd name="csY2" fmla="*/ -5081 h 54397"/>
                <a:gd name="csX3" fmla="*/ 1210 w 83393"/>
                <a:gd name="csY3" fmla="*/ -5032 h 54397"/>
                <a:gd name="csX4" fmla="*/ 74124 w 83393"/>
                <a:gd name="csY4" fmla="*/ -5032 h 54397"/>
                <a:gd name="csX5" fmla="*/ 74827 w 83393"/>
                <a:gd name="csY5" fmla="*/ -5103 h 54397"/>
                <a:gd name="csX6" fmla="*/ 79474 w 83393"/>
                <a:gd name="csY6" fmla="*/ 49294 h 54397"/>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83393" h="54397">
                  <a:moveTo>
                    <a:pt x="79474" y="49294"/>
                  </a:moveTo>
                  <a:lnTo>
                    <a:pt x="-3920" y="49294"/>
                  </a:lnTo>
                  <a:lnTo>
                    <a:pt x="727" y="-5081"/>
                  </a:lnTo>
                  <a:cubicBezTo>
                    <a:pt x="886" y="-5059"/>
                    <a:pt x="1046" y="-5032"/>
                    <a:pt x="1210" y="-5032"/>
                  </a:cubicBezTo>
                  <a:lnTo>
                    <a:pt x="74124" y="-5032"/>
                  </a:lnTo>
                  <a:cubicBezTo>
                    <a:pt x="74366" y="-5032"/>
                    <a:pt x="74596" y="-5065"/>
                    <a:pt x="74827" y="-5103"/>
                  </a:cubicBezTo>
                  <a:lnTo>
                    <a:pt x="79474" y="49294"/>
                  </a:lnTo>
                </a:path>
              </a:pathLst>
            </a:custGeom>
            <a:grpFill/>
            <a:ln w="548" cap="flat">
              <a:noFill/>
              <a:prstDash val="solid"/>
              <a:miter/>
            </a:ln>
          </p:spPr>
          <p:txBody>
            <a:bodyPr/>
            <a:lstStyle/>
            <a:p>
              <a:endParaRPr lang="en-US"/>
            </a:p>
          </p:txBody>
        </p:sp>
        <p:sp>
          <p:nvSpPr>
            <p:cNvPr id="37" name="Freeform: Shape 36">
              <a:extLst>
                <a:ext uri="{FF2B5EF4-FFF2-40B4-BE49-F238E27FC236}">
                  <a16:creationId xmlns:a16="http://schemas.microsoft.com/office/drawing/2014/main" id="{96CB0B5D-510D-8AA4-8685-B7077D084503}"/>
                </a:ext>
              </a:extLst>
            </p:cNvPr>
            <p:cNvSpPr/>
            <p:nvPr/>
          </p:nvSpPr>
          <p:spPr>
            <a:xfrm flipV="1">
              <a:off x="20202088" y="4495809"/>
              <a:ext cx="72744" cy="54364"/>
            </a:xfrm>
            <a:custGeom>
              <a:avLst/>
              <a:gdLst>
                <a:gd name="csX0" fmla="*/ 64177 w 72744"/>
                <a:gd name="csY0" fmla="*/ -4953 h 54364"/>
                <a:gd name="csX1" fmla="*/ 68825 w 72744"/>
                <a:gd name="csY1" fmla="*/ 49411 h 54364"/>
                <a:gd name="csX2" fmla="*/ 68797 w 72744"/>
                <a:gd name="csY2" fmla="*/ 49406 h 54364"/>
                <a:gd name="csX3" fmla="*/ -3920 w 72744"/>
                <a:gd name="csY3" fmla="*/ 49406 h 54364"/>
                <a:gd name="csX4" fmla="*/ 727 w 72744"/>
                <a:gd name="csY4" fmla="*/ -4953 h 54364"/>
                <a:gd name="csX5" fmla="*/ 1068 w 72744"/>
                <a:gd name="csY5" fmla="*/ -4920 h 54364"/>
                <a:gd name="csX6" fmla="*/ 63837 w 72744"/>
                <a:gd name="csY6" fmla="*/ -4920 h 54364"/>
                <a:gd name="csX7" fmla="*/ 64177 w 72744"/>
                <a:gd name="csY7" fmla="*/ -4953 h 5436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72744" h="54364">
                  <a:moveTo>
                    <a:pt x="64177" y="-4953"/>
                  </a:moveTo>
                  <a:lnTo>
                    <a:pt x="68825" y="49411"/>
                  </a:lnTo>
                  <a:cubicBezTo>
                    <a:pt x="68814" y="49411"/>
                    <a:pt x="68803" y="49406"/>
                    <a:pt x="68797" y="49406"/>
                  </a:cubicBezTo>
                  <a:lnTo>
                    <a:pt x="-3920" y="49406"/>
                  </a:lnTo>
                  <a:lnTo>
                    <a:pt x="727" y="-4953"/>
                  </a:lnTo>
                  <a:cubicBezTo>
                    <a:pt x="843" y="-4948"/>
                    <a:pt x="947" y="-4920"/>
                    <a:pt x="1068" y="-4920"/>
                  </a:cubicBezTo>
                  <a:lnTo>
                    <a:pt x="63837" y="-4920"/>
                  </a:lnTo>
                  <a:cubicBezTo>
                    <a:pt x="63952" y="-4920"/>
                    <a:pt x="64062" y="-4948"/>
                    <a:pt x="64177" y="-4953"/>
                  </a:cubicBezTo>
                </a:path>
              </a:pathLst>
            </a:custGeom>
            <a:grpFill/>
            <a:ln w="548" cap="flat">
              <a:noFill/>
              <a:prstDash val="solid"/>
              <a:miter/>
            </a:ln>
          </p:spPr>
          <p:txBody>
            <a:bodyPr/>
            <a:lstStyle/>
            <a:p>
              <a:endParaRPr lang="en-US"/>
            </a:p>
          </p:txBody>
        </p:sp>
        <p:sp>
          <p:nvSpPr>
            <p:cNvPr id="38" name="Freeform: Shape 37">
              <a:extLst>
                <a:ext uri="{FF2B5EF4-FFF2-40B4-BE49-F238E27FC236}">
                  <a16:creationId xmlns:a16="http://schemas.microsoft.com/office/drawing/2014/main" id="{1D882E68-D96D-183C-C625-C29B4A858030}"/>
                </a:ext>
              </a:extLst>
            </p:cNvPr>
            <p:cNvSpPr/>
            <p:nvPr/>
          </p:nvSpPr>
          <p:spPr>
            <a:xfrm flipV="1">
              <a:off x="20212737" y="4620470"/>
              <a:ext cx="51440" cy="54364"/>
            </a:xfrm>
            <a:custGeom>
              <a:avLst/>
              <a:gdLst>
                <a:gd name="csX0" fmla="*/ -3920 w 51440"/>
                <a:gd name="csY0" fmla="*/ 49711 h 54364"/>
                <a:gd name="csX1" fmla="*/ 727 w 51440"/>
                <a:gd name="csY1" fmla="*/ -4653 h 54364"/>
                <a:gd name="csX2" fmla="*/ 1067 w 51440"/>
                <a:gd name="csY2" fmla="*/ -4621 h 54364"/>
                <a:gd name="csX3" fmla="*/ 42539 w 51440"/>
                <a:gd name="csY3" fmla="*/ -4621 h 54364"/>
                <a:gd name="csX4" fmla="*/ 42874 w 51440"/>
                <a:gd name="csY4" fmla="*/ -4653 h 54364"/>
                <a:gd name="csX5" fmla="*/ 47521 w 51440"/>
                <a:gd name="csY5" fmla="*/ 49711 h 54364"/>
                <a:gd name="csX6" fmla="*/ -3920 w 51440"/>
                <a:gd name="csY6" fmla="*/ 49711 h 54364"/>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51440" h="54364">
                  <a:moveTo>
                    <a:pt x="-3920" y="49711"/>
                  </a:moveTo>
                  <a:lnTo>
                    <a:pt x="727" y="-4653"/>
                  </a:lnTo>
                  <a:cubicBezTo>
                    <a:pt x="843" y="-4642"/>
                    <a:pt x="952" y="-4621"/>
                    <a:pt x="1067" y="-4621"/>
                  </a:cubicBezTo>
                  <a:lnTo>
                    <a:pt x="42539" y="-4621"/>
                  </a:lnTo>
                  <a:cubicBezTo>
                    <a:pt x="42654" y="-4621"/>
                    <a:pt x="42764" y="-4642"/>
                    <a:pt x="42874" y="-4653"/>
                  </a:cubicBezTo>
                  <a:lnTo>
                    <a:pt x="47521" y="49711"/>
                  </a:lnTo>
                  <a:lnTo>
                    <a:pt x="-3920" y="49711"/>
                  </a:lnTo>
                </a:path>
              </a:pathLst>
            </a:custGeom>
            <a:grpFill/>
            <a:ln w="548" cap="flat">
              <a:noFill/>
              <a:prstDash val="solid"/>
              <a:miter/>
            </a:ln>
          </p:spPr>
          <p:txBody>
            <a:bodyPr/>
            <a:lstStyle/>
            <a:p>
              <a:endParaRPr lang="en-US"/>
            </a:p>
          </p:txBody>
        </p:sp>
        <p:sp>
          <p:nvSpPr>
            <p:cNvPr id="39" name="Freeform: Shape 38">
              <a:extLst>
                <a:ext uri="{FF2B5EF4-FFF2-40B4-BE49-F238E27FC236}">
                  <a16:creationId xmlns:a16="http://schemas.microsoft.com/office/drawing/2014/main" id="{625AB3DF-8789-8EA5-750F-85B6D0BA4A3D}"/>
                </a:ext>
              </a:extLst>
            </p:cNvPr>
            <p:cNvSpPr/>
            <p:nvPr/>
          </p:nvSpPr>
          <p:spPr>
            <a:xfrm flipV="1">
              <a:off x="20223391" y="4745133"/>
              <a:ext cx="30131" cy="176332"/>
            </a:xfrm>
            <a:custGeom>
              <a:avLst/>
              <a:gdLst>
                <a:gd name="csX0" fmla="*/ 11146 w 30131"/>
                <a:gd name="csY0" fmla="*/ -4207 h 176332"/>
                <a:gd name="csX1" fmla="*/ 26211 w 30131"/>
                <a:gd name="csY1" fmla="*/ 172126 h 176332"/>
                <a:gd name="csX2" fmla="*/ -3920 w 30131"/>
                <a:gd name="csY2" fmla="*/ 172126 h 176332"/>
              </a:gdLst>
              <a:ahLst/>
              <a:cxnLst>
                <a:cxn ang="0">
                  <a:pos x="csX0" y="csY0"/>
                </a:cxn>
                <a:cxn ang="0">
                  <a:pos x="csX1" y="csY1"/>
                </a:cxn>
                <a:cxn ang="0">
                  <a:pos x="csX2" y="csY2"/>
                </a:cxn>
              </a:cxnLst>
              <a:rect l="l" t="t" r="r" b="b"/>
              <a:pathLst>
                <a:path w="30131" h="176332">
                  <a:moveTo>
                    <a:pt x="11146" y="-4207"/>
                  </a:moveTo>
                  <a:lnTo>
                    <a:pt x="26211" y="172126"/>
                  </a:lnTo>
                  <a:lnTo>
                    <a:pt x="-3920" y="172126"/>
                  </a:lnTo>
                  <a:close/>
                </a:path>
              </a:pathLst>
            </a:custGeom>
            <a:grpFill/>
            <a:ln w="548" cap="flat">
              <a:noFill/>
              <a:prstDash val="solid"/>
              <a:miter/>
            </a:ln>
          </p:spPr>
          <p:txBody>
            <a:bodyPr/>
            <a:lstStyle/>
            <a:p>
              <a:endParaRPr lang="en-US"/>
            </a:p>
          </p:txBody>
        </p:sp>
        <p:sp>
          <p:nvSpPr>
            <p:cNvPr id="40" name="Freeform: Shape 39">
              <a:extLst>
                <a:ext uri="{FF2B5EF4-FFF2-40B4-BE49-F238E27FC236}">
                  <a16:creationId xmlns:a16="http://schemas.microsoft.com/office/drawing/2014/main" id="{FCE7FE5A-13CB-451B-ABF6-53D81E69A59E}"/>
                </a:ext>
              </a:extLst>
            </p:cNvPr>
            <p:cNvSpPr/>
            <p:nvPr/>
          </p:nvSpPr>
          <p:spPr>
            <a:xfrm flipV="1">
              <a:off x="20148831" y="3872510"/>
              <a:ext cx="179257" cy="54403"/>
            </a:xfrm>
            <a:custGeom>
              <a:avLst/>
              <a:gdLst>
                <a:gd name="csX0" fmla="*/ 175337 w 179257"/>
                <a:gd name="csY0" fmla="*/ 47950 h 54403"/>
                <a:gd name="csX1" fmla="*/ -3920 w 179257"/>
                <a:gd name="csY1" fmla="*/ 47950 h 54403"/>
                <a:gd name="csX2" fmla="*/ 722 w 179257"/>
                <a:gd name="csY2" fmla="*/ -6414 h 54403"/>
                <a:gd name="csX3" fmla="*/ 1067 w 179257"/>
                <a:gd name="csY3" fmla="*/ -6381 h 54403"/>
                <a:gd name="csX4" fmla="*/ 169928 w 179257"/>
                <a:gd name="csY4" fmla="*/ -6381 h 54403"/>
                <a:gd name="csX5" fmla="*/ 170685 w 179257"/>
                <a:gd name="csY5" fmla="*/ -6453 h 54403"/>
                <a:gd name="csX6" fmla="*/ 175337 w 179257"/>
                <a:gd name="csY6" fmla="*/ 47950 h 54403"/>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179257" h="54403">
                  <a:moveTo>
                    <a:pt x="175337" y="47950"/>
                  </a:moveTo>
                  <a:lnTo>
                    <a:pt x="-3920" y="47950"/>
                  </a:lnTo>
                  <a:lnTo>
                    <a:pt x="722" y="-6414"/>
                  </a:lnTo>
                  <a:cubicBezTo>
                    <a:pt x="837" y="-6403"/>
                    <a:pt x="947" y="-6381"/>
                    <a:pt x="1067" y="-6381"/>
                  </a:cubicBezTo>
                  <a:lnTo>
                    <a:pt x="169928" y="-6381"/>
                  </a:lnTo>
                  <a:cubicBezTo>
                    <a:pt x="170186" y="-6381"/>
                    <a:pt x="170438" y="-6409"/>
                    <a:pt x="170685" y="-6453"/>
                  </a:cubicBezTo>
                  <a:lnTo>
                    <a:pt x="175337" y="47950"/>
                  </a:lnTo>
                </a:path>
              </a:pathLst>
            </a:custGeom>
            <a:grpFill/>
            <a:ln w="548" cap="flat">
              <a:noFill/>
              <a:prstDash val="solid"/>
              <a:miter/>
            </a:ln>
          </p:spPr>
          <p:txBody>
            <a:bodyPr/>
            <a:lstStyle/>
            <a:p>
              <a:endParaRPr lang="en-US"/>
            </a:p>
          </p:txBody>
        </p:sp>
        <p:sp>
          <p:nvSpPr>
            <p:cNvPr id="41" name="Freeform: Shape 40">
              <a:extLst>
                <a:ext uri="{FF2B5EF4-FFF2-40B4-BE49-F238E27FC236}">
                  <a16:creationId xmlns:a16="http://schemas.microsoft.com/office/drawing/2014/main" id="{F5E010B2-8181-E3F7-6E73-745354778BF1}"/>
                </a:ext>
              </a:extLst>
            </p:cNvPr>
            <p:cNvSpPr/>
            <p:nvPr/>
          </p:nvSpPr>
          <p:spPr>
            <a:xfrm flipV="1">
              <a:off x="20218064" y="4682802"/>
              <a:ext cx="40785" cy="54386"/>
            </a:xfrm>
            <a:custGeom>
              <a:avLst/>
              <a:gdLst>
                <a:gd name="csX0" fmla="*/ 727 w 40785"/>
                <a:gd name="csY0" fmla="*/ -4482 h 54386"/>
                <a:gd name="csX1" fmla="*/ 1067 w 40785"/>
                <a:gd name="csY1" fmla="*/ -4443 h 54386"/>
                <a:gd name="csX2" fmla="*/ 31632 w 40785"/>
                <a:gd name="csY2" fmla="*/ -4443 h 54386"/>
                <a:gd name="csX3" fmla="*/ 32219 w 40785"/>
                <a:gd name="csY3" fmla="*/ -4503 h 54386"/>
                <a:gd name="csX4" fmla="*/ 36866 w 40785"/>
                <a:gd name="csY4" fmla="*/ 49883 h 54386"/>
                <a:gd name="csX5" fmla="*/ -3920 w 40785"/>
                <a:gd name="csY5" fmla="*/ 49883 h 54386"/>
                <a:gd name="csX6" fmla="*/ 727 w 40785"/>
                <a:gd name="csY6" fmla="*/ -4482 h 54386"/>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40785" h="54386">
                  <a:moveTo>
                    <a:pt x="727" y="-4482"/>
                  </a:moveTo>
                  <a:cubicBezTo>
                    <a:pt x="843" y="-4471"/>
                    <a:pt x="952" y="-4443"/>
                    <a:pt x="1067" y="-4443"/>
                  </a:cubicBezTo>
                  <a:lnTo>
                    <a:pt x="31632" y="-4443"/>
                  </a:lnTo>
                  <a:cubicBezTo>
                    <a:pt x="31835" y="-4443"/>
                    <a:pt x="32027" y="-4476"/>
                    <a:pt x="32219" y="-4503"/>
                  </a:cubicBezTo>
                  <a:lnTo>
                    <a:pt x="36866" y="49883"/>
                  </a:lnTo>
                  <a:lnTo>
                    <a:pt x="-3920" y="49883"/>
                  </a:lnTo>
                  <a:lnTo>
                    <a:pt x="727" y="-4482"/>
                  </a:lnTo>
                </a:path>
              </a:pathLst>
            </a:custGeom>
            <a:grpFill/>
            <a:ln w="548" cap="flat">
              <a:noFill/>
              <a:prstDash val="solid"/>
              <a:miter/>
            </a:ln>
          </p:spPr>
          <p:txBody>
            <a:bodyPr/>
            <a:lstStyle/>
            <a:p>
              <a:endParaRPr lang="en-US"/>
            </a:p>
          </p:txBody>
        </p:sp>
        <p:sp>
          <p:nvSpPr>
            <p:cNvPr id="42" name="Freeform: Shape 41">
              <a:extLst>
                <a:ext uri="{FF2B5EF4-FFF2-40B4-BE49-F238E27FC236}">
                  <a16:creationId xmlns:a16="http://schemas.microsoft.com/office/drawing/2014/main" id="{06D59934-6E83-A36A-6925-B848415AF849}"/>
                </a:ext>
              </a:extLst>
            </p:cNvPr>
            <p:cNvSpPr/>
            <p:nvPr/>
          </p:nvSpPr>
          <p:spPr>
            <a:xfrm flipV="1">
              <a:off x="20164808" y="4059497"/>
              <a:ext cx="147304" cy="54375"/>
            </a:xfrm>
            <a:custGeom>
              <a:avLst/>
              <a:gdLst>
                <a:gd name="csX0" fmla="*/ 138738 w 147304"/>
                <a:gd name="csY0" fmla="*/ -5992 h 54375"/>
                <a:gd name="csX1" fmla="*/ 143384 w 147304"/>
                <a:gd name="csY1" fmla="*/ 48373 h 54375"/>
                <a:gd name="csX2" fmla="*/ -3920 w 147304"/>
                <a:gd name="csY2" fmla="*/ 48373 h 54375"/>
                <a:gd name="csX3" fmla="*/ 727 w 147304"/>
                <a:gd name="csY3" fmla="*/ -6003 h 54375"/>
                <a:gd name="csX4" fmla="*/ 1171 w 147304"/>
                <a:gd name="csY4" fmla="*/ -5959 h 54375"/>
                <a:gd name="csX5" fmla="*/ 138397 w 147304"/>
                <a:gd name="csY5" fmla="*/ -5959 h 54375"/>
                <a:gd name="csX6" fmla="*/ 138738 w 147304"/>
                <a:gd name="csY6" fmla="*/ -5992 h 54375"/>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147304" h="54375">
                  <a:moveTo>
                    <a:pt x="138738" y="-5992"/>
                  </a:moveTo>
                  <a:lnTo>
                    <a:pt x="143384" y="48373"/>
                  </a:lnTo>
                  <a:lnTo>
                    <a:pt x="-3920" y="48373"/>
                  </a:lnTo>
                  <a:lnTo>
                    <a:pt x="727" y="-6003"/>
                  </a:lnTo>
                  <a:cubicBezTo>
                    <a:pt x="875" y="-5987"/>
                    <a:pt x="1018" y="-5959"/>
                    <a:pt x="1171" y="-5959"/>
                  </a:cubicBezTo>
                  <a:lnTo>
                    <a:pt x="138397" y="-5959"/>
                  </a:lnTo>
                  <a:cubicBezTo>
                    <a:pt x="138513" y="-5959"/>
                    <a:pt x="138622" y="-5981"/>
                    <a:pt x="138738" y="-5992"/>
                  </a:cubicBezTo>
                </a:path>
              </a:pathLst>
            </a:custGeom>
            <a:grpFill/>
            <a:ln w="548" cap="flat">
              <a:noFill/>
              <a:prstDash val="solid"/>
              <a:miter/>
            </a:ln>
          </p:spPr>
          <p:txBody>
            <a:bodyPr/>
            <a:lstStyle/>
            <a:p>
              <a:endParaRPr lang="en-US"/>
            </a:p>
          </p:txBody>
        </p:sp>
        <p:sp>
          <p:nvSpPr>
            <p:cNvPr id="43" name="Freeform: Shape 42">
              <a:extLst>
                <a:ext uri="{FF2B5EF4-FFF2-40B4-BE49-F238E27FC236}">
                  <a16:creationId xmlns:a16="http://schemas.microsoft.com/office/drawing/2014/main" id="{EB276C07-E558-8732-9DB7-7BA407E9484D}"/>
                </a:ext>
              </a:extLst>
            </p:cNvPr>
            <p:cNvSpPr/>
            <p:nvPr/>
          </p:nvSpPr>
          <p:spPr>
            <a:xfrm flipV="1">
              <a:off x="20159480" y="3997166"/>
              <a:ext cx="157953" cy="54364"/>
            </a:xfrm>
            <a:custGeom>
              <a:avLst/>
              <a:gdLst>
                <a:gd name="csX0" fmla="*/ 149392 w 157953"/>
                <a:gd name="csY0" fmla="*/ -6153 h 54364"/>
                <a:gd name="csX1" fmla="*/ 154034 w 157953"/>
                <a:gd name="csY1" fmla="*/ 48212 h 54364"/>
                <a:gd name="csX2" fmla="*/ -3920 w 157953"/>
                <a:gd name="csY2" fmla="*/ 48212 h 54364"/>
                <a:gd name="csX3" fmla="*/ 727 w 157953"/>
                <a:gd name="csY3" fmla="*/ -6153 h 54364"/>
                <a:gd name="csX4" fmla="*/ 1067 w 157953"/>
                <a:gd name="csY4" fmla="*/ -6120 h 54364"/>
                <a:gd name="csX5" fmla="*/ 149052 w 157953"/>
                <a:gd name="csY5" fmla="*/ -6120 h 54364"/>
                <a:gd name="csX6" fmla="*/ 149392 w 157953"/>
                <a:gd name="csY6" fmla="*/ -6153 h 54364"/>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157953" h="54364">
                  <a:moveTo>
                    <a:pt x="149392" y="-6153"/>
                  </a:moveTo>
                  <a:lnTo>
                    <a:pt x="154034" y="48212"/>
                  </a:lnTo>
                  <a:lnTo>
                    <a:pt x="-3920" y="48212"/>
                  </a:lnTo>
                  <a:lnTo>
                    <a:pt x="727" y="-6153"/>
                  </a:lnTo>
                  <a:cubicBezTo>
                    <a:pt x="842" y="-6148"/>
                    <a:pt x="946" y="-6120"/>
                    <a:pt x="1067" y="-6120"/>
                  </a:cubicBezTo>
                  <a:lnTo>
                    <a:pt x="149052" y="-6120"/>
                  </a:lnTo>
                  <a:cubicBezTo>
                    <a:pt x="149167" y="-6120"/>
                    <a:pt x="149277" y="-6148"/>
                    <a:pt x="149392" y="-6153"/>
                  </a:cubicBezTo>
                </a:path>
              </a:pathLst>
            </a:custGeom>
            <a:grpFill/>
            <a:ln w="548" cap="flat">
              <a:noFill/>
              <a:prstDash val="solid"/>
              <a:miter/>
            </a:ln>
          </p:spPr>
          <p:txBody>
            <a:bodyPr/>
            <a:lstStyle/>
            <a:p>
              <a:endParaRPr lang="en-US"/>
            </a:p>
          </p:txBody>
        </p:sp>
        <p:sp>
          <p:nvSpPr>
            <p:cNvPr id="44" name="Freeform: Shape 43">
              <a:extLst>
                <a:ext uri="{FF2B5EF4-FFF2-40B4-BE49-F238E27FC236}">
                  <a16:creationId xmlns:a16="http://schemas.microsoft.com/office/drawing/2014/main" id="{4A5FC482-18B5-63A2-E09D-228404DCA3F6}"/>
                </a:ext>
              </a:extLst>
            </p:cNvPr>
            <p:cNvSpPr/>
            <p:nvPr/>
          </p:nvSpPr>
          <p:spPr>
            <a:xfrm flipV="1">
              <a:off x="20154153" y="3934830"/>
              <a:ext cx="168607" cy="54370"/>
            </a:xfrm>
            <a:custGeom>
              <a:avLst/>
              <a:gdLst>
                <a:gd name="csX0" fmla="*/ 160041 w 168607"/>
                <a:gd name="csY0" fmla="*/ -6303 h 54370"/>
                <a:gd name="csX1" fmla="*/ 164688 w 168607"/>
                <a:gd name="csY1" fmla="*/ 48067 h 54370"/>
                <a:gd name="csX2" fmla="*/ 164606 w 168607"/>
                <a:gd name="csY2" fmla="*/ 48056 h 54370"/>
                <a:gd name="csX3" fmla="*/ -3920 w 168607"/>
                <a:gd name="csY3" fmla="*/ 48056 h 54370"/>
                <a:gd name="csX4" fmla="*/ 727 w 168607"/>
                <a:gd name="csY4" fmla="*/ -6303 h 54370"/>
                <a:gd name="csX5" fmla="*/ 1067 w 168607"/>
                <a:gd name="csY5" fmla="*/ -6270 h 54370"/>
                <a:gd name="csX6" fmla="*/ 159706 w 168607"/>
                <a:gd name="csY6" fmla="*/ -6270 h 54370"/>
                <a:gd name="csX7" fmla="*/ 160041 w 168607"/>
                <a:gd name="csY7" fmla="*/ -6303 h 5437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168607" h="54370">
                  <a:moveTo>
                    <a:pt x="160041" y="-6303"/>
                  </a:moveTo>
                  <a:lnTo>
                    <a:pt x="164688" y="48067"/>
                  </a:lnTo>
                  <a:cubicBezTo>
                    <a:pt x="164661" y="48067"/>
                    <a:pt x="164633" y="48056"/>
                    <a:pt x="164606" y="48056"/>
                  </a:cubicBezTo>
                  <a:lnTo>
                    <a:pt x="-3920" y="48056"/>
                  </a:lnTo>
                  <a:lnTo>
                    <a:pt x="727" y="-6303"/>
                  </a:lnTo>
                  <a:cubicBezTo>
                    <a:pt x="842" y="-6298"/>
                    <a:pt x="952" y="-6270"/>
                    <a:pt x="1067" y="-6270"/>
                  </a:cubicBezTo>
                  <a:lnTo>
                    <a:pt x="159706" y="-6270"/>
                  </a:lnTo>
                  <a:cubicBezTo>
                    <a:pt x="159822" y="-6270"/>
                    <a:pt x="159932" y="-6298"/>
                    <a:pt x="160041" y="-6303"/>
                  </a:cubicBezTo>
                </a:path>
              </a:pathLst>
            </a:custGeom>
            <a:grpFill/>
            <a:ln w="548" cap="flat">
              <a:noFill/>
              <a:prstDash val="solid"/>
              <a:miter/>
            </a:ln>
          </p:spPr>
          <p:txBody>
            <a:bodyPr/>
            <a:lstStyle/>
            <a:p>
              <a:endParaRPr lang="en-US"/>
            </a:p>
          </p:txBody>
        </p:sp>
        <p:sp>
          <p:nvSpPr>
            <p:cNvPr id="45" name="Freeform: Shape 44">
              <a:extLst>
                <a:ext uri="{FF2B5EF4-FFF2-40B4-BE49-F238E27FC236}">
                  <a16:creationId xmlns:a16="http://schemas.microsoft.com/office/drawing/2014/main" id="{44FDCA52-0015-296A-EB8F-32BB8A1BE36A}"/>
                </a:ext>
              </a:extLst>
            </p:cNvPr>
            <p:cNvSpPr/>
            <p:nvPr/>
          </p:nvSpPr>
          <p:spPr>
            <a:xfrm flipV="1">
              <a:off x="20170135" y="4121828"/>
              <a:ext cx="136649" cy="54386"/>
            </a:xfrm>
            <a:custGeom>
              <a:avLst/>
              <a:gdLst>
                <a:gd name="csX0" fmla="*/ 128083 w 136649"/>
                <a:gd name="csY0" fmla="*/ -5853 h 54386"/>
                <a:gd name="csX1" fmla="*/ 132730 w 136649"/>
                <a:gd name="csY1" fmla="*/ 48533 h 54386"/>
                <a:gd name="csX2" fmla="*/ -3920 w 136649"/>
                <a:gd name="csY2" fmla="*/ 48533 h 54386"/>
                <a:gd name="csX3" fmla="*/ 722 w 136649"/>
                <a:gd name="csY3" fmla="*/ -5831 h 54386"/>
                <a:gd name="csX4" fmla="*/ 1062 w 136649"/>
                <a:gd name="csY4" fmla="*/ -5798 h 54386"/>
                <a:gd name="csX5" fmla="*/ 127501 w 136649"/>
                <a:gd name="csY5" fmla="*/ -5798 h 54386"/>
                <a:gd name="csX6" fmla="*/ 128083 w 136649"/>
                <a:gd name="csY6" fmla="*/ -5853 h 54386"/>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136649" h="54386">
                  <a:moveTo>
                    <a:pt x="128083" y="-5853"/>
                  </a:moveTo>
                  <a:lnTo>
                    <a:pt x="132730" y="48533"/>
                  </a:lnTo>
                  <a:lnTo>
                    <a:pt x="-3920" y="48533"/>
                  </a:lnTo>
                  <a:lnTo>
                    <a:pt x="722" y="-5831"/>
                  </a:lnTo>
                  <a:cubicBezTo>
                    <a:pt x="837" y="-5820"/>
                    <a:pt x="947" y="-5798"/>
                    <a:pt x="1062" y="-5798"/>
                  </a:cubicBezTo>
                  <a:lnTo>
                    <a:pt x="127501" y="-5798"/>
                  </a:lnTo>
                  <a:cubicBezTo>
                    <a:pt x="127699" y="-5798"/>
                    <a:pt x="127891" y="-5826"/>
                    <a:pt x="128083" y="-5853"/>
                  </a:cubicBezTo>
                </a:path>
              </a:pathLst>
            </a:custGeom>
            <a:grpFill/>
            <a:ln w="548" cap="flat">
              <a:noFill/>
              <a:prstDash val="solid"/>
              <a:miter/>
            </a:ln>
          </p:spPr>
          <p:txBody>
            <a:bodyPr/>
            <a:lstStyle/>
            <a:p>
              <a:endParaRPr lang="en-US"/>
            </a:p>
          </p:txBody>
        </p:sp>
        <p:sp>
          <p:nvSpPr>
            <p:cNvPr id="46" name="Freeform: Shape 45">
              <a:extLst>
                <a:ext uri="{FF2B5EF4-FFF2-40B4-BE49-F238E27FC236}">
                  <a16:creationId xmlns:a16="http://schemas.microsoft.com/office/drawing/2014/main" id="{130B2059-F916-D780-3958-E35550E03E87}"/>
                </a:ext>
              </a:extLst>
            </p:cNvPr>
            <p:cNvSpPr/>
            <p:nvPr/>
          </p:nvSpPr>
          <p:spPr>
            <a:xfrm flipV="1">
              <a:off x="20180784" y="4246490"/>
              <a:ext cx="115346" cy="54359"/>
            </a:xfrm>
            <a:custGeom>
              <a:avLst/>
              <a:gdLst>
                <a:gd name="csX0" fmla="*/ 106785 w 115346"/>
                <a:gd name="csY0" fmla="*/ -5553 h 54359"/>
                <a:gd name="csX1" fmla="*/ 111426 w 115346"/>
                <a:gd name="csY1" fmla="*/ 48806 h 54359"/>
                <a:gd name="csX2" fmla="*/ -3920 w 115346"/>
                <a:gd name="csY2" fmla="*/ 48806 h 54359"/>
                <a:gd name="csX3" fmla="*/ 727 w 115346"/>
                <a:gd name="csY3" fmla="*/ -5553 h 54359"/>
                <a:gd name="csX4" fmla="*/ 1062 w 115346"/>
                <a:gd name="csY4" fmla="*/ -5526 h 54359"/>
                <a:gd name="csX5" fmla="*/ 106445 w 115346"/>
                <a:gd name="csY5" fmla="*/ -5526 h 54359"/>
                <a:gd name="csX6" fmla="*/ 106785 w 115346"/>
                <a:gd name="csY6" fmla="*/ -5553 h 54359"/>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115346" h="54359">
                  <a:moveTo>
                    <a:pt x="106785" y="-5553"/>
                  </a:moveTo>
                  <a:lnTo>
                    <a:pt x="111426" y="48806"/>
                  </a:lnTo>
                  <a:lnTo>
                    <a:pt x="-3920" y="48806"/>
                  </a:lnTo>
                  <a:lnTo>
                    <a:pt x="727" y="-5553"/>
                  </a:lnTo>
                  <a:cubicBezTo>
                    <a:pt x="837" y="-5548"/>
                    <a:pt x="947" y="-5526"/>
                    <a:pt x="1062" y="-5526"/>
                  </a:cubicBezTo>
                  <a:lnTo>
                    <a:pt x="106445" y="-5526"/>
                  </a:lnTo>
                  <a:cubicBezTo>
                    <a:pt x="106560" y="-5526"/>
                    <a:pt x="106670" y="-5548"/>
                    <a:pt x="106785" y="-5553"/>
                  </a:cubicBezTo>
                </a:path>
              </a:pathLst>
            </a:custGeom>
            <a:grpFill/>
            <a:ln w="548" cap="flat">
              <a:noFill/>
              <a:prstDash val="solid"/>
              <a:miter/>
            </a:ln>
          </p:spPr>
          <p:txBody>
            <a:bodyPr/>
            <a:lstStyle/>
            <a:p>
              <a:endParaRPr lang="en-US"/>
            </a:p>
          </p:txBody>
        </p:sp>
        <p:sp>
          <p:nvSpPr>
            <p:cNvPr id="47" name="Freeform: Shape 46">
              <a:extLst>
                <a:ext uri="{FF2B5EF4-FFF2-40B4-BE49-F238E27FC236}">
                  <a16:creationId xmlns:a16="http://schemas.microsoft.com/office/drawing/2014/main" id="{B1301F3F-3E75-C57E-4E4E-C22D82DEA363}"/>
                </a:ext>
              </a:extLst>
            </p:cNvPr>
            <p:cNvSpPr/>
            <p:nvPr/>
          </p:nvSpPr>
          <p:spPr>
            <a:xfrm flipV="1">
              <a:off x="20175457" y="4184159"/>
              <a:ext cx="126000" cy="54386"/>
            </a:xfrm>
            <a:custGeom>
              <a:avLst/>
              <a:gdLst>
                <a:gd name="csX0" fmla="*/ 117434 w 126000"/>
                <a:gd name="csY0" fmla="*/ -5703 h 54386"/>
                <a:gd name="csX1" fmla="*/ 122081 w 126000"/>
                <a:gd name="csY1" fmla="*/ 48683 h 54386"/>
                <a:gd name="csX2" fmla="*/ -3920 w 126000"/>
                <a:gd name="csY2" fmla="*/ 48683 h 54386"/>
                <a:gd name="csX3" fmla="*/ 727 w 126000"/>
                <a:gd name="csY3" fmla="*/ -5687 h 54386"/>
                <a:gd name="csX4" fmla="*/ 1128 w 126000"/>
                <a:gd name="csY4" fmla="*/ -5648 h 54386"/>
                <a:gd name="csX5" fmla="*/ 116864 w 126000"/>
                <a:gd name="csY5" fmla="*/ -5648 h 54386"/>
                <a:gd name="csX6" fmla="*/ 117434 w 126000"/>
                <a:gd name="csY6" fmla="*/ -5703 h 54386"/>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126000" h="54386">
                  <a:moveTo>
                    <a:pt x="117434" y="-5703"/>
                  </a:moveTo>
                  <a:lnTo>
                    <a:pt x="122081" y="48683"/>
                  </a:lnTo>
                  <a:lnTo>
                    <a:pt x="-3920" y="48683"/>
                  </a:lnTo>
                  <a:lnTo>
                    <a:pt x="727" y="-5687"/>
                  </a:lnTo>
                  <a:cubicBezTo>
                    <a:pt x="864" y="-5676"/>
                    <a:pt x="991" y="-5648"/>
                    <a:pt x="1128" y="-5648"/>
                  </a:cubicBezTo>
                  <a:lnTo>
                    <a:pt x="116864" y="-5648"/>
                  </a:lnTo>
                  <a:cubicBezTo>
                    <a:pt x="117055" y="-5648"/>
                    <a:pt x="117242" y="-5676"/>
                    <a:pt x="117434" y="-5703"/>
                  </a:cubicBezTo>
                </a:path>
              </a:pathLst>
            </a:custGeom>
            <a:grpFill/>
            <a:ln w="548" cap="flat">
              <a:noFill/>
              <a:prstDash val="solid"/>
              <a:miter/>
            </a:ln>
          </p:spPr>
          <p:txBody>
            <a:bodyPr/>
            <a:lstStyle/>
            <a:p>
              <a:endParaRPr lang="en-US"/>
            </a:p>
          </p:txBody>
        </p:sp>
        <p:sp>
          <p:nvSpPr>
            <p:cNvPr id="48" name="Freeform: Shape 47">
              <a:extLst>
                <a:ext uri="{FF2B5EF4-FFF2-40B4-BE49-F238E27FC236}">
                  <a16:creationId xmlns:a16="http://schemas.microsoft.com/office/drawing/2014/main" id="{91337033-D179-9BA8-3B05-ABA6461FFF69}"/>
                </a:ext>
              </a:extLst>
            </p:cNvPr>
            <p:cNvSpPr/>
            <p:nvPr/>
          </p:nvSpPr>
          <p:spPr>
            <a:xfrm flipV="1">
              <a:off x="20186111" y="4308821"/>
              <a:ext cx="104696" cy="54386"/>
            </a:xfrm>
            <a:custGeom>
              <a:avLst/>
              <a:gdLst>
                <a:gd name="csX0" fmla="*/ 96130 w 104696"/>
                <a:gd name="csY0" fmla="*/ -5403 h 54386"/>
                <a:gd name="csX1" fmla="*/ 100777 w 104696"/>
                <a:gd name="csY1" fmla="*/ 48984 h 54386"/>
                <a:gd name="csX2" fmla="*/ -3920 w 104696"/>
                <a:gd name="csY2" fmla="*/ 48984 h 54386"/>
                <a:gd name="csX3" fmla="*/ 722 w 104696"/>
                <a:gd name="csY3" fmla="*/ -5381 h 54386"/>
                <a:gd name="csX4" fmla="*/ 1062 w 104696"/>
                <a:gd name="csY4" fmla="*/ -5348 h 54386"/>
                <a:gd name="csX5" fmla="*/ 95560 w 104696"/>
                <a:gd name="csY5" fmla="*/ -5348 h 54386"/>
                <a:gd name="csX6" fmla="*/ 96130 w 104696"/>
                <a:gd name="csY6" fmla="*/ -5403 h 54386"/>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104696" h="54386">
                  <a:moveTo>
                    <a:pt x="96130" y="-5403"/>
                  </a:moveTo>
                  <a:lnTo>
                    <a:pt x="100777" y="48984"/>
                  </a:lnTo>
                  <a:lnTo>
                    <a:pt x="-3920" y="48984"/>
                  </a:lnTo>
                  <a:lnTo>
                    <a:pt x="722" y="-5381"/>
                  </a:lnTo>
                  <a:cubicBezTo>
                    <a:pt x="837" y="-5370"/>
                    <a:pt x="946" y="-5348"/>
                    <a:pt x="1062" y="-5348"/>
                  </a:cubicBezTo>
                  <a:lnTo>
                    <a:pt x="95560" y="-5348"/>
                  </a:lnTo>
                  <a:cubicBezTo>
                    <a:pt x="95757" y="-5348"/>
                    <a:pt x="95944" y="-5376"/>
                    <a:pt x="96130" y="-5403"/>
                  </a:cubicBezTo>
                </a:path>
              </a:pathLst>
            </a:custGeom>
            <a:grpFill/>
            <a:ln w="548" cap="flat">
              <a:noFill/>
              <a:prstDash val="solid"/>
              <a:miter/>
            </a:ln>
          </p:spPr>
          <p:txBody>
            <a:bodyPr/>
            <a:lstStyle/>
            <a:p>
              <a:endParaRPr lang="en-US"/>
            </a:p>
          </p:txBody>
        </p:sp>
        <p:sp>
          <p:nvSpPr>
            <p:cNvPr id="49" name="Freeform: Shape 48">
              <a:extLst>
                <a:ext uri="{FF2B5EF4-FFF2-40B4-BE49-F238E27FC236}">
                  <a16:creationId xmlns:a16="http://schemas.microsoft.com/office/drawing/2014/main" id="{3F0E45AA-8287-0D39-1A83-770CB81D272A}"/>
                </a:ext>
              </a:extLst>
            </p:cNvPr>
            <p:cNvSpPr/>
            <p:nvPr/>
          </p:nvSpPr>
          <p:spPr>
            <a:xfrm flipV="1">
              <a:off x="20597312" y="3064099"/>
              <a:ext cx="591889" cy="24321"/>
            </a:xfrm>
            <a:custGeom>
              <a:avLst/>
              <a:gdLst>
                <a:gd name="csX0" fmla="*/ 587158 w 591889"/>
                <a:gd name="csY0" fmla="*/ -8434 h 24321"/>
                <a:gd name="csX1" fmla="*/ 587158 w 591889"/>
                <a:gd name="csY1" fmla="*/ 15887 h 24321"/>
                <a:gd name="csX2" fmla="*/ -4731 w 591889"/>
                <a:gd name="csY2" fmla="*/ 15887 h 24321"/>
                <a:gd name="csX3" fmla="*/ -4731 w 591889"/>
                <a:gd name="csY3" fmla="*/ -8434 h 24321"/>
                <a:gd name="csX4" fmla="*/ 587158 w 591889"/>
                <a:gd name="csY4" fmla="*/ -8434 h 24321"/>
              </a:gdLst>
              <a:ahLst/>
              <a:cxnLst>
                <a:cxn ang="0">
                  <a:pos x="csX0" y="csY0"/>
                </a:cxn>
                <a:cxn ang="0">
                  <a:pos x="csX1" y="csY1"/>
                </a:cxn>
                <a:cxn ang="0">
                  <a:pos x="csX2" y="csY2"/>
                </a:cxn>
                <a:cxn ang="0">
                  <a:pos x="csX3" y="csY3"/>
                </a:cxn>
                <a:cxn ang="0">
                  <a:pos x="csX4" y="csY4"/>
                </a:cxn>
              </a:cxnLst>
              <a:rect l="l" t="t" r="r" b="b"/>
              <a:pathLst>
                <a:path w="591889" h="24321">
                  <a:moveTo>
                    <a:pt x="587158" y="-8434"/>
                  </a:moveTo>
                  <a:lnTo>
                    <a:pt x="587158" y="15887"/>
                  </a:lnTo>
                  <a:lnTo>
                    <a:pt x="-4731" y="15887"/>
                  </a:lnTo>
                  <a:lnTo>
                    <a:pt x="-4731" y="-8434"/>
                  </a:lnTo>
                  <a:lnTo>
                    <a:pt x="587158" y="-8434"/>
                  </a:lnTo>
                </a:path>
              </a:pathLst>
            </a:custGeom>
            <a:grpFill/>
            <a:ln w="548" cap="flat">
              <a:noFill/>
              <a:prstDash val="solid"/>
              <a:miter/>
            </a:ln>
          </p:spPr>
          <p:txBody>
            <a:bodyPr/>
            <a:lstStyle/>
            <a:p>
              <a:endParaRPr lang="en-US"/>
            </a:p>
          </p:txBody>
        </p:sp>
        <p:sp>
          <p:nvSpPr>
            <p:cNvPr id="50" name="Freeform: Shape 49">
              <a:extLst>
                <a:ext uri="{FF2B5EF4-FFF2-40B4-BE49-F238E27FC236}">
                  <a16:creationId xmlns:a16="http://schemas.microsoft.com/office/drawing/2014/main" id="{30FB2049-56D5-94A0-2524-4C23262CA806}"/>
                </a:ext>
              </a:extLst>
            </p:cNvPr>
            <p:cNvSpPr/>
            <p:nvPr/>
          </p:nvSpPr>
          <p:spPr>
            <a:xfrm flipV="1">
              <a:off x="20527470" y="2820959"/>
              <a:ext cx="731572" cy="235487"/>
            </a:xfrm>
            <a:custGeom>
              <a:avLst/>
              <a:gdLst>
                <a:gd name="csX0" fmla="*/ 222800 w 731572"/>
                <a:gd name="csY0" fmla="*/ 30869 h 235487"/>
                <a:gd name="csX1" fmla="*/ 47329 w 731572"/>
                <a:gd name="csY1" fmla="*/ 30869 h 235487"/>
                <a:gd name="csX2" fmla="*/ 47329 w 731572"/>
                <a:gd name="csY2" fmla="*/ -8765 h 235487"/>
                <a:gd name="csX3" fmla="*/ 674781 w 731572"/>
                <a:gd name="csY3" fmla="*/ -8765 h 235487"/>
                <a:gd name="csX4" fmla="*/ 674781 w 731572"/>
                <a:gd name="csY4" fmla="*/ 30869 h 235487"/>
                <a:gd name="csX5" fmla="*/ 499310 w 731572"/>
                <a:gd name="csY5" fmla="*/ 30869 h 235487"/>
                <a:gd name="csX6" fmla="*/ 499310 w 731572"/>
                <a:gd name="csY6" fmla="*/ 61110 h 235487"/>
                <a:gd name="csX7" fmla="*/ 499315 w 731572"/>
                <a:gd name="csY7" fmla="*/ 61110 h 235487"/>
                <a:gd name="csX8" fmla="*/ 726842 w 731572"/>
                <a:gd name="csY8" fmla="*/ 169834 h 235487"/>
                <a:gd name="csX9" fmla="*/ 597236 w 731572"/>
                <a:gd name="csY9" fmla="*/ 169834 h 235487"/>
                <a:gd name="csX10" fmla="*/ 597236 w 731572"/>
                <a:gd name="csY10" fmla="*/ 226723 h 235487"/>
                <a:gd name="csX11" fmla="*/ 124874 w 731572"/>
                <a:gd name="csY11" fmla="*/ 226723 h 235487"/>
                <a:gd name="csX12" fmla="*/ 124874 w 731572"/>
                <a:gd name="csY12" fmla="*/ 169834 h 235487"/>
                <a:gd name="csX13" fmla="*/ -4731 w 731572"/>
                <a:gd name="csY13" fmla="*/ 169834 h 235487"/>
                <a:gd name="csX14" fmla="*/ 222800 w 731572"/>
                <a:gd name="csY14" fmla="*/ 61110 h 235487"/>
                <a:gd name="csX15" fmla="*/ 222800 w 731572"/>
                <a:gd name="csY15" fmla="*/ 30869 h 235487"/>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Lst>
              <a:rect l="l" t="t" r="r" b="b"/>
              <a:pathLst>
                <a:path w="731572" h="235487">
                  <a:moveTo>
                    <a:pt x="222800" y="30869"/>
                  </a:moveTo>
                  <a:lnTo>
                    <a:pt x="47329" y="30869"/>
                  </a:lnTo>
                  <a:lnTo>
                    <a:pt x="47329" y="-8765"/>
                  </a:lnTo>
                  <a:lnTo>
                    <a:pt x="674781" y="-8765"/>
                  </a:lnTo>
                  <a:lnTo>
                    <a:pt x="674781" y="30869"/>
                  </a:lnTo>
                  <a:lnTo>
                    <a:pt x="499310" y="30869"/>
                  </a:lnTo>
                  <a:lnTo>
                    <a:pt x="499310" y="61110"/>
                  </a:lnTo>
                  <a:lnTo>
                    <a:pt x="499315" y="61110"/>
                  </a:lnTo>
                  <a:lnTo>
                    <a:pt x="726842" y="169834"/>
                  </a:lnTo>
                  <a:lnTo>
                    <a:pt x="597236" y="169834"/>
                  </a:lnTo>
                  <a:lnTo>
                    <a:pt x="597236" y="226723"/>
                  </a:lnTo>
                  <a:lnTo>
                    <a:pt x="124874" y="226723"/>
                  </a:lnTo>
                  <a:lnTo>
                    <a:pt x="124874" y="169834"/>
                  </a:lnTo>
                  <a:lnTo>
                    <a:pt x="-4731" y="169834"/>
                  </a:lnTo>
                  <a:lnTo>
                    <a:pt x="222800" y="61110"/>
                  </a:lnTo>
                  <a:lnTo>
                    <a:pt x="222800" y="30869"/>
                  </a:lnTo>
                </a:path>
              </a:pathLst>
            </a:custGeom>
            <a:grpFill/>
            <a:ln w="548" cap="flat">
              <a:noFill/>
              <a:prstDash val="solid"/>
              <a:miter/>
            </a:ln>
          </p:spPr>
          <p:txBody>
            <a:bodyPr/>
            <a:lstStyle/>
            <a:p>
              <a:endParaRPr lang="en-US"/>
            </a:p>
          </p:txBody>
        </p:sp>
        <p:sp>
          <p:nvSpPr>
            <p:cNvPr id="51" name="Freeform: Shape 50">
              <a:extLst>
                <a:ext uri="{FF2B5EF4-FFF2-40B4-BE49-F238E27FC236}">
                  <a16:creationId xmlns:a16="http://schemas.microsoft.com/office/drawing/2014/main" id="{D5BB7205-73B1-0483-8982-400B0844A2AE}"/>
                </a:ext>
              </a:extLst>
            </p:cNvPr>
            <p:cNvSpPr/>
            <p:nvPr/>
          </p:nvSpPr>
          <p:spPr>
            <a:xfrm flipV="1">
              <a:off x="20572842" y="3096074"/>
              <a:ext cx="640828" cy="1827536"/>
            </a:xfrm>
            <a:custGeom>
              <a:avLst/>
              <a:gdLst>
                <a:gd name="csX0" fmla="*/ -4731 w 640828"/>
                <a:gd name="csY0" fmla="*/ 1786861 h 1827536"/>
                <a:gd name="csX1" fmla="*/ 16156 w 640828"/>
                <a:gd name="csY1" fmla="*/ 1786861 h 1827536"/>
                <a:gd name="csX2" fmla="*/ 16156 w 640828"/>
                <a:gd name="csY2" fmla="*/ 1752384 h 1827536"/>
                <a:gd name="csX3" fmla="*/ -4731 w 640828"/>
                <a:gd name="csY3" fmla="*/ 1752384 h 1827536"/>
                <a:gd name="csX4" fmla="*/ -4731 w 640828"/>
                <a:gd name="csY4" fmla="*/ 1717903 h 1827536"/>
                <a:gd name="csX5" fmla="*/ 16156 w 640828"/>
                <a:gd name="csY5" fmla="*/ 1717903 h 1827536"/>
                <a:gd name="csX6" fmla="*/ 16156 w 640828"/>
                <a:gd name="csY6" fmla="*/ 1683420 h 1827536"/>
                <a:gd name="csX7" fmla="*/ -4731 w 640828"/>
                <a:gd name="csY7" fmla="*/ 1683420 h 1827536"/>
                <a:gd name="csX8" fmla="*/ -4731 w 640828"/>
                <a:gd name="csY8" fmla="*/ 1648938 h 1827536"/>
                <a:gd name="csX9" fmla="*/ 16156 w 640828"/>
                <a:gd name="csY9" fmla="*/ 1648938 h 1827536"/>
                <a:gd name="csX10" fmla="*/ 16156 w 640828"/>
                <a:gd name="csY10" fmla="*/ 1614456 h 1827536"/>
                <a:gd name="csX11" fmla="*/ -4731 w 640828"/>
                <a:gd name="csY11" fmla="*/ 1614456 h 1827536"/>
                <a:gd name="csX12" fmla="*/ -4731 w 640828"/>
                <a:gd name="csY12" fmla="*/ 1579974 h 1827536"/>
                <a:gd name="csX13" fmla="*/ 16156 w 640828"/>
                <a:gd name="csY13" fmla="*/ 1579974 h 1827536"/>
                <a:gd name="csX14" fmla="*/ 16156 w 640828"/>
                <a:gd name="csY14" fmla="*/ 1545492 h 1827536"/>
                <a:gd name="csX15" fmla="*/ -4731 w 640828"/>
                <a:gd name="csY15" fmla="*/ 1545492 h 1827536"/>
                <a:gd name="csX16" fmla="*/ -4731 w 640828"/>
                <a:gd name="csY16" fmla="*/ 1511010 h 1827536"/>
                <a:gd name="csX17" fmla="*/ 16156 w 640828"/>
                <a:gd name="csY17" fmla="*/ 1511010 h 1827536"/>
                <a:gd name="csX18" fmla="*/ 16156 w 640828"/>
                <a:gd name="csY18" fmla="*/ 1476528 h 1827536"/>
                <a:gd name="csX19" fmla="*/ -4731 w 640828"/>
                <a:gd name="csY19" fmla="*/ 1476528 h 1827536"/>
                <a:gd name="csX20" fmla="*/ -4731 w 640828"/>
                <a:gd name="csY20" fmla="*/ 1442046 h 1827536"/>
                <a:gd name="csX21" fmla="*/ 16156 w 640828"/>
                <a:gd name="csY21" fmla="*/ 1442046 h 1827536"/>
                <a:gd name="csX22" fmla="*/ 16156 w 640828"/>
                <a:gd name="csY22" fmla="*/ 1407564 h 1827536"/>
                <a:gd name="csX23" fmla="*/ -4731 w 640828"/>
                <a:gd name="csY23" fmla="*/ 1407564 h 1827536"/>
                <a:gd name="csX24" fmla="*/ -4731 w 640828"/>
                <a:gd name="csY24" fmla="*/ 1373082 h 1827536"/>
                <a:gd name="csX25" fmla="*/ 16156 w 640828"/>
                <a:gd name="csY25" fmla="*/ 1373082 h 1827536"/>
                <a:gd name="csX26" fmla="*/ 16156 w 640828"/>
                <a:gd name="csY26" fmla="*/ 1338600 h 1827536"/>
                <a:gd name="csX27" fmla="*/ -4731 w 640828"/>
                <a:gd name="csY27" fmla="*/ 1338600 h 1827536"/>
                <a:gd name="csX28" fmla="*/ -4731 w 640828"/>
                <a:gd name="csY28" fmla="*/ 1304118 h 1827536"/>
                <a:gd name="csX29" fmla="*/ 16156 w 640828"/>
                <a:gd name="csY29" fmla="*/ 1304118 h 1827536"/>
                <a:gd name="csX30" fmla="*/ 16156 w 640828"/>
                <a:gd name="csY30" fmla="*/ 1269636 h 1827536"/>
                <a:gd name="csX31" fmla="*/ -4731 w 640828"/>
                <a:gd name="csY31" fmla="*/ 1269636 h 1827536"/>
                <a:gd name="csX32" fmla="*/ -4731 w 640828"/>
                <a:gd name="csY32" fmla="*/ 1235159 h 1827536"/>
                <a:gd name="csX33" fmla="*/ 16156 w 640828"/>
                <a:gd name="csY33" fmla="*/ 1235159 h 1827536"/>
                <a:gd name="csX34" fmla="*/ 16156 w 640828"/>
                <a:gd name="csY34" fmla="*/ 1200672 h 1827536"/>
                <a:gd name="csX35" fmla="*/ -4731 w 640828"/>
                <a:gd name="csY35" fmla="*/ 1200672 h 1827536"/>
                <a:gd name="csX36" fmla="*/ -4731 w 640828"/>
                <a:gd name="csY36" fmla="*/ 1166195 h 1827536"/>
                <a:gd name="csX37" fmla="*/ 16156 w 640828"/>
                <a:gd name="csY37" fmla="*/ 1166195 h 1827536"/>
                <a:gd name="csX38" fmla="*/ 16156 w 640828"/>
                <a:gd name="csY38" fmla="*/ 1131708 h 1827536"/>
                <a:gd name="csX39" fmla="*/ -4731 w 640828"/>
                <a:gd name="csY39" fmla="*/ 1131708 h 1827536"/>
                <a:gd name="csX40" fmla="*/ -4731 w 640828"/>
                <a:gd name="csY40" fmla="*/ 1097231 h 1827536"/>
                <a:gd name="csX41" fmla="*/ 16156 w 640828"/>
                <a:gd name="csY41" fmla="*/ 1097231 h 1827536"/>
                <a:gd name="csX42" fmla="*/ 16156 w 640828"/>
                <a:gd name="csY42" fmla="*/ 1062744 h 1827536"/>
                <a:gd name="csX43" fmla="*/ -4731 w 640828"/>
                <a:gd name="csY43" fmla="*/ 1062744 h 1827536"/>
                <a:gd name="csX44" fmla="*/ -4731 w 640828"/>
                <a:gd name="csY44" fmla="*/ 1028267 h 1827536"/>
                <a:gd name="csX45" fmla="*/ 16156 w 640828"/>
                <a:gd name="csY45" fmla="*/ 1028267 h 1827536"/>
                <a:gd name="csX46" fmla="*/ 16156 w 640828"/>
                <a:gd name="csY46" fmla="*/ 993785 h 1827536"/>
                <a:gd name="csX47" fmla="*/ -4731 w 640828"/>
                <a:gd name="csY47" fmla="*/ 993785 h 1827536"/>
                <a:gd name="csX48" fmla="*/ -4731 w 640828"/>
                <a:gd name="csY48" fmla="*/ 959303 h 1827536"/>
                <a:gd name="csX49" fmla="*/ 16156 w 640828"/>
                <a:gd name="csY49" fmla="*/ 959303 h 1827536"/>
                <a:gd name="csX50" fmla="*/ 16156 w 640828"/>
                <a:gd name="csY50" fmla="*/ 924821 h 1827536"/>
                <a:gd name="csX51" fmla="*/ -4731 w 640828"/>
                <a:gd name="csY51" fmla="*/ 924821 h 1827536"/>
                <a:gd name="csX52" fmla="*/ -4731 w 640828"/>
                <a:gd name="csY52" fmla="*/ 890334 h 1827536"/>
                <a:gd name="csX53" fmla="*/ 16156 w 640828"/>
                <a:gd name="csY53" fmla="*/ 890334 h 1827536"/>
                <a:gd name="csX54" fmla="*/ 16156 w 640828"/>
                <a:gd name="csY54" fmla="*/ 855857 h 1827536"/>
                <a:gd name="csX55" fmla="*/ -4731 w 640828"/>
                <a:gd name="csY55" fmla="*/ 855857 h 1827536"/>
                <a:gd name="csX56" fmla="*/ -4731 w 640828"/>
                <a:gd name="csY56" fmla="*/ 821375 h 1827536"/>
                <a:gd name="csX57" fmla="*/ 16156 w 640828"/>
                <a:gd name="csY57" fmla="*/ 821375 h 1827536"/>
                <a:gd name="csX58" fmla="*/ 16156 w 640828"/>
                <a:gd name="csY58" fmla="*/ 786893 h 1827536"/>
                <a:gd name="csX59" fmla="*/ -4731 w 640828"/>
                <a:gd name="csY59" fmla="*/ 786893 h 1827536"/>
                <a:gd name="csX60" fmla="*/ -4731 w 640828"/>
                <a:gd name="csY60" fmla="*/ 752411 h 1827536"/>
                <a:gd name="csX61" fmla="*/ 16156 w 640828"/>
                <a:gd name="csY61" fmla="*/ 752411 h 1827536"/>
                <a:gd name="csX62" fmla="*/ 16156 w 640828"/>
                <a:gd name="csY62" fmla="*/ 717929 h 1827536"/>
                <a:gd name="csX63" fmla="*/ -4731 w 640828"/>
                <a:gd name="csY63" fmla="*/ 717929 h 1827536"/>
                <a:gd name="csX64" fmla="*/ -4731 w 640828"/>
                <a:gd name="csY64" fmla="*/ 683447 h 1827536"/>
                <a:gd name="csX65" fmla="*/ 16156 w 640828"/>
                <a:gd name="csY65" fmla="*/ 683447 h 1827536"/>
                <a:gd name="csX66" fmla="*/ 16156 w 640828"/>
                <a:gd name="csY66" fmla="*/ 648959 h 1827536"/>
                <a:gd name="csX67" fmla="*/ -4731 w 640828"/>
                <a:gd name="csY67" fmla="*/ 648959 h 1827536"/>
                <a:gd name="csX68" fmla="*/ -4731 w 640828"/>
                <a:gd name="csY68" fmla="*/ 614483 h 1827536"/>
                <a:gd name="csX69" fmla="*/ 16156 w 640828"/>
                <a:gd name="csY69" fmla="*/ 614483 h 1827536"/>
                <a:gd name="csX70" fmla="*/ 16156 w 640828"/>
                <a:gd name="csY70" fmla="*/ 580001 h 1827536"/>
                <a:gd name="csX71" fmla="*/ -4731 w 640828"/>
                <a:gd name="csY71" fmla="*/ 580001 h 1827536"/>
                <a:gd name="csX72" fmla="*/ -4731 w 640828"/>
                <a:gd name="csY72" fmla="*/ 545519 h 1827536"/>
                <a:gd name="csX73" fmla="*/ 16156 w 640828"/>
                <a:gd name="csY73" fmla="*/ 545519 h 1827536"/>
                <a:gd name="csX74" fmla="*/ 16156 w 640828"/>
                <a:gd name="csY74" fmla="*/ 511037 h 1827536"/>
                <a:gd name="csX75" fmla="*/ -4731 w 640828"/>
                <a:gd name="csY75" fmla="*/ 511037 h 1827536"/>
                <a:gd name="csX76" fmla="*/ -4731 w 640828"/>
                <a:gd name="csY76" fmla="*/ 476555 h 1827536"/>
                <a:gd name="csX77" fmla="*/ 16156 w 640828"/>
                <a:gd name="csY77" fmla="*/ 476555 h 1827536"/>
                <a:gd name="csX78" fmla="*/ 16156 w 640828"/>
                <a:gd name="csY78" fmla="*/ 442073 h 1827536"/>
                <a:gd name="csX79" fmla="*/ -4731 w 640828"/>
                <a:gd name="csY79" fmla="*/ 442073 h 1827536"/>
                <a:gd name="csX80" fmla="*/ -4731 w 640828"/>
                <a:gd name="csY80" fmla="*/ 407591 h 1827536"/>
                <a:gd name="csX81" fmla="*/ 16156 w 640828"/>
                <a:gd name="csY81" fmla="*/ 407591 h 1827536"/>
                <a:gd name="csX82" fmla="*/ 16156 w 640828"/>
                <a:gd name="csY82" fmla="*/ 373109 h 1827536"/>
                <a:gd name="csX83" fmla="*/ -4731 w 640828"/>
                <a:gd name="csY83" fmla="*/ 373109 h 1827536"/>
                <a:gd name="csX84" fmla="*/ -4731 w 640828"/>
                <a:gd name="csY84" fmla="*/ 338627 h 1827536"/>
                <a:gd name="csX85" fmla="*/ 16156 w 640828"/>
                <a:gd name="csY85" fmla="*/ 338627 h 1827536"/>
                <a:gd name="csX86" fmla="*/ 16156 w 640828"/>
                <a:gd name="csY86" fmla="*/ 304145 h 1827536"/>
                <a:gd name="csX87" fmla="*/ -4731 w 640828"/>
                <a:gd name="csY87" fmla="*/ 304145 h 1827536"/>
                <a:gd name="csX88" fmla="*/ -4731 w 640828"/>
                <a:gd name="csY88" fmla="*/ 269668 h 1827536"/>
                <a:gd name="csX89" fmla="*/ 16156 w 640828"/>
                <a:gd name="csY89" fmla="*/ 269668 h 1827536"/>
                <a:gd name="csX90" fmla="*/ 16156 w 640828"/>
                <a:gd name="csY90" fmla="*/ 235186 h 1827536"/>
                <a:gd name="csX91" fmla="*/ -4731 w 640828"/>
                <a:gd name="csY91" fmla="*/ 235186 h 1827536"/>
                <a:gd name="csX92" fmla="*/ -4731 w 640828"/>
                <a:gd name="csY92" fmla="*/ 200699 h 1827536"/>
                <a:gd name="csX93" fmla="*/ 16156 w 640828"/>
                <a:gd name="csY93" fmla="*/ 200699 h 1827536"/>
                <a:gd name="csX94" fmla="*/ 16156 w 640828"/>
                <a:gd name="csY94" fmla="*/ 166222 h 1827536"/>
                <a:gd name="csX95" fmla="*/ -4731 w 640828"/>
                <a:gd name="csY95" fmla="*/ 166222 h 1827536"/>
                <a:gd name="csX96" fmla="*/ -4731 w 640828"/>
                <a:gd name="csY96" fmla="*/ 131740 h 1827536"/>
                <a:gd name="csX97" fmla="*/ 16156 w 640828"/>
                <a:gd name="csY97" fmla="*/ 131740 h 1827536"/>
                <a:gd name="csX98" fmla="*/ 16156 w 640828"/>
                <a:gd name="csY98" fmla="*/ 97258 h 1827536"/>
                <a:gd name="csX99" fmla="*/ -4731 w 640828"/>
                <a:gd name="csY99" fmla="*/ 97258 h 1827536"/>
                <a:gd name="csX100" fmla="*/ -4731 w 640828"/>
                <a:gd name="csY100" fmla="*/ 62771 h 1827536"/>
                <a:gd name="csX101" fmla="*/ 16156 w 640828"/>
                <a:gd name="csY101" fmla="*/ 62771 h 1827536"/>
                <a:gd name="csX102" fmla="*/ 16156 w 640828"/>
                <a:gd name="csY102" fmla="*/ 28294 h 1827536"/>
                <a:gd name="csX103" fmla="*/ -4731 w 640828"/>
                <a:gd name="csY103" fmla="*/ 28294 h 1827536"/>
                <a:gd name="csX104" fmla="*/ -4731 w 640828"/>
                <a:gd name="csY104" fmla="*/ -6188 h 1827536"/>
                <a:gd name="csX105" fmla="*/ 636097 w 640828"/>
                <a:gd name="csY105" fmla="*/ -6188 h 1827536"/>
                <a:gd name="csX106" fmla="*/ 636097 w 640828"/>
                <a:gd name="csY106" fmla="*/ 28294 h 1827536"/>
                <a:gd name="csX107" fmla="*/ 615210 w 640828"/>
                <a:gd name="csY107" fmla="*/ 28294 h 1827536"/>
                <a:gd name="csX108" fmla="*/ 615210 w 640828"/>
                <a:gd name="csY108" fmla="*/ 62771 h 1827536"/>
                <a:gd name="csX109" fmla="*/ 636097 w 640828"/>
                <a:gd name="csY109" fmla="*/ 62771 h 1827536"/>
                <a:gd name="csX110" fmla="*/ 636097 w 640828"/>
                <a:gd name="csY110" fmla="*/ 97258 h 1827536"/>
                <a:gd name="csX111" fmla="*/ 615210 w 640828"/>
                <a:gd name="csY111" fmla="*/ 97258 h 1827536"/>
                <a:gd name="csX112" fmla="*/ 615210 w 640828"/>
                <a:gd name="csY112" fmla="*/ 131740 h 1827536"/>
                <a:gd name="csX113" fmla="*/ 636097 w 640828"/>
                <a:gd name="csY113" fmla="*/ 131740 h 1827536"/>
                <a:gd name="csX114" fmla="*/ 636097 w 640828"/>
                <a:gd name="csY114" fmla="*/ 166222 h 1827536"/>
                <a:gd name="csX115" fmla="*/ 615210 w 640828"/>
                <a:gd name="csY115" fmla="*/ 166222 h 1827536"/>
                <a:gd name="csX116" fmla="*/ 615210 w 640828"/>
                <a:gd name="csY116" fmla="*/ 200699 h 1827536"/>
                <a:gd name="csX117" fmla="*/ 636097 w 640828"/>
                <a:gd name="csY117" fmla="*/ 200699 h 1827536"/>
                <a:gd name="csX118" fmla="*/ 636097 w 640828"/>
                <a:gd name="csY118" fmla="*/ 235186 h 1827536"/>
                <a:gd name="csX119" fmla="*/ 615210 w 640828"/>
                <a:gd name="csY119" fmla="*/ 235186 h 1827536"/>
                <a:gd name="csX120" fmla="*/ 615210 w 640828"/>
                <a:gd name="csY120" fmla="*/ 269668 h 1827536"/>
                <a:gd name="csX121" fmla="*/ 636097 w 640828"/>
                <a:gd name="csY121" fmla="*/ 269668 h 1827536"/>
                <a:gd name="csX122" fmla="*/ 636097 w 640828"/>
                <a:gd name="csY122" fmla="*/ 304145 h 1827536"/>
                <a:gd name="csX123" fmla="*/ 615210 w 640828"/>
                <a:gd name="csY123" fmla="*/ 304145 h 1827536"/>
                <a:gd name="csX124" fmla="*/ 615210 w 640828"/>
                <a:gd name="csY124" fmla="*/ 338627 h 1827536"/>
                <a:gd name="csX125" fmla="*/ 636097 w 640828"/>
                <a:gd name="csY125" fmla="*/ 338627 h 1827536"/>
                <a:gd name="csX126" fmla="*/ 636097 w 640828"/>
                <a:gd name="csY126" fmla="*/ 373109 h 1827536"/>
                <a:gd name="csX127" fmla="*/ 615210 w 640828"/>
                <a:gd name="csY127" fmla="*/ 373109 h 1827536"/>
                <a:gd name="csX128" fmla="*/ 615210 w 640828"/>
                <a:gd name="csY128" fmla="*/ 407591 h 1827536"/>
                <a:gd name="csX129" fmla="*/ 636097 w 640828"/>
                <a:gd name="csY129" fmla="*/ 407591 h 1827536"/>
                <a:gd name="csX130" fmla="*/ 636097 w 640828"/>
                <a:gd name="csY130" fmla="*/ 442073 h 1827536"/>
                <a:gd name="csX131" fmla="*/ 615210 w 640828"/>
                <a:gd name="csY131" fmla="*/ 442073 h 1827536"/>
                <a:gd name="csX132" fmla="*/ 615210 w 640828"/>
                <a:gd name="csY132" fmla="*/ 476555 h 1827536"/>
                <a:gd name="csX133" fmla="*/ 636097 w 640828"/>
                <a:gd name="csY133" fmla="*/ 476555 h 1827536"/>
                <a:gd name="csX134" fmla="*/ 636097 w 640828"/>
                <a:gd name="csY134" fmla="*/ 511037 h 1827536"/>
                <a:gd name="csX135" fmla="*/ 615210 w 640828"/>
                <a:gd name="csY135" fmla="*/ 511037 h 1827536"/>
                <a:gd name="csX136" fmla="*/ 615210 w 640828"/>
                <a:gd name="csY136" fmla="*/ 545519 h 1827536"/>
                <a:gd name="csX137" fmla="*/ 636097 w 640828"/>
                <a:gd name="csY137" fmla="*/ 545519 h 1827536"/>
                <a:gd name="csX138" fmla="*/ 636097 w 640828"/>
                <a:gd name="csY138" fmla="*/ 580001 h 1827536"/>
                <a:gd name="csX139" fmla="*/ 615210 w 640828"/>
                <a:gd name="csY139" fmla="*/ 580001 h 1827536"/>
                <a:gd name="csX140" fmla="*/ 615210 w 640828"/>
                <a:gd name="csY140" fmla="*/ 614483 h 1827536"/>
                <a:gd name="csX141" fmla="*/ 636097 w 640828"/>
                <a:gd name="csY141" fmla="*/ 614483 h 1827536"/>
                <a:gd name="csX142" fmla="*/ 636097 w 640828"/>
                <a:gd name="csY142" fmla="*/ 648959 h 1827536"/>
                <a:gd name="csX143" fmla="*/ 615210 w 640828"/>
                <a:gd name="csY143" fmla="*/ 648959 h 1827536"/>
                <a:gd name="csX144" fmla="*/ 615210 w 640828"/>
                <a:gd name="csY144" fmla="*/ 683447 h 1827536"/>
                <a:gd name="csX145" fmla="*/ 636097 w 640828"/>
                <a:gd name="csY145" fmla="*/ 683447 h 1827536"/>
                <a:gd name="csX146" fmla="*/ 636097 w 640828"/>
                <a:gd name="csY146" fmla="*/ 717929 h 1827536"/>
                <a:gd name="csX147" fmla="*/ 615210 w 640828"/>
                <a:gd name="csY147" fmla="*/ 717929 h 1827536"/>
                <a:gd name="csX148" fmla="*/ 615210 w 640828"/>
                <a:gd name="csY148" fmla="*/ 752411 h 1827536"/>
                <a:gd name="csX149" fmla="*/ 636097 w 640828"/>
                <a:gd name="csY149" fmla="*/ 752411 h 1827536"/>
                <a:gd name="csX150" fmla="*/ 636097 w 640828"/>
                <a:gd name="csY150" fmla="*/ 786893 h 1827536"/>
                <a:gd name="csX151" fmla="*/ 615210 w 640828"/>
                <a:gd name="csY151" fmla="*/ 786893 h 1827536"/>
                <a:gd name="csX152" fmla="*/ 615210 w 640828"/>
                <a:gd name="csY152" fmla="*/ 821375 h 1827536"/>
                <a:gd name="csX153" fmla="*/ 636097 w 640828"/>
                <a:gd name="csY153" fmla="*/ 821375 h 1827536"/>
                <a:gd name="csX154" fmla="*/ 636097 w 640828"/>
                <a:gd name="csY154" fmla="*/ 855857 h 1827536"/>
                <a:gd name="csX155" fmla="*/ 615210 w 640828"/>
                <a:gd name="csY155" fmla="*/ 855857 h 1827536"/>
                <a:gd name="csX156" fmla="*/ 615210 w 640828"/>
                <a:gd name="csY156" fmla="*/ 890334 h 1827536"/>
                <a:gd name="csX157" fmla="*/ 636097 w 640828"/>
                <a:gd name="csY157" fmla="*/ 890334 h 1827536"/>
                <a:gd name="csX158" fmla="*/ 636097 w 640828"/>
                <a:gd name="csY158" fmla="*/ 924821 h 1827536"/>
                <a:gd name="csX159" fmla="*/ 615210 w 640828"/>
                <a:gd name="csY159" fmla="*/ 924821 h 1827536"/>
                <a:gd name="csX160" fmla="*/ 615210 w 640828"/>
                <a:gd name="csY160" fmla="*/ 959303 h 1827536"/>
                <a:gd name="csX161" fmla="*/ 636097 w 640828"/>
                <a:gd name="csY161" fmla="*/ 959303 h 1827536"/>
                <a:gd name="csX162" fmla="*/ 636097 w 640828"/>
                <a:gd name="csY162" fmla="*/ 993785 h 1827536"/>
                <a:gd name="csX163" fmla="*/ 615210 w 640828"/>
                <a:gd name="csY163" fmla="*/ 993785 h 1827536"/>
                <a:gd name="csX164" fmla="*/ 615210 w 640828"/>
                <a:gd name="csY164" fmla="*/ 1028267 h 1827536"/>
                <a:gd name="csX165" fmla="*/ 636097 w 640828"/>
                <a:gd name="csY165" fmla="*/ 1028267 h 1827536"/>
                <a:gd name="csX166" fmla="*/ 636097 w 640828"/>
                <a:gd name="csY166" fmla="*/ 1062744 h 1827536"/>
                <a:gd name="csX167" fmla="*/ 615210 w 640828"/>
                <a:gd name="csY167" fmla="*/ 1062744 h 1827536"/>
                <a:gd name="csX168" fmla="*/ 615210 w 640828"/>
                <a:gd name="csY168" fmla="*/ 1097231 h 1827536"/>
                <a:gd name="csX169" fmla="*/ 636097 w 640828"/>
                <a:gd name="csY169" fmla="*/ 1097231 h 1827536"/>
                <a:gd name="csX170" fmla="*/ 636097 w 640828"/>
                <a:gd name="csY170" fmla="*/ 1131708 h 1827536"/>
                <a:gd name="csX171" fmla="*/ 615210 w 640828"/>
                <a:gd name="csY171" fmla="*/ 1131708 h 1827536"/>
                <a:gd name="csX172" fmla="*/ 615210 w 640828"/>
                <a:gd name="csY172" fmla="*/ 1166195 h 1827536"/>
                <a:gd name="csX173" fmla="*/ 636097 w 640828"/>
                <a:gd name="csY173" fmla="*/ 1166195 h 1827536"/>
                <a:gd name="csX174" fmla="*/ 636097 w 640828"/>
                <a:gd name="csY174" fmla="*/ 1200672 h 1827536"/>
                <a:gd name="csX175" fmla="*/ 615210 w 640828"/>
                <a:gd name="csY175" fmla="*/ 1200672 h 1827536"/>
                <a:gd name="csX176" fmla="*/ 615210 w 640828"/>
                <a:gd name="csY176" fmla="*/ 1235159 h 1827536"/>
                <a:gd name="csX177" fmla="*/ 636097 w 640828"/>
                <a:gd name="csY177" fmla="*/ 1235159 h 1827536"/>
                <a:gd name="csX178" fmla="*/ 636097 w 640828"/>
                <a:gd name="csY178" fmla="*/ 1269636 h 1827536"/>
                <a:gd name="csX179" fmla="*/ 615210 w 640828"/>
                <a:gd name="csY179" fmla="*/ 1269636 h 1827536"/>
                <a:gd name="csX180" fmla="*/ 615210 w 640828"/>
                <a:gd name="csY180" fmla="*/ 1304118 h 1827536"/>
                <a:gd name="csX181" fmla="*/ 636097 w 640828"/>
                <a:gd name="csY181" fmla="*/ 1304118 h 1827536"/>
                <a:gd name="csX182" fmla="*/ 636097 w 640828"/>
                <a:gd name="csY182" fmla="*/ 1338600 h 1827536"/>
                <a:gd name="csX183" fmla="*/ 615210 w 640828"/>
                <a:gd name="csY183" fmla="*/ 1338600 h 1827536"/>
                <a:gd name="csX184" fmla="*/ 615210 w 640828"/>
                <a:gd name="csY184" fmla="*/ 1373082 h 1827536"/>
                <a:gd name="csX185" fmla="*/ 636097 w 640828"/>
                <a:gd name="csY185" fmla="*/ 1373082 h 1827536"/>
                <a:gd name="csX186" fmla="*/ 636097 w 640828"/>
                <a:gd name="csY186" fmla="*/ 1407564 h 1827536"/>
                <a:gd name="csX187" fmla="*/ 615210 w 640828"/>
                <a:gd name="csY187" fmla="*/ 1407564 h 1827536"/>
                <a:gd name="csX188" fmla="*/ 615210 w 640828"/>
                <a:gd name="csY188" fmla="*/ 1442046 h 1827536"/>
                <a:gd name="csX189" fmla="*/ 636097 w 640828"/>
                <a:gd name="csY189" fmla="*/ 1442046 h 1827536"/>
                <a:gd name="csX190" fmla="*/ 636097 w 640828"/>
                <a:gd name="csY190" fmla="*/ 1476528 h 1827536"/>
                <a:gd name="csX191" fmla="*/ 615210 w 640828"/>
                <a:gd name="csY191" fmla="*/ 1476528 h 1827536"/>
                <a:gd name="csX192" fmla="*/ 615210 w 640828"/>
                <a:gd name="csY192" fmla="*/ 1511010 h 1827536"/>
                <a:gd name="csX193" fmla="*/ 636097 w 640828"/>
                <a:gd name="csY193" fmla="*/ 1511010 h 1827536"/>
                <a:gd name="csX194" fmla="*/ 636097 w 640828"/>
                <a:gd name="csY194" fmla="*/ 1545492 h 1827536"/>
                <a:gd name="csX195" fmla="*/ 615210 w 640828"/>
                <a:gd name="csY195" fmla="*/ 1545492 h 1827536"/>
                <a:gd name="csX196" fmla="*/ 615210 w 640828"/>
                <a:gd name="csY196" fmla="*/ 1579974 h 1827536"/>
                <a:gd name="csX197" fmla="*/ 636097 w 640828"/>
                <a:gd name="csY197" fmla="*/ 1579974 h 1827536"/>
                <a:gd name="csX198" fmla="*/ 636097 w 640828"/>
                <a:gd name="csY198" fmla="*/ 1614456 h 1827536"/>
                <a:gd name="csX199" fmla="*/ 615210 w 640828"/>
                <a:gd name="csY199" fmla="*/ 1614456 h 1827536"/>
                <a:gd name="csX200" fmla="*/ 615210 w 640828"/>
                <a:gd name="csY200" fmla="*/ 1648938 h 1827536"/>
                <a:gd name="csX201" fmla="*/ 636097 w 640828"/>
                <a:gd name="csY201" fmla="*/ 1648938 h 1827536"/>
                <a:gd name="csX202" fmla="*/ 636097 w 640828"/>
                <a:gd name="csY202" fmla="*/ 1683420 h 1827536"/>
                <a:gd name="csX203" fmla="*/ 615210 w 640828"/>
                <a:gd name="csY203" fmla="*/ 1683420 h 1827536"/>
                <a:gd name="csX204" fmla="*/ 615210 w 640828"/>
                <a:gd name="csY204" fmla="*/ 1717903 h 1827536"/>
                <a:gd name="csX205" fmla="*/ 636097 w 640828"/>
                <a:gd name="csY205" fmla="*/ 1717903 h 1827536"/>
                <a:gd name="csX206" fmla="*/ 636097 w 640828"/>
                <a:gd name="csY206" fmla="*/ 1752384 h 1827536"/>
                <a:gd name="csX207" fmla="*/ 615210 w 640828"/>
                <a:gd name="csY207" fmla="*/ 1752384 h 1827536"/>
                <a:gd name="csX208" fmla="*/ 615210 w 640828"/>
                <a:gd name="csY208" fmla="*/ 1786861 h 1827536"/>
                <a:gd name="csX209" fmla="*/ 636097 w 640828"/>
                <a:gd name="csY209" fmla="*/ 1786861 h 1827536"/>
                <a:gd name="csX210" fmla="*/ 636097 w 640828"/>
                <a:gd name="csY210" fmla="*/ 1821349 h 1827536"/>
                <a:gd name="csX211" fmla="*/ -4731 w 640828"/>
                <a:gd name="csY211" fmla="*/ 1821349 h 1827536"/>
                <a:gd name="csX212" fmla="*/ 39182 w 640828"/>
                <a:gd name="csY212" fmla="*/ 1717903 h 1827536"/>
                <a:gd name="csX213" fmla="*/ 162571 w 640828"/>
                <a:gd name="csY213" fmla="*/ 1717903 h 1827536"/>
                <a:gd name="csX214" fmla="*/ 162571 w 640828"/>
                <a:gd name="csY214" fmla="*/ 1683420 h 1827536"/>
                <a:gd name="csX215" fmla="*/ 39182 w 640828"/>
                <a:gd name="csY215" fmla="*/ 1683420 h 1827536"/>
                <a:gd name="csX216" fmla="*/ 448983 w 640828"/>
                <a:gd name="csY216" fmla="*/ 1683420 h 1827536"/>
                <a:gd name="csX217" fmla="*/ 325589 w 640828"/>
                <a:gd name="csY217" fmla="*/ 1683420 h 1827536"/>
                <a:gd name="csX218" fmla="*/ 325589 w 640828"/>
                <a:gd name="csY218" fmla="*/ 1717903 h 1827536"/>
                <a:gd name="csX219" fmla="*/ 448983 w 640828"/>
                <a:gd name="csY219" fmla="*/ 1717903 h 1827536"/>
                <a:gd name="csX220" fmla="*/ 448983 w 640828"/>
                <a:gd name="csY220" fmla="*/ 1614456 h 1827536"/>
                <a:gd name="csX221" fmla="*/ 325589 w 640828"/>
                <a:gd name="csY221" fmla="*/ 1614456 h 1827536"/>
                <a:gd name="csX222" fmla="*/ 325589 w 640828"/>
                <a:gd name="csY222" fmla="*/ 1648938 h 1827536"/>
                <a:gd name="csX223" fmla="*/ 448983 w 640828"/>
                <a:gd name="csY223" fmla="*/ 1648938 h 1827536"/>
                <a:gd name="csX224" fmla="*/ 448983 w 640828"/>
                <a:gd name="csY224" fmla="*/ 1545492 h 1827536"/>
                <a:gd name="csX225" fmla="*/ 325589 w 640828"/>
                <a:gd name="csY225" fmla="*/ 1545492 h 1827536"/>
                <a:gd name="csX226" fmla="*/ 325589 w 640828"/>
                <a:gd name="csY226" fmla="*/ 1579974 h 1827536"/>
                <a:gd name="csX227" fmla="*/ 448983 w 640828"/>
                <a:gd name="csY227" fmla="*/ 1579974 h 1827536"/>
                <a:gd name="csX228" fmla="*/ 448983 w 640828"/>
                <a:gd name="csY228" fmla="*/ 1476528 h 1827536"/>
                <a:gd name="csX229" fmla="*/ 325589 w 640828"/>
                <a:gd name="csY229" fmla="*/ 1476528 h 1827536"/>
                <a:gd name="csX230" fmla="*/ 325589 w 640828"/>
                <a:gd name="csY230" fmla="*/ 1511010 h 1827536"/>
                <a:gd name="csX231" fmla="*/ 448983 w 640828"/>
                <a:gd name="csY231" fmla="*/ 1511010 h 1827536"/>
                <a:gd name="csX232" fmla="*/ 448983 w 640828"/>
                <a:gd name="csY232" fmla="*/ 1407564 h 1827536"/>
                <a:gd name="csX233" fmla="*/ 325589 w 640828"/>
                <a:gd name="csY233" fmla="*/ 1407564 h 1827536"/>
                <a:gd name="csX234" fmla="*/ 325589 w 640828"/>
                <a:gd name="csY234" fmla="*/ 1442046 h 1827536"/>
                <a:gd name="csX235" fmla="*/ 448983 w 640828"/>
                <a:gd name="csY235" fmla="*/ 1442046 h 1827536"/>
                <a:gd name="csX236" fmla="*/ 448983 w 640828"/>
                <a:gd name="csY236" fmla="*/ 1338600 h 1827536"/>
                <a:gd name="csX237" fmla="*/ 325589 w 640828"/>
                <a:gd name="csY237" fmla="*/ 1338600 h 1827536"/>
                <a:gd name="csX238" fmla="*/ 325589 w 640828"/>
                <a:gd name="csY238" fmla="*/ 1373082 h 1827536"/>
                <a:gd name="csX239" fmla="*/ 448983 w 640828"/>
                <a:gd name="csY239" fmla="*/ 1373082 h 1827536"/>
                <a:gd name="csX240" fmla="*/ 448983 w 640828"/>
                <a:gd name="csY240" fmla="*/ 1269636 h 1827536"/>
                <a:gd name="csX241" fmla="*/ 325589 w 640828"/>
                <a:gd name="csY241" fmla="*/ 1269636 h 1827536"/>
                <a:gd name="csX242" fmla="*/ 325589 w 640828"/>
                <a:gd name="csY242" fmla="*/ 1304118 h 1827536"/>
                <a:gd name="csX243" fmla="*/ 448983 w 640828"/>
                <a:gd name="csY243" fmla="*/ 1304118 h 1827536"/>
                <a:gd name="csX244" fmla="*/ 448983 w 640828"/>
                <a:gd name="csY244" fmla="*/ 1200672 h 1827536"/>
                <a:gd name="csX245" fmla="*/ 325589 w 640828"/>
                <a:gd name="csY245" fmla="*/ 1200672 h 1827536"/>
                <a:gd name="csX246" fmla="*/ 325589 w 640828"/>
                <a:gd name="csY246" fmla="*/ 1235159 h 1827536"/>
                <a:gd name="csX247" fmla="*/ 448983 w 640828"/>
                <a:gd name="csY247" fmla="*/ 1235159 h 1827536"/>
                <a:gd name="csX248" fmla="*/ 448983 w 640828"/>
                <a:gd name="csY248" fmla="*/ 1131708 h 1827536"/>
                <a:gd name="csX249" fmla="*/ 325589 w 640828"/>
                <a:gd name="csY249" fmla="*/ 1131708 h 1827536"/>
                <a:gd name="csX250" fmla="*/ 325589 w 640828"/>
                <a:gd name="csY250" fmla="*/ 1166195 h 1827536"/>
                <a:gd name="csX251" fmla="*/ 448983 w 640828"/>
                <a:gd name="csY251" fmla="*/ 1166195 h 1827536"/>
                <a:gd name="csX252" fmla="*/ 448983 w 640828"/>
                <a:gd name="csY252" fmla="*/ 1062744 h 1827536"/>
                <a:gd name="csX253" fmla="*/ 325589 w 640828"/>
                <a:gd name="csY253" fmla="*/ 1062744 h 1827536"/>
                <a:gd name="csX254" fmla="*/ 325589 w 640828"/>
                <a:gd name="csY254" fmla="*/ 1097231 h 1827536"/>
                <a:gd name="csX255" fmla="*/ 448983 w 640828"/>
                <a:gd name="csY255" fmla="*/ 1097231 h 1827536"/>
                <a:gd name="csX256" fmla="*/ 448983 w 640828"/>
                <a:gd name="csY256" fmla="*/ 993785 h 1827536"/>
                <a:gd name="csX257" fmla="*/ 325589 w 640828"/>
                <a:gd name="csY257" fmla="*/ 993785 h 1827536"/>
                <a:gd name="csX258" fmla="*/ 325589 w 640828"/>
                <a:gd name="csY258" fmla="*/ 1028267 h 1827536"/>
                <a:gd name="csX259" fmla="*/ 448983 w 640828"/>
                <a:gd name="csY259" fmla="*/ 1028267 h 1827536"/>
                <a:gd name="csX260" fmla="*/ 448983 w 640828"/>
                <a:gd name="csY260" fmla="*/ 924821 h 1827536"/>
                <a:gd name="csX261" fmla="*/ 325589 w 640828"/>
                <a:gd name="csY261" fmla="*/ 924821 h 1827536"/>
                <a:gd name="csX262" fmla="*/ 325589 w 640828"/>
                <a:gd name="csY262" fmla="*/ 959303 h 1827536"/>
                <a:gd name="csX263" fmla="*/ 448983 w 640828"/>
                <a:gd name="csY263" fmla="*/ 959303 h 1827536"/>
                <a:gd name="csX264" fmla="*/ 448983 w 640828"/>
                <a:gd name="csY264" fmla="*/ 855857 h 1827536"/>
                <a:gd name="csX265" fmla="*/ 325589 w 640828"/>
                <a:gd name="csY265" fmla="*/ 855857 h 1827536"/>
                <a:gd name="csX266" fmla="*/ 325589 w 640828"/>
                <a:gd name="csY266" fmla="*/ 890334 h 1827536"/>
                <a:gd name="csX267" fmla="*/ 448983 w 640828"/>
                <a:gd name="csY267" fmla="*/ 890334 h 1827536"/>
                <a:gd name="csX268" fmla="*/ 448983 w 640828"/>
                <a:gd name="csY268" fmla="*/ 786893 h 1827536"/>
                <a:gd name="csX269" fmla="*/ 325589 w 640828"/>
                <a:gd name="csY269" fmla="*/ 786893 h 1827536"/>
                <a:gd name="csX270" fmla="*/ 325589 w 640828"/>
                <a:gd name="csY270" fmla="*/ 821375 h 1827536"/>
                <a:gd name="csX271" fmla="*/ 448983 w 640828"/>
                <a:gd name="csY271" fmla="*/ 821375 h 1827536"/>
                <a:gd name="csX272" fmla="*/ 448983 w 640828"/>
                <a:gd name="csY272" fmla="*/ 717929 h 1827536"/>
                <a:gd name="csX273" fmla="*/ 325589 w 640828"/>
                <a:gd name="csY273" fmla="*/ 717929 h 1827536"/>
                <a:gd name="csX274" fmla="*/ 325589 w 640828"/>
                <a:gd name="csY274" fmla="*/ 752411 h 1827536"/>
                <a:gd name="csX275" fmla="*/ 448983 w 640828"/>
                <a:gd name="csY275" fmla="*/ 752411 h 1827536"/>
                <a:gd name="csX276" fmla="*/ 448983 w 640828"/>
                <a:gd name="csY276" fmla="*/ 648959 h 1827536"/>
                <a:gd name="csX277" fmla="*/ 325589 w 640828"/>
                <a:gd name="csY277" fmla="*/ 648959 h 1827536"/>
                <a:gd name="csX278" fmla="*/ 325589 w 640828"/>
                <a:gd name="csY278" fmla="*/ 683447 h 1827536"/>
                <a:gd name="csX279" fmla="*/ 448983 w 640828"/>
                <a:gd name="csY279" fmla="*/ 683447 h 1827536"/>
                <a:gd name="csX280" fmla="*/ 448983 w 640828"/>
                <a:gd name="csY280" fmla="*/ 580001 h 1827536"/>
                <a:gd name="csX281" fmla="*/ 325589 w 640828"/>
                <a:gd name="csY281" fmla="*/ 580001 h 1827536"/>
                <a:gd name="csX282" fmla="*/ 325589 w 640828"/>
                <a:gd name="csY282" fmla="*/ 614483 h 1827536"/>
                <a:gd name="csX283" fmla="*/ 448983 w 640828"/>
                <a:gd name="csY283" fmla="*/ 614483 h 1827536"/>
                <a:gd name="csX284" fmla="*/ 448983 w 640828"/>
                <a:gd name="csY284" fmla="*/ 511037 h 1827536"/>
                <a:gd name="csX285" fmla="*/ 325589 w 640828"/>
                <a:gd name="csY285" fmla="*/ 511037 h 1827536"/>
                <a:gd name="csX286" fmla="*/ 325589 w 640828"/>
                <a:gd name="csY286" fmla="*/ 545519 h 1827536"/>
                <a:gd name="csX287" fmla="*/ 448983 w 640828"/>
                <a:gd name="csY287" fmla="*/ 545519 h 1827536"/>
                <a:gd name="csX288" fmla="*/ 448983 w 640828"/>
                <a:gd name="csY288" fmla="*/ 442073 h 1827536"/>
                <a:gd name="csX289" fmla="*/ 325589 w 640828"/>
                <a:gd name="csY289" fmla="*/ 442073 h 1827536"/>
                <a:gd name="csX290" fmla="*/ 325589 w 640828"/>
                <a:gd name="csY290" fmla="*/ 476555 h 1827536"/>
                <a:gd name="csX291" fmla="*/ 448983 w 640828"/>
                <a:gd name="csY291" fmla="*/ 476555 h 1827536"/>
                <a:gd name="csX292" fmla="*/ 448983 w 640828"/>
                <a:gd name="csY292" fmla="*/ 373109 h 1827536"/>
                <a:gd name="csX293" fmla="*/ 325589 w 640828"/>
                <a:gd name="csY293" fmla="*/ 373109 h 1827536"/>
                <a:gd name="csX294" fmla="*/ 325589 w 640828"/>
                <a:gd name="csY294" fmla="*/ 407591 h 1827536"/>
                <a:gd name="csX295" fmla="*/ 448983 w 640828"/>
                <a:gd name="csY295" fmla="*/ 407591 h 1827536"/>
                <a:gd name="csX296" fmla="*/ 448983 w 640828"/>
                <a:gd name="csY296" fmla="*/ 304145 h 1827536"/>
                <a:gd name="csX297" fmla="*/ 325589 w 640828"/>
                <a:gd name="csY297" fmla="*/ 304145 h 1827536"/>
                <a:gd name="csX298" fmla="*/ 325589 w 640828"/>
                <a:gd name="csY298" fmla="*/ 338627 h 1827536"/>
                <a:gd name="csX299" fmla="*/ 448983 w 640828"/>
                <a:gd name="csY299" fmla="*/ 338627 h 1827536"/>
                <a:gd name="csX300" fmla="*/ 448983 w 640828"/>
                <a:gd name="csY300" fmla="*/ 235186 h 1827536"/>
                <a:gd name="csX301" fmla="*/ 325589 w 640828"/>
                <a:gd name="csY301" fmla="*/ 235186 h 1827536"/>
                <a:gd name="csX302" fmla="*/ 325589 w 640828"/>
                <a:gd name="csY302" fmla="*/ 269668 h 1827536"/>
                <a:gd name="csX303" fmla="*/ 448983 w 640828"/>
                <a:gd name="csY303" fmla="*/ 269668 h 1827536"/>
                <a:gd name="csX304" fmla="*/ 448983 w 640828"/>
                <a:gd name="csY304" fmla="*/ 166222 h 1827536"/>
                <a:gd name="csX305" fmla="*/ 325589 w 640828"/>
                <a:gd name="csY305" fmla="*/ 166222 h 1827536"/>
                <a:gd name="csX306" fmla="*/ 325589 w 640828"/>
                <a:gd name="csY306" fmla="*/ 200699 h 1827536"/>
                <a:gd name="csX307" fmla="*/ 448983 w 640828"/>
                <a:gd name="csY307" fmla="*/ 200699 h 1827536"/>
                <a:gd name="csX308" fmla="*/ 448983 w 640828"/>
                <a:gd name="csY308" fmla="*/ 97258 h 1827536"/>
                <a:gd name="csX309" fmla="*/ 325589 w 640828"/>
                <a:gd name="csY309" fmla="*/ 97258 h 1827536"/>
                <a:gd name="csX310" fmla="*/ 325589 w 640828"/>
                <a:gd name="csY310" fmla="*/ 131740 h 1827536"/>
                <a:gd name="csX311" fmla="*/ 448983 w 640828"/>
                <a:gd name="csY311" fmla="*/ 131740 h 1827536"/>
                <a:gd name="csX312" fmla="*/ 182382 w 640828"/>
                <a:gd name="csY312" fmla="*/ 131740 h 1827536"/>
                <a:gd name="csX313" fmla="*/ 305777 w 640828"/>
                <a:gd name="csY313" fmla="*/ 131740 h 1827536"/>
                <a:gd name="csX314" fmla="*/ 305777 w 640828"/>
                <a:gd name="csY314" fmla="*/ 97258 h 1827536"/>
                <a:gd name="csX315" fmla="*/ 182382 w 640828"/>
                <a:gd name="csY315" fmla="*/ 97258 h 1827536"/>
                <a:gd name="csX316" fmla="*/ 182382 w 640828"/>
                <a:gd name="csY316" fmla="*/ 200699 h 1827536"/>
                <a:gd name="csX317" fmla="*/ 305777 w 640828"/>
                <a:gd name="csY317" fmla="*/ 200699 h 1827536"/>
                <a:gd name="csX318" fmla="*/ 305777 w 640828"/>
                <a:gd name="csY318" fmla="*/ 166222 h 1827536"/>
                <a:gd name="csX319" fmla="*/ 182382 w 640828"/>
                <a:gd name="csY319" fmla="*/ 166222 h 1827536"/>
                <a:gd name="csX320" fmla="*/ 182382 w 640828"/>
                <a:gd name="csY320" fmla="*/ 269668 h 1827536"/>
                <a:gd name="csX321" fmla="*/ 305777 w 640828"/>
                <a:gd name="csY321" fmla="*/ 269668 h 1827536"/>
                <a:gd name="csX322" fmla="*/ 305777 w 640828"/>
                <a:gd name="csY322" fmla="*/ 235186 h 1827536"/>
                <a:gd name="csX323" fmla="*/ 182382 w 640828"/>
                <a:gd name="csY323" fmla="*/ 235186 h 1827536"/>
                <a:gd name="csX324" fmla="*/ 182382 w 640828"/>
                <a:gd name="csY324" fmla="*/ 338627 h 1827536"/>
                <a:gd name="csX325" fmla="*/ 305777 w 640828"/>
                <a:gd name="csY325" fmla="*/ 338627 h 1827536"/>
                <a:gd name="csX326" fmla="*/ 305777 w 640828"/>
                <a:gd name="csY326" fmla="*/ 304145 h 1827536"/>
                <a:gd name="csX327" fmla="*/ 182382 w 640828"/>
                <a:gd name="csY327" fmla="*/ 304145 h 1827536"/>
                <a:gd name="csX328" fmla="*/ 182382 w 640828"/>
                <a:gd name="csY328" fmla="*/ 407591 h 1827536"/>
                <a:gd name="csX329" fmla="*/ 305777 w 640828"/>
                <a:gd name="csY329" fmla="*/ 407591 h 1827536"/>
                <a:gd name="csX330" fmla="*/ 305777 w 640828"/>
                <a:gd name="csY330" fmla="*/ 373109 h 1827536"/>
                <a:gd name="csX331" fmla="*/ 182382 w 640828"/>
                <a:gd name="csY331" fmla="*/ 373109 h 1827536"/>
                <a:gd name="csX332" fmla="*/ 182382 w 640828"/>
                <a:gd name="csY332" fmla="*/ 476555 h 1827536"/>
                <a:gd name="csX333" fmla="*/ 305777 w 640828"/>
                <a:gd name="csY333" fmla="*/ 476555 h 1827536"/>
                <a:gd name="csX334" fmla="*/ 305777 w 640828"/>
                <a:gd name="csY334" fmla="*/ 442073 h 1827536"/>
                <a:gd name="csX335" fmla="*/ 182382 w 640828"/>
                <a:gd name="csY335" fmla="*/ 442073 h 1827536"/>
                <a:gd name="csX336" fmla="*/ 182382 w 640828"/>
                <a:gd name="csY336" fmla="*/ 545519 h 1827536"/>
                <a:gd name="csX337" fmla="*/ 305777 w 640828"/>
                <a:gd name="csY337" fmla="*/ 545519 h 1827536"/>
                <a:gd name="csX338" fmla="*/ 305777 w 640828"/>
                <a:gd name="csY338" fmla="*/ 511037 h 1827536"/>
                <a:gd name="csX339" fmla="*/ 182382 w 640828"/>
                <a:gd name="csY339" fmla="*/ 511037 h 1827536"/>
                <a:gd name="csX340" fmla="*/ 182382 w 640828"/>
                <a:gd name="csY340" fmla="*/ 614483 h 1827536"/>
                <a:gd name="csX341" fmla="*/ 305777 w 640828"/>
                <a:gd name="csY341" fmla="*/ 614483 h 1827536"/>
                <a:gd name="csX342" fmla="*/ 305777 w 640828"/>
                <a:gd name="csY342" fmla="*/ 580001 h 1827536"/>
                <a:gd name="csX343" fmla="*/ 182382 w 640828"/>
                <a:gd name="csY343" fmla="*/ 580001 h 1827536"/>
                <a:gd name="csX344" fmla="*/ 182382 w 640828"/>
                <a:gd name="csY344" fmla="*/ 683447 h 1827536"/>
                <a:gd name="csX345" fmla="*/ 305777 w 640828"/>
                <a:gd name="csY345" fmla="*/ 683447 h 1827536"/>
                <a:gd name="csX346" fmla="*/ 305777 w 640828"/>
                <a:gd name="csY346" fmla="*/ 648959 h 1827536"/>
                <a:gd name="csX347" fmla="*/ 182382 w 640828"/>
                <a:gd name="csY347" fmla="*/ 648959 h 1827536"/>
                <a:gd name="csX348" fmla="*/ 182382 w 640828"/>
                <a:gd name="csY348" fmla="*/ 752411 h 1827536"/>
                <a:gd name="csX349" fmla="*/ 305777 w 640828"/>
                <a:gd name="csY349" fmla="*/ 752411 h 1827536"/>
                <a:gd name="csX350" fmla="*/ 305777 w 640828"/>
                <a:gd name="csY350" fmla="*/ 717929 h 1827536"/>
                <a:gd name="csX351" fmla="*/ 182382 w 640828"/>
                <a:gd name="csY351" fmla="*/ 717929 h 1827536"/>
                <a:gd name="csX352" fmla="*/ 182382 w 640828"/>
                <a:gd name="csY352" fmla="*/ 821375 h 1827536"/>
                <a:gd name="csX353" fmla="*/ 305777 w 640828"/>
                <a:gd name="csY353" fmla="*/ 821375 h 1827536"/>
                <a:gd name="csX354" fmla="*/ 305777 w 640828"/>
                <a:gd name="csY354" fmla="*/ 786893 h 1827536"/>
                <a:gd name="csX355" fmla="*/ 182382 w 640828"/>
                <a:gd name="csY355" fmla="*/ 786893 h 1827536"/>
                <a:gd name="csX356" fmla="*/ 182382 w 640828"/>
                <a:gd name="csY356" fmla="*/ 890334 h 1827536"/>
                <a:gd name="csX357" fmla="*/ 305777 w 640828"/>
                <a:gd name="csY357" fmla="*/ 890334 h 1827536"/>
                <a:gd name="csX358" fmla="*/ 305777 w 640828"/>
                <a:gd name="csY358" fmla="*/ 855857 h 1827536"/>
                <a:gd name="csX359" fmla="*/ 182382 w 640828"/>
                <a:gd name="csY359" fmla="*/ 855857 h 1827536"/>
                <a:gd name="csX360" fmla="*/ 182382 w 640828"/>
                <a:gd name="csY360" fmla="*/ 959303 h 1827536"/>
                <a:gd name="csX361" fmla="*/ 305777 w 640828"/>
                <a:gd name="csY361" fmla="*/ 959303 h 1827536"/>
                <a:gd name="csX362" fmla="*/ 305777 w 640828"/>
                <a:gd name="csY362" fmla="*/ 924821 h 1827536"/>
                <a:gd name="csX363" fmla="*/ 182382 w 640828"/>
                <a:gd name="csY363" fmla="*/ 924821 h 1827536"/>
                <a:gd name="csX364" fmla="*/ 182382 w 640828"/>
                <a:gd name="csY364" fmla="*/ 1028267 h 1827536"/>
                <a:gd name="csX365" fmla="*/ 305777 w 640828"/>
                <a:gd name="csY365" fmla="*/ 1028267 h 1827536"/>
                <a:gd name="csX366" fmla="*/ 305777 w 640828"/>
                <a:gd name="csY366" fmla="*/ 993785 h 1827536"/>
                <a:gd name="csX367" fmla="*/ 182382 w 640828"/>
                <a:gd name="csY367" fmla="*/ 993785 h 1827536"/>
                <a:gd name="csX368" fmla="*/ 182382 w 640828"/>
                <a:gd name="csY368" fmla="*/ 1097231 h 1827536"/>
                <a:gd name="csX369" fmla="*/ 305777 w 640828"/>
                <a:gd name="csY369" fmla="*/ 1097231 h 1827536"/>
                <a:gd name="csX370" fmla="*/ 305777 w 640828"/>
                <a:gd name="csY370" fmla="*/ 1062744 h 1827536"/>
                <a:gd name="csX371" fmla="*/ 182382 w 640828"/>
                <a:gd name="csY371" fmla="*/ 1062744 h 1827536"/>
                <a:gd name="csX372" fmla="*/ 182382 w 640828"/>
                <a:gd name="csY372" fmla="*/ 1166195 h 1827536"/>
                <a:gd name="csX373" fmla="*/ 305777 w 640828"/>
                <a:gd name="csY373" fmla="*/ 1166195 h 1827536"/>
                <a:gd name="csX374" fmla="*/ 305777 w 640828"/>
                <a:gd name="csY374" fmla="*/ 1131708 h 1827536"/>
                <a:gd name="csX375" fmla="*/ 182382 w 640828"/>
                <a:gd name="csY375" fmla="*/ 1131708 h 1827536"/>
                <a:gd name="csX376" fmla="*/ 182382 w 640828"/>
                <a:gd name="csY376" fmla="*/ 1235159 h 1827536"/>
                <a:gd name="csX377" fmla="*/ 305777 w 640828"/>
                <a:gd name="csY377" fmla="*/ 1235159 h 1827536"/>
                <a:gd name="csX378" fmla="*/ 305777 w 640828"/>
                <a:gd name="csY378" fmla="*/ 1200672 h 1827536"/>
                <a:gd name="csX379" fmla="*/ 182382 w 640828"/>
                <a:gd name="csY379" fmla="*/ 1200672 h 1827536"/>
                <a:gd name="csX380" fmla="*/ 182382 w 640828"/>
                <a:gd name="csY380" fmla="*/ 1304118 h 1827536"/>
                <a:gd name="csX381" fmla="*/ 305777 w 640828"/>
                <a:gd name="csY381" fmla="*/ 1304118 h 1827536"/>
                <a:gd name="csX382" fmla="*/ 305777 w 640828"/>
                <a:gd name="csY382" fmla="*/ 1269636 h 1827536"/>
                <a:gd name="csX383" fmla="*/ 182382 w 640828"/>
                <a:gd name="csY383" fmla="*/ 1269636 h 1827536"/>
                <a:gd name="csX384" fmla="*/ 182382 w 640828"/>
                <a:gd name="csY384" fmla="*/ 1373082 h 1827536"/>
                <a:gd name="csX385" fmla="*/ 305777 w 640828"/>
                <a:gd name="csY385" fmla="*/ 1373082 h 1827536"/>
                <a:gd name="csX386" fmla="*/ 305777 w 640828"/>
                <a:gd name="csY386" fmla="*/ 1338600 h 1827536"/>
                <a:gd name="csX387" fmla="*/ 182382 w 640828"/>
                <a:gd name="csY387" fmla="*/ 1338600 h 1827536"/>
                <a:gd name="csX388" fmla="*/ 182382 w 640828"/>
                <a:gd name="csY388" fmla="*/ 1442046 h 1827536"/>
                <a:gd name="csX389" fmla="*/ 305777 w 640828"/>
                <a:gd name="csY389" fmla="*/ 1442046 h 1827536"/>
                <a:gd name="csX390" fmla="*/ 305777 w 640828"/>
                <a:gd name="csY390" fmla="*/ 1407564 h 1827536"/>
                <a:gd name="csX391" fmla="*/ 182382 w 640828"/>
                <a:gd name="csY391" fmla="*/ 1407564 h 1827536"/>
                <a:gd name="csX392" fmla="*/ 182382 w 640828"/>
                <a:gd name="csY392" fmla="*/ 1511010 h 1827536"/>
                <a:gd name="csX393" fmla="*/ 305777 w 640828"/>
                <a:gd name="csY393" fmla="*/ 1511010 h 1827536"/>
                <a:gd name="csX394" fmla="*/ 305777 w 640828"/>
                <a:gd name="csY394" fmla="*/ 1476528 h 1827536"/>
                <a:gd name="csX395" fmla="*/ 182382 w 640828"/>
                <a:gd name="csY395" fmla="*/ 1476528 h 1827536"/>
                <a:gd name="csX396" fmla="*/ 182382 w 640828"/>
                <a:gd name="csY396" fmla="*/ 1579974 h 1827536"/>
                <a:gd name="csX397" fmla="*/ 305777 w 640828"/>
                <a:gd name="csY397" fmla="*/ 1579974 h 1827536"/>
                <a:gd name="csX398" fmla="*/ 305777 w 640828"/>
                <a:gd name="csY398" fmla="*/ 1545492 h 1827536"/>
                <a:gd name="csX399" fmla="*/ 182382 w 640828"/>
                <a:gd name="csY399" fmla="*/ 1545492 h 1827536"/>
                <a:gd name="csX400" fmla="*/ 182382 w 640828"/>
                <a:gd name="csY400" fmla="*/ 1648938 h 1827536"/>
                <a:gd name="csX401" fmla="*/ 305777 w 640828"/>
                <a:gd name="csY401" fmla="*/ 1648938 h 1827536"/>
                <a:gd name="csX402" fmla="*/ 305777 w 640828"/>
                <a:gd name="csY402" fmla="*/ 1614456 h 1827536"/>
                <a:gd name="csX403" fmla="*/ 182382 w 640828"/>
                <a:gd name="csY403" fmla="*/ 1614456 h 1827536"/>
                <a:gd name="csX404" fmla="*/ 305777 w 640828"/>
                <a:gd name="csY404" fmla="*/ 1683420 h 1827536"/>
                <a:gd name="csX405" fmla="*/ 182382 w 640828"/>
                <a:gd name="csY405" fmla="*/ 1683420 h 1827536"/>
                <a:gd name="csX406" fmla="*/ 182382 w 640828"/>
                <a:gd name="csY406" fmla="*/ 1717903 h 1827536"/>
                <a:gd name="csX407" fmla="*/ 305777 w 640828"/>
                <a:gd name="csY407" fmla="*/ 1717903 h 1827536"/>
                <a:gd name="csX408" fmla="*/ 39182 w 640828"/>
                <a:gd name="csY408" fmla="*/ 1648938 h 1827536"/>
                <a:gd name="csX409" fmla="*/ 162571 w 640828"/>
                <a:gd name="csY409" fmla="*/ 1648938 h 1827536"/>
                <a:gd name="csX410" fmla="*/ 162571 w 640828"/>
                <a:gd name="csY410" fmla="*/ 1614456 h 1827536"/>
                <a:gd name="csX411" fmla="*/ 39182 w 640828"/>
                <a:gd name="csY411" fmla="*/ 1614456 h 1827536"/>
                <a:gd name="csX412" fmla="*/ 39182 w 640828"/>
                <a:gd name="csY412" fmla="*/ 1579974 h 1827536"/>
                <a:gd name="csX413" fmla="*/ 162571 w 640828"/>
                <a:gd name="csY413" fmla="*/ 1579974 h 1827536"/>
                <a:gd name="csX414" fmla="*/ 162571 w 640828"/>
                <a:gd name="csY414" fmla="*/ 1545492 h 1827536"/>
                <a:gd name="csX415" fmla="*/ 39182 w 640828"/>
                <a:gd name="csY415" fmla="*/ 1545492 h 1827536"/>
                <a:gd name="csX416" fmla="*/ 39182 w 640828"/>
                <a:gd name="csY416" fmla="*/ 1511010 h 1827536"/>
                <a:gd name="csX417" fmla="*/ 162571 w 640828"/>
                <a:gd name="csY417" fmla="*/ 1511010 h 1827536"/>
                <a:gd name="csX418" fmla="*/ 162571 w 640828"/>
                <a:gd name="csY418" fmla="*/ 1476528 h 1827536"/>
                <a:gd name="csX419" fmla="*/ 39182 w 640828"/>
                <a:gd name="csY419" fmla="*/ 1476528 h 1827536"/>
                <a:gd name="csX420" fmla="*/ 39182 w 640828"/>
                <a:gd name="csY420" fmla="*/ 1442046 h 1827536"/>
                <a:gd name="csX421" fmla="*/ 162571 w 640828"/>
                <a:gd name="csY421" fmla="*/ 1442046 h 1827536"/>
                <a:gd name="csX422" fmla="*/ 162571 w 640828"/>
                <a:gd name="csY422" fmla="*/ 1407564 h 1827536"/>
                <a:gd name="csX423" fmla="*/ 39182 w 640828"/>
                <a:gd name="csY423" fmla="*/ 1407564 h 1827536"/>
                <a:gd name="csX424" fmla="*/ 39182 w 640828"/>
                <a:gd name="csY424" fmla="*/ 1373082 h 1827536"/>
                <a:gd name="csX425" fmla="*/ 162571 w 640828"/>
                <a:gd name="csY425" fmla="*/ 1373082 h 1827536"/>
                <a:gd name="csX426" fmla="*/ 162571 w 640828"/>
                <a:gd name="csY426" fmla="*/ 1338600 h 1827536"/>
                <a:gd name="csX427" fmla="*/ 39182 w 640828"/>
                <a:gd name="csY427" fmla="*/ 1338600 h 1827536"/>
                <a:gd name="csX428" fmla="*/ 39182 w 640828"/>
                <a:gd name="csY428" fmla="*/ 1304118 h 1827536"/>
                <a:gd name="csX429" fmla="*/ 162571 w 640828"/>
                <a:gd name="csY429" fmla="*/ 1304118 h 1827536"/>
                <a:gd name="csX430" fmla="*/ 162571 w 640828"/>
                <a:gd name="csY430" fmla="*/ 1269636 h 1827536"/>
                <a:gd name="csX431" fmla="*/ 39182 w 640828"/>
                <a:gd name="csY431" fmla="*/ 1269636 h 1827536"/>
                <a:gd name="csX432" fmla="*/ 39182 w 640828"/>
                <a:gd name="csY432" fmla="*/ 1235159 h 1827536"/>
                <a:gd name="csX433" fmla="*/ 162571 w 640828"/>
                <a:gd name="csY433" fmla="*/ 1235159 h 1827536"/>
                <a:gd name="csX434" fmla="*/ 162571 w 640828"/>
                <a:gd name="csY434" fmla="*/ 1200672 h 1827536"/>
                <a:gd name="csX435" fmla="*/ 39182 w 640828"/>
                <a:gd name="csY435" fmla="*/ 1200672 h 1827536"/>
                <a:gd name="csX436" fmla="*/ 39182 w 640828"/>
                <a:gd name="csY436" fmla="*/ 1166195 h 1827536"/>
                <a:gd name="csX437" fmla="*/ 162571 w 640828"/>
                <a:gd name="csY437" fmla="*/ 1166195 h 1827536"/>
                <a:gd name="csX438" fmla="*/ 162571 w 640828"/>
                <a:gd name="csY438" fmla="*/ 1131708 h 1827536"/>
                <a:gd name="csX439" fmla="*/ 39182 w 640828"/>
                <a:gd name="csY439" fmla="*/ 1131708 h 1827536"/>
                <a:gd name="csX440" fmla="*/ 39182 w 640828"/>
                <a:gd name="csY440" fmla="*/ 1097231 h 1827536"/>
                <a:gd name="csX441" fmla="*/ 162571 w 640828"/>
                <a:gd name="csY441" fmla="*/ 1097231 h 1827536"/>
                <a:gd name="csX442" fmla="*/ 162571 w 640828"/>
                <a:gd name="csY442" fmla="*/ 1062744 h 1827536"/>
                <a:gd name="csX443" fmla="*/ 39182 w 640828"/>
                <a:gd name="csY443" fmla="*/ 1062744 h 1827536"/>
                <a:gd name="csX444" fmla="*/ 39182 w 640828"/>
                <a:gd name="csY444" fmla="*/ 1028267 h 1827536"/>
                <a:gd name="csX445" fmla="*/ 162571 w 640828"/>
                <a:gd name="csY445" fmla="*/ 1028267 h 1827536"/>
                <a:gd name="csX446" fmla="*/ 162571 w 640828"/>
                <a:gd name="csY446" fmla="*/ 993785 h 1827536"/>
                <a:gd name="csX447" fmla="*/ 39182 w 640828"/>
                <a:gd name="csY447" fmla="*/ 993785 h 1827536"/>
                <a:gd name="csX448" fmla="*/ 39182 w 640828"/>
                <a:gd name="csY448" fmla="*/ 959303 h 1827536"/>
                <a:gd name="csX449" fmla="*/ 162571 w 640828"/>
                <a:gd name="csY449" fmla="*/ 959303 h 1827536"/>
                <a:gd name="csX450" fmla="*/ 162571 w 640828"/>
                <a:gd name="csY450" fmla="*/ 924821 h 1827536"/>
                <a:gd name="csX451" fmla="*/ 39182 w 640828"/>
                <a:gd name="csY451" fmla="*/ 924821 h 1827536"/>
                <a:gd name="csX452" fmla="*/ 39182 w 640828"/>
                <a:gd name="csY452" fmla="*/ 890334 h 1827536"/>
                <a:gd name="csX453" fmla="*/ 162571 w 640828"/>
                <a:gd name="csY453" fmla="*/ 890334 h 1827536"/>
                <a:gd name="csX454" fmla="*/ 162571 w 640828"/>
                <a:gd name="csY454" fmla="*/ 855857 h 1827536"/>
                <a:gd name="csX455" fmla="*/ 39182 w 640828"/>
                <a:gd name="csY455" fmla="*/ 855857 h 1827536"/>
                <a:gd name="csX456" fmla="*/ 39182 w 640828"/>
                <a:gd name="csY456" fmla="*/ 821375 h 1827536"/>
                <a:gd name="csX457" fmla="*/ 162571 w 640828"/>
                <a:gd name="csY457" fmla="*/ 821375 h 1827536"/>
                <a:gd name="csX458" fmla="*/ 162571 w 640828"/>
                <a:gd name="csY458" fmla="*/ 786893 h 1827536"/>
                <a:gd name="csX459" fmla="*/ 39182 w 640828"/>
                <a:gd name="csY459" fmla="*/ 786893 h 1827536"/>
                <a:gd name="csX460" fmla="*/ 39182 w 640828"/>
                <a:gd name="csY460" fmla="*/ 752411 h 1827536"/>
                <a:gd name="csX461" fmla="*/ 162571 w 640828"/>
                <a:gd name="csY461" fmla="*/ 752411 h 1827536"/>
                <a:gd name="csX462" fmla="*/ 162571 w 640828"/>
                <a:gd name="csY462" fmla="*/ 717929 h 1827536"/>
                <a:gd name="csX463" fmla="*/ 39182 w 640828"/>
                <a:gd name="csY463" fmla="*/ 717929 h 1827536"/>
                <a:gd name="csX464" fmla="*/ 39182 w 640828"/>
                <a:gd name="csY464" fmla="*/ 683447 h 1827536"/>
                <a:gd name="csX465" fmla="*/ 162571 w 640828"/>
                <a:gd name="csY465" fmla="*/ 683447 h 1827536"/>
                <a:gd name="csX466" fmla="*/ 162571 w 640828"/>
                <a:gd name="csY466" fmla="*/ 648959 h 1827536"/>
                <a:gd name="csX467" fmla="*/ 39182 w 640828"/>
                <a:gd name="csY467" fmla="*/ 648959 h 1827536"/>
                <a:gd name="csX468" fmla="*/ 39182 w 640828"/>
                <a:gd name="csY468" fmla="*/ 614483 h 1827536"/>
                <a:gd name="csX469" fmla="*/ 162571 w 640828"/>
                <a:gd name="csY469" fmla="*/ 614483 h 1827536"/>
                <a:gd name="csX470" fmla="*/ 162571 w 640828"/>
                <a:gd name="csY470" fmla="*/ 580001 h 1827536"/>
                <a:gd name="csX471" fmla="*/ 39182 w 640828"/>
                <a:gd name="csY471" fmla="*/ 580001 h 1827536"/>
                <a:gd name="csX472" fmla="*/ 39182 w 640828"/>
                <a:gd name="csY472" fmla="*/ 545519 h 1827536"/>
                <a:gd name="csX473" fmla="*/ 162571 w 640828"/>
                <a:gd name="csY473" fmla="*/ 545519 h 1827536"/>
                <a:gd name="csX474" fmla="*/ 162571 w 640828"/>
                <a:gd name="csY474" fmla="*/ 511037 h 1827536"/>
                <a:gd name="csX475" fmla="*/ 39182 w 640828"/>
                <a:gd name="csY475" fmla="*/ 511037 h 1827536"/>
                <a:gd name="csX476" fmla="*/ 39182 w 640828"/>
                <a:gd name="csY476" fmla="*/ 476555 h 1827536"/>
                <a:gd name="csX477" fmla="*/ 162571 w 640828"/>
                <a:gd name="csY477" fmla="*/ 476555 h 1827536"/>
                <a:gd name="csX478" fmla="*/ 162571 w 640828"/>
                <a:gd name="csY478" fmla="*/ 442073 h 1827536"/>
                <a:gd name="csX479" fmla="*/ 39182 w 640828"/>
                <a:gd name="csY479" fmla="*/ 442073 h 1827536"/>
                <a:gd name="csX480" fmla="*/ 39182 w 640828"/>
                <a:gd name="csY480" fmla="*/ 407591 h 1827536"/>
                <a:gd name="csX481" fmla="*/ 162571 w 640828"/>
                <a:gd name="csY481" fmla="*/ 407591 h 1827536"/>
                <a:gd name="csX482" fmla="*/ 162571 w 640828"/>
                <a:gd name="csY482" fmla="*/ 373109 h 1827536"/>
                <a:gd name="csX483" fmla="*/ 39182 w 640828"/>
                <a:gd name="csY483" fmla="*/ 373109 h 1827536"/>
                <a:gd name="csX484" fmla="*/ 39182 w 640828"/>
                <a:gd name="csY484" fmla="*/ 338627 h 1827536"/>
                <a:gd name="csX485" fmla="*/ 162571 w 640828"/>
                <a:gd name="csY485" fmla="*/ 338627 h 1827536"/>
                <a:gd name="csX486" fmla="*/ 162571 w 640828"/>
                <a:gd name="csY486" fmla="*/ 304145 h 1827536"/>
                <a:gd name="csX487" fmla="*/ 39182 w 640828"/>
                <a:gd name="csY487" fmla="*/ 304145 h 1827536"/>
                <a:gd name="csX488" fmla="*/ 39182 w 640828"/>
                <a:gd name="csY488" fmla="*/ 269668 h 1827536"/>
                <a:gd name="csX489" fmla="*/ 162571 w 640828"/>
                <a:gd name="csY489" fmla="*/ 269668 h 1827536"/>
                <a:gd name="csX490" fmla="*/ 162571 w 640828"/>
                <a:gd name="csY490" fmla="*/ 235186 h 1827536"/>
                <a:gd name="csX491" fmla="*/ 39182 w 640828"/>
                <a:gd name="csY491" fmla="*/ 235186 h 1827536"/>
                <a:gd name="csX492" fmla="*/ 39182 w 640828"/>
                <a:gd name="csY492" fmla="*/ 200699 h 1827536"/>
                <a:gd name="csX493" fmla="*/ 162571 w 640828"/>
                <a:gd name="csY493" fmla="*/ 200699 h 1827536"/>
                <a:gd name="csX494" fmla="*/ 162571 w 640828"/>
                <a:gd name="csY494" fmla="*/ 166222 h 1827536"/>
                <a:gd name="csX495" fmla="*/ 39182 w 640828"/>
                <a:gd name="csY495" fmla="*/ 166222 h 1827536"/>
                <a:gd name="csX496" fmla="*/ 39182 w 640828"/>
                <a:gd name="csY496" fmla="*/ 131740 h 1827536"/>
                <a:gd name="csX497" fmla="*/ 162571 w 640828"/>
                <a:gd name="csY497" fmla="*/ 131740 h 1827536"/>
                <a:gd name="csX498" fmla="*/ 162571 w 640828"/>
                <a:gd name="csY498" fmla="*/ 97258 h 1827536"/>
                <a:gd name="csX499" fmla="*/ 39182 w 640828"/>
                <a:gd name="csY499" fmla="*/ 97258 h 1827536"/>
                <a:gd name="csX500" fmla="*/ 39182 w 640828"/>
                <a:gd name="csY500" fmla="*/ 28294 h 1827536"/>
                <a:gd name="csX501" fmla="*/ 39182 w 640828"/>
                <a:gd name="csY501" fmla="*/ 62771 h 1827536"/>
                <a:gd name="csX502" fmla="*/ 162571 w 640828"/>
                <a:gd name="csY502" fmla="*/ 62771 h 1827536"/>
                <a:gd name="csX503" fmla="*/ 162571 w 640828"/>
                <a:gd name="csY503" fmla="*/ 28294 h 1827536"/>
                <a:gd name="csX504" fmla="*/ 182382 w 640828"/>
                <a:gd name="csY504" fmla="*/ 28294 h 1827536"/>
                <a:gd name="csX505" fmla="*/ 182382 w 640828"/>
                <a:gd name="csY505" fmla="*/ 62771 h 1827536"/>
                <a:gd name="csX506" fmla="*/ 305777 w 640828"/>
                <a:gd name="csY506" fmla="*/ 62771 h 1827536"/>
                <a:gd name="csX507" fmla="*/ 305777 w 640828"/>
                <a:gd name="csY507" fmla="*/ 28294 h 1827536"/>
                <a:gd name="csX508" fmla="*/ 325589 w 640828"/>
                <a:gd name="csY508" fmla="*/ 28294 h 1827536"/>
                <a:gd name="csX509" fmla="*/ 325589 w 640828"/>
                <a:gd name="csY509" fmla="*/ 62771 h 1827536"/>
                <a:gd name="csX510" fmla="*/ 448983 w 640828"/>
                <a:gd name="csY510" fmla="*/ 62771 h 1827536"/>
                <a:gd name="csX511" fmla="*/ 448983 w 640828"/>
                <a:gd name="csY511" fmla="*/ 28294 h 1827536"/>
                <a:gd name="csX512" fmla="*/ 592189 w 640828"/>
                <a:gd name="csY512" fmla="*/ 28294 h 1827536"/>
                <a:gd name="csX513" fmla="*/ 468800 w 640828"/>
                <a:gd name="csY513" fmla="*/ 28294 h 1827536"/>
                <a:gd name="csX514" fmla="*/ 468800 w 640828"/>
                <a:gd name="csY514" fmla="*/ 62771 h 1827536"/>
                <a:gd name="csX515" fmla="*/ 592189 w 640828"/>
                <a:gd name="csY515" fmla="*/ 62771 h 1827536"/>
                <a:gd name="csX516" fmla="*/ 592189 w 640828"/>
                <a:gd name="csY516" fmla="*/ 97258 h 1827536"/>
                <a:gd name="csX517" fmla="*/ 468800 w 640828"/>
                <a:gd name="csY517" fmla="*/ 97258 h 1827536"/>
                <a:gd name="csX518" fmla="*/ 468800 w 640828"/>
                <a:gd name="csY518" fmla="*/ 131740 h 1827536"/>
                <a:gd name="csX519" fmla="*/ 592189 w 640828"/>
                <a:gd name="csY519" fmla="*/ 131740 h 1827536"/>
                <a:gd name="csX520" fmla="*/ 592189 w 640828"/>
                <a:gd name="csY520" fmla="*/ 166222 h 1827536"/>
                <a:gd name="csX521" fmla="*/ 468800 w 640828"/>
                <a:gd name="csY521" fmla="*/ 166222 h 1827536"/>
                <a:gd name="csX522" fmla="*/ 468800 w 640828"/>
                <a:gd name="csY522" fmla="*/ 200699 h 1827536"/>
                <a:gd name="csX523" fmla="*/ 592189 w 640828"/>
                <a:gd name="csY523" fmla="*/ 200699 h 1827536"/>
                <a:gd name="csX524" fmla="*/ 592189 w 640828"/>
                <a:gd name="csY524" fmla="*/ 235186 h 1827536"/>
                <a:gd name="csX525" fmla="*/ 468800 w 640828"/>
                <a:gd name="csY525" fmla="*/ 235186 h 1827536"/>
                <a:gd name="csX526" fmla="*/ 468800 w 640828"/>
                <a:gd name="csY526" fmla="*/ 269668 h 1827536"/>
                <a:gd name="csX527" fmla="*/ 592189 w 640828"/>
                <a:gd name="csY527" fmla="*/ 269668 h 1827536"/>
                <a:gd name="csX528" fmla="*/ 592189 w 640828"/>
                <a:gd name="csY528" fmla="*/ 304145 h 1827536"/>
                <a:gd name="csX529" fmla="*/ 468800 w 640828"/>
                <a:gd name="csY529" fmla="*/ 304145 h 1827536"/>
                <a:gd name="csX530" fmla="*/ 468800 w 640828"/>
                <a:gd name="csY530" fmla="*/ 338627 h 1827536"/>
                <a:gd name="csX531" fmla="*/ 592189 w 640828"/>
                <a:gd name="csY531" fmla="*/ 338627 h 1827536"/>
                <a:gd name="csX532" fmla="*/ 592189 w 640828"/>
                <a:gd name="csY532" fmla="*/ 373109 h 1827536"/>
                <a:gd name="csX533" fmla="*/ 468800 w 640828"/>
                <a:gd name="csY533" fmla="*/ 373109 h 1827536"/>
                <a:gd name="csX534" fmla="*/ 468800 w 640828"/>
                <a:gd name="csY534" fmla="*/ 407591 h 1827536"/>
                <a:gd name="csX535" fmla="*/ 592189 w 640828"/>
                <a:gd name="csY535" fmla="*/ 407591 h 1827536"/>
                <a:gd name="csX536" fmla="*/ 592189 w 640828"/>
                <a:gd name="csY536" fmla="*/ 442073 h 1827536"/>
                <a:gd name="csX537" fmla="*/ 468800 w 640828"/>
                <a:gd name="csY537" fmla="*/ 442073 h 1827536"/>
                <a:gd name="csX538" fmla="*/ 468800 w 640828"/>
                <a:gd name="csY538" fmla="*/ 476555 h 1827536"/>
                <a:gd name="csX539" fmla="*/ 592189 w 640828"/>
                <a:gd name="csY539" fmla="*/ 476555 h 1827536"/>
                <a:gd name="csX540" fmla="*/ 592189 w 640828"/>
                <a:gd name="csY540" fmla="*/ 511037 h 1827536"/>
                <a:gd name="csX541" fmla="*/ 468800 w 640828"/>
                <a:gd name="csY541" fmla="*/ 511037 h 1827536"/>
                <a:gd name="csX542" fmla="*/ 468800 w 640828"/>
                <a:gd name="csY542" fmla="*/ 545519 h 1827536"/>
                <a:gd name="csX543" fmla="*/ 592189 w 640828"/>
                <a:gd name="csY543" fmla="*/ 545519 h 1827536"/>
                <a:gd name="csX544" fmla="*/ 592189 w 640828"/>
                <a:gd name="csY544" fmla="*/ 580001 h 1827536"/>
                <a:gd name="csX545" fmla="*/ 468800 w 640828"/>
                <a:gd name="csY545" fmla="*/ 580001 h 1827536"/>
                <a:gd name="csX546" fmla="*/ 468800 w 640828"/>
                <a:gd name="csY546" fmla="*/ 614483 h 1827536"/>
                <a:gd name="csX547" fmla="*/ 592189 w 640828"/>
                <a:gd name="csY547" fmla="*/ 614483 h 1827536"/>
                <a:gd name="csX548" fmla="*/ 592189 w 640828"/>
                <a:gd name="csY548" fmla="*/ 648959 h 1827536"/>
                <a:gd name="csX549" fmla="*/ 468800 w 640828"/>
                <a:gd name="csY549" fmla="*/ 648959 h 1827536"/>
                <a:gd name="csX550" fmla="*/ 468800 w 640828"/>
                <a:gd name="csY550" fmla="*/ 683447 h 1827536"/>
                <a:gd name="csX551" fmla="*/ 592189 w 640828"/>
                <a:gd name="csY551" fmla="*/ 683447 h 1827536"/>
                <a:gd name="csX552" fmla="*/ 592189 w 640828"/>
                <a:gd name="csY552" fmla="*/ 717929 h 1827536"/>
                <a:gd name="csX553" fmla="*/ 468800 w 640828"/>
                <a:gd name="csY553" fmla="*/ 717929 h 1827536"/>
                <a:gd name="csX554" fmla="*/ 468800 w 640828"/>
                <a:gd name="csY554" fmla="*/ 752411 h 1827536"/>
                <a:gd name="csX555" fmla="*/ 592189 w 640828"/>
                <a:gd name="csY555" fmla="*/ 752411 h 1827536"/>
                <a:gd name="csX556" fmla="*/ 592189 w 640828"/>
                <a:gd name="csY556" fmla="*/ 786893 h 1827536"/>
                <a:gd name="csX557" fmla="*/ 468800 w 640828"/>
                <a:gd name="csY557" fmla="*/ 786893 h 1827536"/>
                <a:gd name="csX558" fmla="*/ 468800 w 640828"/>
                <a:gd name="csY558" fmla="*/ 821375 h 1827536"/>
                <a:gd name="csX559" fmla="*/ 592189 w 640828"/>
                <a:gd name="csY559" fmla="*/ 821375 h 1827536"/>
                <a:gd name="csX560" fmla="*/ 592189 w 640828"/>
                <a:gd name="csY560" fmla="*/ 855857 h 1827536"/>
                <a:gd name="csX561" fmla="*/ 468800 w 640828"/>
                <a:gd name="csY561" fmla="*/ 855857 h 1827536"/>
                <a:gd name="csX562" fmla="*/ 468800 w 640828"/>
                <a:gd name="csY562" fmla="*/ 890334 h 1827536"/>
                <a:gd name="csX563" fmla="*/ 592189 w 640828"/>
                <a:gd name="csY563" fmla="*/ 890334 h 1827536"/>
                <a:gd name="csX564" fmla="*/ 592189 w 640828"/>
                <a:gd name="csY564" fmla="*/ 924821 h 1827536"/>
                <a:gd name="csX565" fmla="*/ 468800 w 640828"/>
                <a:gd name="csY565" fmla="*/ 924821 h 1827536"/>
                <a:gd name="csX566" fmla="*/ 468800 w 640828"/>
                <a:gd name="csY566" fmla="*/ 959303 h 1827536"/>
                <a:gd name="csX567" fmla="*/ 592189 w 640828"/>
                <a:gd name="csY567" fmla="*/ 959303 h 1827536"/>
                <a:gd name="csX568" fmla="*/ 592189 w 640828"/>
                <a:gd name="csY568" fmla="*/ 993785 h 1827536"/>
                <a:gd name="csX569" fmla="*/ 468800 w 640828"/>
                <a:gd name="csY569" fmla="*/ 993785 h 1827536"/>
                <a:gd name="csX570" fmla="*/ 468800 w 640828"/>
                <a:gd name="csY570" fmla="*/ 1028267 h 1827536"/>
                <a:gd name="csX571" fmla="*/ 592189 w 640828"/>
                <a:gd name="csY571" fmla="*/ 1028267 h 1827536"/>
                <a:gd name="csX572" fmla="*/ 592189 w 640828"/>
                <a:gd name="csY572" fmla="*/ 1062744 h 1827536"/>
                <a:gd name="csX573" fmla="*/ 468800 w 640828"/>
                <a:gd name="csY573" fmla="*/ 1062744 h 1827536"/>
                <a:gd name="csX574" fmla="*/ 468800 w 640828"/>
                <a:gd name="csY574" fmla="*/ 1097231 h 1827536"/>
                <a:gd name="csX575" fmla="*/ 592189 w 640828"/>
                <a:gd name="csY575" fmla="*/ 1097231 h 1827536"/>
                <a:gd name="csX576" fmla="*/ 592189 w 640828"/>
                <a:gd name="csY576" fmla="*/ 1131708 h 1827536"/>
                <a:gd name="csX577" fmla="*/ 468800 w 640828"/>
                <a:gd name="csY577" fmla="*/ 1131708 h 1827536"/>
                <a:gd name="csX578" fmla="*/ 468800 w 640828"/>
                <a:gd name="csY578" fmla="*/ 1166195 h 1827536"/>
                <a:gd name="csX579" fmla="*/ 592189 w 640828"/>
                <a:gd name="csY579" fmla="*/ 1166195 h 1827536"/>
                <a:gd name="csX580" fmla="*/ 592189 w 640828"/>
                <a:gd name="csY580" fmla="*/ 1200672 h 1827536"/>
                <a:gd name="csX581" fmla="*/ 468800 w 640828"/>
                <a:gd name="csY581" fmla="*/ 1200672 h 1827536"/>
                <a:gd name="csX582" fmla="*/ 468800 w 640828"/>
                <a:gd name="csY582" fmla="*/ 1235159 h 1827536"/>
                <a:gd name="csX583" fmla="*/ 592189 w 640828"/>
                <a:gd name="csY583" fmla="*/ 1235159 h 1827536"/>
                <a:gd name="csX584" fmla="*/ 592189 w 640828"/>
                <a:gd name="csY584" fmla="*/ 1269636 h 1827536"/>
                <a:gd name="csX585" fmla="*/ 468800 w 640828"/>
                <a:gd name="csY585" fmla="*/ 1269636 h 1827536"/>
                <a:gd name="csX586" fmla="*/ 468800 w 640828"/>
                <a:gd name="csY586" fmla="*/ 1304118 h 1827536"/>
                <a:gd name="csX587" fmla="*/ 592189 w 640828"/>
                <a:gd name="csY587" fmla="*/ 1304118 h 1827536"/>
                <a:gd name="csX588" fmla="*/ 592189 w 640828"/>
                <a:gd name="csY588" fmla="*/ 1338600 h 1827536"/>
                <a:gd name="csX589" fmla="*/ 468800 w 640828"/>
                <a:gd name="csY589" fmla="*/ 1338600 h 1827536"/>
                <a:gd name="csX590" fmla="*/ 468800 w 640828"/>
                <a:gd name="csY590" fmla="*/ 1373082 h 1827536"/>
                <a:gd name="csX591" fmla="*/ 592189 w 640828"/>
                <a:gd name="csY591" fmla="*/ 1373082 h 1827536"/>
                <a:gd name="csX592" fmla="*/ 592189 w 640828"/>
                <a:gd name="csY592" fmla="*/ 1407564 h 1827536"/>
                <a:gd name="csX593" fmla="*/ 468800 w 640828"/>
                <a:gd name="csY593" fmla="*/ 1407564 h 1827536"/>
                <a:gd name="csX594" fmla="*/ 468800 w 640828"/>
                <a:gd name="csY594" fmla="*/ 1442046 h 1827536"/>
                <a:gd name="csX595" fmla="*/ 592189 w 640828"/>
                <a:gd name="csY595" fmla="*/ 1442046 h 1827536"/>
                <a:gd name="csX596" fmla="*/ 592189 w 640828"/>
                <a:gd name="csY596" fmla="*/ 1476528 h 1827536"/>
                <a:gd name="csX597" fmla="*/ 468800 w 640828"/>
                <a:gd name="csY597" fmla="*/ 1476528 h 1827536"/>
                <a:gd name="csX598" fmla="*/ 468800 w 640828"/>
                <a:gd name="csY598" fmla="*/ 1511010 h 1827536"/>
                <a:gd name="csX599" fmla="*/ 592189 w 640828"/>
                <a:gd name="csY599" fmla="*/ 1511010 h 1827536"/>
                <a:gd name="csX600" fmla="*/ 592189 w 640828"/>
                <a:gd name="csY600" fmla="*/ 1545492 h 1827536"/>
                <a:gd name="csX601" fmla="*/ 468800 w 640828"/>
                <a:gd name="csY601" fmla="*/ 1545492 h 1827536"/>
                <a:gd name="csX602" fmla="*/ 468800 w 640828"/>
                <a:gd name="csY602" fmla="*/ 1579974 h 1827536"/>
                <a:gd name="csX603" fmla="*/ 592189 w 640828"/>
                <a:gd name="csY603" fmla="*/ 1579974 h 1827536"/>
                <a:gd name="csX604" fmla="*/ 592189 w 640828"/>
                <a:gd name="csY604" fmla="*/ 1614456 h 1827536"/>
                <a:gd name="csX605" fmla="*/ 468800 w 640828"/>
                <a:gd name="csY605" fmla="*/ 1614456 h 1827536"/>
                <a:gd name="csX606" fmla="*/ 468800 w 640828"/>
                <a:gd name="csY606" fmla="*/ 1648938 h 1827536"/>
                <a:gd name="csX607" fmla="*/ 592189 w 640828"/>
                <a:gd name="csY607" fmla="*/ 1648938 h 1827536"/>
                <a:gd name="csX608" fmla="*/ 592189 w 640828"/>
                <a:gd name="csY608" fmla="*/ 1683420 h 1827536"/>
                <a:gd name="csX609" fmla="*/ 468800 w 640828"/>
                <a:gd name="csY609" fmla="*/ 1683420 h 1827536"/>
                <a:gd name="csX610" fmla="*/ 468800 w 640828"/>
                <a:gd name="csY610" fmla="*/ 1717903 h 1827536"/>
                <a:gd name="csX611" fmla="*/ 592189 w 640828"/>
                <a:gd name="csY611" fmla="*/ 1717903 h 1827536"/>
                <a:gd name="csX612" fmla="*/ 592189 w 640828"/>
                <a:gd name="csY612" fmla="*/ 1786861 h 1827536"/>
                <a:gd name="csX613" fmla="*/ 592189 w 640828"/>
                <a:gd name="csY613" fmla="*/ 1752384 h 1827536"/>
                <a:gd name="csX614" fmla="*/ 468800 w 640828"/>
                <a:gd name="csY614" fmla="*/ 1752384 h 1827536"/>
                <a:gd name="csX615" fmla="*/ 468800 w 640828"/>
                <a:gd name="csY615" fmla="*/ 1786861 h 1827536"/>
                <a:gd name="csX616" fmla="*/ 448983 w 640828"/>
                <a:gd name="csY616" fmla="*/ 1786861 h 1827536"/>
                <a:gd name="csX617" fmla="*/ 448983 w 640828"/>
                <a:gd name="csY617" fmla="*/ 1752384 h 1827536"/>
                <a:gd name="csX618" fmla="*/ 325589 w 640828"/>
                <a:gd name="csY618" fmla="*/ 1752384 h 1827536"/>
                <a:gd name="csX619" fmla="*/ 325589 w 640828"/>
                <a:gd name="csY619" fmla="*/ 1786861 h 1827536"/>
                <a:gd name="csX620" fmla="*/ 305777 w 640828"/>
                <a:gd name="csY620" fmla="*/ 1786861 h 1827536"/>
                <a:gd name="csX621" fmla="*/ 305777 w 640828"/>
                <a:gd name="csY621" fmla="*/ 1752384 h 1827536"/>
                <a:gd name="csX622" fmla="*/ 182382 w 640828"/>
                <a:gd name="csY622" fmla="*/ 1752384 h 1827536"/>
                <a:gd name="csX623" fmla="*/ 182382 w 640828"/>
                <a:gd name="csY623" fmla="*/ 1786861 h 1827536"/>
                <a:gd name="csX624" fmla="*/ 162571 w 640828"/>
                <a:gd name="csY624" fmla="*/ 1786861 h 1827536"/>
                <a:gd name="csX625" fmla="*/ 162571 w 640828"/>
                <a:gd name="csY625" fmla="*/ 1752384 h 1827536"/>
                <a:gd name="csX626" fmla="*/ 39182 w 640828"/>
                <a:gd name="csY626" fmla="*/ 1752384 h 1827536"/>
                <a:gd name="csX627" fmla="*/ 39182 w 640828"/>
                <a:gd name="csY627" fmla="*/ 1786861 h 1827536"/>
                <a:gd name="csX628" fmla="*/ 162571 w 640828"/>
                <a:gd name="csY628" fmla="*/ 1786861 h 182753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 ang="0">
                  <a:pos x="csX97" y="csY97"/>
                </a:cxn>
                <a:cxn ang="0">
                  <a:pos x="csX98" y="csY98"/>
                </a:cxn>
                <a:cxn ang="0">
                  <a:pos x="csX99" y="csY99"/>
                </a:cxn>
                <a:cxn ang="0">
                  <a:pos x="csX100" y="csY100"/>
                </a:cxn>
                <a:cxn ang="0">
                  <a:pos x="csX101" y="csY101"/>
                </a:cxn>
                <a:cxn ang="0">
                  <a:pos x="csX102" y="csY102"/>
                </a:cxn>
                <a:cxn ang="0">
                  <a:pos x="csX103" y="csY103"/>
                </a:cxn>
                <a:cxn ang="0">
                  <a:pos x="csX104" y="csY104"/>
                </a:cxn>
                <a:cxn ang="0">
                  <a:pos x="csX105" y="csY105"/>
                </a:cxn>
                <a:cxn ang="0">
                  <a:pos x="csX106" y="csY106"/>
                </a:cxn>
                <a:cxn ang="0">
                  <a:pos x="csX107" y="csY107"/>
                </a:cxn>
                <a:cxn ang="0">
                  <a:pos x="csX108" y="csY108"/>
                </a:cxn>
                <a:cxn ang="0">
                  <a:pos x="csX109" y="csY109"/>
                </a:cxn>
                <a:cxn ang="0">
                  <a:pos x="csX110" y="csY110"/>
                </a:cxn>
                <a:cxn ang="0">
                  <a:pos x="csX111" y="csY111"/>
                </a:cxn>
                <a:cxn ang="0">
                  <a:pos x="csX112" y="csY112"/>
                </a:cxn>
                <a:cxn ang="0">
                  <a:pos x="csX113" y="csY113"/>
                </a:cxn>
                <a:cxn ang="0">
                  <a:pos x="csX114" y="csY114"/>
                </a:cxn>
                <a:cxn ang="0">
                  <a:pos x="csX115" y="csY115"/>
                </a:cxn>
                <a:cxn ang="0">
                  <a:pos x="csX116" y="csY116"/>
                </a:cxn>
                <a:cxn ang="0">
                  <a:pos x="csX117" y="csY117"/>
                </a:cxn>
                <a:cxn ang="0">
                  <a:pos x="csX118" y="csY118"/>
                </a:cxn>
                <a:cxn ang="0">
                  <a:pos x="csX119" y="csY119"/>
                </a:cxn>
                <a:cxn ang="0">
                  <a:pos x="csX120" y="csY120"/>
                </a:cxn>
                <a:cxn ang="0">
                  <a:pos x="csX121" y="csY121"/>
                </a:cxn>
                <a:cxn ang="0">
                  <a:pos x="csX122" y="csY122"/>
                </a:cxn>
                <a:cxn ang="0">
                  <a:pos x="csX123" y="csY123"/>
                </a:cxn>
                <a:cxn ang="0">
                  <a:pos x="csX124" y="csY124"/>
                </a:cxn>
                <a:cxn ang="0">
                  <a:pos x="csX125" y="csY125"/>
                </a:cxn>
                <a:cxn ang="0">
                  <a:pos x="csX126" y="csY126"/>
                </a:cxn>
                <a:cxn ang="0">
                  <a:pos x="csX127" y="csY127"/>
                </a:cxn>
                <a:cxn ang="0">
                  <a:pos x="csX128" y="csY128"/>
                </a:cxn>
                <a:cxn ang="0">
                  <a:pos x="csX129" y="csY129"/>
                </a:cxn>
                <a:cxn ang="0">
                  <a:pos x="csX130" y="csY130"/>
                </a:cxn>
                <a:cxn ang="0">
                  <a:pos x="csX131" y="csY131"/>
                </a:cxn>
                <a:cxn ang="0">
                  <a:pos x="csX132" y="csY132"/>
                </a:cxn>
                <a:cxn ang="0">
                  <a:pos x="csX133" y="csY133"/>
                </a:cxn>
                <a:cxn ang="0">
                  <a:pos x="csX134" y="csY134"/>
                </a:cxn>
                <a:cxn ang="0">
                  <a:pos x="csX135" y="csY135"/>
                </a:cxn>
                <a:cxn ang="0">
                  <a:pos x="csX136" y="csY136"/>
                </a:cxn>
                <a:cxn ang="0">
                  <a:pos x="csX137" y="csY137"/>
                </a:cxn>
                <a:cxn ang="0">
                  <a:pos x="csX138" y="csY138"/>
                </a:cxn>
                <a:cxn ang="0">
                  <a:pos x="csX139" y="csY139"/>
                </a:cxn>
                <a:cxn ang="0">
                  <a:pos x="csX140" y="csY140"/>
                </a:cxn>
                <a:cxn ang="0">
                  <a:pos x="csX141" y="csY141"/>
                </a:cxn>
                <a:cxn ang="0">
                  <a:pos x="csX142" y="csY142"/>
                </a:cxn>
                <a:cxn ang="0">
                  <a:pos x="csX143" y="csY143"/>
                </a:cxn>
                <a:cxn ang="0">
                  <a:pos x="csX144" y="csY144"/>
                </a:cxn>
                <a:cxn ang="0">
                  <a:pos x="csX145" y="csY145"/>
                </a:cxn>
                <a:cxn ang="0">
                  <a:pos x="csX146" y="csY146"/>
                </a:cxn>
                <a:cxn ang="0">
                  <a:pos x="csX147" y="csY147"/>
                </a:cxn>
                <a:cxn ang="0">
                  <a:pos x="csX148" y="csY148"/>
                </a:cxn>
                <a:cxn ang="0">
                  <a:pos x="csX149" y="csY149"/>
                </a:cxn>
                <a:cxn ang="0">
                  <a:pos x="csX150" y="csY150"/>
                </a:cxn>
                <a:cxn ang="0">
                  <a:pos x="csX151" y="csY151"/>
                </a:cxn>
                <a:cxn ang="0">
                  <a:pos x="csX152" y="csY152"/>
                </a:cxn>
                <a:cxn ang="0">
                  <a:pos x="csX153" y="csY153"/>
                </a:cxn>
                <a:cxn ang="0">
                  <a:pos x="csX154" y="csY154"/>
                </a:cxn>
                <a:cxn ang="0">
                  <a:pos x="csX155" y="csY155"/>
                </a:cxn>
                <a:cxn ang="0">
                  <a:pos x="csX156" y="csY156"/>
                </a:cxn>
                <a:cxn ang="0">
                  <a:pos x="csX157" y="csY157"/>
                </a:cxn>
                <a:cxn ang="0">
                  <a:pos x="csX158" y="csY158"/>
                </a:cxn>
                <a:cxn ang="0">
                  <a:pos x="csX159" y="csY159"/>
                </a:cxn>
                <a:cxn ang="0">
                  <a:pos x="csX160" y="csY160"/>
                </a:cxn>
                <a:cxn ang="0">
                  <a:pos x="csX161" y="csY161"/>
                </a:cxn>
                <a:cxn ang="0">
                  <a:pos x="csX162" y="csY162"/>
                </a:cxn>
                <a:cxn ang="0">
                  <a:pos x="csX163" y="csY163"/>
                </a:cxn>
                <a:cxn ang="0">
                  <a:pos x="csX164" y="csY164"/>
                </a:cxn>
                <a:cxn ang="0">
                  <a:pos x="csX165" y="csY165"/>
                </a:cxn>
                <a:cxn ang="0">
                  <a:pos x="csX166" y="csY166"/>
                </a:cxn>
                <a:cxn ang="0">
                  <a:pos x="csX167" y="csY167"/>
                </a:cxn>
                <a:cxn ang="0">
                  <a:pos x="csX168" y="csY168"/>
                </a:cxn>
                <a:cxn ang="0">
                  <a:pos x="csX169" y="csY169"/>
                </a:cxn>
                <a:cxn ang="0">
                  <a:pos x="csX170" y="csY170"/>
                </a:cxn>
                <a:cxn ang="0">
                  <a:pos x="csX171" y="csY171"/>
                </a:cxn>
                <a:cxn ang="0">
                  <a:pos x="csX172" y="csY172"/>
                </a:cxn>
                <a:cxn ang="0">
                  <a:pos x="csX173" y="csY173"/>
                </a:cxn>
                <a:cxn ang="0">
                  <a:pos x="csX174" y="csY174"/>
                </a:cxn>
                <a:cxn ang="0">
                  <a:pos x="csX175" y="csY175"/>
                </a:cxn>
                <a:cxn ang="0">
                  <a:pos x="csX176" y="csY176"/>
                </a:cxn>
                <a:cxn ang="0">
                  <a:pos x="csX177" y="csY177"/>
                </a:cxn>
                <a:cxn ang="0">
                  <a:pos x="csX178" y="csY178"/>
                </a:cxn>
                <a:cxn ang="0">
                  <a:pos x="csX179" y="csY179"/>
                </a:cxn>
                <a:cxn ang="0">
                  <a:pos x="csX180" y="csY180"/>
                </a:cxn>
                <a:cxn ang="0">
                  <a:pos x="csX181" y="csY181"/>
                </a:cxn>
                <a:cxn ang="0">
                  <a:pos x="csX182" y="csY182"/>
                </a:cxn>
                <a:cxn ang="0">
                  <a:pos x="csX183" y="csY183"/>
                </a:cxn>
                <a:cxn ang="0">
                  <a:pos x="csX184" y="csY184"/>
                </a:cxn>
                <a:cxn ang="0">
                  <a:pos x="csX185" y="csY185"/>
                </a:cxn>
                <a:cxn ang="0">
                  <a:pos x="csX186" y="csY186"/>
                </a:cxn>
                <a:cxn ang="0">
                  <a:pos x="csX187" y="csY187"/>
                </a:cxn>
                <a:cxn ang="0">
                  <a:pos x="csX188" y="csY188"/>
                </a:cxn>
                <a:cxn ang="0">
                  <a:pos x="csX189" y="csY189"/>
                </a:cxn>
                <a:cxn ang="0">
                  <a:pos x="csX190" y="csY190"/>
                </a:cxn>
                <a:cxn ang="0">
                  <a:pos x="csX191" y="csY191"/>
                </a:cxn>
                <a:cxn ang="0">
                  <a:pos x="csX192" y="csY192"/>
                </a:cxn>
                <a:cxn ang="0">
                  <a:pos x="csX193" y="csY193"/>
                </a:cxn>
                <a:cxn ang="0">
                  <a:pos x="csX194" y="csY194"/>
                </a:cxn>
                <a:cxn ang="0">
                  <a:pos x="csX195" y="csY195"/>
                </a:cxn>
                <a:cxn ang="0">
                  <a:pos x="csX196" y="csY196"/>
                </a:cxn>
                <a:cxn ang="0">
                  <a:pos x="csX197" y="csY197"/>
                </a:cxn>
                <a:cxn ang="0">
                  <a:pos x="csX198" y="csY198"/>
                </a:cxn>
                <a:cxn ang="0">
                  <a:pos x="csX199" y="csY199"/>
                </a:cxn>
                <a:cxn ang="0">
                  <a:pos x="csX200" y="csY200"/>
                </a:cxn>
                <a:cxn ang="0">
                  <a:pos x="csX201" y="csY201"/>
                </a:cxn>
                <a:cxn ang="0">
                  <a:pos x="csX202" y="csY202"/>
                </a:cxn>
                <a:cxn ang="0">
                  <a:pos x="csX203" y="csY203"/>
                </a:cxn>
                <a:cxn ang="0">
                  <a:pos x="csX204" y="csY204"/>
                </a:cxn>
                <a:cxn ang="0">
                  <a:pos x="csX205" y="csY205"/>
                </a:cxn>
                <a:cxn ang="0">
                  <a:pos x="csX206" y="csY206"/>
                </a:cxn>
                <a:cxn ang="0">
                  <a:pos x="csX207" y="csY207"/>
                </a:cxn>
                <a:cxn ang="0">
                  <a:pos x="csX208" y="csY208"/>
                </a:cxn>
                <a:cxn ang="0">
                  <a:pos x="csX209" y="csY209"/>
                </a:cxn>
                <a:cxn ang="0">
                  <a:pos x="csX210" y="csY210"/>
                </a:cxn>
                <a:cxn ang="0">
                  <a:pos x="csX211" y="csY211"/>
                </a:cxn>
                <a:cxn ang="0">
                  <a:pos x="csX212" y="csY212"/>
                </a:cxn>
                <a:cxn ang="0">
                  <a:pos x="csX213" y="csY213"/>
                </a:cxn>
                <a:cxn ang="0">
                  <a:pos x="csX214" y="csY214"/>
                </a:cxn>
                <a:cxn ang="0">
                  <a:pos x="csX215" y="csY215"/>
                </a:cxn>
                <a:cxn ang="0">
                  <a:pos x="csX216" y="csY216"/>
                </a:cxn>
                <a:cxn ang="0">
                  <a:pos x="csX217" y="csY217"/>
                </a:cxn>
                <a:cxn ang="0">
                  <a:pos x="csX218" y="csY218"/>
                </a:cxn>
                <a:cxn ang="0">
                  <a:pos x="csX219" y="csY219"/>
                </a:cxn>
                <a:cxn ang="0">
                  <a:pos x="csX220" y="csY220"/>
                </a:cxn>
                <a:cxn ang="0">
                  <a:pos x="csX221" y="csY221"/>
                </a:cxn>
                <a:cxn ang="0">
                  <a:pos x="csX222" y="csY222"/>
                </a:cxn>
                <a:cxn ang="0">
                  <a:pos x="csX223" y="csY223"/>
                </a:cxn>
                <a:cxn ang="0">
                  <a:pos x="csX224" y="csY224"/>
                </a:cxn>
                <a:cxn ang="0">
                  <a:pos x="csX225" y="csY225"/>
                </a:cxn>
                <a:cxn ang="0">
                  <a:pos x="csX226" y="csY226"/>
                </a:cxn>
                <a:cxn ang="0">
                  <a:pos x="csX227" y="csY227"/>
                </a:cxn>
                <a:cxn ang="0">
                  <a:pos x="csX228" y="csY228"/>
                </a:cxn>
                <a:cxn ang="0">
                  <a:pos x="csX229" y="csY229"/>
                </a:cxn>
                <a:cxn ang="0">
                  <a:pos x="csX230" y="csY230"/>
                </a:cxn>
                <a:cxn ang="0">
                  <a:pos x="csX231" y="csY231"/>
                </a:cxn>
                <a:cxn ang="0">
                  <a:pos x="csX232" y="csY232"/>
                </a:cxn>
                <a:cxn ang="0">
                  <a:pos x="csX233" y="csY233"/>
                </a:cxn>
                <a:cxn ang="0">
                  <a:pos x="csX234" y="csY234"/>
                </a:cxn>
                <a:cxn ang="0">
                  <a:pos x="csX235" y="csY235"/>
                </a:cxn>
                <a:cxn ang="0">
                  <a:pos x="csX236" y="csY236"/>
                </a:cxn>
                <a:cxn ang="0">
                  <a:pos x="csX237" y="csY237"/>
                </a:cxn>
                <a:cxn ang="0">
                  <a:pos x="csX238" y="csY238"/>
                </a:cxn>
                <a:cxn ang="0">
                  <a:pos x="csX239" y="csY239"/>
                </a:cxn>
                <a:cxn ang="0">
                  <a:pos x="csX240" y="csY240"/>
                </a:cxn>
                <a:cxn ang="0">
                  <a:pos x="csX241" y="csY241"/>
                </a:cxn>
                <a:cxn ang="0">
                  <a:pos x="csX242" y="csY242"/>
                </a:cxn>
                <a:cxn ang="0">
                  <a:pos x="csX243" y="csY243"/>
                </a:cxn>
                <a:cxn ang="0">
                  <a:pos x="csX244" y="csY244"/>
                </a:cxn>
                <a:cxn ang="0">
                  <a:pos x="csX245" y="csY245"/>
                </a:cxn>
                <a:cxn ang="0">
                  <a:pos x="csX246" y="csY246"/>
                </a:cxn>
                <a:cxn ang="0">
                  <a:pos x="csX247" y="csY247"/>
                </a:cxn>
                <a:cxn ang="0">
                  <a:pos x="csX248" y="csY248"/>
                </a:cxn>
                <a:cxn ang="0">
                  <a:pos x="csX249" y="csY249"/>
                </a:cxn>
                <a:cxn ang="0">
                  <a:pos x="csX250" y="csY250"/>
                </a:cxn>
                <a:cxn ang="0">
                  <a:pos x="csX251" y="csY251"/>
                </a:cxn>
                <a:cxn ang="0">
                  <a:pos x="csX252" y="csY252"/>
                </a:cxn>
                <a:cxn ang="0">
                  <a:pos x="csX253" y="csY253"/>
                </a:cxn>
                <a:cxn ang="0">
                  <a:pos x="csX254" y="csY254"/>
                </a:cxn>
                <a:cxn ang="0">
                  <a:pos x="csX255" y="csY255"/>
                </a:cxn>
                <a:cxn ang="0">
                  <a:pos x="csX256" y="csY256"/>
                </a:cxn>
                <a:cxn ang="0">
                  <a:pos x="csX257" y="csY257"/>
                </a:cxn>
                <a:cxn ang="0">
                  <a:pos x="csX258" y="csY258"/>
                </a:cxn>
                <a:cxn ang="0">
                  <a:pos x="csX259" y="csY259"/>
                </a:cxn>
                <a:cxn ang="0">
                  <a:pos x="csX260" y="csY260"/>
                </a:cxn>
                <a:cxn ang="0">
                  <a:pos x="csX261" y="csY261"/>
                </a:cxn>
                <a:cxn ang="0">
                  <a:pos x="csX262" y="csY262"/>
                </a:cxn>
                <a:cxn ang="0">
                  <a:pos x="csX263" y="csY263"/>
                </a:cxn>
                <a:cxn ang="0">
                  <a:pos x="csX264" y="csY264"/>
                </a:cxn>
                <a:cxn ang="0">
                  <a:pos x="csX265" y="csY265"/>
                </a:cxn>
                <a:cxn ang="0">
                  <a:pos x="csX266" y="csY266"/>
                </a:cxn>
                <a:cxn ang="0">
                  <a:pos x="csX267" y="csY267"/>
                </a:cxn>
                <a:cxn ang="0">
                  <a:pos x="csX268" y="csY268"/>
                </a:cxn>
                <a:cxn ang="0">
                  <a:pos x="csX269" y="csY269"/>
                </a:cxn>
                <a:cxn ang="0">
                  <a:pos x="csX270" y="csY270"/>
                </a:cxn>
                <a:cxn ang="0">
                  <a:pos x="csX271" y="csY271"/>
                </a:cxn>
                <a:cxn ang="0">
                  <a:pos x="csX272" y="csY272"/>
                </a:cxn>
                <a:cxn ang="0">
                  <a:pos x="csX273" y="csY273"/>
                </a:cxn>
                <a:cxn ang="0">
                  <a:pos x="csX274" y="csY274"/>
                </a:cxn>
                <a:cxn ang="0">
                  <a:pos x="csX275" y="csY275"/>
                </a:cxn>
                <a:cxn ang="0">
                  <a:pos x="csX276" y="csY276"/>
                </a:cxn>
                <a:cxn ang="0">
                  <a:pos x="csX277" y="csY277"/>
                </a:cxn>
                <a:cxn ang="0">
                  <a:pos x="csX278" y="csY278"/>
                </a:cxn>
                <a:cxn ang="0">
                  <a:pos x="csX279" y="csY279"/>
                </a:cxn>
                <a:cxn ang="0">
                  <a:pos x="csX280" y="csY280"/>
                </a:cxn>
                <a:cxn ang="0">
                  <a:pos x="csX281" y="csY281"/>
                </a:cxn>
                <a:cxn ang="0">
                  <a:pos x="csX282" y="csY282"/>
                </a:cxn>
                <a:cxn ang="0">
                  <a:pos x="csX283" y="csY283"/>
                </a:cxn>
                <a:cxn ang="0">
                  <a:pos x="csX284" y="csY284"/>
                </a:cxn>
                <a:cxn ang="0">
                  <a:pos x="csX285" y="csY285"/>
                </a:cxn>
                <a:cxn ang="0">
                  <a:pos x="csX286" y="csY286"/>
                </a:cxn>
                <a:cxn ang="0">
                  <a:pos x="csX287" y="csY287"/>
                </a:cxn>
                <a:cxn ang="0">
                  <a:pos x="csX288" y="csY288"/>
                </a:cxn>
                <a:cxn ang="0">
                  <a:pos x="csX289" y="csY289"/>
                </a:cxn>
                <a:cxn ang="0">
                  <a:pos x="csX290" y="csY290"/>
                </a:cxn>
                <a:cxn ang="0">
                  <a:pos x="csX291" y="csY291"/>
                </a:cxn>
                <a:cxn ang="0">
                  <a:pos x="csX292" y="csY292"/>
                </a:cxn>
                <a:cxn ang="0">
                  <a:pos x="csX293" y="csY293"/>
                </a:cxn>
                <a:cxn ang="0">
                  <a:pos x="csX294" y="csY294"/>
                </a:cxn>
                <a:cxn ang="0">
                  <a:pos x="csX295" y="csY295"/>
                </a:cxn>
                <a:cxn ang="0">
                  <a:pos x="csX296" y="csY296"/>
                </a:cxn>
                <a:cxn ang="0">
                  <a:pos x="csX297" y="csY297"/>
                </a:cxn>
                <a:cxn ang="0">
                  <a:pos x="csX298" y="csY298"/>
                </a:cxn>
                <a:cxn ang="0">
                  <a:pos x="csX299" y="csY299"/>
                </a:cxn>
                <a:cxn ang="0">
                  <a:pos x="csX300" y="csY300"/>
                </a:cxn>
                <a:cxn ang="0">
                  <a:pos x="csX301" y="csY301"/>
                </a:cxn>
                <a:cxn ang="0">
                  <a:pos x="csX302" y="csY302"/>
                </a:cxn>
                <a:cxn ang="0">
                  <a:pos x="csX303" y="csY303"/>
                </a:cxn>
                <a:cxn ang="0">
                  <a:pos x="csX304" y="csY304"/>
                </a:cxn>
                <a:cxn ang="0">
                  <a:pos x="csX305" y="csY305"/>
                </a:cxn>
                <a:cxn ang="0">
                  <a:pos x="csX306" y="csY306"/>
                </a:cxn>
                <a:cxn ang="0">
                  <a:pos x="csX307" y="csY307"/>
                </a:cxn>
                <a:cxn ang="0">
                  <a:pos x="csX308" y="csY308"/>
                </a:cxn>
                <a:cxn ang="0">
                  <a:pos x="csX309" y="csY309"/>
                </a:cxn>
                <a:cxn ang="0">
                  <a:pos x="csX310" y="csY310"/>
                </a:cxn>
                <a:cxn ang="0">
                  <a:pos x="csX311" y="csY311"/>
                </a:cxn>
                <a:cxn ang="0">
                  <a:pos x="csX312" y="csY312"/>
                </a:cxn>
                <a:cxn ang="0">
                  <a:pos x="csX313" y="csY313"/>
                </a:cxn>
                <a:cxn ang="0">
                  <a:pos x="csX314" y="csY314"/>
                </a:cxn>
                <a:cxn ang="0">
                  <a:pos x="csX315" y="csY315"/>
                </a:cxn>
                <a:cxn ang="0">
                  <a:pos x="csX316" y="csY316"/>
                </a:cxn>
                <a:cxn ang="0">
                  <a:pos x="csX317" y="csY317"/>
                </a:cxn>
                <a:cxn ang="0">
                  <a:pos x="csX318" y="csY318"/>
                </a:cxn>
                <a:cxn ang="0">
                  <a:pos x="csX319" y="csY319"/>
                </a:cxn>
                <a:cxn ang="0">
                  <a:pos x="csX320" y="csY320"/>
                </a:cxn>
                <a:cxn ang="0">
                  <a:pos x="csX321" y="csY321"/>
                </a:cxn>
                <a:cxn ang="0">
                  <a:pos x="csX322" y="csY322"/>
                </a:cxn>
                <a:cxn ang="0">
                  <a:pos x="csX323" y="csY323"/>
                </a:cxn>
                <a:cxn ang="0">
                  <a:pos x="csX324" y="csY324"/>
                </a:cxn>
                <a:cxn ang="0">
                  <a:pos x="csX325" y="csY325"/>
                </a:cxn>
                <a:cxn ang="0">
                  <a:pos x="csX326" y="csY326"/>
                </a:cxn>
                <a:cxn ang="0">
                  <a:pos x="csX327" y="csY327"/>
                </a:cxn>
                <a:cxn ang="0">
                  <a:pos x="csX328" y="csY328"/>
                </a:cxn>
                <a:cxn ang="0">
                  <a:pos x="csX329" y="csY329"/>
                </a:cxn>
                <a:cxn ang="0">
                  <a:pos x="csX330" y="csY330"/>
                </a:cxn>
                <a:cxn ang="0">
                  <a:pos x="csX331" y="csY331"/>
                </a:cxn>
                <a:cxn ang="0">
                  <a:pos x="csX332" y="csY332"/>
                </a:cxn>
                <a:cxn ang="0">
                  <a:pos x="csX333" y="csY333"/>
                </a:cxn>
                <a:cxn ang="0">
                  <a:pos x="csX334" y="csY334"/>
                </a:cxn>
                <a:cxn ang="0">
                  <a:pos x="csX335" y="csY335"/>
                </a:cxn>
                <a:cxn ang="0">
                  <a:pos x="csX336" y="csY336"/>
                </a:cxn>
                <a:cxn ang="0">
                  <a:pos x="csX337" y="csY337"/>
                </a:cxn>
                <a:cxn ang="0">
                  <a:pos x="csX338" y="csY338"/>
                </a:cxn>
                <a:cxn ang="0">
                  <a:pos x="csX339" y="csY339"/>
                </a:cxn>
                <a:cxn ang="0">
                  <a:pos x="csX340" y="csY340"/>
                </a:cxn>
                <a:cxn ang="0">
                  <a:pos x="csX341" y="csY341"/>
                </a:cxn>
                <a:cxn ang="0">
                  <a:pos x="csX342" y="csY342"/>
                </a:cxn>
                <a:cxn ang="0">
                  <a:pos x="csX343" y="csY343"/>
                </a:cxn>
                <a:cxn ang="0">
                  <a:pos x="csX344" y="csY344"/>
                </a:cxn>
                <a:cxn ang="0">
                  <a:pos x="csX345" y="csY345"/>
                </a:cxn>
                <a:cxn ang="0">
                  <a:pos x="csX346" y="csY346"/>
                </a:cxn>
                <a:cxn ang="0">
                  <a:pos x="csX347" y="csY347"/>
                </a:cxn>
                <a:cxn ang="0">
                  <a:pos x="csX348" y="csY348"/>
                </a:cxn>
                <a:cxn ang="0">
                  <a:pos x="csX349" y="csY349"/>
                </a:cxn>
                <a:cxn ang="0">
                  <a:pos x="csX350" y="csY350"/>
                </a:cxn>
                <a:cxn ang="0">
                  <a:pos x="csX351" y="csY351"/>
                </a:cxn>
                <a:cxn ang="0">
                  <a:pos x="csX352" y="csY352"/>
                </a:cxn>
                <a:cxn ang="0">
                  <a:pos x="csX353" y="csY353"/>
                </a:cxn>
                <a:cxn ang="0">
                  <a:pos x="csX354" y="csY354"/>
                </a:cxn>
                <a:cxn ang="0">
                  <a:pos x="csX355" y="csY355"/>
                </a:cxn>
                <a:cxn ang="0">
                  <a:pos x="csX356" y="csY356"/>
                </a:cxn>
                <a:cxn ang="0">
                  <a:pos x="csX357" y="csY357"/>
                </a:cxn>
                <a:cxn ang="0">
                  <a:pos x="csX358" y="csY358"/>
                </a:cxn>
                <a:cxn ang="0">
                  <a:pos x="csX359" y="csY359"/>
                </a:cxn>
                <a:cxn ang="0">
                  <a:pos x="csX360" y="csY360"/>
                </a:cxn>
                <a:cxn ang="0">
                  <a:pos x="csX361" y="csY361"/>
                </a:cxn>
                <a:cxn ang="0">
                  <a:pos x="csX362" y="csY362"/>
                </a:cxn>
                <a:cxn ang="0">
                  <a:pos x="csX363" y="csY363"/>
                </a:cxn>
                <a:cxn ang="0">
                  <a:pos x="csX364" y="csY364"/>
                </a:cxn>
                <a:cxn ang="0">
                  <a:pos x="csX365" y="csY365"/>
                </a:cxn>
                <a:cxn ang="0">
                  <a:pos x="csX366" y="csY366"/>
                </a:cxn>
                <a:cxn ang="0">
                  <a:pos x="csX367" y="csY367"/>
                </a:cxn>
                <a:cxn ang="0">
                  <a:pos x="csX368" y="csY368"/>
                </a:cxn>
                <a:cxn ang="0">
                  <a:pos x="csX369" y="csY369"/>
                </a:cxn>
                <a:cxn ang="0">
                  <a:pos x="csX370" y="csY370"/>
                </a:cxn>
                <a:cxn ang="0">
                  <a:pos x="csX371" y="csY371"/>
                </a:cxn>
                <a:cxn ang="0">
                  <a:pos x="csX372" y="csY372"/>
                </a:cxn>
                <a:cxn ang="0">
                  <a:pos x="csX373" y="csY373"/>
                </a:cxn>
                <a:cxn ang="0">
                  <a:pos x="csX374" y="csY374"/>
                </a:cxn>
                <a:cxn ang="0">
                  <a:pos x="csX375" y="csY375"/>
                </a:cxn>
                <a:cxn ang="0">
                  <a:pos x="csX376" y="csY376"/>
                </a:cxn>
                <a:cxn ang="0">
                  <a:pos x="csX377" y="csY377"/>
                </a:cxn>
                <a:cxn ang="0">
                  <a:pos x="csX378" y="csY378"/>
                </a:cxn>
                <a:cxn ang="0">
                  <a:pos x="csX379" y="csY379"/>
                </a:cxn>
                <a:cxn ang="0">
                  <a:pos x="csX380" y="csY380"/>
                </a:cxn>
                <a:cxn ang="0">
                  <a:pos x="csX381" y="csY381"/>
                </a:cxn>
                <a:cxn ang="0">
                  <a:pos x="csX382" y="csY382"/>
                </a:cxn>
                <a:cxn ang="0">
                  <a:pos x="csX383" y="csY383"/>
                </a:cxn>
                <a:cxn ang="0">
                  <a:pos x="csX384" y="csY384"/>
                </a:cxn>
                <a:cxn ang="0">
                  <a:pos x="csX385" y="csY385"/>
                </a:cxn>
                <a:cxn ang="0">
                  <a:pos x="csX386" y="csY386"/>
                </a:cxn>
                <a:cxn ang="0">
                  <a:pos x="csX387" y="csY387"/>
                </a:cxn>
                <a:cxn ang="0">
                  <a:pos x="csX388" y="csY388"/>
                </a:cxn>
                <a:cxn ang="0">
                  <a:pos x="csX389" y="csY389"/>
                </a:cxn>
                <a:cxn ang="0">
                  <a:pos x="csX390" y="csY390"/>
                </a:cxn>
                <a:cxn ang="0">
                  <a:pos x="csX391" y="csY391"/>
                </a:cxn>
                <a:cxn ang="0">
                  <a:pos x="csX392" y="csY392"/>
                </a:cxn>
                <a:cxn ang="0">
                  <a:pos x="csX393" y="csY393"/>
                </a:cxn>
                <a:cxn ang="0">
                  <a:pos x="csX394" y="csY394"/>
                </a:cxn>
                <a:cxn ang="0">
                  <a:pos x="csX395" y="csY395"/>
                </a:cxn>
                <a:cxn ang="0">
                  <a:pos x="csX396" y="csY396"/>
                </a:cxn>
                <a:cxn ang="0">
                  <a:pos x="csX397" y="csY397"/>
                </a:cxn>
                <a:cxn ang="0">
                  <a:pos x="csX398" y="csY398"/>
                </a:cxn>
                <a:cxn ang="0">
                  <a:pos x="csX399" y="csY399"/>
                </a:cxn>
                <a:cxn ang="0">
                  <a:pos x="csX400" y="csY400"/>
                </a:cxn>
                <a:cxn ang="0">
                  <a:pos x="csX401" y="csY401"/>
                </a:cxn>
                <a:cxn ang="0">
                  <a:pos x="csX402" y="csY402"/>
                </a:cxn>
                <a:cxn ang="0">
                  <a:pos x="csX403" y="csY403"/>
                </a:cxn>
                <a:cxn ang="0">
                  <a:pos x="csX404" y="csY404"/>
                </a:cxn>
                <a:cxn ang="0">
                  <a:pos x="csX405" y="csY405"/>
                </a:cxn>
                <a:cxn ang="0">
                  <a:pos x="csX406" y="csY406"/>
                </a:cxn>
                <a:cxn ang="0">
                  <a:pos x="csX407" y="csY407"/>
                </a:cxn>
                <a:cxn ang="0">
                  <a:pos x="csX408" y="csY408"/>
                </a:cxn>
                <a:cxn ang="0">
                  <a:pos x="csX409" y="csY409"/>
                </a:cxn>
                <a:cxn ang="0">
                  <a:pos x="csX410" y="csY410"/>
                </a:cxn>
                <a:cxn ang="0">
                  <a:pos x="csX411" y="csY411"/>
                </a:cxn>
                <a:cxn ang="0">
                  <a:pos x="csX412" y="csY412"/>
                </a:cxn>
                <a:cxn ang="0">
                  <a:pos x="csX413" y="csY413"/>
                </a:cxn>
                <a:cxn ang="0">
                  <a:pos x="csX414" y="csY414"/>
                </a:cxn>
                <a:cxn ang="0">
                  <a:pos x="csX415" y="csY415"/>
                </a:cxn>
                <a:cxn ang="0">
                  <a:pos x="csX416" y="csY416"/>
                </a:cxn>
                <a:cxn ang="0">
                  <a:pos x="csX417" y="csY417"/>
                </a:cxn>
                <a:cxn ang="0">
                  <a:pos x="csX418" y="csY418"/>
                </a:cxn>
                <a:cxn ang="0">
                  <a:pos x="csX419" y="csY419"/>
                </a:cxn>
                <a:cxn ang="0">
                  <a:pos x="csX420" y="csY420"/>
                </a:cxn>
                <a:cxn ang="0">
                  <a:pos x="csX421" y="csY421"/>
                </a:cxn>
                <a:cxn ang="0">
                  <a:pos x="csX422" y="csY422"/>
                </a:cxn>
                <a:cxn ang="0">
                  <a:pos x="csX423" y="csY423"/>
                </a:cxn>
                <a:cxn ang="0">
                  <a:pos x="csX424" y="csY424"/>
                </a:cxn>
                <a:cxn ang="0">
                  <a:pos x="csX425" y="csY425"/>
                </a:cxn>
                <a:cxn ang="0">
                  <a:pos x="csX426" y="csY426"/>
                </a:cxn>
                <a:cxn ang="0">
                  <a:pos x="csX427" y="csY427"/>
                </a:cxn>
                <a:cxn ang="0">
                  <a:pos x="csX428" y="csY428"/>
                </a:cxn>
                <a:cxn ang="0">
                  <a:pos x="csX429" y="csY429"/>
                </a:cxn>
                <a:cxn ang="0">
                  <a:pos x="csX430" y="csY430"/>
                </a:cxn>
                <a:cxn ang="0">
                  <a:pos x="csX431" y="csY431"/>
                </a:cxn>
                <a:cxn ang="0">
                  <a:pos x="csX432" y="csY432"/>
                </a:cxn>
                <a:cxn ang="0">
                  <a:pos x="csX433" y="csY433"/>
                </a:cxn>
                <a:cxn ang="0">
                  <a:pos x="csX434" y="csY434"/>
                </a:cxn>
                <a:cxn ang="0">
                  <a:pos x="csX435" y="csY435"/>
                </a:cxn>
                <a:cxn ang="0">
                  <a:pos x="csX436" y="csY436"/>
                </a:cxn>
                <a:cxn ang="0">
                  <a:pos x="csX437" y="csY437"/>
                </a:cxn>
                <a:cxn ang="0">
                  <a:pos x="csX438" y="csY438"/>
                </a:cxn>
                <a:cxn ang="0">
                  <a:pos x="csX439" y="csY439"/>
                </a:cxn>
                <a:cxn ang="0">
                  <a:pos x="csX440" y="csY440"/>
                </a:cxn>
                <a:cxn ang="0">
                  <a:pos x="csX441" y="csY441"/>
                </a:cxn>
                <a:cxn ang="0">
                  <a:pos x="csX442" y="csY442"/>
                </a:cxn>
                <a:cxn ang="0">
                  <a:pos x="csX443" y="csY443"/>
                </a:cxn>
                <a:cxn ang="0">
                  <a:pos x="csX444" y="csY444"/>
                </a:cxn>
                <a:cxn ang="0">
                  <a:pos x="csX445" y="csY445"/>
                </a:cxn>
                <a:cxn ang="0">
                  <a:pos x="csX446" y="csY446"/>
                </a:cxn>
                <a:cxn ang="0">
                  <a:pos x="csX447" y="csY447"/>
                </a:cxn>
                <a:cxn ang="0">
                  <a:pos x="csX448" y="csY448"/>
                </a:cxn>
                <a:cxn ang="0">
                  <a:pos x="csX449" y="csY449"/>
                </a:cxn>
                <a:cxn ang="0">
                  <a:pos x="csX450" y="csY450"/>
                </a:cxn>
                <a:cxn ang="0">
                  <a:pos x="csX451" y="csY451"/>
                </a:cxn>
                <a:cxn ang="0">
                  <a:pos x="csX452" y="csY452"/>
                </a:cxn>
                <a:cxn ang="0">
                  <a:pos x="csX453" y="csY453"/>
                </a:cxn>
                <a:cxn ang="0">
                  <a:pos x="csX454" y="csY454"/>
                </a:cxn>
                <a:cxn ang="0">
                  <a:pos x="csX455" y="csY455"/>
                </a:cxn>
                <a:cxn ang="0">
                  <a:pos x="csX456" y="csY456"/>
                </a:cxn>
                <a:cxn ang="0">
                  <a:pos x="csX457" y="csY457"/>
                </a:cxn>
                <a:cxn ang="0">
                  <a:pos x="csX458" y="csY458"/>
                </a:cxn>
                <a:cxn ang="0">
                  <a:pos x="csX459" y="csY459"/>
                </a:cxn>
                <a:cxn ang="0">
                  <a:pos x="csX460" y="csY460"/>
                </a:cxn>
                <a:cxn ang="0">
                  <a:pos x="csX461" y="csY461"/>
                </a:cxn>
                <a:cxn ang="0">
                  <a:pos x="csX462" y="csY462"/>
                </a:cxn>
                <a:cxn ang="0">
                  <a:pos x="csX463" y="csY463"/>
                </a:cxn>
                <a:cxn ang="0">
                  <a:pos x="csX464" y="csY464"/>
                </a:cxn>
                <a:cxn ang="0">
                  <a:pos x="csX465" y="csY465"/>
                </a:cxn>
                <a:cxn ang="0">
                  <a:pos x="csX466" y="csY466"/>
                </a:cxn>
                <a:cxn ang="0">
                  <a:pos x="csX467" y="csY467"/>
                </a:cxn>
                <a:cxn ang="0">
                  <a:pos x="csX468" y="csY468"/>
                </a:cxn>
                <a:cxn ang="0">
                  <a:pos x="csX469" y="csY469"/>
                </a:cxn>
                <a:cxn ang="0">
                  <a:pos x="csX470" y="csY470"/>
                </a:cxn>
                <a:cxn ang="0">
                  <a:pos x="csX471" y="csY471"/>
                </a:cxn>
                <a:cxn ang="0">
                  <a:pos x="csX472" y="csY472"/>
                </a:cxn>
                <a:cxn ang="0">
                  <a:pos x="csX473" y="csY473"/>
                </a:cxn>
                <a:cxn ang="0">
                  <a:pos x="csX474" y="csY474"/>
                </a:cxn>
                <a:cxn ang="0">
                  <a:pos x="csX475" y="csY475"/>
                </a:cxn>
                <a:cxn ang="0">
                  <a:pos x="csX476" y="csY476"/>
                </a:cxn>
                <a:cxn ang="0">
                  <a:pos x="csX477" y="csY477"/>
                </a:cxn>
                <a:cxn ang="0">
                  <a:pos x="csX478" y="csY478"/>
                </a:cxn>
                <a:cxn ang="0">
                  <a:pos x="csX479" y="csY479"/>
                </a:cxn>
                <a:cxn ang="0">
                  <a:pos x="csX480" y="csY480"/>
                </a:cxn>
                <a:cxn ang="0">
                  <a:pos x="csX481" y="csY481"/>
                </a:cxn>
                <a:cxn ang="0">
                  <a:pos x="csX482" y="csY482"/>
                </a:cxn>
                <a:cxn ang="0">
                  <a:pos x="csX483" y="csY483"/>
                </a:cxn>
                <a:cxn ang="0">
                  <a:pos x="csX484" y="csY484"/>
                </a:cxn>
                <a:cxn ang="0">
                  <a:pos x="csX485" y="csY485"/>
                </a:cxn>
                <a:cxn ang="0">
                  <a:pos x="csX486" y="csY486"/>
                </a:cxn>
                <a:cxn ang="0">
                  <a:pos x="csX487" y="csY487"/>
                </a:cxn>
                <a:cxn ang="0">
                  <a:pos x="csX488" y="csY488"/>
                </a:cxn>
                <a:cxn ang="0">
                  <a:pos x="csX489" y="csY489"/>
                </a:cxn>
                <a:cxn ang="0">
                  <a:pos x="csX490" y="csY490"/>
                </a:cxn>
                <a:cxn ang="0">
                  <a:pos x="csX491" y="csY491"/>
                </a:cxn>
                <a:cxn ang="0">
                  <a:pos x="csX492" y="csY492"/>
                </a:cxn>
                <a:cxn ang="0">
                  <a:pos x="csX493" y="csY493"/>
                </a:cxn>
                <a:cxn ang="0">
                  <a:pos x="csX494" y="csY494"/>
                </a:cxn>
                <a:cxn ang="0">
                  <a:pos x="csX495" y="csY495"/>
                </a:cxn>
                <a:cxn ang="0">
                  <a:pos x="csX496" y="csY496"/>
                </a:cxn>
                <a:cxn ang="0">
                  <a:pos x="csX497" y="csY497"/>
                </a:cxn>
                <a:cxn ang="0">
                  <a:pos x="csX498" y="csY498"/>
                </a:cxn>
                <a:cxn ang="0">
                  <a:pos x="csX499" y="csY499"/>
                </a:cxn>
                <a:cxn ang="0">
                  <a:pos x="csX500" y="csY500"/>
                </a:cxn>
                <a:cxn ang="0">
                  <a:pos x="csX501" y="csY501"/>
                </a:cxn>
                <a:cxn ang="0">
                  <a:pos x="csX502" y="csY502"/>
                </a:cxn>
                <a:cxn ang="0">
                  <a:pos x="csX503" y="csY503"/>
                </a:cxn>
                <a:cxn ang="0">
                  <a:pos x="csX504" y="csY504"/>
                </a:cxn>
                <a:cxn ang="0">
                  <a:pos x="csX505" y="csY505"/>
                </a:cxn>
                <a:cxn ang="0">
                  <a:pos x="csX506" y="csY506"/>
                </a:cxn>
                <a:cxn ang="0">
                  <a:pos x="csX507" y="csY507"/>
                </a:cxn>
                <a:cxn ang="0">
                  <a:pos x="csX508" y="csY508"/>
                </a:cxn>
                <a:cxn ang="0">
                  <a:pos x="csX509" y="csY509"/>
                </a:cxn>
                <a:cxn ang="0">
                  <a:pos x="csX510" y="csY510"/>
                </a:cxn>
                <a:cxn ang="0">
                  <a:pos x="csX511" y="csY511"/>
                </a:cxn>
                <a:cxn ang="0">
                  <a:pos x="csX512" y="csY512"/>
                </a:cxn>
                <a:cxn ang="0">
                  <a:pos x="csX513" y="csY513"/>
                </a:cxn>
                <a:cxn ang="0">
                  <a:pos x="csX514" y="csY514"/>
                </a:cxn>
                <a:cxn ang="0">
                  <a:pos x="csX515" y="csY515"/>
                </a:cxn>
                <a:cxn ang="0">
                  <a:pos x="csX516" y="csY516"/>
                </a:cxn>
                <a:cxn ang="0">
                  <a:pos x="csX517" y="csY517"/>
                </a:cxn>
                <a:cxn ang="0">
                  <a:pos x="csX518" y="csY518"/>
                </a:cxn>
                <a:cxn ang="0">
                  <a:pos x="csX519" y="csY519"/>
                </a:cxn>
                <a:cxn ang="0">
                  <a:pos x="csX520" y="csY520"/>
                </a:cxn>
                <a:cxn ang="0">
                  <a:pos x="csX521" y="csY521"/>
                </a:cxn>
                <a:cxn ang="0">
                  <a:pos x="csX522" y="csY522"/>
                </a:cxn>
                <a:cxn ang="0">
                  <a:pos x="csX523" y="csY523"/>
                </a:cxn>
                <a:cxn ang="0">
                  <a:pos x="csX524" y="csY524"/>
                </a:cxn>
                <a:cxn ang="0">
                  <a:pos x="csX525" y="csY525"/>
                </a:cxn>
                <a:cxn ang="0">
                  <a:pos x="csX526" y="csY526"/>
                </a:cxn>
                <a:cxn ang="0">
                  <a:pos x="csX527" y="csY527"/>
                </a:cxn>
                <a:cxn ang="0">
                  <a:pos x="csX528" y="csY528"/>
                </a:cxn>
                <a:cxn ang="0">
                  <a:pos x="csX529" y="csY529"/>
                </a:cxn>
                <a:cxn ang="0">
                  <a:pos x="csX530" y="csY530"/>
                </a:cxn>
                <a:cxn ang="0">
                  <a:pos x="csX531" y="csY531"/>
                </a:cxn>
                <a:cxn ang="0">
                  <a:pos x="csX532" y="csY532"/>
                </a:cxn>
                <a:cxn ang="0">
                  <a:pos x="csX533" y="csY533"/>
                </a:cxn>
                <a:cxn ang="0">
                  <a:pos x="csX534" y="csY534"/>
                </a:cxn>
                <a:cxn ang="0">
                  <a:pos x="csX535" y="csY535"/>
                </a:cxn>
                <a:cxn ang="0">
                  <a:pos x="csX536" y="csY536"/>
                </a:cxn>
                <a:cxn ang="0">
                  <a:pos x="csX537" y="csY537"/>
                </a:cxn>
                <a:cxn ang="0">
                  <a:pos x="csX538" y="csY538"/>
                </a:cxn>
                <a:cxn ang="0">
                  <a:pos x="csX539" y="csY539"/>
                </a:cxn>
                <a:cxn ang="0">
                  <a:pos x="csX540" y="csY540"/>
                </a:cxn>
                <a:cxn ang="0">
                  <a:pos x="csX541" y="csY541"/>
                </a:cxn>
                <a:cxn ang="0">
                  <a:pos x="csX542" y="csY542"/>
                </a:cxn>
                <a:cxn ang="0">
                  <a:pos x="csX543" y="csY543"/>
                </a:cxn>
                <a:cxn ang="0">
                  <a:pos x="csX544" y="csY544"/>
                </a:cxn>
                <a:cxn ang="0">
                  <a:pos x="csX545" y="csY545"/>
                </a:cxn>
                <a:cxn ang="0">
                  <a:pos x="csX546" y="csY546"/>
                </a:cxn>
                <a:cxn ang="0">
                  <a:pos x="csX547" y="csY547"/>
                </a:cxn>
                <a:cxn ang="0">
                  <a:pos x="csX548" y="csY548"/>
                </a:cxn>
                <a:cxn ang="0">
                  <a:pos x="csX549" y="csY549"/>
                </a:cxn>
                <a:cxn ang="0">
                  <a:pos x="csX550" y="csY550"/>
                </a:cxn>
                <a:cxn ang="0">
                  <a:pos x="csX551" y="csY551"/>
                </a:cxn>
                <a:cxn ang="0">
                  <a:pos x="csX552" y="csY552"/>
                </a:cxn>
                <a:cxn ang="0">
                  <a:pos x="csX553" y="csY553"/>
                </a:cxn>
                <a:cxn ang="0">
                  <a:pos x="csX554" y="csY554"/>
                </a:cxn>
                <a:cxn ang="0">
                  <a:pos x="csX555" y="csY555"/>
                </a:cxn>
                <a:cxn ang="0">
                  <a:pos x="csX556" y="csY556"/>
                </a:cxn>
                <a:cxn ang="0">
                  <a:pos x="csX557" y="csY557"/>
                </a:cxn>
                <a:cxn ang="0">
                  <a:pos x="csX558" y="csY558"/>
                </a:cxn>
                <a:cxn ang="0">
                  <a:pos x="csX559" y="csY559"/>
                </a:cxn>
                <a:cxn ang="0">
                  <a:pos x="csX560" y="csY560"/>
                </a:cxn>
                <a:cxn ang="0">
                  <a:pos x="csX561" y="csY561"/>
                </a:cxn>
                <a:cxn ang="0">
                  <a:pos x="csX562" y="csY562"/>
                </a:cxn>
                <a:cxn ang="0">
                  <a:pos x="csX563" y="csY563"/>
                </a:cxn>
                <a:cxn ang="0">
                  <a:pos x="csX564" y="csY564"/>
                </a:cxn>
                <a:cxn ang="0">
                  <a:pos x="csX565" y="csY565"/>
                </a:cxn>
                <a:cxn ang="0">
                  <a:pos x="csX566" y="csY566"/>
                </a:cxn>
                <a:cxn ang="0">
                  <a:pos x="csX567" y="csY567"/>
                </a:cxn>
                <a:cxn ang="0">
                  <a:pos x="csX568" y="csY568"/>
                </a:cxn>
                <a:cxn ang="0">
                  <a:pos x="csX569" y="csY569"/>
                </a:cxn>
                <a:cxn ang="0">
                  <a:pos x="csX570" y="csY570"/>
                </a:cxn>
                <a:cxn ang="0">
                  <a:pos x="csX571" y="csY571"/>
                </a:cxn>
                <a:cxn ang="0">
                  <a:pos x="csX572" y="csY572"/>
                </a:cxn>
                <a:cxn ang="0">
                  <a:pos x="csX573" y="csY573"/>
                </a:cxn>
                <a:cxn ang="0">
                  <a:pos x="csX574" y="csY574"/>
                </a:cxn>
                <a:cxn ang="0">
                  <a:pos x="csX575" y="csY575"/>
                </a:cxn>
                <a:cxn ang="0">
                  <a:pos x="csX576" y="csY576"/>
                </a:cxn>
                <a:cxn ang="0">
                  <a:pos x="csX577" y="csY577"/>
                </a:cxn>
                <a:cxn ang="0">
                  <a:pos x="csX578" y="csY578"/>
                </a:cxn>
                <a:cxn ang="0">
                  <a:pos x="csX579" y="csY579"/>
                </a:cxn>
                <a:cxn ang="0">
                  <a:pos x="csX580" y="csY580"/>
                </a:cxn>
                <a:cxn ang="0">
                  <a:pos x="csX581" y="csY581"/>
                </a:cxn>
                <a:cxn ang="0">
                  <a:pos x="csX582" y="csY582"/>
                </a:cxn>
                <a:cxn ang="0">
                  <a:pos x="csX583" y="csY583"/>
                </a:cxn>
                <a:cxn ang="0">
                  <a:pos x="csX584" y="csY584"/>
                </a:cxn>
                <a:cxn ang="0">
                  <a:pos x="csX585" y="csY585"/>
                </a:cxn>
                <a:cxn ang="0">
                  <a:pos x="csX586" y="csY586"/>
                </a:cxn>
                <a:cxn ang="0">
                  <a:pos x="csX587" y="csY587"/>
                </a:cxn>
                <a:cxn ang="0">
                  <a:pos x="csX588" y="csY588"/>
                </a:cxn>
                <a:cxn ang="0">
                  <a:pos x="csX589" y="csY589"/>
                </a:cxn>
                <a:cxn ang="0">
                  <a:pos x="csX590" y="csY590"/>
                </a:cxn>
                <a:cxn ang="0">
                  <a:pos x="csX591" y="csY591"/>
                </a:cxn>
                <a:cxn ang="0">
                  <a:pos x="csX592" y="csY592"/>
                </a:cxn>
                <a:cxn ang="0">
                  <a:pos x="csX593" y="csY593"/>
                </a:cxn>
                <a:cxn ang="0">
                  <a:pos x="csX594" y="csY594"/>
                </a:cxn>
                <a:cxn ang="0">
                  <a:pos x="csX595" y="csY595"/>
                </a:cxn>
                <a:cxn ang="0">
                  <a:pos x="csX596" y="csY596"/>
                </a:cxn>
                <a:cxn ang="0">
                  <a:pos x="csX597" y="csY597"/>
                </a:cxn>
                <a:cxn ang="0">
                  <a:pos x="csX598" y="csY598"/>
                </a:cxn>
                <a:cxn ang="0">
                  <a:pos x="csX599" y="csY599"/>
                </a:cxn>
                <a:cxn ang="0">
                  <a:pos x="csX600" y="csY600"/>
                </a:cxn>
                <a:cxn ang="0">
                  <a:pos x="csX601" y="csY601"/>
                </a:cxn>
                <a:cxn ang="0">
                  <a:pos x="csX602" y="csY602"/>
                </a:cxn>
                <a:cxn ang="0">
                  <a:pos x="csX603" y="csY603"/>
                </a:cxn>
                <a:cxn ang="0">
                  <a:pos x="csX604" y="csY604"/>
                </a:cxn>
                <a:cxn ang="0">
                  <a:pos x="csX605" y="csY605"/>
                </a:cxn>
                <a:cxn ang="0">
                  <a:pos x="csX606" y="csY606"/>
                </a:cxn>
                <a:cxn ang="0">
                  <a:pos x="csX607" y="csY607"/>
                </a:cxn>
                <a:cxn ang="0">
                  <a:pos x="csX608" y="csY608"/>
                </a:cxn>
                <a:cxn ang="0">
                  <a:pos x="csX609" y="csY609"/>
                </a:cxn>
                <a:cxn ang="0">
                  <a:pos x="csX610" y="csY610"/>
                </a:cxn>
                <a:cxn ang="0">
                  <a:pos x="csX611" y="csY611"/>
                </a:cxn>
                <a:cxn ang="0">
                  <a:pos x="csX612" y="csY612"/>
                </a:cxn>
                <a:cxn ang="0">
                  <a:pos x="csX613" y="csY613"/>
                </a:cxn>
                <a:cxn ang="0">
                  <a:pos x="csX614" y="csY614"/>
                </a:cxn>
                <a:cxn ang="0">
                  <a:pos x="csX615" y="csY615"/>
                </a:cxn>
                <a:cxn ang="0">
                  <a:pos x="csX616" y="csY616"/>
                </a:cxn>
                <a:cxn ang="0">
                  <a:pos x="csX617" y="csY617"/>
                </a:cxn>
                <a:cxn ang="0">
                  <a:pos x="csX618" y="csY618"/>
                </a:cxn>
                <a:cxn ang="0">
                  <a:pos x="csX619" y="csY619"/>
                </a:cxn>
                <a:cxn ang="0">
                  <a:pos x="csX620" y="csY620"/>
                </a:cxn>
                <a:cxn ang="0">
                  <a:pos x="csX621" y="csY621"/>
                </a:cxn>
                <a:cxn ang="0">
                  <a:pos x="csX622" y="csY622"/>
                </a:cxn>
                <a:cxn ang="0">
                  <a:pos x="csX623" y="csY623"/>
                </a:cxn>
                <a:cxn ang="0">
                  <a:pos x="csX624" y="csY624"/>
                </a:cxn>
                <a:cxn ang="0">
                  <a:pos x="csX625" y="csY625"/>
                </a:cxn>
                <a:cxn ang="0">
                  <a:pos x="csX626" y="csY626"/>
                </a:cxn>
                <a:cxn ang="0">
                  <a:pos x="csX627" y="csY627"/>
                </a:cxn>
                <a:cxn ang="0">
                  <a:pos x="csX628" y="csY628"/>
                </a:cxn>
              </a:cxnLst>
              <a:rect l="l" t="t" r="r" b="b"/>
              <a:pathLst>
                <a:path w="640828" h="1827536">
                  <a:moveTo>
                    <a:pt x="-4731" y="1786861"/>
                  </a:moveTo>
                  <a:lnTo>
                    <a:pt x="16156" y="1786861"/>
                  </a:lnTo>
                  <a:lnTo>
                    <a:pt x="16156" y="1752384"/>
                  </a:lnTo>
                  <a:lnTo>
                    <a:pt x="-4731" y="1752384"/>
                  </a:lnTo>
                  <a:lnTo>
                    <a:pt x="-4731" y="1717903"/>
                  </a:lnTo>
                  <a:lnTo>
                    <a:pt x="16156" y="1717903"/>
                  </a:lnTo>
                  <a:lnTo>
                    <a:pt x="16156" y="1683420"/>
                  </a:lnTo>
                  <a:lnTo>
                    <a:pt x="-4731" y="1683420"/>
                  </a:lnTo>
                  <a:lnTo>
                    <a:pt x="-4731" y="1648938"/>
                  </a:lnTo>
                  <a:lnTo>
                    <a:pt x="16156" y="1648938"/>
                  </a:lnTo>
                  <a:lnTo>
                    <a:pt x="16156" y="1614456"/>
                  </a:lnTo>
                  <a:lnTo>
                    <a:pt x="-4731" y="1614456"/>
                  </a:lnTo>
                  <a:lnTo>
                    <a:pt x="-4731" y="1579974"/>
                  </a:lnTo>
                  <a:lnTo>
                    <a:pt x="16156" y="1579974"/>
                  </a:lnTo>
                  <a:lnTo>
                    <a:pt x="16156" y="1545492"/>
                  </a:lnTo>
                  <a:lnTo>
                    <a:pt x="-4731" y="1545492"/>
                  </a:lnTo>
                  <a:lnTo>
                    <a:pt x="-4731" y="1511010"/>
                  </a:lnTo>
                  <a:lnTo>
                    <a:pt x="16156" y="1511010"/>
                  </a:lnTo>
                  <a:lnTo>
                    <a:pt x="16156" y="1476528"/>
                  </a:lnTo>
                  <a:lnTo>
                    <a:pt x="-4731" y="1476528"/>
                  </a:lnTo>
                  <a:lnTo>
                    <a:pt x="-4731" y="1442046"/>
                  </a:lnTo>
                  <a:lnTo>
                    <a:pt x="16156" y="1442046"/>
                  </a:lnTo>
                  <a:lnTo>
                    <a:pt x="16156" y="1407564"/>
                  </a:lnTo>
                  <a:lnTo>
                    <a:pt x="-4731" y="1407564"/>
                  </a:lnTo>
                  <a:lnTo>
                    <a:pt x="-4731" y="1373082"/>
                  </a:lnTo>
                  <a:lnTo>
                    <a:pt x="16156" y="1373082"/>
                  </a:lnTo>
                  <a:lnTo>
                    <a:pt x="16156" y="1338600"/>
                  </a:lnTo>
                  <a:lnTo>
                    <a:pt x="-4731" y="1338600"/>
                  </a:lnTo>
                  <a:lnTo>
                    <a:pt x="-4731" y="1304118"/>
                  </a:lnTo>
                  <a:lnTo>
                    <a:pt x="16156" y="1304118"/>
                  </a:lnTo>
                  <a:lnTo>
                    <a:pt x="16156" y="1269636"/>
                  </a:lnTo>
                  <a:lnTo>
                    <a:pt x="-4731" y="1269636"/>
                  </a:lnTo>
                  <a:lnTo>
                    <a:pt x="-4731" y="1235159"/>
                  </a:lnTo>
                  <a:lnTo>
                    <a:pt x="16156" y="1235159"/>
                  </a:lnTo>
                  <a:lnTo>
                    <a:pt x="16156" y="1200672"/>
                  </a:lnTo>
                  <a:lnTo>
                    <a:pt x="-4731" y="1200672"/>
                  </a:lnTo>
                  <a:lnTo>
                    <a:pt x="-4731" y="1166195"/>
                  </a:lnTo>
                  <a:lnTo>
                    <a:pt x="16156" y="1166195"/>
                  </a:lnTo>
                  <a:lnTo>
                    <a:pt x="16156" y="1131708"/>
                  </a:lnTo>
                  <a:lnTo>
                    <a:pt x="-4731" y="1131708"/>
                  </a:lnTo>
                  <a:lnTo>
                    <a:pt x="-4731" y="1097231"/>
                  </a:lnTo>
                  <a:lnTo>
                    <a:pt x="16156" y="1097231"/>
                  </a:lnTo>
                  <a:lnTo>
                    <a:pt x="16156" y="1062744"/>
                  </a:lnTo>
                  <a:lnTo>
                    <a:pt x="-4731" y="1062744"/>
                  </a:lnTo>
                  <a:lnTo>
                    <a:pt x="-4731" y="1028267"/>
                  </a:lnTo>
                  <a:lnTo>
                    <a:pt x="16156" y="1028267"/>
                  </a:lnTo>
                  <a:lnTo>
                    <a:pt x="16156" y="993785"/>
                  </a:lnTo>
                  <a:lnTo>
                    <a:pt x="-4731" y="993785"/>
                  </a:lnTo>
                  <a:lnTo>
                    <a:pt x="-4731" y="959303"/>
                  </a:lnTo>
                  <a:lnTo>
                    <a:pt x="16156" y="959303"/>
                  </a:lnTo>
                  <a:lnTo>
                    <a:pt x="16156" y="924821"/>
                  </a:lnTo>
                  <a:lnTo>
                    <a:pt x="-4731" y="924821"/>
                  </a:lnTo>
                  <a:lnTo>
                    <a:pt x="-4731" y="890334"/>
                  </a:lnTo>
                  <a:lnTo>
                    <a:pt x="16156" y="890334"/>
                  </a:lnTo>
                  <a:lnTo>
                    <a:pt x="16156" y="855857"/>
                  </a:lnTo>
                  <a:lnTo>
                    <a:pt x="-4731" y="855857"/>
                  </a:lnTo>
                  <a:lnTo>
                    <a:pt x="-4731" y="821375"/>
                  </a:lnTo>
                  <a:lnTo>
                    <a:pt x="16156" y="821375"/>
                  </a:lnTo>
                  <a:lnTo>
                    <a:pt x="16156" y="786893"/>
                  </a:lnTo>
                  <a:lnTo>
                    <a:pt x="-4731" y="786893"/>
                  </a:lnTo>
                  <a:lnTo>
                    <a:pt x="-4731" y="752411"/>
                  </a:lnTo>
                  <a:lnTo>
                    <a:pt x="16156" y="752411"/>
                  </a:lnTo>
                  <a:lnTo>
                    <a:pt x="16156" y="717929"/>
                  </a:lnTo>
                  <a:lnTo>
                    <a:pt x="-4731" y="717929"/>
                  </a:lnTo>
                  <a:lnTo>
                    <a:pt x="-4731" y="683447"/>
                  </a:lnTo>
                  <a:lnTo>
                    <a:pt x="16156" y="683447"/>
                  </a:lnTo>
                  <a:lnTo>
                    <a:pt x="16156" y="648959"/>
                  </a:lnTo>
                  <a:lnTo>
                    <a:pt x="-4731" y="648959"/>
                  </a:lnTo>
                  <a:lnTo>
                    <a:pt x="-4731" y="614483"/>
                  </a:lnTo>
                  <a:lnTo>
                    <a:pt x="16156" y="614483"/>
                  </a:lnTo>
                  <a:lnTo>
                    <a:pt x="16156" y="580001"/>
                  </a:lnTo>
                  <a:lnTo>
                    <a:pt x="-4731" y="580001"/>
                  </a:lnTo>
                  <a:lnTo>
                    <a:pt x="-4731" y="545519"/>
                  </a:lnTo>
                  <a:lnTo>
                    <a:pt x="16156" y="545519"/>
                  </a:lnTo>
                  <a:lnTo>
                    <a:pt x="16156" y="511037"/>
                  </a:lnTo>
                  <a:lnTo>
                    <a:pt x="-4731" y="511037"/>
                  </a:lnTo>
                  <a:lnTo>
                    <a:pt x="-4731" y="476555"/>
                  </a:lnTo>
                  <a:lnTo>
                    <a:pt x="16156" y="476555"/>
                  </a:lnTo>
                  <a:lnTo>
                    <a:pt x="16156" y="442073"/>
                  </a:lnTo>
                  <a:lnTo>
                    <a:pt x="-4731" y="442073"/>
                  </a:lnTo>
                  <a:lnTo>
                    <a:pt x="-4731" y="407591"/>
                  </a:lnTo>
                  <a:lnTo>
                    <a:pt x="16156" y="407591"/>
                  </a:lnTo>
                  <a:lnTo>
                    <a:pt x="16156" y="373109"/>
                  </a:lnTo>
                  <a:lnTo>
                    <a:pt x="-4731" y="373109"/>
                  </a:lnTo>
                  <a:lnTo>
                    <a:pt x="-4731" y="338627"/>
                  </a:lnTo>
                  <a:lnTo>
                    <a:pt x="16156" y="338627"/>
                  </a:lnTo>
                  <a:lnTo>
                    <a:pt x="16156" y="304145"/>
                  </a:lnTo>
                  <a:lnTo>
                    <a:pt x="-4731" y="304145"/>
                  </a:lnTo>
                  <a:lnTo>
                    <a:pt x="-4731" y="269668"/>
                  </a:lnTo>
                  <a:lnTo>
                    <a:pt x="16156" y="269668"/>
                  </a:lnTo>
                  <a:lnTo>
                    <a:pt x="16156" y="235186"/>
                  </a:lnTo>
                  <a:lnTo>
                    <a:pt x="-4731" y="235186"/>
                  </a:lnTo>
                  <a:lnTo>
                    <a:pt x="-4731" y="200699"/>
                  </a:lnTo>
                  <a:lnTo>
                    <a:pt x="16156" y="200699"/>
                  </a:lnTo>
                  <a:lnTo>
                    <a:pt x="16156" y="166222"/>
                  </a:lnTo>
                  <a:lnTo>
                    <a:pt x="-4731" y="166222"/>
                  </a:lnTo>
                  <a:lnTo>
                    <a:pt x="-4731" y="131740"/>
                  </a:lnTo>
                  <a:lnTo>
                    <a:pt x="16156" y="131740"/>
                  </a:lnTo>
                  <a:lnTo>
                    <a:pt x="16156" y="97258"/>
                  </a:lnTo>
                  <a:lnTo>
                    <a:pt x="-4731" y="97258"/>
                  </a:lnTo>
                  <a:lnTo>
                    <a:pt x="-4731" y="62771"/>
                  </a:lnTo>
                  <a:lnTo>
                    <a:pt x="16156" y="62771"/>
                  </a:lnTo>
                  <a:lnTo>
                    <a:pt x="16156" y="28294"/>
                  </a:lnTo>
                  <a:lnTo>
                    <a:pt x="-4731" y="28294"/>
                  </a:lnTo>
                  <a:lnTo>
                    <a:pt x="-4731" y="-6188"/>
                  </a:lnTo>
                  <a:lnTo>
                    <a:pt x="636097" y="-6188"/>
                  </a:lnTo>
                  <a:lnTo>
                    <a:pt x="636097" y="28294"/>
                  </a:lnTo>
                  <a:lnTo>
                    <a:pt x="615210" y="28294"/>
                  </a:lnTo>
                  <a:lnTo>
                    <a:pt x="615210" y="62771"/>
                  </a:lnTo>
                  <a:lnTo>
                    <a:pt x="636097" y="62771"/>
                  </a:lnTo>
                  <a:lnTo>
                    <a:pt x="636097" y="97258"/>
                  </a:lnTo>
                  <a:lnTo>
                    <a:pt x="615210" y="97258"/>
                  </a:lnTo>
                  <a:lnTo>
                    <a:pt x="615210" y="131740"/>
                  </a:lnTo>
                  <a:lnTo>
                    <a:pt x="636097" y="131740"/>
                  </a:lnTo>
                  <a:lnTo>
                    <a:pt x="636097" y="166222"/>
                  </a:lnTo>
                  <a:lnTo>
                    <a:pt x="615210" y="166222"/>
                  </a:lnTo>
                  <a:lnTo>
                    <a:pt x="615210" y="200699"/>
                  </a:lnTo>
                  <a:lnTo>
                    <a:pt x="636097" y="200699"/>
                  </a:lnTo>
                  <a:lnTo>
                    <a:pt x="636097" y="235186"/>
                  </a:lnTo>
                  <a:lnTo>
                    <a:pt x="615210" y="235186"/>
                  </a:lnTo>
                  <a:lnTo>
                    <a:pt x="615210" y="269668"/>
                  </a:lnTo>
                  <a:lnTo>
                    <a:pt x="636097" y="269668"/>
                  </a:lnTo>
                  <a:lnTo>
                    <a:pt x="636097" y="304145"/>
                  </a:lnTo>
                  <a:lnTo>
                    <a:pt x="615210" y="304145"/>
                  </a:lnTo>
                  <a:lnTo>
                    <a:pt x="615210" y="338627"/>
                  </a:lnTo>
                  <a:lnTo>
                    <a:pt x="636097" y="338627"/>
                  </a:lnTo>
                  <a:lnTo>
                    <a:pt x="636097" y="373109"/>
                  </a:lnTo>
                  <a:lnTo>
                    <a:pt x="615210" y="373109"/>
                  </a:lnTo>
                  <a:lnTo>
                    <a:pt x="615210" y="407591"/>
                  </a:lnTo>
                  <a:lnTo>
                    <a:pt x="636097" y="407591"/>
                  </a:lnTo>
                  <a:lnTo>
                    <a:pt x="636097" y="442073"/>
                  </a:lnTo>
                  <a:lnTo>
                    <a:pt x="615210" y="442073"/>
                  </a:lnTo>
                  <a:lnTo>
                    <a:pt x="615210" y="476555"/>
                  </a:lnTo>
                  <a:lnTo>
                    <a:pt x="636097" y="476555"/>
                  </a:lnTo>
                  <a:lnTo>
                    <a:pt x="636097" y="511037"/>
                  </a:lnTo>
                  <a:lnTo>
                    <a:pt x="615210" y="511037"/>
                  </a:lnTo>
                  <a:lnTo>
                    <a:pt x="615210" y="545519"/>
                  </a:lnTo>
                  <a:lnTo>
                    <a:pt x="636097" y="545519"/>
                  </a:lnTo>
                  <a:lnTo>
                    <a:pt x="636097" y="580001"/>
                  </a:lnTo>
                  <a:lnTo>
                    <a:pt x="615210" y="580001"/>
                  </a:lnTo>
                  <a:lnTo>
                    <a:pt x="615210" y="614483"/>
                  </a:lnTo>
                  <a:lnTo>
                    <a:pt x="636097" y="614483"/>
                  </a:lnTo>
                  <a:lnTo>
                    <a:pt x="636097" y="648959"/>
                  </a:lnTo>
                  <a:lnTo>
                    <a:pt x="615210" y="648959"/>
                  </a:lnTo>
                  <a:lnTo>
                    <a:pt x="615210" y="683447"/>
                  </a:lnTo>
                  <a:lnTo>
                    <a:pt x="636097" y="683447"/>
                  </a:lnTo>
                  <a:lnTo>
                    <a:pt x="636097" y="717929"/>
                  </a:lnTo>
                  <a:lnTo>
                    <a:pt x="615210" y="717929"/>
                  </a:lnTo>
                  <a:lnTo>
                    <a:pt x="615210" y="752411"/>
                  </a:lnTo>
                  <a:lnTo>
                    <a:pt x="636097" y="752411"/>
                  </a:lnTo>
                  <a:lnTo>
                    <a:pt x="636097" y="786893"/>
                  </a:lnTo>
                  <a:lnTo>
                    <a:pt x="615210" y="786893"/>
                  </a:lnTo>
                  <a:lnTo>
                    <a:pt x="615210" y="821375"/>
                  </a:lnTo>
                  <a:lnTo>
                    <a:pt x="636097" y="821375"/>
                  </a:lnTo>
                  <a:lnTo>
                    <a:pt x="636097" y="855857"/>
                  </a:lnTo>
                  <a:lnTo>
                    <a:pt x="615210" y="855857"/>
                  </a:lnTo>
                  <a:lnTo>
                    <a:pt x="615210" y="890334"/>
                  </a:lnTo>
                  <a:lnTo>
                    <a:pt x="636097" y="890334"/>
                  </a:lnTo>
                  <a:lnTo>
                    <a:pt x="636097" y="924821"/>
                  </a:lnTo>
                  <a:lnTo>
                    <a:pt x="615210" y="924821"/>
                  </a:lnTo>
                  <a:lnTo>
                    <a:pt x="615210" y="959303"/>
                  </a:lnTo>
                  <a:lnTo>
                    <a:pt x="636097" y="959303"/>
                  </a:lnTo>
                  <a:lnTo>
                    <a:pt x="636097" y="993785"/>
                  </a:lnTo>
                  <a:lnTo>
                    <a:pt x="615210" y="993785"/>
                  </a:lnTo>
                  <a:lnTo>
                    <a:pt x="615210" y="1028267"/>
                  </a:lnTo>
                  <a:lnTo>
                    <a:pt x="636097" y="1028267"/>
                  </a:lnTo>
                  <a:lnTo>
                    <a:pt x="636097" y="1062744"/>
                  </a:lnTo>
                  <a:lnTo>
                    <a:pt x="615210" y="1062744"/>
                  </a:lnTo>
                  <a:lnTo>
                    <a:pt x="615210" y="1097231"/>
                  </a:lnTo>
                  <a:lnTo>
                    <a:pt x="636097" y="1097231"/>
                  </a:lnTo>
                  <a:lnTo>
                    <a:pt x="636097" y="1131708"/>
                  </a:lnTo>
                  <a:lnTo>
                    <a:pt x="615210" y="1131708"/>
                  </a:lnTo>
                  <a:lnTo>
                    <a:pt x="615210" y="1166195"/>
                  </a:lnTo>
                  <a:lnTo>
                    <a:pt x="636097" y="1166195"/>
                  </a:lnTo>
                  <a:lnTo>
                    <a:pt x="636097" y="1200672"/>
                  </a:lnTo>
                  <a:lnTo>
                    <a:pt x="615210" y="1200672"/>
                  </a:lnTo>
                  <a:lnTo>
                    <a:pt x="615210" y="1235159"/>
                  </a:lnTo>
                  <a:lnTo>
                    <a:pt x="636097" y="1235159"/>
                  </a:lnTo>
                  <a:lnTo>
                    <a:pt x="636097" y="1269636"/>
                  </a:lnTo>
                  <a:lnTo>
                    <a:pt x="615210" y="1269636"/>
                  </a:lnTo>
                  <a:lnTo>
                    <a:pt x="615210" y="1304118"/>
                  </a:lnTo>
                  <a:lnTo>
                    <a:pt x="636097" y="1304118"/>
                  </a:lnTo>
                  <a:lnTo>
                    <a:pt x="636097" y="1338600"/>
                  </a:lnTo>
                  <a:lnTo>
                    <a:pt x="615210" y="1338600"/>
                  </a:lnTo>
                  <a:lnTo>
                    <a:pt x="615210" y="1373082"/>
                  </a:lnTo>
                  <a:lnTo>
                    <a:pt x="636097" y="1373082"/>
                  </a:lnTo>
                  <a:lnTo>
                    <a:pt x="636097" y="1407564"/>
                  </a:lnTo>
                  <a:lnTo>
                    <a:pt x="615210" y="1407564"/>
                  </a:lnTo>
                  <a:lnTo>
                    <a:pt x="615210" y="1442046"/>
                  </a:lnTo>
                  <a:lnTo>
                    <a:pt x="636097" y="1442046"/>
                  </a:lnTo>
                  <a:lnTo>
                    <a:pt x="636097" y="1476528"/>
                  </a:lnTo>
                  <a:lnTo>
                    <a:pt x="615210" y="1476528"/>
                  </a:lnTo>
                  <a:lnTo>
                    <a:pt x="615210" y="1511010"/>
                  </a:lnTo>
                  <a:lnTo>
                    <a:pt x="636097" y="1511010"/>
                  </a:lnTo>
                  <a:lnTo>
                    <a:pt x="636097" y="1545492"/>
                  </a:lnTo>
                  <a:lnTo>
                    <a:pt x="615210" y="1545492"/>
                  </a:lnTo>
                  <a:lnTo>
                    <a:pt x="615210" y="1579974"/>
                  </a:lnTo>
                  <a:lnTo>
                    <a:pt x="636097" y="1579974"/>
                  </a:lnTo>
                  <a:lnTo>
                    <a:pt x="636097" y="1614456"/>
                  </a:lnTo>
                  <a:lnTo>
                    <a:pt x="615210" y="1614456"/>
                  </a:lnTo>
                  <a:lnTo>
                    <a:pt x="615210" y="1648938"/>
                  </a:lnTo>
                  <a:lnTo>
                    <a:pt x="636097" y="1648938"/>
                  </a:lnTo>
                  <a:lnTo>
                    <a:pt x="636097" y="1683420"/>
                  </a:lnTo>
                  <a:lnTo>
                    <a:pt x="615210" y="1683420"/>
                  </a:lnTo>
                  <a:lnTo>
                    <a:pt x="615210" y="1717903"/>
                  </a:lnTo>
                  <a:lnTo>
                    <a:pt x="636097" y="1717903"/>
                  </a:lnTo>
                  <a:lnTo>
                    <a:pt x="636097" y="1752384"/>
                  </a:lnTo>
                  <a:lnTo>
                    <a:pt x="615210" y="1752384"/>
                  </a:lnTo>
                  <a:lnTo>
                    <a:pt x="615210" y="1786861"/>
                  </a:lnTo>
                  <a:lnTo>
                    <a:pt x="636097" y="1786861"/>
                  </a:lnTo>
                  <a:lnTo>
                    <a:pt x="636097" y="1821349"/>
                  </a:lnTo>
                  <a:lnTo>
                    <a:pt x="-4731" y="1821349"/>
                  </a:lnTo>
                  <a:close/>
                  <a:moveTo>
                    <a:pt x="39182" y="1717903"/>
                  </a:moveTo>
                  <a:lnTo>
                    <a:pt x="162571" y="1717903"/>
                  </a:lnTo>
                  <a:lnTo>
                    <a:pt x="162571" y="1683420"/>
                  </a:lnTo>
                  <a:lnTo>
                    <a:pt x="39182" y="1683420"/>
                  </a:lnTo>
                  <a:close/>
                  <a:moveTo>
                    <a:pt x="448983" y="1683420"/>
                  </a:moveTo>
                  <a:lnTo>
                    <a:pt x="325589" y="1683420"/>
                  </a:lnTo>
                  <a:lnTo>
                    <a:pt x="325589" y="1717903"/>
                  </a:lnTo>
                  <a:lnTo>
                    <a:pt x="448983" y="1717903"/>
                  </a:lnTo>
                  <a:close/>
                  <a:moveTo>
                    <a:pt x="448983" y="1614456"/>
                  </a:moveTo>
                  <a:lnTo>
                    <a:pt x="325589" y="1614456"/>
                  </a:lnTo>
                  <a:lnTo>
                    <a:pt x="325589" y="1648938"/>
                  </a:lnTo>
                  <a:lnTo>
                    <a:pt x="448983" y="1648938"/>
                  </a:lnTo>
                  <a:close/>
                  <a:moveTo>
                    <a:pt x="448983" y="1545492"/>
                  </a:moveTo>
                  <a:lnTo>
                    <a:pt x="325589" y="1545492"/>
                  </a:lnTo>
                  <a:lnTo>
                    <a:pt x="325589" y="1579974"/>
                  </a:lnTo>
                  <a:lnTo>
                    <a:pt x="448983" y="1579974"/>
                  </a:lnTo>
                  <a:close/>
                  <a:moveTo>
                    <a:pt x="448983" y="1476528"/>
                  </a:moveTo>
                  <a:lnTo>
                    <a:pt x="325589" y="1476528"/>
                  </a:lnTo>
                  <a:lnTo>
                    <a:pt x="325589" y="1511010"/>
                  </a:lnTo>
                  <a:lnTo>
                    <a:pt x="448983" y="1511010"/>
                  </a:lnTo>
                  <a:close/>
                  <a:moveTo>
                    <a:pt x="448983" y="1407564"/>
                  </a:moveTo>
                  <a:lnTo>
                    <a:pt x="325589" y="1407564"/>
                  </a:lnTo>
                  <a:lnTo>
                    <a:pt x="325589" y="1442046"/>
                  </a:lnTo>
                  <a:lnTo>
                    <a:pt x="448983" y="1442046"/>
                  </a:lnTo>
                  <a:close/>
                  <a:moveTo>
                    <a:pt x="448983" y="1338600"/>
                  </a:moveTo>
                  <a:lnTo>
                    <a:pt x="325589" y="1338600"/>
                  </a:lnTo>
                  <a:lnTo>
                    <a:pt x="325589" y="1373082"/>
                  </a:lnTo>
                  <a:lnTo>
                    <a:pt x="448983" y="1373082"/>
                  </a:lnTo>
                  <a:close/>
                  <a:moveTo>
                    <a:pt x="448983" y="1269636"/>
                  </a:moveTo>
                  <a:lnTo>
                    <a:pt x="325589" y="1269636"/>
                  </a:lnTo>
                  <a:lnTo>
                    <a:pt x="325589" y="1304118"/>
                  </a:lnTo>
                  <a:lnTo>
                    <a:pt x="448983" y="1304118"/>
                  </a:lnTo>
                  <a:close/>
                  <a:moveTo>
                    <a:pt x="448983" y="1200672"/>
                  </a:moveTo>
                  <a:lnTo>
                    <a:pt x="325589" y="1200672"/>
                  </a:lnTo>
                  <a:lnTo>
                    <a:pt x="325589" y="1235159"/>
                  </a:lnTo>
                  <a:lnTo>
                    <a:pt x="448983" y="1235159"/>
                  </a:lnTo>
                  <a:close/>
                  <a:moveTo>
                    <a:pt x="448983" y="1131708"/>
                  </a:moveTo>
                  <a:lnTo>
                    <a:pt x="325589" y="1131708"/>
                  </a:lnTo>
                  <a:lnTo>
                    <a:pt x="325589" y="1166195"/>
                  </a:lnTo>
                  <a:lnTo>
                    <a:pt x="448983" y="1166195"/>
                  </a:lnTo>
                  <a:close/>
                  <a:moveTo>
                    <a:pt x="448983" y="1062744"/>
                  </a:moveTo>
                  <a:lnTo>
                    <a:pt x="325589" y="1062744"/>
                  </a:lnTo>
                  <a:lnTo>
                    <a:pt x="325589" y="1097231"/>
                  </a:lnTo>
                  <a:lnTo>
                    <a:pt x="448983" y="1097231"/>
                  </a:lnTo>
                  <a:close/>
                  <a:moveTo>
                    <a:pt x="448983" y="993785"/>
                  </a:moveTo>
                  <a:lnTo>
                    <a:pt x="325589" y="993785"/>
                  </a:lnTo>
                  <a:lnTo>
                    <a:pt x="325589" y="1028267"/>
                  </a:lnTo>
                  <a:lnTo>
                    <a:pt x="448983" y="1028267"/>
                  </a:lnTo>
                  <a:close/>
                  <a:moveTo>
                    <a:pt x="448983" y="924821"/>
                  </a:moveTo>
                  <a:lnTo>
                    <a:pt x="325589" y="924821"/>
                  </a:lnTo>
                  <a:lnTo>
                    <a:pt x="325589" y="959303"/>
                  </a:lnTo>
                  <a:lnTo>
                    <a:pt x="448983" y="959303"/>
                  </a:lnTo>
                  <a:close/>
                  <a:moveTo>
                    <a:pt x="448983" y="855857"/>
                  </a:moveTo>
                  <a:lnTo>
                    <a:pt x="325589" y="855857"/>
                  </a:lnTo>
                  <a:lnTo>
                    <a:pt x="325589" y="890334"/>
                  </a:lnTo>
                  <a:lnTo>
                    <a:pt x="448983" y="890334"/>
                  </a:lnTo>
                  <a:close/>
                  <a:moveTo>
                    <a:pt x="448983" y="786893"/>
                  </a:moveTo>
                  <a:lnTo>
                    <a:pt x="325589" y="786893"/>
                  </a:lnTo>
                  <a:lnTo>
                    <a:pt x="325589" y="821375"/>
                  </a:lnTo>
                  <a:lnTo>
                    <a:pt x="448983" y="821375"/>
                  </a:lnTo>
                  <a:close/>
                  <a:moveTo>
                    <a:pt x="448983" y="717929"/>
                  </a:moveTo>
                  <a:lnTo>
                    <a:pt x="325589" y="717929"/>
                  </a:lnTo>
                  <a:lnTo>
                    <a:pt x="325589" y="752411"/>
                  </a:lnTo>
                  <a:lnTo>
                    <a:pt x="448983" y="752411"/>
                  </a:lnTo>
                  <a:close/>
                  <a:moveTo>
                    <a:pt x="448983" y="648959"/>
                  </a:moveTo>
                  <a:lnTo>
                    <a:pt x="325589" y="648959"/>
                  </a:lnTo>
                  <a:lnTo>
                    <a:pt x="325589" y="683447"/>
                  </a:lnTo>
                  <a:lnTo>
                    <a:pt x="448983" y="683447"/>
                  </a:lnTo>
                  <a:close/>
                  <a:moveTo>
                    <a:pt x="448983" y="580001"/>
                  </a:moveTo>
                  <a:lnTo>
                    <a:pt x="325589" y="580001"/>
                  </a:lnTo>
                  <a:lnTo>
                    <a:pt x="325589" y="614483"/>
                  </a:lnTo>
                  <a:lnTo>
                    <a:pt x="448983" y="614483"/>
                  </a:lnTo>
                  <a:close/>
                  <a:moveTo>
                    <a:pt x="448983" y="511037"/>
                  </a:moveTo>
                  <a:lnTo>
                    <a:pt x="325589" y="511037"/>
                  </a:lnTo>
                  <a:lnTo>
                    <a:pt x="325589" y="545519"/>
                  </a:lnTo>
                  <a:lnTo>
                    <a:pt x="448983" y="545519"/>
                  </a:lnTo>
                  <a:close/>
                  <a:moveTo>
                    <a:pt x="448983" y="442073"/>
                  </a:moveTo>
                  <a:lnTo>
                    <a:pt x="325589" y="442073"/>
                  </a:lnTo>
                  <a:lnTo>
                    <a:pt x="325589" y="476555"/>
                  </a:lnTo>
                  <a:lnTo>
                    <a:pt x="448983" y="476555"/>
                  </a:lnTo>
                  <a:close/>
                  <a:moveTo>
                    <a:pt x="448983" y="373109"/>
                  </a:moveTo>
                  <a:lnTo>
                    <a:pt x="325589" y="373109"/>
                  </a:lnTo>
                  <a:lnTo>
                    <a:pt x="325589" y="407591"/>
                  </a:lnTo>
                  <a:lnTo>
                    <a:pt x="448983" y="407591"/>
                  </a:lnTo>
                  <a:close/>
                  <a:moveTo>
                    <a:pt x="448983" y="304145"/>
                  </a:moveTo>
                  <a:lnTo>
                    <a:pt x="325589" y="304145"/>
                  </a:lnTo>
                  <a:lnTo>
                    <a:pt x="325589" y="338627"/>
                  </a:lnTo>
                  <a:lnTo>
                    <a:pt x="448983" y="338627"/>
                  </a:lnTo>
                  <a:close/>
                  <a:moveTo>
                    <a:pt x="448983" y="235186"/>
                  </a:moveTo>
                  <a:lnTo>
                    <a:pt x="325589" y="235186"/>
                  </a:lnTo>
                  <a:lnTo>
                    <a:pt x="325589" y="269668"/>
                  </a:lnTo>
                  <a:lnTo>
                    <a:pt x="448983" y="269668"/>
                  </a:lnTo>
                  <a:close/>
                  <a:moveTo>
                    <a:pt x="448983" y="166222"/>
                  </a:moveTo>
                  <a:lnTo>
                    <a:pt x="325589" y="166222"/>
                  </a:lnTo>
                  <a:lnTo>
                    <a:pt x="325589" y="200699"/>
                  </a:lnTo>
                  <a:lnTo>
                    <a:pt x="448983" y="200699"/>
                  </a:lnTo>
                  <a:close/>
                  <a:moveTo>
                    <a:pt x="448983" y="97258"/>
                  </a:moveTo>
                  <a:lnTo>
                    <a:pt x="325589" y="97258"/>
                  </a:lnTo>
                  <a:lnTo>
                    <a:pt x="325589" y="131740"/>
                  </a:lnTo>
                  <a:lnTo>
                    <a:pt x="448983" y="131740"/>
                  </a:lnTo>
                  <a:close/>
                  <a:moveTo>
                    <a:pt x="182382" y="131740"/>
                  </a:moveTo>
                  <a:lnTo>
                    <a:pt x="305777" y="131740"/>
                  </a:lnTo>
                  <a:lnTo>
                    <a:pt x="305777" y="97258"/>
                  </a:lnTo>
                  <a:lnTo>
                    <a:pt x="182382" y="97258"/>
                  </a:lnTo>
                  <a:close/>
                  <a:moveTo>
                    <a:pt x="182382" y="200699"/>
                  </a:moveTo>
                  <a:lnTo>
                    <a:pt x="305777" y="200699"/>
                  </a:lnTo>
                  <a:lnTo>
                    <a:pt x="305777" y="166222"/>
                  </a:lnTo>
                  <a:lnTo>
                    <a:pt x="182382" y="166222"/>
                  </a:lnTo>
                  <a:close/>
                  <a:moveTo>
                    <a:pt x="182382" y="269668"/>
                  </a:moveTo>
                  <a:lnTo>
                    <a:pt x="305777" y="269668"/>
                  </a:lnTo>
                  <a:lnTo>
                    <a:pt x="305777" y="235186"/>
                  </a:lnTo>
                  <a:lnTo>
                    <a:pt x="182382" y="235186"/>
                  </a:lnTo>
                  <a:close/>
                  <a:moveTo>
                    <a:pt x="182382" y="338627"/>
                  </a:moveTo>
                  <a:lnTo>
                    <a:pt x="305777" y="338627"/>
                  </a:lnTo>
                  <a:lnTo>
                    <a:pt x="305777" y="304145"/>
                  </a:lnTo>
                  <a:lnTo>
                    <a:pt x="182382" y="304145"/>
                  </a:lnTo>
                  <a:close/>
                  <a:moveTo>
                    <a:pt x="182382" y="407591"/>
                  </a:moveTo>
                  <a:lnTo>
                    <a:pt x="305777" y="407591"/>
                  </a:lnTo>
                  <a:lnTo>
                    <a:pt x="305777" y="373109"/>
                  </a:lnTo>
                  <a:lnTo>
                    <a:pt x="182382" y="373109"/>
                  </a:lnTo>
                  <a:close/>
                  <a:moveTo>
                    <a:pt x="182382" y="476555"/>
                  </a:moveTo>
                  <a:lnTo>
                    <a:pt x="305777" y="476555"/>
                  </a:lnTo>
                  <a:lnTo>
                    <a:pt x="305777" y="442073"/>
                  </a:lnTo>
                  <a:lnTo>
                    <a:pt x="182382" y="442073"/>
                  </a:lnTo>
                  <a:close/>
                  <a:moveTo>
                    <a:pt x="182382" y="545519"/>
                  </a:moveTo>
                  <a:lnTo>
                    <a:pt x="305777" y="545519"/>
                  </a:lnTo>
                  <a:lnTo>
                    <a:pt x="305777" y="511037"/>
                  </a:lnTo>
                  <a:lnTo>
                    <a:pt x="182382" y="511037"/>
                  </a:lnTo>
                  <a:close/>
                  <a:moveTo>
                    <a:pt x="182382" y="614483"/>
                  </a:moveTo>
                  <a:lnTo>
                    <a:pt x="305777" y="614483"/>
                  </a:lnTo>
                  <a:lnTo>
                    <a:pt x="305777" y="580001"/>
                  </a:lnTo>
                  <a:lnTo>
                    <a:pt x="182382" y="580001"/>
                  </a:lnTo>
                  <a:close/>
                  <a:moveTo>
                    <a:pt x="182382" y="683447"/>
                  </a:moveTo>
                  <a:lnTo>
                    <a:pt x="305777" y="683447"/>
                  </a:lnTo>
                  <a:lnTo>
                    <a:pt x="305777" y="648959"/>
                  </a:lnTo>
                  <a:lnTo>
                    <a:pt x="182382" y="648959"/>
                  </a:lnTo>
                  <a:close/>
                  <a:moveTo>
                    <a:pt x="182382" y="752411"/>
                  </a:moveTo>
                  <a:lnTo>
                    <a:pt x="305777" y="752411"/>
                  </a:lnTo>
                  <a:lnTo>
                    <a:pt x="305777" y="717929"/>
                  </a:lnTo>
                  <a:lnTo>
                    <a:pt x="182382" y="717929"/>
                  </a:lnTo>
                  <a:close/>
                  <a:moveTo>
                    <a:pt x="182382" y="821375"/>
                  </a:moveTo>
                  <a:lnTo>
                    <a:pt x="305777" y="821375"/>
                  </a:lnTo>
                  <a:lnTo>
                    <a:pt x="305777" y="786893"/>
                  </a:lnTo>
                  <a:lnTo>
                    <a:pt x="182382" y="786893"/>
                  </a:lnTo>
                  <a:close/>
                  <a:moveTo>
                    <a:pt x="182382" y="890334"/>
                  </a:moveTo>
                  <a:lnTo>
                    <a:pt x="305777" y="890334"/>
                  </a:lnTo>
                  <a:lnTo>
                    <a:pt x="305777" y="855857"/>
                  </a:lnTo>
                  <a:lnTo>
                    <a:pt x="182382" y="855857"/>
                  </a:lnTo>
                  <a:close/>
                  <a:moveTo>
                    <a:pt x="182382" y="959303"/>
                  </a:moveTo>
                  <a:lnTo>
                    <a:pt x="305777" y="959303"/>
                  </a:lnTo>
                  <a:lnTo>
                    <a:pt x="305777" y="924821"/>
                  </a:lnTo>
                  <a:lnTo>
                    <a:pt x="182382" y="924821"/>
                  </a:lnTo>
                  <a:close/>
                  <a:moveTo>
                    <a:pt x="182382" y="1028267"/>
                  </a:moveTo>
                  <a:lnTo>
                    <a:pt x="305777" y="1028267"/>
                  </a:lnTo>
                  <a:lnTo>
                    <a:pt x="305777" y="993785"/>
                  </a:lnTo>
                  <a:lnTo>
                    <a:pt x="182382" y="993785"/>
                  </a:lnTo>
                  <a:close/>
                  <a:moveTo>
                    <a:pt x="182382" y="1097231"/>
                  </a:moveTo>
                  <a:lnTo>
                    <a:pt x="305777" y="1097231"/>
                  </a:lnTo>
                  <a:lnTo>
                    <a:pt x="305777" y="1062744"/>
                  </a:lnTo>
                  <a:lnTo>
                    <a:pt x="182382" y="1062744"/>
                  </a:lnTo>
                  <a:close/>
                  <a:moveTo>
                    <a:pt x="182382" y="1166195"/>
                  </a:moveTo>
                  <a:lnTo>
                    <a:pt x="305777" y="1166195"/>
                  </a:lnTo>
                  <a:lnTo>
                    <a:pt x="305777" y="1131708"/>
                  </a:lnTo>
                  <a:lnTo>
                    <a:pt x="182382" y="1131708"/>
                  </a:lnTo>
                  <a:close/>
                  <a:moveTo>
                    <a:pt x="182382" y="1235159"/>
                  </a:moveTo>
                  <a:lnTo>
                    <a:pt x="305777" y="1235159"/>
                  </a:lnTo>
                  <a:lnTo>
                    <a:pt x="305777" y="1200672"/>
                  </a:lnTo>
                  <a:lnTo>
                    <a:pt x="182382" y="1200672"/>
                  </a:lnTo>
                  <a:close/>
                  <a:moveTo>
                    <a:pt x="182382" y="1304118"/>
                  </a:moveTo>
                  <a:lnTo>
                    <a:pt x="305777" y="1304118"/>
                  </a:lnTo>
                  <a:lnTo>
                    <a:pt x="305777" y="1269636"/>
                  </a:lnTo>
                  <a:lnTo>
                    <a:pt x="182382" y="1269636"/>
                  </a:lnTo>
                  <a:close/>
                  <a:moveTo>
                    <a:pt x="182382" y="1373082"/>
                  </a:moveTo>
                  <a:lnTo>
                    <a:pt x="305777" y="1373082"/>
                  </a:lnTo>
                  <a:lnTo>
                    <a:pt x="305777" y="1338600"/>
                  </a:lnTo>
                  <a:lnTo>
                    <a:pt x="182382" y="1338600"/>
                  </a:lnTo>
                  <a:close/>
                  <a:moveTo>
                    <a:pt x="182382" y="1442046"/>
                  </a:moveTo>
                  <a:lnTo>
                    <a:pt x="305777" y="1442046"/>
                  </a:lnTo>
                  <a:lnTo>
                    <a:pt x="305777" y="1407564"/>
                  </a:lnTo>
                  <a:lnTo>
                    <a:pt x="182382" y="1407564"/>
                  </a:lnTo>
                  <a:close/>
                  <a:moveTo>
                    <a:pt x="182382" y="1511010"/>
                  </a:moveTo>
                  <a:lnTo>
                    <a:pt x="305777" y="1511010"/>
                  </a:lnTo>
                  <a:lnTo>
                    <a:pt x="305777" y="1476528"/>
                  </a:lnTo>
                  <a:lnTo>
                    <a:pt x="182382" y="1476528"/>
                  </a:lnTo>
                  <a:close/>
                  <a:moveTo>
                    <a:pt x="182382" y="1579974"/>
                  </a:moveTo>
                  <a:lnTo>
                    <a:pt x="305777" y="1579974"/>
                  </a:lnTo>
                  <a:lnTo>
                    <a:pt x="305777" y="1545492"/>
                  </a:lnTo>
                  <a:lnTo>
                    <a:pt x="182382" y="1545492"/>
                  </a:lnTo>
                  <a:close/>
                  <a:moveTo>
                    <a:pt x="182382" y="1648938"/>
                  </a:moveTo>
                  <a:lnTo>
                    <a:pt x="305777" y="1648938"/>
                  </a:lnTo>
                  <a:lnTo>
                    <a:pt x="305777" y="1614456"/>
                  </a:lnTo>
                  <a:lnTo>
                    <a:pt x="182382" y="1614456"/>
                  </a:lnTo>
                  <a:close/>
                  <a:moveTo>
                    <a:pt x="305777" y="1683420"/>
                  </a:moveTo>
                  <a:lnTo>
                    <a:pt x="182382" y="1683420"/>
                  </a:lnTo>
                  <a:lnTo>
                    <a:pt x="182382" y="1717903"/>
                  </a:lnTo>
                  <a:lnTo>
                    <a:pt x="305777" y="1717903"/>
                  </a:lnTo>
                  <a:close/>
                  <a:moveTo>
                    <a:pt x="39182" y="1648938"/>
                  </a:moveTo>
                  <a:lnTo>
                    <a:pt x="162571" y="1648938"/>
                  </a:lnTo>
                  <a:lnTo>
                    <a:pt x="162571" y="1614456"/>
                  </a:lnTo>
                  <a:lnTo>
                    <a:pt x="39182" y="1614456"/>
                  </a:lnTo>
                  <a:close/>
                  <a:moveTo>
                    <a:pt x="39182" y="1579974"/>
                  </a:moveTo>
                  <a:lnTo>
                    <a:pt x="162571" y="1579974"/>
                  </a:lnTo>
                  <a:lnTo>
                    <a:pt x="162571" y="1545492"/>
                  </a:lnTo>
                  <a:lnTo>
                    <a:pt x="39182" y="1545492"/>
                  </a:lnTo>
                  <a:close/>
                  <a:moveTo>
                    <a:pt x="39182" y="1511010"/>
                  </a:moveTo>
                  <a:lnTo>
                    <a:pt x="162571" y="1511010"/>
                  </a:lnTo>
                  <a:lnTo>
                    <a:pt x="162571" y="1476528"/>
                  </a:lnTo>
                  <a:lnTo>
                    <a:pt x="39182" y="1476528"/>
                  </a:lnTo>
                  <a:close/>
                  <a:moveTo>
                    <a:pt x="39182" y="1442046"/>
                  </a:moveTo>
                  <a:lnTo>
                    <a:pt x="162571" y="1442046"/>
                  </a:lnTo>
                  <a:lnTo>
                    <a:pt x="162571" y="1407564"/>
                  </a:lnTo>
                  <a:lnTo>
                    <a:pt x="39182" y="1407564"/>
                  </a:lnTo>
                  <a:close/>
                  <a:moveTo>
                    <a:pt x="39182" y="1373082"/>
                  </a:moveTo>
                  <a:lnTo>
                    <a:pt x="162571" y="1373082"/>
                  </a:lnTo>
                  <a:lnTo>
                    <a:pt x="162571" y="1338600"/>
                  </a:lnTo>
                  <a:lnTo>
                    <a:pt x="39182" y="1338600"/>
                  </a:lnTo>
                  <a:close/>
                  <a:moveTo>
                    <a:pt x="39182" y="1304118"/>
                  </a:moveTo>
                  <a:lnTo>
                    <a:pt x="162571" y="1304118"/>
                  </a:lnTo>
                  <a:lnTo>
                    <a:pt x="162571" y="1269636"/>
                  </a:lnTo>
                  <a:lnTo>
                    <a:pt x="39182" y="1269636"/>
                  </a:lnTo>
                  <a:close/>
                  <a:moveTo>
                    <a:pt x="39182" y="1235159"/>
                  </a:moveTo>
                  <a:lnTo>
                    <a:pt x="162571" y="1235159"/>
                  </a:lnTo>
                  <a:lnTo>
                    <a:pt x="162571" y="1200672"/>
                  </a:lnTo>
                  <a:lnTo>
                    <a:pt x="39182" y="1200672"/>
                  </a:lnTo>
                  <a:close/>
                  <a:moveTo>
                    <a:pt x="39182" y="1166195"/>
                  </a:moveTo>
                  <a:lnTo>
                    <a:pt x="162571" y="1166195"/>
                  </a:lnTo>
                  <a:lnTo>
                    <a:pt x="162571" y="1131708"/>
                  </a:lnTo>
                  <a:lnTo>
                    <a:pt x="39182" y="1131708"/>
                  </a:lnTo>
                  <a:close/>
                  <a:moveTo>
                    <a:pt x="39182" y="1097231"/>
                  </a:moveTo>
                  <a:lnTo>
                    <a:pt x="162571" y="1097231"/>
                  </a:lnTo>
                  <a:lnTo>
                    <a:pt x="162571" y="1062744"/>
                  </a:lnTo>
                  <a:lnTo>
                    <a:pt x="39182" y="1062744"/>
                  </a:lnTo>
                  <a:close/>
                  <a:moveTo>
                    <a:pt x="39182" y="1028267"/>
                  </a:moveTo>
                  <a:lnTo>
                    <a:pt x="162571" y="1028267"/>
                  </a:lnTo>
                  <a:lnTo>
                    <a:pt x="162571" y="993785"/>
                  </a:lnTo>
                  <a:lnTo>
                    <a:pt x="39182" y="993785"/>
                  </a:lnTo>
                  <a:close/>
                  <a:moveTo>
                    <a:pt x="39182" y="959303"/>
                  </a:moveTo>
                  <a:lnTo>
                    <a:pt x="162571" y="959303"/>
                  </a:lnTo>
                  <a:lnTo>
                    <a:pt x="162571" y="924821"/>
                  </a:lnTo>
                  <a:lnTo>
                    <a:pt x="39182" y="924821"/>
                  </a:lnTo>
                  <a:close/>
                  <a:moveTo>
                    <a:pt x="39182" y="890334"/>
                  </a:moveTo>
                  <a:lnTo>
                    <a:pt x="162571" y="890334"/>
                  </a:lnTo>
                  <a:lnTo>
                    <a:pt x="162571" y="855857"/>
                  </a:lnTo>
                  <a:lnTo>
                    <a:pt x="39182" y="855857"/>
                  </a:lnTo>
                  <a:close/>
                  <a:moveTo>
                    <a:pt x="39182" y="821375"/>
                  </a:moveTo>
                  <a:lnTo>
                    <a:pt x="162571" y="821375"/>
                  </a:lnTo>
                  <a:lnTo>
                    <a:pt x="162571" y="786893"/>
                  </a:lnTo>
                  <a:lnTo>
                    <a:pt x="39182" y="786893"/>
                  </a:lnTo>
                  <a:close/>
                  <a:moveTo>
                    <a:pt x="39182" y="752411"/>
                  </a:moveTo>
                  <a:lnTo>
                    <a:pt x="162571" y="752411"/>
                  </a:lnTo>
                  <a:lnTo>
                    <a:pt x="162571" y="717929"/>
                  </a:lnTo>
                  <a:lnTo>
                    <a:pt x="39182" y="717929"/>
                  </a:lnTo>
                  <a:close/>
                  <a:moveTo>
                    <a:pt x="39182" y="683447"/>
                  </a:moveTo>
                  <a:lnTo>
                    <a:pt x="162571" y="683447"/>
                  </a:lnTo>
                  <a:lnTo>
                    <a:pt x="162571" y="648959"/>
                  </a:lnTo>
                  <a:lnTo>
                    <a:pt x="39182" y="648959"/>
                  </a:lnTo>
                  <a:close/>
                  <a:moveTo>
                    <a:pt x="39182" y="614483"/>
                  </a:moveTo>
                  <a:lnTo>
                    <a:pt x="162571" y="614483"/>
                  </a:lnTo>
                  <a:lnTo>
                    <a:pt x="162571" y="580001"/>
                  </a:lnTo>
                  <a:lnTo>
                    <a:pt x="39182" y="580001"/>
                  </a:lnTo>
                  <a:close/>
                  <a:moveTo>
                    <a:pt x="39182" y="545519"/>
                  </a:moveTo>
                  <a:lnTo>
                    <a:pt x="162571" y="545519"/>
                  </a:lnTo>
                  <a:lnTo>
                    <a:pt x="162571" y="511037"/>
                  </a:lnTo>
                  <a:lnTo>
                    <a:pt x="39182" y="511037"/>
                  </a:lnTo>
                  <a:close/>
                  <a:moveTo>
                    <a:pt x="39182" y="476555"/>
                  </a:moveTo>
                  <a:lnTo>
                    <a:pt x="162571" y="476555"/>
                  </a:lnTo>
                  <a:lnTo>
                    <a:pt x="162571" y="442073"/>
                  </a:lnTo>
                  <a:lnTo>
                    <a:pt x="39182" y="442073"/>
                  </a:lnTo>
                  <a:close/>
                  <a:moveTo>
                    <a:pt x="39182" y="407591"/>
                  </a:moveTo>
                  <a:lnTo>
                    <a:pt x="162571" y="407591"/>
                  </a:lnTo>
                  <a:lnTo>
                    <a:pt x="162571" y="373109"/>
                  </a:lnTo>
                  <a:lnTo>
                    <a:pt x="39182" y="373109"/>
                  </a:lnTo>
                  <a:close/>
                  <a:moveTo>
                    <a:pt x="39182" y="338627"/>
                  </a:moveTo>
                  <a:lnTo>
                    <a:pt x="162571" y="338627"/>
                  </a:lnTo>
                  <a:lnTo>
                    <a:pt x="162571" y="304145"/>
                  </a:lnTo>
                  <a:lnTo>
                    <a:pt x="39182" y="304145"/>
                  </a:lnTo>
                  <a:close/>
                  <a:moveTo>
                    <a:pt x="39182" y="269668"/>
                  </a:moveTo>
                  <a:lnTo>
                    <a:pt x="162571" y="269668"/>
                  </a:lnTo>
                  <a:lnTo>
                    <a:pt x="162571" y="235186"/>
                  </a:lnTo>
                  <a:lnTo>
                    <a:pt x="39182" y="235186"/>
                  </a:lnTo>
                  <a:close/>
                  <a:moveTo>
                    <a:pt x="39182" y="200699"/>
                  </a:moveTo>
                  <a:lnTo>
                    <a:pt x="162571" y="200699"/>
                  </a:lnTo>
                  <a:lnTo>
                    <a:pt x="162571" y="166222"/>
                  </a:lnTo>
                  <a:lnTo>
                    <a:pt x="39182" y="166222"/>
                  </a:lnTo>
                  <a:close/>
                  <a:moveTo>
                    <a:pt x="39182" y="131740"/>
                  </a:moveTo>
                  <a:lnTo>
                    <a:pt x="162571" y="131740"/>
                  </a:lnTo>
                  <a:lnTo>
                    <a:pt x="162571" y="97258"/>
                  </a:lnTo>
                  <a:lnTo>
                    <a:pt x="39182" y="97258"/>
                  </a:lnTo>
                  <a:close/>
                  <a:moveTo>
                    <a:pt x="39182" y="28294"/>
                  </a:moveTo>
                  <a:lnTo>
                    <a:pt x="39182" y="62771"/>
                  </a:lnTo>
                  <a:lnTo>
                    <a:pt x="162571" y="62771"/>
                  </a:lnTo>
                  <a:lnTo>
                    <a:pt x="162571" y="28294"/>
                  </a:lnTo>
                  <a:close/>
                  <a:moveTo>
                    <a:pt x="182382" y="28294"/>
                  </a:moveTo>
                  <a:lnTo>
                    <a:pt x="182382" y="62771"/>
                  </a:lnTo>
                  <a:lnTo>
                    <a:pt x="305777" y="62771"/>
                  </a:lnTo>
                  <a:lnTo>
                    <a:pt x="305777" y="28294"/>
                  </a:lnTo>
                  <a:close/>
                  <a:moveTo>
                    <a:pt x="325589" y="28294"/>
                  </a:moveTo>
                  <a:lnTo>
                    <a:pt x="325589" y="62771"/>
                  </a:lnTo>
                  <a:lnTo>
                    <a:pt x="448983" y="62771"/>
                  </a:lnTo>
                  <a:lnTo>
                    <a:pt x="448983" y="28294"/>
                  </a:lnTo>
                  <a:close/>
                  <a:moveTo>
                    <a:pt x="592189" y="28294"/>
                  </a:moveTo>
                  <a:lnTo>
                    <a:pt x="468800" y="28294"/>
                  </a:lnTo>
                  <a:lnTo>
                    <a:pt x="468800" y="62771"/>
                  </a:lnTo>
                  <a:lnTo>
                    <a:pt x="592189" y="62771"/>
                  </a:lnTo>
                  <a:close/>
                  <a:moveTo>
                    <a:pt x="592189" y="97258"/>
                  </a:moveTo>
                  <a:lnTo>
                    <a:pt x="468800" y="97258"/>
                  </a:lnTo>
                  <a:lnTo>
                    <a:pt x="468800" y="131740"/>
                  </a:lnTo>
                  <a:lnTo>
                    <a:pt x="592189" y="131740"/>
                  </a:lnTo>
                  <a:close/>
                  <a:moveTo>
                    <a:pt x="592189" y="166222"/>
                  </a:moveTo>
                  <a:lnTo>
                    <a:pt x="468800" y="166222"/>
                  </a:lnTo>
                  <a:lnTo>
                    <a:pt x="468800" y="200699"/>
                  </a:lnTo>
                  <a:lnTo>
                    <a:pt x="592189" y="200699"/>
                  </a:lnTo>
                  <a:close/>
                  <a:moveTo>
                    <a:pt x="592189" y="235186"/>
                  </a:moveTo>
                  <a:lnTo>
                    <a:pt x="468800" y="235186"/>
                  </a:lnTo>
                  <a:lnTo>
                    <a:pt x="468800" y="269668"/>
                  </a:lnTo>
                  <a:lnTo>
                    <a:pt x="592189" y="269668"/>
                  </a:lnTo>
                  <a:close/>
                  <a:moveTo>
                    <a:pt x="592189" y="304145"/>
                  </a:moveTo>
                  <a:lnTo>
                    <a:pt x="468800" y="304145"/>
                  </a:lnTo>
                  <a:lnTo>
                    <a:pt x="468800" y="338627"/>
                  </a:lnTo>
                  <a:lnTo>
                    <a:pt x="592189" y="338627"/>
                  </a:lnTo>
                  <a:close/>
                  <a:moveTo>
                    <a:pt x="592189" y="373109"/>
                  </a:moveTo>
                  <a:lnTo>
                    <a:pt x="468800" y="373109"/>
                  </a:lnTo>
                  <a:lnTo>
                    <a:pt x="468800" y="407591"/>
                  </a:lnTo>
                  <a:lnTo>
                    <a:pt x="592189" y="407591"/>
                  </a:lnTo>
                  <a:close/>
                  <a:moveTo>
                    <a:pt x="592189" y="442073"/>
                  </a:moveTo>
                  <a:lnTo>
                    <a:pt x="468800" y="442073"/>
                  </a:lnTo>
                  <a:lnTo>
                    <a:pt x="468800" y="476555"/>
                  </a:lnTo>
                  <a:lnTo>
                    <a:pt x="592189" y="476555"/>
                  </a:lnTo>
                  <a:close/>
                  <a:moveTo>
                    <a:pt x="592189" y="511037"/>
                  </a:moveTo>
                  <a:lnTo>
                    <a:pt x="468800" y="511037"/>
                  </a:lnTo>
                  <a:lnTo>
                    <a:pt x="468800" y="545519"/>
                  </a:lnTo>
                  <a:lnTo>
                    <a:pt x="592189" y="545519"/>
                  </a:lnTo>
                  <a:close/>
                  <a:moveTo>
                    <a:pt x="592189" y="580001"/>
                  </a:moveTo>
                  <a:lnTo>
                    <a:pt x="468800" y="580001"/>
                  </a:lnTo>
                  <a:lnTo>
                    <a:pt x="468800" y="614483"/>
                  </a:lnTo>
                  <a:lnTo>
                    <a:pt x="592189" y="614483"/>
                  </a:lnTo>
                  <a:close/>
                  <a:moveTo>
                    <a:pt x="592189" y="648959"/>
                  </a:moveTo>
                  <a:lnTo>
                    <a:pt x="468800" y="648959"/>
                  </a:lnTo>
                  <a:lnTo>
                    <a:pt x="468800" y="683447"/>
                  </a:lnTo>
                  <a:lnTo>
                    <a:pt x="592189" y="683447"/>
                  </a:lnTo>
                  <a:close/>
                  <a:moveTo>
                    <a:pt x="592189" y="717929"/>
                  </a:moveTo>
                  <a:lnTo>
                    <a:pt x="468800" y="717929"/>
                  </a:lnTo>
                  <a:lnTo>
                    <a:pt x="468800" y="752411"/>
                  </a:lnTo>
                  <a:lnTo>
                    <a:pt x="592189" y="752411"/>
                  </a:lnTo>
                  <a:close/>
                  <a:moveTo>
                    <a:pt x="592189" y="786893"/>
                  </a:moveTo>
                  <a:lnTo>
                    <a:pt x="468800" y="786893"/>
                  </a:lnTo>
                  <a:lnTo>
                    <a:pt x="468800" y="821375"/>
                  </a:lnTo>
                  <a:lnTo>
                    <a:pt x="592189" y="821375"/>
                  </a:lnTo>
                  <a:close/>
                  <a:moveTo>
                    <a:pt x="592189" y="855857"/>
                  </a:moveTo>
                  <a:lnTo>
                    <a:pt x="468800" y="855857"/>
                  </a:lnTo>
                  <a:lnTo>
                    <a:pt x="468800" y="890334"/>
                  </a:lnTo>
                  <a:lnTo>
                    <a:pt x="592189" y="890334"/>
                  </a:lnTo>
                  <a:close/>
                  <a:moveTo>
                    <a:pt x="592189" y="924821"/>
                  </a:moveTo>
                  <a:lnTo>
                    <a:pt x="468800" y="924821"/>
                  </a:lnTo>
                  <a:lnTo>
                    <a:pt x="468800" y="959303"/>
                  </a:lnTo>
                  <a:lnTo>
                    <a:pt x="592189" y="959303"/>
                  </a:lnTo>
                  <a:close/>
                  <a:moveTo>
                    <a:pt x="592189" y="993785"/>
                  </a:moveTo>
                  <a:lnTo>
                    <a:pt x="468800" y="993785"/>
                  </a:lnTo>
                  <a:lnTo>
                    <a:pt x="468800" y="1028267"/>
                  </a:lnTo>
                  <a:lnTo>
                    <a:pt x="592189" y="1028267"/>
                  </a:lnTo>
                  <a:close/>
                  <a:moveTo>
                    <a:pt x="592189" y="1062744"/>
                  </a:moveTo>
                  <a:lnTo>
                    <a:pt x="468800" y="1062744"/>
                  </a:lnTo>
                  <a:lnTo>
                    <a:pt x="468800" y="1097231"/>
                  </a:lnTo>
                  <a:lnTo>
                    <a:pt x="592189" y="1097231"/>
                  </a:lnTo>
                  <a:close/>
                  <a:moveTo>
                    <a:pt x="592189" y="1131708"/>
                  </a:moveTo>
                  <a:lnTo>
                    <a:pt x="468800" y="1131708"/>
                  </a:lnTo>
                  <a:lnTo>
                    <a:pt x="468800" y="1166195"/>
                  </a:lnTo>
                  <a:lnTo>
                    <a:pt x="592189" y="1166195"/>
                  </a:lnTo>
                  <a:close/>
                  <a:moveTo>
                    <a:pt x="592189" y="1200672"/>
                  </a:moveTo>
                  <a:lnTo>
                    <a:pt x="468800" y="1200672"/>
                  </a:lnTo>
                  <a:lnTo>
                    <a:pt x="468800" y="1235159"/>
                  </a:lnTo>
                  <a:lnTo>
                    <a:pt x="592189" y="1235159"/>
                  </a:lnTo>
                  <a:close/>
                  <a:moveTo>
                    <a:pt x="592189" y="1269636"/>
                  </a:moveTo>
                  <a:lnTo>
                    <a:pt x="468800" y="1269636"/>
                  </a:lnTo>
                  <a:lnTo>
                    <a:pt x="468800" y="1304118"/>
                  </a:lnTo>
                  <a:lnTo>
                    <a:pt x="592189" y="1304118"/>
                  </a:lnTo>
                  <a:close/>
                  <a:moveTo>
                    <a:pt x="592189" y="1338600"/>
                  </a:moveTo>
                  <a:lnTo>
                    <a:pt x="468800" y="1338600"/>
                  </a:lnTo>
                  <a:lnTo>
                    <a:pt x="468800" y="1373082"/>
                  </a:lnTo>
                  <a:lnTo>
                    <a:pt x="592189" y="1373082"/>
                  </a:lnTo>
                  <a:close/>
                  <a:moveTo>
                    <a:pt x="592189" y="1407564"/>
                  </a:moveTo>
                  <a:lnTo>
                    <a:pt x="468800" y="1407564"/>
                  </a:lnTo>
                  <a:lnTo>
                    <a:pt x="468800" y="1442046"/>
                  </a:lnTo>
                  <a:lnTo>
                    <a:pt x="592189" y="1442046"/>
                  </a:lnTo>
                  <a:close/>
                  <a:moveTo>
                    <a:pt x="592189" y="1476528"/>
                  </a:moveTo>
                  <a:lnTo>
                    <a:pt x="468800" y="1476528"/>
                  </a:lnTo>
                  <a:lnTo>
                    <a:pt x="468800" y="1511010"/>
                  </a:lnTo>
                  <a:lnTo>
                    <a:pt x="592189" y="1511010"/>
                  </a:lnTo>
                  <a:close/>
                  <a:moveTo>
                    <a:pt x="592189" y="1545492"/>
                  </a:moveTo>
                  <a:lnTo>
                    <a:pt x="468800" y="1545492"/>
                  </a:lnTo>
                  <a:lnTo>
                    <a:pt x="468800" y="1579974"/>
                  </a:lnTo>
                  <a:lnTo>
                    <a:pt x="592189" y="1579974"/>
                  </a:lnTo>
                  <a:close/>
                  <a:moveTo>
                    <a:pt x="592189" y="1614456"/>
                  </a:moveTo>
                  <a:lnTo>
                    <a:pt x="468800" y="1614456"/>
                  </a:lnTo>
                  <a:lnTo>
                    <a:pt x="468800" y="1648938"/>
                  </a:lnTo>
                  <a:lnTo>
                    <a:pt x="592189" y="1648938"/>
                  </a:lnTo>
                  <a:close/>
                  <a:moveTo>
                    <a:pt x="592189" y="1683420"/>
                  </a:moveTo>
                  <a:lnTo>
                    <a:pt x="468800" y="1683420"/>
                  </a:lnTo>
                  <a:lnTo>
                    <a:pt x="468800" y="1717903"/>
                  </a:lnTo>
                  <a:lnTo>
                    <a:pt x="592189" y="1717903"/>
                  </a:lnTo>
                  <a:close/>
                  <a:moveTo>
                    <a:pt x="592189" y="1786861"/>
                  </a:moveTo>
                  <a:lnTo>
                    <a:pt x="592189" y="1752384"/>
                  </a:lnTo>
                  <a:lnTo>
                    <a:pt x="468800" y="1752384"/>
                  </a:lnTo>
                  <a:lnTo>
                    <a:pt x="468800" y="1786861"/>
                  </a:lnTo>
                  <a:close/>
                  <a:moveTo>
                    <a:pt x="448983" y="1786861"/>
                  </a:moveTo>
                  <a:lnTo>
                    <a:pt x="448983" y="1752384"/>
                  </a:lnTo>
                  <a:lnTo>
                    <a:pt x="325589" y="1752384"/>
                  </a:lnTo>
                  <a:lnTo>
                    <a:pt x="325589" y="1786861"/>
                  </a:lnTo>
                  <a:close/>
                  <a:moveTo>
                    <a:pt x="305777" y="1786861"/>
                  </a:moveTo>
                  <a:lnTo>
                    <a:pt x="305777" y="1752384"/>
                  </a:lnTo>
                  <a:lnTo>
                    <a:pt x="182382" y="1752384"/>
                  </a:lnTo>
                  <a:lnTo>
                    <a:pt x="182382" y="1786861"/>
                  </a:lnTo>
                  <a:close/>
                  <a:moveTo>
                    <a:pt x="162571" y="1786861"/>
                  </a:moveTo>
                  <a:lnTo>
                    <a:pt x="162571" y="1752384"/>
                  </a:lnTo>
                  <a:lnTo>
                    <a:pt x="39182" y="1752384"/>
                  </a:lnTo>
                  <a:lnTo>
                    <a:pt x="39182" y="1786861"/>
                  </a:lnTo>
                  <a:lnTo>
                    <a:pt x="162571" y="1786861"/>
                  </a:lnTo>
                </a:path>
              </a:pathLst>
            </a:custGeom>
            <a:grpFill/>
            <a:ln w="548" cap="flat">
              <a:noFill/>
              <a:prstDash val="solid"/>
              <a:miter/>
            </a:ln>
          </p:spPr>
          <p:txBody>
            <a:bodyPr/>
            <a:lstStyle/>
            <a:p>
              <a:endParaRPr lang="en-US"/>
            </a:p>
          </p:txBody>
        </p:sp>
        <p:sp>
          <p:nvSpPr>
            <p:cNvPr id="52" name="Freeform: Shape 51">
              <a:extLst>
                <a:ext uri="{FF2B5EF4-FFF2-40B4-BE49-F238E27FC236}">
                  <a16:creationId xmlns:a16="http://schemas.microsoft.com/office/drawing/2014/main" id="{1DA4596E-7A8C-2A0C-C60D-8E67D52DC446}"/>
                </a:ext>
              </a:extLst>
            </p:cNvPr>
            <p:cNvSpPr/>
            <p:nvPr/>
          </p:nvSpPr>
          <p:spPr>
            <a:xfrm flipV="1">
              <a:off x="26010819" y="3757685"/>
              <a:ext cx="22988" cy="1165925"/>
            </a:xfrm>
            <a:custGeom>
              <a:avLst/>
              <a:gdLst>
                <a:gd name="csX0" fmla="*/ 11900 w 22988"/>
                <a:gd name="csY0" fmla="*/ -5392 h 1165925"/>
                <a:gd name="csX1" fmla="*/ -11088 w 22988"/>
                <a:gd name="csY1" fmla="*/ -5392 h 1165925"/>
                <a:gd name="csX2" fmla="*/ -11088 w 22988"/>
                <a:gd name="csY2" fmla="*/ 1160534 h 1165925"/>
                <a:gd name="csX3" fmla="*/ 11900 w 22988"/>
                <a:gd name="csY3" fmla="*/ 1160534 h 1165925"/>
                <a:gd name="csX4" fmla="*/ 11900 w 22988"/>
                <a:gd name="csY4" fmla="*/ -5392 h 1165925"/>
              </a:gdLst>
              <a:ahLst/>
              <a:cxnLst>
                <a:cxn ang="0">
                  <a:pos x="csX0" y="csY0"/>
                </a:cxn>
                <a:cxn ang="0">
                  <a:pos x="csX1" y="csY1"/>
                </a:cxn>
                <a:cxn ang="0">
                  <a:pos x="csX2" y="csY2"/>
                </a:cxn>
                <a:cxn ang="0">
                  <a:pos x="csX3" y="csY3"/>
                </a:cxn>
                <a:cxn ang="0">
                  <a:pos x="csX4" y="csY4"/>
                </a:cxn>
              </a:cxnLst>
              <a:rect l="l" t="t" r="r" b="b"/>
              <a:pathLst>
                <a:path w="22988" h="1165925">
                  <a:moveTo>
                    <a:pt x="11900" y="-5392"/>
                  </a:moveTo>
                  <a:lnTo>
                    <a:pt x="-11088" y="-5392"/>
                  </a:lnTo>
                  <a:lnTo>
                    <a:pt x="-11088" y="1160534"/>
                  </a:lnTo>
                  <a:lnTo>
                    <a:pt x="11900" y="1160534"/>
                  </a:lnTo>
                  <a:lnTo>
                    <a:pt x="11900" y="-5392"/>
                  </a:lnTo>
                </a:path>
              </a:pathLst>
            </a:custGeom>
            <a:grpFill/>
            <a:ln w="548" cap="flat">
              <a:noFill/>
              <a:prstDash val="solid"/>
              <a:miter/>
            </a:ln>
          </p:spPr>
          <p:txBody>
            <a:bodyPr/>
            <a:lstStyle/>
            <a:p>
              <a:endParaRPr lang="en-US"/>
            </a:p>
          </p:txBody>
        </p:sp>
        <p:sp>
          <p:nvSpPr>
            <p:cNvPr id="53" name="Freeform: Shape 52">
              <a:extLst>
                <a:ext uri="{FF2B5EF4-FFF2-40B4-BE49-F238E27FC236}">
                  <a16:creationId xmlns:a16="http://schemas.microsoft.com/office/drawing/2014/main" id="{BA2A1B98-1216-6C10-23EE-3792B842DFEE}"/>
                </a:ext>
              </a:extLst>
            </p:cNvPr>
            <p:cNvSpPr/>
            <p:nvPr/>
          </p:nvSpPr>
          <p:spPr>
            <a:xfrm flipV="1">
              <a:off x="26075559" y="4049633"/>
              <a:ext cx="22988" cy="873978"/>
            </a:xfrm>
            <a:custGeom>
              <a:avLst/>
              <a:gdLst>
                <a:gd name="csX0" fmla="*/ 11820 w 22988"/>
                <a:gd name="csY0" fmla="*/ -5041 h 873978"/>
                <a:gd name="csX1" fmla="*/ -11169 w 22988"/>
                <a:gd name="csY1" fmla="*/ -5041 h 873978"/>
                <a:gd name="csX2" fmla="*/ -11169 w 22988"/>
                <a:gd name="csY2" fmla="*/ 868937 h 873978"/>
                <a:gd name="csX3" fmla="*/ 11820 w 22988"/>
                <a:gd name="csY3" fmla="*/ 868937 h 873978"/>
                <a:gd name="csX4" fmla="*/ 11820 w 22988"/>
                <a:gd name="csY4" fmla="*/ -5041 h 873978"/>
              </a:gdLst>
              <a:ahLst/>
              <a:cxnLst>
                <a:cxn ang="0">
                  <a:pos x="csX0" y="csY0"/>
                </a:cxn>
                <a:cxn ang="0">
                  <a:pos x="csX1" y="csY1"/>
                </a:cxn>
                <a:cxn ang="0">
                  <a:pos x="csX2" y="csY2"/>
                </a:cxn>
                <a:cxn ang="0">
                  <a:pos x="csX3" y="csY3"/>
                </a:cxn>
                <a:cxn ang="0">
                  <a:pos x="csX4" y="csY4"/>
                </a:cxn>
              </a:cxnLst>
              <a:rect l="l" t="t" r="r" b="b"/>
              <a:pathLst>
                <a:path w="22988" h="873978">
                  <a:moveTo>
                    <a:pt x="11820" y="-5041"/>
                  </a:moveTo>
                  <a:lnTo>
                    <a:pt x="-11169" y="-5041"/>
                  </a:lnTo>
                  <a:lnTo>
                    <a:pt x="-11169" y="868937"/>
                  </a:lnTo>
                  <a:lnTo>
                    <a:pt x="11820" y="868937"/>
                  </a:lnTo>
                  <a:lnTo>
                    <a:pt x="11820" y="-5041"/>
                  </a:lnTo>
                </a:path>
              </a:pathLst>
            </a:custGeom>
            <a:grpFill/>
            <a:ln w="548" cap="flat">
              <a:noFill/>
              <a:prstDash val="solid"/>
              <a:miter/>
            </a:ln>
          </p:spPr>
          <p:txBody>
            <a:bodyPr/>
            <a:lstStyle/>
            <a:p>
              <a:endParaRPr lang="en-US"/>
            </a:p>
          </p:txBody>
        </p:sp>
        <p:sp>
          <p:nvSpPr>
            <p:cNvPr id="54" name="Freeform: Shape 53">
              <a:extLst>
                <a:ext uri="{FF2B5EF4-FFF2-40B4-BE49-F238E27FC236}">
                  <a16:creationId xmlns:a16="http://schemas.microsoft.com/office/drawing/2014/main" id="{8CD048B3-1500-E8DE-D780-2AF0DE1E5515}"/>
                </a:ext>
              </a:extLst>
            </p:cNvPr>
            <p:cNvSpPr/>
            <p:nvPr/>
          </p:nvSpPr>
          <p:spPr>
            <a:xfrm flipV="1">
              <a:off x="26201033" y="4049633"/>
              <a:ext cx="22987" cy="873978"/>
            </a:xfrm>
            <a:custGeom>
              <a:avLst/>
              <a:gdLst>
                <a:gd name="csX0" fmla="*/ 11663 w 22987"/>
                <a:gd name="csY0" fmla="*/ -5041 h 873978"/>
                <a:gd name="csX1" fmla="*/ -11324 w 22987"/>
                <a:gd name="csY1" fmla="*/ -5041 h 873978"/>
                <a:gd name="csX2" fmla="*/ -11324 w 22987"/>
                <a:gd name="csY2" fmla="*/ 868937 h 873978"/>
                <a:gd name="csX3" fmla="*/ 11663 w 22987"/>
                <a:gd name="csY3" fmla="*/ 868937 h 873978"/>
                <a:gd name="csX4" fmla="*/ 11663 w 22987"/>
                <a:gd name="csY4" fmla="*/ -5041 h 873978"/>
              </a:gdLst>
              <a:ahLst/>
              <a:cxnLst>
                <a:cxn ang="0">
                  <a:pos x="csX0" y="csY0"/>
                </a:cxn>
                <a:cxn ang="0">
                  <a:pos x="csX1" y="csY1"/>
                </a:cxn>
                <a:cxn ang="0">
                  <a:pos x="csX2" y="csY2"/>
                </a:cxn>
                <a:cxn ang="0">
                  <a:pos x="csX3" y="csY3"/>
                </a:cxn>
                <a:cxn ang="0">
                  <a:pos x="csX4" y="csY4"/>
                </a:cxn>
              </a:cxnLst>
              <a:rect l="l" t="t" r="r" b="b"/>
              <a:pathLst>
                <a:path w="22987" h="873978">
                  <a:moveTo>
                    <a:pt x="11663" y="-5041"/>
                  </a:moveTo>
                  <a:lnTo>
                    <a:pt x="-11324" y="-5041"/>
                  </a:lnTo>
                  <a:lnTo>
                    <a:pt x="-11324" y="868937"/>
                  </a:lnTo>
                  <a:lnTo>
                    <a:pt x="11663" y="868937"/>
                  </a:lnTo>
                  <a:lnTo>
                    <a:pt x="11663" y="-5041"/>
                  </a:lnTo>
                </a:path>
              </a:pathLst>
            </a:custGeom>
            <a:grpFill/>
            <a:ln w="548" cap="flat">
              <a:noFill/>
              <a:prstDash val="solid"/>
              <a:miter/>
            </a:ln>
          </p:spPr>
          <p:txBody>
            <a:bodyPr/>
            <a:lstStyle/>
            <a:p>
              <a:endParaRPr lang="en-US"/>
            </a:p>
          </p:txBody>
        </p:sp>
        <p:sp>
          <p:nvSpPr>
            <p:cNvPr id="55" name="Freeform: Shape 54">
              <a:extLst>
                <a:ext uri="{FF2B5EF4-FFF2-40B4-BE49-F238E27FC236}">
                  <a16:creationId xmlns:a16="http://schemas.microsoft.com/office/drawing/2014/main" id="{32A9EAA8-E27C-1529-52C1-ADBEA5CAF327}"/>
                </a:ext>
              </a:extLst>
            </p:cNvPr>
            <p:cNvSpPr/>
            <p:nvPr/>
          </p:nvSpPr>
          <p:spPr>
            <a:xfrm flipV="1">
              <a:off x="26265992" y="3757685"/>
              <a:ext cx="22988" cy="1165925"/>
            </a:xfrm>
            <a:custGeom>
              <a:avLst/>
              <a:gdLst>
                <a:gd name="csX0" fmla="*/ 11584 w 22988"/>
                <a:gd name="csY0" fmla="*/ -5392 h 1165925"/>
                <a:gd name="csX1" fmla="*/ -11405 w 22988"/>
                <a:gd name="csY1" fmla="*/ -5392 h 1165925"/>
                <a:gd name="csX2" fmla="*/ -11405 w 22988"/>
                <a:gd name="csY2" fmla="*/ 1160534 h 1165925"/>
                <a:gd name="csX3" fmla="*/ 11584 w 22988"/>
                <a:gd name="csY3" fmla="*/ 1160534 h 1165925"/>
                <a:gd name="csX4" fmla="*/ 11584 w 22988"/>
                <a:gd name="csY4" fmla="*/ -5392 h 1165925"/>
              </a:gdLst>
              <a:ahLst/>
              <a:cxnLst>
                <a:cxn ang="0">
                  <a:pos x="csX0" y="csY0"/>
                </a:cxn>
                <a:cxn ang="0">
                  <a:pos x="csX1" y="csY1"/>
                </a:cxn>
                <a:cxn ang="0">
                  <a:pos x="csX2" y="csY2"/>
                </a:cxn>
                <a:cxn ang="0">
                  <a:pos x="csX3" y="csY3"/>
                </a:cxn>
                <a:cxn ang="0">
                  <a:pos x="csX4" y="csY4"/>
                </a:cxn>
              </a:cxnLst>
              <a:rect l="l" t="t" r="r" b="b"/>
              <a:pathLst>
                <a:path w="22988" h="1165925">
                  <a:moveTo>
                    <a:pt x="11584" y="-5392"/>
                  </a:moveTo>
                  <a:lnTo>
                    <a:pt x="-11405" y="-5392"/>
                  </a:lnTo>
                  <a:lnTo>
                    <a:pt x="-11405" y="1160534"/>
                  </a:lnTo>
                  <a:lnTo>
                    <a:pt x="11584" y="1160534"/>
                  </a:lnTo>
                  <a:lnTo>
                    <a:pt x="11584" y="-5392"/>
                  </a:lnTo>
                </a:path>
              </a:pathLst>
            </a:custGeom>
            <a:grpFill/>
            <a:ln w="548" cap="flat">
              <a:noFill/>
              <a:prstDash val="solid"/>
              <a:miter/>
            </a:ln>
          </p:spPr>
          <p:txBody>
            <a:bodyPr/>
            <a:lstStyle/>
            <a:p>
              <a:endParaRPr lang="en-US"/>
            </a:p>
          </p:txBody>
        </p:sp>
        <p:sp>
          <p:nvSpPr>
            <p:cNvPr id="56" name="Freeform: Shape 55">
              <a:extLst>
                <a:ext uri="{FF2B5EF4-FFF2-40B4-BE49-F238E27FC236}">
                  <a16:creationId xmlns:a16="http://schemas.microsoft.com/office/drawing/2014/main" id="{06C89622-CE28-337A-B842-61AB8D05D064}"/>
                </a:ext>
              </a:extLst>
            </p:cNvPr>
            <p:cNvSpPr/>
            <p:nvPr/>
          </p:nvSpPr>
          <p:spPr>
            <a:xfrm flipV="1">
              <a:off x="26033807" y="3757685"/>
              <a:ext cx="232184" cy="43090"/>
            </a:xfrm>
            <a:custGeom>
              <a:avLst/>
              <a:gdLst>
                <a:gd name="csX0" fmla="*/ 220937 w 232184"/>
                <a:gd name="csY0" fmla="*/ -6743 h 43090"/>
                <a:gd name="csX1" fmla="*/ -11247 w 232184"/>
                <a:gd name="csY1" fmla="*/ -6743 h 43090"/>
                <a:gd name="csX2" fmla="*/ -11247 w 232184"/>
                <a:gd name="csY2" fmla="*/ 36347 h 43090"/>
                <a:gd name="csX3" fmla="*/ 220937 w 232184"/>
                <a:gd name="csY3" fmla="*/ 36347 h 43090"/>
                <a:gd name="csX4" fmla="*/ 220937 w 232184"/>
                <a:gd name="csY4" fmla="*/ -6743 h 43090"/>
              </a:gdLst>
              <a:ahLst/>
              <a:cxnLst>
                <a:cxn ang="0">
                  <a:pos x="csX0" y="csY0"/>
                </a:cxn>
                <a:cxn ang="0">
                  <a:pos x="csX1" y="csY1"/>
                </a:cxn>
                <a:cxn ang="0">
                  <a:pos x="csX2" y="csY2"/>
                </a:cxn>
                <a:cxn ang="0">
                  <a:pos x="csX3" y="csY3"/>
                </a:cxn>
                <a:cxn ang="0">
                  <a:pos x="csX4" y="csY4"/>
                </a:cxn>
              </a:cxnLst>
              <a:rect l="l" t="t" r="r" b="b"/>
              <a:pathLst>
                <a:path w="232184" h="43090">
                  <a:moveTo>
                    <a:pt x="220937" y="-6743"/>
                  </a:moveTo>
                  <a:lnTo>
                    <a:pt x="-11247" y="-6743"/>
                  </a:lnTo>
                  <a:lnTo>
                    <a:pt x="-11247" y="36347"/>
                  </a:lnTo>
                  <a:lnTo>
                    <a:pt x="220937" y="36347"/>
                  </a:lnTo>
                  <a:lnTo>
                    <a:pt x="220937" y="-6743"/>
                  </a:lnTo>
                </a:path>
              </a:pathLst>
            </a:custGeom>
            <a:grpFill/>
            <a:ln w="548" cap="flat">
              <a:noFill/>
              <a:prstDash val="solid"/>
              <a:miter/>
            </a:ln>
          </p:spPr>
          <p:txBody>
            <a:bodyPr/>
            <a:lstStyle/>
            <a:p>
              <a:endParaRPr lang="en-US"/>
            </a:p>
          </p:txBody>
        </p:sp>
        <p:sp>
          <p:nvSpPr>
            <p:cNvPr id="57" name="Freeform: Shape 56">
              <a:extLst>
                <a:ext uri="{FF2B5EF4-FFF2-40B4-BE49-F238E27FC236}">
                  <a16:creationId xmlns:a16="http://schemas.microsoft.com/office/drawing/2014/main" id="{EA65D66E-4817-9A48-8DC5-29487C5370D0}"/>
                </a:ext>
              </a:extLst>
            </p:cNvPr>
            <p:cNvSpPr/>
            <p:nvPr/>
          </p:nvSpPr>
          <p:spPr>
            <a:xfrm flipV="1">
              <a:off x="26033807" y="4032526"/>
              <a:ext cx="232184" cy="17106"/>
            </a:xfrm>
            <a:custGeom>
              <a:avLst/>
              <a:gdLst>
                <a:gd name="csX0" fmla="*/ 220937 w 232184"/>
                <a:gd name="csY0" fmla="*/ -6113 h 17106"/>
                <a:gd name="csX1" fmla="*/ -11247 w 232184"/>
                <a:gd name="csY1" fmla="*/ -6113 h 17106"/>
                <a:gd name="csX2" fmla="*/ -11247 w 232184"/>
                <a:gd name="csY2" fmla="*/ 10994 h 17106"/>
                <a:gd name="csX3" fmla="*/ 220937 w 232184"/>
                <a:gd name="csY3" fmla="*/ 10994 h 17106"/>
                <a:gd name="csX4" fmla="*/ 220937 w 232184"/>
                <a:gd name="csY4" fmla="*/ -6113 h 17106"/>
              </a:gdLst>
              <a:ahLst/>
              <a:cxnLst>
                <a:cxn ang="0">
                  <a:pos x="csX0" y="csY0"/>
                </a:cxn>
                <a:cxn ang="0">
                  <a:pos x="csX1" y="csY1"/>
                </a:cxn>
                <a:cxn ang="0">
                  <a:pos x="csX2" y="csY2"/>
                </a:cxn>
                <a:cxn ang="0">
                  <a:pos x="csX3" y="csY3"/>
                </a:cxn>
                <a:cxn ang="0">
                  <a:pos x="csX4" y="csY4"/>
                </a:cxn>
              </a:cxnLst>
              <a:rect l="l" t="t" r="r" b="b"/>
              <a:pathLst>
                <a:path w="232184" h="17106">
                  <a:moveTo>
                    <a:pt x="220937" y="-6113"/>
                  </a:moveTo>
                  <a:lnTo>
                    <a:pt x="-11247" y="-6113"/>
                  </a:lnTo>
                  <a:lnTo>
                    <a:pt x="-11247" y="10994"/>
                  </a:lnTo>
                  <a:lnTo>
                    <a:pt x="220937" y="10994"/>
                  </a:lnTo>
                  <a:lnTo>
                    <a:pt x="220937" y="-6113"/>
                  </a:lnTo>
                </a:path>
              </a:pathLst>
            </a:custGeom>
            <a:grpFill/>
            <a:ln w="548" cap="flat">
              <a:noFill/>
              <a:prstDash val="solid"/>
              <a:miter/>
            </a:ln>
          </p:spPr>
          <p:txBody>
            <a:bodyPr/>
            <a:lstStyle/>
            <a:p>
              <a:endParaRPr lang="en-US"/>
            </a:p>
          </p:txBody>
        </p:sp>
        <p:sp>
          <p:nvSpPr>
            <p:cNvPr id="58" name="Freeform: Shape 57">
              <a:extLst>
                <a:ext uri="{FF2B5EF4-FFF2-40B4-BE49-F238E27FC236}">
                  <a16:creationId xmlns:a16="http://schemas.microsoft.com/office/drawing/2014/main" id="{7987E2DA-6358-FC27-C3E3-29EB1ADD4164}"/>
                </a:ext>
              </a:extLst>
            </p:cNvPr>
            <p:cNvSpPr/>
            <p:nvPr/>
          </p:nvSpPr>
          <p:spPr>
            <a:xfrm flipV="1">
              <a:off x="26071389" y="3831126"/>
              <a:ext cx="167774" cy="167746"/>
            </a:xfrm>
            <a:custGeom>
              <a:avLst/>
              <a:gdLst>
                <a:gd name="csX0" fmla="*/ 72634 w 167774"/>
                <a:gd name="csY0" fmla="*/ 161330 h 167746"/>
                <a:gd name="csX1" fmla="*/ -11253 w 167774"/>
                <a:gd name="csY1" fmla="*/ 77454 h 167746"/>
                <a:gd name="csX2" fmla="*/ 72634 w 167774"/>
                <a:gd name="csY2" fmla="*/ -6416 h 167746"/>
                <a:gd name="csX3" fmla="*/ 156521 w 167774"/>
                <a:gd name="csY3" fmla="*/ 77454 h 167746"/>
                <a:gd name="csX4" fmla="*/ 72634 w 167774"/>
                <a:gd name="csY4" fmla="*/ 161330 h 167746"/>
                <a:gd name="csX5" fmla="*/ 124535 w 167774"/>
                <a:gd name="csY5" fmla="*/ 75172 h 167746"/>
                <a:gd name="csX6" fmla="*/ 72634 w 167774"/>
                <a:gd name="csY6" fmla="*/ 75172 h 167746"/>
                <a:gd name="csX7" fmla="*/ 70385 w 167774"/>
                <a:gd name="csY7" fmla="*/ 77454 h 167746"/>
                <a:gd name="csX8" fmla="*/ 70385 w 167774"/>
                <a:gd name="csY8" fmla="*/ 143670 h 167746"/>
                <a:gd name="csX9" fmla="*/ 72634 w 167774"/>
                <a:gd name="csY9" fmla="*/ 145958 h 167746"/>
                <a:gd name="csX10" fmla="*/ 74938 w 167774"/>
                <a:gd name="csY10" fmla="*/ 143670 h 167746"/>
                <a:gd name="csX11" fmla="*/ 74938 w 167774"/>
                <a:gd name="csY11" fmla="*/ 79742 h 167746"/>
                <a:gd name="csX12" fmla="*/ 124535 w 167774"/>
                <a:gd name="csY12" fmla="*/ 79742 h 167746"/>
                <a:gd name="csX13" fmla="*/ 126784 w 167774"/>
                <a:gd name="csY13" fmla="*/ 77454 h 167746"/>
                <a:gd name="csX14" fmla="*/ 124535 w 167774"/>
                <a:gd name="csY14" fmla="*/ 75172 h 16774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Lst>
              <a:rect l="l" t="t" r="r" b="b"/>
              <a:pathLst>
                <a:path w="167774" h="167746">
                  <a:moveTo>
                    <a:pt x="72634" y="161330"/>
                  </a:moveTo>
                  <a:cubicBezTo>
                    <a:pt x="26329" y="161330"/>
                    <a:pt x="-11253" y="123782"/>
                    <a:pt x="-11253" y="77454"/>
                  </a:cubicBezTo>
                  <a:cubicBezTo>
                    <a:pt x="-11253" y="31133"/>
                    <a:pt x="26329" y="-6416"/>
                    <a:pt x="72634" y="-6416"/>
                  </a:cubicBezTo>
                  <a:cubicBezTo>
                    <a:pt x="118939" y="-6416"/>
                    <a:pt x="156521" y="31133"/>
                    <a:pt x="156521" y="77454"/>
                  </a:cubicBezTo>
                  <a:cubicBezTo>
                    <a:pt x="156521" y="123782"/>
                    <a:pt x="118939" y="161330"/>
                    <a:pt x="72634" y="161330"/>
                  </a:cubicBezTo>
                  <a:close/>
                  <a:moveTo>
                    <a:pt x="124535" y="75172"/>
                  </a:moveTo>
                  <a:lnTo>
                    <a:pt x="72634" y="75172"/>
                  </a:lnTo>
                  <a:cubicBezTo>
                    <a:pt x="71372" y="75172"/>
                    <a:pt x="70385" y="76192"/>
                    <a:pt x="70385" y="77454"/>
                  </a:cubicBezTo>
                  <a:lnTo>
                    <a:pt x="70385" y="143670"/>
                  </a:lnTo>
                  <a:cubicBezTo>
                    <a:pt x="70385" y="144937"/>
                    <a:pt x="71372" y="145958"/>
                    <a:pt x="72634" y="145958"/>
                  </a:cubicBezTo>
                  <a:cubicBezTo>
                    <a:pt x="73895" y="145958"/>
                    <a:pt x="74938" y="144937"/>
                    <a:pt x="74938" y="143670"/>
                  </a:cubicBezTo>
                  <a:lnTo>
                    <a:pt x="74938" y="79742"/>
                  </a:lnTo>
                  <a:lnTo>
                    <a:pt x="124535" y="79742"/>
                  </a:lnTo>
                  <a:cubicBezTo>
                    <a:pt x="125797" y="79742"/>
                    <a:pt x="126784" y="78722"/>
                    <a:pt x="126784" y="77454"/>
                  </a:cubicBezTo>
                  <a:cubicBezTo>
                    <a:pt x="126784" y="76192"/>
                    <a:pt x="125797" y="75172"/>
                    <a:pt x="124535" y="75172"/>
                  </a:cubicBezTo>
                </a:path>
              </a:pathLst>
            </a:custGeom>
            <a:grpFill/>
            <a:ln w="548" cap="flat">
              <a:noFill/>
              <a:prstDash val="solid"/>
              <a:miter/>
            </a:ln>
          </p:spPr>
          <p:txBody>
            <a:bodyPr/>
            <a:lstStyle/>
            <a:p>
              <a:endParaRPr lang="en-US"/>
            </a:p>
          </p:txBody>
        </p:sp>
        <p:sp>
          <p:nvSpPr>
            <p:cNvPr id="59" name="Freeform: Shape 58">
              <a:extLst>
                <a:ext uri="{FF2B5EF4-FFF2-40B4-BE49-F238E27FC236}">
                  <a16:creationId xmlns:a16="http://schemas.microsoft.com/office/drawing/2014/main" id="{448B1B9D-9B5C-31B6-CDBD-196F898BDABF}"/>
                </a:ext>
              </a:extLst>
            </p:cNvPr>
            <p:cNvSpPr/>
            <p:nvPr/>
          </p:nvSpPr>
          <p:spPr>
            <a:xfrm flipV="1">
              <a:off x="26098547" y="4111124"/>
              <a:ext cx="102486" cy="30433"/>
            </a:xfrm>
            <a:custGeom>
              <a:avLst/>
              <a:gdLst>
                <a:gd name="csX0" fmla="*/ 91240 w 102486"/>
                <a:gd name="csY0" fmla="*/ -5908 h 30433"/>
                <a:gd name="csX1" fmla="*/ -11246 w 102486"/>
                <a:gd name="csY1" fmla="*/ -5908 h 30433"/>
                <a:gd name="csX2" fmla="*/ -11246 w 102486"/>
                <a:gd name="csY2" fmla="*/ 24525 h 30433"/>
                <a:gd name="csX3" fmla="*/ 91240 w 102486"/>
                <a:gd name="csY3" fmla="*/ 24525 h 30433"/>
                <a:gd name="csX4" fmla="*/ 91240 w 102486"/>
                <a:gd name="csY4" fmla="*/ -5908 h 30433"/>
              </a:gdLst>
              <a:ahLst/>
              <a:cxnLst>
                <a:cxn ang="0">
                  <a:pos x="csX0" y="csY0"/>
                </a:cxn>
                <a:cxn ang="0">
                  <a:pos x="csX1" y="csY1"/>
                </a:cxn>
                <a:cxn ang="0">
                  <a:pos x="csX2" y="csY2"/>
                </a:cxn>
                <a:cxn ang="0">
                  <a:pos x="csX3" y="csY3"/>
                </a:cxn>
                <a:cxn ang="0">
                  <a:pos x="csX4" y="csY4"/>
                </a:cxn>
              </a:cxnLst>
              <a:rect l="l" t="t" r="r" b="b"/>
              <a:pathLst>
                <a:path w="102486" h="30433">
                  <a:moveTo>
                    <a:pt x="91240" y="-5908"/>
                  </a:moveTo>
                  <a:lnTo>
                    <a:pt x="-11246" y="-5908"/>
                  </a:lnTo>
                  <a:lnTo>
                    <a:pt x="-11246" y="24525"/>
                  </a:lnTo>
                  <a:lnTo>
                    <a:pt x="91240" y="24525"/>
                  </a:lnTo>
                  <a:lnTo>
                    <a:pt x="91240" y="-5908"/>
                  </a:lnTo>
                </a:path>
              </a:pathLst>
            </a:custGeom>
            <a:grpFill/>
            <a:ln w="548" cap="flat">
              <a:noFill/>
              <a:prstDash val="solid"/>
              <a:miter/>
            </a:ln>
          </p:spPr>
          <p:txBody>
            <a:bodyPr/>
            <a:lstStyle/>
            <a:p>
              <a:endParaRPr lang="en-US"/>
            </a:p>
          </p:txBody>
        </p:sp>
        <p:sp>
          <p:nvSpPr>
            <p:cNvPr id="60" name="Freeform: Shape 59">
              <a:extLst>
                <a:ext uri="{FF2B5EF4-FFF2-40B4-BE49-F238E27FC236}">
                  <a16:creationId xmlns:a16="http://schemas.microsoft.com/office/drawing/2014/main" id="{D636CE20-60F3-3C03-B509-70A0510FCBE6}"/>
                </a:ext>
              </a:extLst>
            </p:cNvPr>
            <p:cNvSpPr/>
            <p:nvPr/>
          </p:nvSpPr>
          <p:spPr>
            <a:xfrm flipV="1">
              <a:off x="26098547" y="4141557"/>
              <a:ext cx="102486" cy="30427"/>
            </a:xfrm>
            <a:custGeom>
              <a:avLst/>
              <a:gdLst>
                <a:gd name="csX0" fmla="*/ 91240 w 102486"/>
                <a:gd name="csY0" fmla="*/ -5835 h 30427"/>
                <a:gd name="csX1" fmla="*/ -11246 w 102486"/>
                <a:gd name="csY1" fmla="*/ -5835 h 30427"/>
                <a:gd name="csX2" fmla="*/ -11246 w 102486"/>
                <a:gd name="csY2" fmla="*/ 24593 h 30427"/>
                <a:gd name="csX3" fmla="*/ 91240 w 102486"/>
                <a:gd name="csY3" fmla="*/ 24593 h 30427"/>
                <a:gd name="csX4" fmla="*/ 91240 w 102486"/>
                <a:gd name="csY4" fmla="*/ -5835 h 30427"/>
              </a:gdLst>
              <a:ahLst/>
              <a:cxnLst>
                <a:cxn ang="0">
                  <a:pos x="csX0" y="csY0"/>
                </a:cxn>
                <a:cxn ang="0">
                  <a:pos x="csX1" y="csY1"/>
                </a:cxn>
                <a:cxn ang="0">
                  <a:pos x="csX2" y="csY2"/>
                </a:cxn>
                <a:cxn ang="0">
                  <a:pos x="csX3" y="csY3"/>
                </a:cxn>
                <a:cxn ang="0">
                  <a:pos x="csX4" y="csY4"/>
                </a:cxn>
              </a:cxnLst>
              <a:rect l="l" t="t" r="r" b="b"/>
              <a:pathLst>
                <a:path w="102486" h="30427">
                  <a:moveTo>
                    <a:pt x="91240" y="-5835"/>
                  </a:moveTo>
                  <a:lnTo>
                    <a:pt x="-11246" y="-5835"/>
                  </a:lnTo>
                  <a:lnTo>
                    <a:pt x="-11246" y="24593"/>
                  </a:lnTo>
                  <a:lnTo>
                    <a:pt x="91240" y="24593"/>
                  </a:lnTo>
                  <a:lnTo>
                    <a:pt x="91240" y="-5835"/>
                  </a:lnTo>
                </a:path>
              </a:pathLst>
            </a:custGeom>
            <a:grpFill/>
            <a:ln w="548" cap="flat">
              <a:noFill/>
              <a:prstDash val="solid"/>
              <a:miter/>
            </a:ln>
          </p:spPr>
          <p:txBody>
            <a:bodyPr/>
            <a:lstStyle/>
            <a:p>
              <a:endParaRPr lang="en-US"/>
            </a:p>
          </p:txBody>
        </p:sp>
        <p:sp>
          <p:nvSpPr>
            <p:cNvPr id="61" name="Freeform: Shape 60">
              <a:extLst>
                <a:ext uri="{FF2B5EF4-FFF2-40B4-BE49-F238E27FC236}">
                  <a16:creationId xmlns:a16="http://schemas.microsoft.com/office/drawing/2014/main" id="{342BD559-7B42-4427-A507-A110E431E109}"/>
                </a:ext>
              </a:extLst>
            </p:cNvPr>
            <p:cNvSpPr/>
            <p:nvPr/>
          </p:nvSpPr>
          <p:spPr>
            <a:xfrm flipV="1">
              <a:off x="26098547" y="4239314"/>
              <a:ext cx="102486" cy="30427"/>
            </a:xfrm>
            <a:custGeom>
              <a:avLst/>
              <a:gdLst>
                <a:gd name="csX0" fmla="*/ 91240 w 102486"/>
                <a:gd name="csY0" fmla="*/ -5599 h 30427"/>
                <a:gd name="csX1" fmla="*/ -11246 w 102486"/>
                <a:gd name="csY1" fmla="*/ -5599 h 30427"/>
                <a:gd name="csX2" fmla="*/ -11246 w 102486"/>
                <a:gd name="csY2" fmla="*/ 24828 h 30427"/>
                <a:gd name="csX3" fmla="*/ 91240 w 102486"/>
                <a:gd name="csY3" fmla="*/ 24828 h 30427"/>
                <a:gd name="csX4" fmla="*/ 91240 w 102486"/>
                <a:gd name="csY4" fmla="*/ -5599 h 30427"/>
              </a:gdLst>
              <a:ahLst/>
              <a:cxnLst>
                <a:cxn ang="0">
                  <a:pos x="csX0" y="csY0"/>
                </a:cxn>
                <a:cxn ang="0">
                  <a:pos x="csX1" y="csY1"/>
                </a:cxn>
                <a:cxn ang="0">
                  <a:pos x="csX2" y="csY2"/>
                </a:cxn>
                <a:cxn ang="0">
                  <a:pos x="csX3" y="csY3"/>
                </a:cxn>
                <a:cxn ang="0">
                  <a:pos x="csX4" y="csY4"/>
                </a:cxn>
              </a:cxnLst>
              <a:rect l="l" t="t" r="r" b="b"/>
              <a:pathLst>
                <a:path w="102486" h="30427">
                  <a:moveTo>
                    <a:pt x="91240" y="-5599"/>
                  </a:moveTo>
                  <a:lnTo>
                    <a:pt x="-11246" y="-5599"/>
                  </a:lnTo>
                  <a:lnTo>
                    <a:pt x="-11246" y="24828"/>
                  </a:lnTo>
                  <a:lnTo>
                    <a:pt x="91240" y="24828"/>
                  </a:lnTo>
                  <a:lnTo>
                    <a:pt x="91240" y="-5599"/>
                  </a:lnTo>
                </a:path>
              </a:pathLst>
            </a:custGeom>
            <a:grpFill/>
            <a:ln w="548" cap="flat">
              <a:noFill/>
              <a:prstDash val="solid"/>
              <a:miter/>
            </a:ln>
          </p:spPr>
          <p:txBody>
            <a:bodyPr/>
            <a:lstStyle/>
            <a:p>
              <a:endParaRPr lang="en-US"/>
            </a:p>
          </p:txBody>
        </p:sp>
        <p:sp>
          <p:nvSpPr>
            <p:cNvPr id="62" name="Freeform: Shape 61">
              <a:extLst>
                <a:ext uri="{FF2B5EF4-FFF2-40B4-BE49-F238E27FC236}">
                  <a16:creationId xmlns:a16="http://schemas.microsoft.com/office/drawing/2014/main" id="{36304F4A-0909-76E1-9318-7500BF3285B4}"/>
                </a:ext>
              </a:extLst>
            </p:cNvPr>
            <p:cNvSpPr/>
            <p:nvPr/>
          </p:nvSpPr>
          <p:spPr>
            <a:xfrm flipV="1">
              <a:off x="26098547" y="4337065"/>
              <a:ext cx="102486" cy="30432"/>
            </a:xfrm>
            <a:custGeom>
              <a:avLst/>
              <a:gdLst>
                <a:gd name="csX0" fmla="*/ 91240 w 102486"/>
                <a:gd name="csY0" fmla="*/ -5364 h 30432"/>
                <a:gd name="csX1" fmla="*/ -11246 w 102486"/>
                <a:gd name="csY1" fmla="*/ -5364 h 30432"/>
                <a:gd name="csX2" fmla="*/ -11246 w 102486"/>
                <a:gd name="csY2" fmla="*/ 25069 h 30432"/>
                <a:gd name="csX3" fmla="*/ 91240 w 102486"/>
                <a:gd name="csY3" fmla="*/ 25069 h 30432"/>
                <a:gd name="csX4" fmla="*/ 91240 w 102486"/>
                <a:gd name="csY4" fmla="*/ -5364 h 30432"/>
              </a:gdLst>
              <a:ahLst/>
              <a:cxnLst>
                <a:cxn ang="0">
                  <a:pos x="csX0" y="csY0"/>
                </a:cxn>
                <a:cxn ang="0">
                  <a:pos x="csX1" y="csY1"/>
                </a:cxn>
                <a:cxn ang="0">
                  <a:pos x="csX2" y="csY2"/>
                </a:cxn>
                <a:cxn ang="0">
                  <a:pos x="csX3" y="csY3"/>
                </a:cxn>
                <a:cxn ang="0">
                  <a:pos x="csX4" y="csY4"/>
                </a:cxn>
              </a:cxnLst>
              <a:rect l="l" t="t" r="r" b="b"/>
              <a:pathLst>
                <a:path w="102486" h="30432">
                  <a:moveTo>
                    <a:pt x="91240" y="-5364"/>
                  </a:moveTo>
                  <a:lnTo>
                    <a:pt x="-11246" y="-5364"/>
                  </a:lnTo>
                  <a:lnTo>
                    <a:pt x="-11246" y="25069"/>
                  </a:lnTo>
                  <a:lnTo>
                    <a:pt x="91240" y="25069"/>
                  </a:lnTo>
                  <a:lnTo>
                    <a:pt x="91240" y="-5364"/>
                  </a:lnTo>
                </a:path>
              </a:pathLst>
            </a:custGeom>
            <a:grpFill/>
            <a:ln w="548" cap="flat">
              <a:noFill/>
              <a:prstDash val="solid"/>
              <a:miter/>
            </a:ln>
          </p:spPr>
          <p:txBody>
            <a:bodyPr/>
            <a:lstStyle/>
            <a:p>
              <a:endParaRPr lang="en-US"/>
            </a:p>
          </p:txBody>
        </p:sp>
        <p:sp>
          <p:nvSpPr>
            <p:cNvPr id="63" name="Freeform: Shape 62">
              <a:extLst>
                <a:ext uri="{FF2B5EF4-FFF2-40B4-BE49-F238E27FC236}">
                  <a16:creationId xmlns:a16="http://schemas.microsoft.com/office/drawing/2014/main" id="{18524174-3FE7-4AEC-5606-1C497F71C75D}"/>
                </a:ext>
              </a:extLst>
            </p:cNvPr>
            <p:cNvSpPr/>
            <p:nvPr/>
          </p:nvSpPr>
          <p:spPr>
            <a:xfrm flipV="1">
              <a:off x="26098547" y="4434827"/>
              <a:ext cx="102486" cy="30427"/>
            </a:xfrm>
            <a:custGeom>
              <a:avLst/>
              <a:gdLst>
                <a:gd name="csX0" fmla="*/ 91240 w 102486"/>
                <a:gd name="csY0" fmla="*/ -5129 h 30427"/>
                <a:gd name="csX1" fmla="*/ -11246 w 102486"/>
                <a:gd name="csY1" fmla="*/ -5129 h 30427"/>
                <a:gd name="csX2" fmla="*/ -11246 w 102486"/>
                <a:gd name="csY2" fmla="*/ 25299 h 30427"/>
                <a:gd name="csX3" fmla="*/ 91240 w 102486"/>
                <a:gd name="csY3" fmla="*/ 25299 h 30427"/>
                <a:gd name="csX4" fmla="*/ 91240 w 102486"/>
                <a:gd name="csY4" fmla="*/ -5129 h 30427"/>
              </a:gdLst>
              <a:ahLst/>
              <a:cxnLst>
                <a:cxn ang="0">
                  <a:pos x="csX0" y="csY0"/>
                </a:cxn>
                <a:cxn ang="0">
                  <a:pos x="csX1" y="csY1"/>
                </a:cxn>
                <a:cxn ang="0">
                  <a:pos x="csX2" y="csY2"/>
                </a:cxn>
                <a:cxn ang="0">
                  <a:pos x="csX3" y="csY3"/>
                </a:cxn>
                <a:cxn ang="0">
                  <a:pos x="csX4" y="csY4"/>
                </a:cxn>
              </a:cxnLst>
              <a:rect l="l" t="t" r="r" b="b"/>
              <a:pathLst>
                <a:path w="102486" h="30427">
                  <a:moveTo>
                    <a:pt x="91240" y="-5129"/>
                  </a:moveTo>
                  <a:lnTo>
                    <a:pt x="-11246" y="-5129"/>
                  </a:lnTo>
                  <a:lnTo>
                    <a:pt x="-11246" y="25299"/>
                  </a:lnTo>
                  <a:lnTo>
                    <a:pt x="91240" y="25299"/>
                  </a:lnTo>
                  <a:lnTo>
                    <a:pt x="91240" y="-5129"/>
                  </a:lnTo>
                </a:path>
              </a:pathLst>
            </a:custGeom>
            <a:grpFill/>
            <a:ln w="548" cap="flat">
              <a:noFill/>
              <a:prstDash val="solid"/>
              <a:miter/>
            </a:ln>
          </p:spPr>
          <p:txBody>
            <a:bodyPr/>
            <a:lstStyle/>
            <a:p>
              <a:endParaRPr lang="en-US"/>
            </a:p>
          </p:txBody>
        </p:sp>
        <p:sp>
          <p:nvSpPr>
            <p:cNvPr id="64" name="Freeform: Shape 63">
              <a:extLst>
                <a:ext uri="{FF2B5EF4-FFF2-40B4-BE49-F238E27FC236}">
                  <a16:creationId xmlns:a16="http://schemas.microsoft.com/office/drawing/2014/main" id="{57220CC7-FBC7-8D10-A9C9-D914FA6BD95B}"/>
                </a:ext>
              </a:extLst>
            </p:cNvPr>
            <p:cNvSpPr/>
            <p:nvPr/>
          </p:nvSpPr>
          <p:spPr>
            <a:xfrm flipV="1">
              <a:off x="26098547" y="4532584"/>
              <a:ext cx="102486" cy="30427"/>
            </a:xfrm>
            <a:custGeom>
              <a:avLst/>
              <a:gdLst>
                <a:gd name="csX0" fmla="*/ 91240 w 102486"/>
                <a:gd name="csY0" fmla="*/ -4894 h 30427"/>
                <a:gd name="csX1" fmla="*/ -11246 w 102486"/>
                <a:gd name="csY1" fmla="*/ -4894 h 30427"/>
                <a:gd name="csX2" fmla="*/ -11246 w 102486"/>
                <a:gd name="csY2" fmla="*/ 25534 h 30427"/>
                <a:gd name="csX3" fmla="*/ 91240 w 102486"/>
                <a:gd name="csY3" fmla="*/ 25534 h 30427"/>
                <a:gd name="csX4" fmla="*/ 91240 w 102486"/>
                <a:gd name="csY4" fmla="*/ -4894 h 30427"/>
              </a:gdLst>
              <a:ahLst/>
              <a:cxnLst>
                <a:cxn ang="0">
                  <a:pos x="csX0" y="csY0"/>
                </a:cxn>
                <a:cxn ang="0">
                  <a:pos x="csX1" y="csY1"/>
                </a:cxn>
                <a:cxn ang="0">
                  <a:pos x="csX2" y="csY2"/>
                </a:cxn>
                <a:cxn ang="0">
                  <a:pos x="csX3" y="csY3"/>
                </a:cxn>
                <a:cxn ang="0">
                  <a:pos x="csX4" y="csY4"/>
                </a:cxn>
              </a:cxnLst>
              <a:rect l="l" t="t" r="r" b="b"/>
              <a:pathLst>
                <a:path w="102486" h="30427">
                  <a:moveTo>
                    <a:pt x="91240" y="-4894"/>
                  </a:moveTo>
                  <a:lnTo>
                    <a:pt x="-11246" y="-4894"/>
                  </a:lnTo>
                  <a:lnTo>
                    <a:pt x="-11246" y="25534"/>
                  </a:lnTo>
                  <a:lnTo>
                    <a:pt x="91240" y="25534"/>
                  </a:lnTo>
                  <a:lnTo>
                    <a:pt x="91240" y="-4894"/>
                  </a:lnTo>
                </a:path>
              </a:pathLst>
            </a:custGeom>
            <a:grpFill/>
            <a:ln w="548" cap="flat">
              <a:noFill/>
              <a:prstDash val="solid"/>
              <a:miter/>
            </a:ln>
          </p:spPr>
          <p:txBody>
            <a:bodyPr/>
            <a:lstStyle/>
            <a:p>
              <a:endParaRPr lang="en-US"/>
            </a:p>
          </p:txBody>
        </p:sp>
        <p:sp>
          <p:nvSpPr>
            <p:cNvPr id="65" name="Freeform: Shape 64">
              <a:extLst>
                <a:ext uri="{FF2B5EF4-FFF2-40B4-BE49-F238E27FC236}">
                  <a16:creationId xmlns:a16="http://schemas.microsoft.com/office/drawing/2014/main" id="{122D7C85-01B5-F26A-460E-52FEAAFCE04E}"/>
                </a:ext>
              </a:extLst>
            </p:cNvPr>
            <p:cNvSpPr/>
            <p:nvPr/>
          </p:nvSpPr>
          <p:spPr>
            <a:xfrm flipV="1">
              <a:off x="26098547" y="4630341"/>
              <a:ext cx="102486" cy="30427"/>
            </a:xfrm>
            <a:custGeom>
              <a:avLst/>
              <a:gdLst>
                <a:gd name="csX0" fmla="*/ 91240 w 102486"/>
                <a:gd name="csY0" fmla="*/ -4659 h 30427"/>
                <a:gd name="csX1" fmla="*/ -11246 w 102486"/>
                <a:gd name="csY1" fmla="*/ -4659 h 30427"/>
                <a:gd name="csX2" fmla="*/ -11246 w 102486"/>
                <a:gd name="csY2" fmla="*/ 25769 h 30427"/>
                <a:gd name="csX3" fmla="*/ 91240 w 102486"/>
                <a:gd name="csY3" fmla="*/ 25769 h 30427"/>
                <a:gd name="csX4" fmla="*/ 91240 w 102486"/>
                <a:gd name="csY4" fmla="*/ -4659 h 30427"/>
              </a:gdLst>
              <a:ahLst/>
              <a:cxnLst>
                <a:cxn ang="0">
                  <a:pos x="csX0" y="csY0"/>
                </a:cxn>
                <a:cxn ang="0">
                  <a:pos x="csX1" y="csY1"/>
                </a:cxn>
                <a:cxn ang="0">
                  <a:pos x="csX2" y="csY2"/>
                </a:cxn>
                <a:cxn ang="0">
                  <a:pos x="csX3" y="csY3"/>
                </a:cxn>
                <a:cxn ang="0">
                  <a:pos x="csX4" y="csY4"/>
                </a:cxn>
              </a:cxnLst>
              <a:rect l="l" t="t" r="r" b="b"/>
              <a:pathLst>
                <a:path w="102486" h="30427">
                  <a:moveTo>
                    <a:pt x="91240" y="-4659"/>
                  </a:moveTo>
                  <a:lnTo>
                    <a:pt x="-11246" y="-4659"/>
                  </a:lnTo>
                  <a:lnTo>
                    <a:pt x="-11246" y="25769"/>
                  </a:lnTo>
                  <a:lnTo>
                    <a:pt x="91240" y="25769"/>
                  </a:lnTo>
                  <a:lnTo>
                    <a:pt x="91240" y="-4659"/>
                  </a:lnTo>
                </a:path>
              </a:pathLst>
            </a:custGeom>
            <a:grpFill/>
            <a:ln w="548" cap="flat">
              <a:noFill/>
              <a:prstDash val="solid"/>
              <a:miter/>
            </a:ln>
          </p:spPr>
          <p:txBody>
            <a:bodyPr/>
            <a:lstStyle/>
            <a:p>
              <a:endParaRPr lang="en-US"/>
            </a:p>
          </p:txBody>
        </p:sp>
        <p:sp>
          <p:nvSpPr>
            <p:cNvPr id="66" name="Freeform: Shape 65">
              <a:extLst>
                <a:ext uri="{FF2B5EF4-FFF2-40B4-BE49-F238E27FC236}">
                  <a16:creationId xmlns:a16="http://schemas.microsoft.com/office/drawing/2014/main" id="{EBFD9686-927E-FF5B-95FD-6C06D7CFB9C9}"/>
                </a:ext>
              </a:extLst>
            </p:cNvPr>
            <p:cNvSpPr/>
            <p:nvPr/>
          </p:nvSpPr>
          <p:spPr>
            <a:xfrm flipV="1">
              <a:off x="26098547" y="4728092"/>
              <a:ext cx="102486" cy="30433"/>
            </a:xfrm>
            <a:custGeom>
              <a:avLst/>
              <a:gdLst>
                <a:gd name="csX0" fmla="*/ 91240 w 102486"/>
                <a:gd name="csY0" fmla="*/ -4423 h 30433"/>
                <a:gd name="csX1" fmla="*/ -11246 w 102486"/>
                <a:gd name="csY1" fmla="*/ -4423 h 30433"/>
                <a:gd name="csX2" fmla="*/ -11246 w 102486"/>
                <a:gd name="csY2" fmla="*/ 26010 h 30433"/>
                <a:gd name="csX3" fmla="*/ 91240 w 102486"/>
                <a:gd name="csY3" fmla="*/ 26010 h 30433"/>
                <a:gd name="csX4" fmla="*/ 91240 w 102486"/>
                <a:gd name="csY4" fmla="*/ -4423 h 30433"/>
              </a:gdLst>
              <a:ahLst/>
              <a:cxnLst>
                <a:cxn ang="0">
                  <a:pos x="csX0" y="csY0"/>
                </a:cxn>
                <a:cxn ang="0">
                  <a:pos x="csX1" y="csY1"/>
                </a:cxn>
                <a:cxn ang="0">
                  <a:pos x="csX2" y="csY2"/>
                </a:cxn>
                <a:cxn ang="0">
                  <a:pos x="csX3" y="csY3"/>
                </a:cxn>
                <a:cxn ang="0">
                  <a:pos x="csX4" y="csY4"/>
                </a:cxn>
              </a:cxnLst>
              <a:rect l="l" t="t" r="r" b="b"/>
              <a:pathLst>
                <a:path w="102486" h="30433">
                  <a:moveTo>
                    <a:pt x="91240" y="-4423"/>
                  </a:moveTo>
                  <a:lnTo>
                    <a:pt x="-11246" y="-4423"/>
                  </a:lnTo>
                  <a:lnTo>
                    <a:pt x="-11246" y="26010"/>
                  </a:lnTo>
                  <a:lnTo>
                    <a:pt x="91240" y="26010"/>
                  </a:lnTo>
                  <a:lnTo>
                    <a:pt x="91240" y="-4423"/>
                  </a:lnTo>
                </a:path>
              </a:pathLst>
            </a:custGeom>
            <a:grpFill/>
            <a:ln w="548" cap="flat">
              <a:noFill/>
              <a:prstDash val="solid"/>
              <a:miter/>
            </a:ln>
          </p:spPr>
          <p:txBody>
            <a:bodyPr/>
            <a:lstStyle/>
            <a:p>
              <a:endParaRPr lang="en-US"/>
            </a:p>
          </p:txBody>
        </p:sp>
        <p:sp>
          <p:nvSpPr>
            <p:cNvPr id="67" name="Freeform: Shape 66">
              <a:extLst>
                <a:ext uri="{FF2B5EF4-FFF2-40B4-BE49-F238E27FC236}">
                  <a16:creationId xmlns:a16="http://schemas.microsoft.com/office/drawing/2014/main" id="{75ACA981-AA4C-10DD-D37B-28D321E9AF21}"/>
                </a:ext>
              </a:extLst>
            </p:cNvPr>
            <p:cNvSpPr/>
            <p:nvPr/>
          </p:nvSpPr>
          <p:spPr>
            <a:xfrm flipV="1">
              <a:off x="26098547" y="4825854"/>
              <a:ext cx="102486" cy="30427"/>
            </a:xfrm>
            <a:custGeom>
              <a:avLst/>
              <a:gdLst>
                <a:gd name="csX0" fmla="*/ 91240 w 102486"/>
                <a:gd name="csY0" fmla="*/ -4188 h 30427"/>
                <a:gd name="csX1" fmla="*/ -11246 w 102486"/>
                <a:gd name="csY1" fmla="*/ -4188 h 30427"/>
                <a:gd name="csX2" fmla="*/ -11246 w 102486"/>
                <a:gd name="csY2" fmla="*/ 26239 h 30427"/>
                <a:gd name="csX3" fmla="*/ 91240 w 102486"/>
                <a:gd name="csY3" fmla="*/ 26239 h 30427"/>
                <a:gd name="csX4" fmla="*/ 91240 w 102486"/>
                <a:gd name="csY4" fmla="*/ -4188 h 30427"/>
              </a:gdLst>
              <a:ahLst/>
              <a:cxnLst>
                <a:cxn ang="0">
                  <a:pos x="csX0" y="csY0"/>
                </a:cxn>
                <a:cxn ang="0">
                  <a:pos x="csX1" y="csY1"/>
                </a:cxn>
                <a:cxn ang="0">
                  <a:pos x="csX2" y="csY2"/>
                </a:cxn>
                <a:cxn ang="0">
                  <a:pos x="csX3" y="csY3"/>
                </a:cxn>
                <a:cxn ang="0">
                  <a:pos x="csX4" y="csY4"/>
                </a:cxn>
              </a:cxnLst>
              <a:rect l="l" t="t" r="r" b="b"/>
              <a:pathLst>
                <a:path w="102486" h="30427">
                  <a:moveTo>
                    <a:pt x="91240" y="-4188"/>
                  </a:moveTo>
                  <a:lnTo>
                    <a:pt x="-11246" y="-4188"/>
                  </a:lnTo>
                  <a:lnTo>
                    <a:pt x="-11246" y="26239"/>
                  </a:lnTo>
                  <a:lnTo>
                    <a:pt x="91240" y="26239"/>
                  </a:lnTo>
                  <a:lnTo>
                    <a:pt x="91240" y="-4188"/>
                  </a:lnTo>
                </a:path>
              </a:pathLst>
            </a:custGeom>
            <a:grpFill/>
            <a:ln w="548" cap="flat">
              <a:noFill/>
              <a:prstDash val="solid"/>
              <a:miter/>
            </a:ln>
          </p:spPr>
          <p:txBody>
            <a:bodyPr/>
            <a:lstStyle/>
            <a:p>
              <a:endParaRPr lang="en-US"/>
            </a:p>
          </p:txBody>
        </p:sp>
        <p:sp>
          <p:nvSpPr>
            <p:cNvPr id="68" name="Freeform: Shape 67">
              <a:extLst>
                <a:ext uri="{FF2B5EF4-FFF2-40B4-BE49-F238E27FC236}">
                  <a16:creationId xmlns:a16="http://schemas.microsoft.com/office/drawing/2014/main" id="{441A74B9-DA4B-5DDB-DC70-B25C1BCBCB59}"/>
                </a:ext>
              </a:extLst>
            </p:cNvPr>
            <p:cNvSpPr/>
            <p:nvPr/>
          </p:nvSpPr>
          <p:spPr>
            <a:xfrm flipV="1">
              <a:off x="26023987" y="4905072"/>
              <a:ext cx="251606" cy="18538"/>
            </a:xfrm>
            <a:custGeom>
              <a:avLst/>
              <a:gdLst>
                <a:gd name="csX0" fmla="*/ 240360 w 251606"/>
                <a:gd name="csY0" fmla="*/ -4012 h 18538"/>
                <a:gd name="csX1" fmla="*/ -11246 w 251606"/>
                <a:gd name="csY1" fmla="*/ -4012 h 18538"/>
                <a:gd name="csX2" fmla="*/ -11246 w 251606"/>
                <a:gd name="csY2" fmla="*/ 14527 h 18538"/>
                <a:gd name="csX3" fmla="*/ 240360 w 251606"/>
                <a:gd name="csY3" fmla="*/ 14527 h 18538"/>
                <a:gd name="csX4" fmla="*/ 240360 w 251606"/>
                <a:gd name="csY4" fmla="*/ -4012 h 18538"/>
              </a:gdLst>
              <a:ahLst/>
              <a:cxnLst>
                <a:cxn ang="0">
                  <a:pos x="csX0" y="csY0"/>
                </a:cxn>
                <a:cxn ang="0">
                  <a:pos x="csX1" y="csY1"/>
                </a:cxn>
                <a:cxn ang="0">
                  <a:pos x="csX2" y="csY2"/>
                </a:cxn>
                <a:cxn ang="0">
                  <a:pos x="csX3" y="csY3"/>
                </a:cxn>
                <a:cxn ang="0">
                  <a:pos x="csX4" y="csY4"/>
                </a:cxn>
              </a:cxnLst>
              <a:rect l="l" t="t" r="r" b="b"/>
              <a:pathLst>
                <a:path w="251606" h="18538">
                  <a:moveTo>
                    <a:pt x="240360" y="-4012"/>
                  </a:moveTo>
                  <a:lnTo>
                    <a:pt x="-11246" y="-4012"/>
                  </a:lnTo>
                  <a:lnTo>
                    <a:pt x="-11246" y="14527"/>
                  </a:lnTo>
                  <a:lnTo>
                    <a:pt x="240360" y="14527"/>
                  </a:lnTo>
                  <a:lnTo>
                    <a:pt x="240360" y="-4012"/>
                  </a:lnTo>
                </a:path>
              </a:pathLst>
            </a:custGeom>
            <a:grpFill/>
            <a:ln w="548" cap="flat">
              <a:noFill/>
              <a:prstDash val="solid"/>
              <a:miter/>
            </a:ln>
          </p:spPr>
          <p:txBody>
            <a:bodyPr/>
            <a:lstStyle/>
            <a:p>
              <a:endParaRPr lang="en-US"/>
            </a:p>
          </p:txBody>
        </p:sp>
        <p:sp>
          <p:nvSpPr>
            <p:cNvPr id="69" name="Freeform: Shape 68">
              <a:extLst>
                <a:ext uri="{FF2B5EF4-FFF2-40B4-BE49-F238E27FC236}">
                  <a16:creationId xmlns:a16="http://schemas.microsoft.com/office/drawing/2014/main" id="{EF089B94-21F8-6C3F-5D6B-8B4F318B8612}"/>
                </a:ext>
              </a:extLst>
            </p:cNvPr>
            <p:cNvSpPr/>
            <p:nvPr/>
          </p:nvSpPr>
          <p:spPr>
            <a:xfrm flipV="1">
              <a:off x="26033807" y="3704845"/>
              <a:ext cx="20902" cy="52839"/>
            </a:xfrm>
            <a:custGeom>
              <a:avLst/>
              <a:gdLst>
                <a:gd name="csX0" fmla="*/ 9787 w 20902"/>
                <a:gd name="csY0" fmla="*/ 45981 h 52839"/>
                <a:gd name="csX1" fmla="*/ -11116 w 20902"/>
                <a:gd name="csY1" fmla="*/ 45981 h 52839"/>
                <a:gd name="csX2" fmla="*/ -11116 w 20902"/>
                <a:gd name="csY2" fmla="*/ -6858 h 52839"/>
                <a:gd name="csX3" fmla="*/ 9787 w 20902"/>
                <a:gd name="csY3" fmla="*/ -6858 h 52839"/>
                <a:gd name="csX4" fmla="*/ 9787 w 20902"/>
                <a:gd name="csY4" fmla="*/ 45981 h 52839"/>
              </a:gdLst>
              <a:ahLst/>
              <a:cxnLst>
                <a:cxn ang="0">
                  <a:pos x="csX0" y="csY0"/>
                </a:cxn>
                <a:cxn ang="0">
                  <a:pos x="csX1" y="csY1"/>
                </a:cxn>
                <a:cxn ang="0">
                  <a:pos x="csX2" y="csY2"/>
                </a:cxn>
                <a:cxn ang="0">
                  <a:pos x="csX3" y="csY3"/>
                </a:cxn>
                <a:cxn ang="0">
                  <a:pos x="csX4" y="csY4"/>
                </a:cxn>
              </a:cxnLst>
              <a:rect l="l" t="t" r="r" b="b"/>
              <a:pathLst>
                <a:path w="20902" h="52839">
                  <a:moveTo>
                    <a:pt x="9787" y="45981"/>
                  </a:moveTo>
                  <a:lnTo>
                    <a:pt x="-11116" y="45981"/>
                  </a:lnTo>
                  <a:lnTo>
                    <a:pt x="-11116" y="-6858"/>
                  </a:lnTo>
                  <a:lnTo>
                    <a:pt x="9787" y="-6858"/>
                  </a:lnTo>
                  <a:lnTo>
                    <a:pt x="9787" y="45981"/>
                  </a:lnTo>
                </a:path>
              </a:pathLst>
            </a:custGeom>
            <a:grpFill/>
            <a:ln w="548" cap="flat">
              <a:noFill/>
              <a:prstDash val="solid"/>
              <a:miter/>
            </a:ln>
          </p:spPr>
          <p:txBody>
            <a:bodyPr/>
            <a:lstStyle/>
            <a:p>
              <a:endParaRPr lang="en-US"/>
            </a:p>
          </p:txBody>
        </p:sp>
        <p:sp>
          <p:nvSpPr>
            <p:cNvPr id="70" name="Freeform: Shape 69">
              <a:extLst>
                <a:ext uri="{FF2B5EF4-FFF2-40B4-BE49-F238E27FC236}">
                  <a16:creationId xmlns:a16="http://schemas.microsoft.com/office/drawing/2014/main" id="{01362E04-0083-8120-EC35-DB0D344DB93D}"/>
                </a:ext>
              </a:extLst>
            </p:cNvPr>
            <p:cNvSpPr/>
            <p:nvPr/>
          </p:nvSpPr>
          <p:spPr>
            <a:xfrm flipV="1">
              <a:off x="26086642" y="3704845"/>
              <a:ext cx="20848" cy="52839"/>
            </a:xfrm>
            <a:custGeom>
              <a:avLst/>
              <a:gdLst>
                <a:gd name="csX0" fmla="*/ 9667 w 20848"/>
                <a:gd name="csY0" fmla="*/ 45981 h 52839"/>
                <a:gd name="csX1" fmla="*/ -11181 w 20848"/>
                <a:gd name="csY1" fmla="*/ 45981 h 52839"/>
                <a:gd name="csX2" fmla="*/ -11181 w 20848"/>
                <a:gd name="csY2" fmla="*/ -6858 h 52839"/>
                <a:gd name="csX3" fmla="*/ 9667 w 20848"/>
                <a:gd name="csY3" fmla="*/ -6858 h 52839"/>
                <a:gd name="csX4" fmla="*/ 9667 w 20848"/>
                <a:gd name="csY4" fmla="*/ 45981 h 52839"/>
              </a:gdLst>
              <a:ahLst/>
              <a:cxnLst>
                <a:cxn ang="0">
                  <a:pos x="csX0" y="csY0"/>
                </a:cxn>
                <a:cxn ang="0">
                  <a:pos x="csX1" y="csY1"/>
                </a:cxn>
                <a:cxn ang="0">
                  <a:pos x="csX2" y="csY2"/>
                </a:cxn>
                <a:cxn ang="0">
                  <a:pos x="csX3" y="csY3"/>
                </a:cxn>
                <a:cxn ang="0">
                  <a:pos x="csX4" y="csY4"/>
                </a:cxn>
              </a:cxnLst>
              <a:rect l="l" t="t" r="r" b="b"/>
              <a:pathLst>
                <a:path w="20848" h="52839">
                  <a:moveTo>
                    <a:pt x="9667" y="45981"/>
                  </a:moveTo>
                  <a:lnTo>
                    <a:pt x="-11181" y="45981"/>
                  </a:lnTo>
                  <a:lnTo>
                    <a:pt x="-11181" y="-6858"/>
                  </a:lnTo>
                  <a:lnTo>
                    <a:pt x="9667" y="-6858"/>
                  </a:lnTo>
                  <a:lnTo>
                    <a:pt x="9667" y="45981"/>
                  </a:lnTo>
                </a:path>
              </a:pathLst>
            </a:custGeom>
            <a:grpFill/>
            <a:ln w="548" cap="flat">
              <a:noFill/>
              <a:prstDash val="solid"/>
              <a:miter/>
            </a:ln>
          </p:spPr>
          <p:txBody>
            <a:bodyPr/>
            <a:lstStyle/>
            <a:p>
              <a:endParaRPr lang="en-US"/>
            </a:p>
          </p:txBody>
        </p:sp>
        <p:sp>
          <p:nvSpPr>
            <p:cNvPr id="71" name="Freeform: Shape 70">
              <a:extLst>
                <a:ext uri="{FF2B5EF4-FFF2-40B4-BE49-F238E27FC236}">
                  <a16:creationId xmlns:a16="http://schemas.microsoft.com/office/drawing/2014/main" id="{17A6CEF9-589A-309F-1630-A17A80312A15}"/>
                </a:ext>
              </a:extLst>
            </p:cNvPr>
            <p:cNvSpPr/>
            <p:nvPr/>
          </p:nvSpPr>
          <p:spPr>
            <a:xfrm flipV="1">
              <a:off x="26098876" y="3409073"/>
              <a:ext cx="13990" cy="278434"/>
            </a:xfrm>
            <a:custGeom>
              <a:avLst/>
              <a:gdLst>
                <a:gd name="csX0" fmla="*/ 2798 w 13990"/>
                <a:gd name="csY0" fmla="*/ 271136 h 278434"/>
                <a:gd name="csX1" fmla="*/ -11192 w 13990"/>
                <a:gd name="csY1" fmla="*/ 271136 h 278434"/>
                <a:gd name="csX2" fmla="*/ -11192 w 13990"/>
                <a:gd name="csY2" fmla="*/ -7298 h 278434"/>
                <a:gd name="csX3" fmla="*/ 2798 w 13990"/>
                <a:gd name="csY3" fmla="*/ -7298 h 278434"/>
                <a:gd name="csX4" fmla="*/ 2798 w 13990"/>
                <a:gd name="csY4" fmla="*/ 271136 h 278434"/>
              </a:gdLst>
              <a:ahLst/>
              <a:cxnLst>
                <a:cxn ang="0">
                  <a:pos x="csX0" y="csY0"/>
                </a:cxn>
                <a:cxn ang="0">
                  <a:pos x="csX1" y="csY1"/>
                </a:cxn>
                <a:cxn ang="0">
                  <a:pos x="csX2" y="csY2"/>
                </a:cxn>
                <a:cxn ang="0">
                  <a:pos x="csX3" y="csY3"/>
                </a:cxn>
                <a:cxn ang="0">
                  <a:pos x="csX4" y="csY4"/>
                </a:cxn>
              </a:cxnLst>
              <a:rect l="l" t="t" r="r" b="b"/>
              <a:pathLst>
                <a:path w="13990" h="278434">
                  <a:moveTo>
                    <a:pt x="2798" y="271136"/>
                  </a:moveTo>
                  <a:lnTo>
                    <a:pt x="-11192" y="271136"/>
                  </a:lnTo>
                  <a:lnTo>
                    <a:pt x="-11192" y="-7298"/>
                  </a:lnTo>
                  <a:lnTo>
                    <a:pt x="2798" y="-7298"/>
                  </a:lnTo>
                  <a:lnTo>
                    <a:pt x="2798" y="271136"/>
                  </a:lnTo>
                </a:path>
              </a:pathLst>
            </a:custGeom>
            <a:grpFill/>
            <a:ln w="548" cap="flat">
              <a:noFill/>
              <a:prstDash val="solid"/>
              <a:miter/>
            </a:ln>
          </p:spPr>
          <p:txBody>
            <a:bodyPr/>
            <a:lstStyle/>
            <a:p>
              <a:endParaRPr lang="en-US"/>
            </a:p>
          </p:txBody>
        </p:sp>
        <p:sp>
          <p:nvSpPr>
            <p:cNvPr id="72" name="Freeform: Shape 71">
              <a:extLst>
                <a:ext uri="{FF2B5EF4-FFF2-40B4-BE49-F238E27FC236}">
                  <a16:creationId xmlns:a16="http://schemas.microsoft.com/office/drawing/2014/main" id="{BE1BB0C0-BF87-AB24-FD01-032883A7C57B}"/>
                </a:ext>
              </a:extLst>
            </p:cNvPr>
            <p:cNvSpPr/>
            <p:nvPr/>
          </p:nvSpPr>
          <p:spPr>
            <a:xfrm flipV="1">
              <a:off x="26186933" y="3409073"/>
              <a:ext cx="13990" cy="278434"/>
            </a:xfrm>
            <a:custGeom>
              <a:avLst/>
              <a:gdLst>
                <a:gd name="csX0" fmla="*/ 2689 w 13990"/>
                <a:gd name="csY0" fmla="*/ 271136 h 278434"/>
                <a:gd name="csX1" fmla="*/ -11301 w 13990"/>
                <a:gd name="csY1" fmla="*/ 271136 h 278434"/>
                <a:gd name="csX2" fmla="*/ -11301 w 13990"/>
                <a:gd name="csY2" fmla="*/ -7298 h 278434"/>
                <a:gd name="csX3" fmla="*/ 2689 w 13990"/>
                <a:gd name="csY3" fmla="*/ -7298 h 278434"/>
                <a:gd name="csX4" fmla="*/ 2689 w 13990"/>
                <a:gd name="csY4" fmla="*/ 271136 h 278434"/>
              </a:gdLst>
              <a:ahLst/>
              <a:cxnLst>
                <a:cxn ang="0">
                  <a:pos x="csX0" y="csY0"/>
                </a:cxn>
                <a:cxn ang="0">
                  <a:pos x="csX1" y="csY1"/>
                </a:cxn>
                <a:cxn ang="0">
                  <a:pos x="csX2" y="csY2"/>
                </a:cxn>
                <a:cxn ang="0">
                  <a:pos x="csX3" y="csY3"/>
                </a:cxn>
                <a:cxn ang="0">
                  <a:pos x="csX4" y="csY4"/>
                </a:cxn>
              </a:cxnLst>
              <a:rect l="l" t="t" r="r" b="b"/>
              <a:pathLst>
                <a:path w="13990" h="278434">
                  <a:moveTo>
                    <a:pt x="2689" y="271136"/>
                  </a:moveTo>
                  <a:lnTo>
                    <a:pt x="-11301" y="271136"/>
                  </a:lnTo>
                  <a:lnTo>
                    <a:pt x="-11301" y="-7298"/>
                  </a:lnTo>
                  <a:lnTo>
                    <a:pt x="2689" y="-7298"/>
                  </a:lnTo>
                  <a:lnTo>
                    <a:pt x="2689" y="271136"/>
                  </a:lnTo>
                </a:path>
              </a:pathLst>
            </a:custGeom>
            <a:grpFill/>
            <a:ln w="548" cap="flat">
              <a:noFill/>
              <a:prstDash val="solid"/>
              <a:miter/>
            </a:ln>
          </p:spPr>
          <p:txBody>
            <a:bodyPr/>
            <a:lstStyle/>
            <a:p>
              <a:endParaRPr lang="en-US"/>
            </a:p>
          </p:txBody>
        </p:sp>
        <p:sp>
          <p:nvSpPr>
            <p:cNvPr id="73" name="Freeform: Shape 72">
              <a:extLst>
                <a:ext uri="{FF2B5EF4-FFF2-40B4-BE49-F238E27FC236}">
                  <a16:creationId xmlns:a16="http://schemas.microsoft.com/office/drawing/2014/main" id="{502E8488-33BC-59D7-F4CF-9990E291FC30}"/>
                </a:ext>
              </a:extLst>
            </p:cNvPr>
            <p:cNvSpPr/>
            <p:nvPr/>
          </p:nvSpPr>
          <p:spPr>
            <a:xfrm flipV="1">
              <a:off x="26139475" y="3704845"/>
              <a:ext cx="20848" cy="52839"/>
            </a:xfrm>
            <a:custGeom>
              <a:avLst/>
              <a:gdLst>
                <a:gd name="csX0" fmla="*/ 9602 w 20848"/>
                <a:gd name="csY0" fmla="*/ 45981 h 52839"/>
                <a:gd name="csX1" fmla="*/ -11247 w 20848"/>
                <a:gd name="csY1" fmla="*/ 45981 h 52839"/>
                <a:gd name="csX2" fmla="*/ -11247 w 20848"/>
                <a:gd name="csY2" fmla="*/ -6858 h 52839"/>
                <a:gd name="csX3" fmla="*/ 9602 w 20848"/>
                <a:gd name="csY3" fmla="*/ -6858 h 52839"/>
                <a:gd name="csX4" fmla="*/ 9602 w 20848"/>
                <a:gd name="csY4" fmla="*/ 45981 h 52839"/>
              </a:gdLst>
              <a:ahLst/>
              <a:cxnLst>
                <a:cxn ang="0">
                  <a:pos x="csX0" y="csY0"/>
                </a:cxn>
                <a:cxn ang="0">
                  <a:pos x="csX1" y="csY1"/>
                </a:cxn>
                <a:cxn ang="0">
                  <a:pos x="csX2" y="csY2"/>
                </a:cxn>
                <a:cxn ang="0">
                  <a:pos x="csX3" y="csY3"/>
                </a:cxn>
                <a:cxn ang="0">
                  <a:pos x="csX4" y="csY4"/>
                </a:cxn>
              </a:cxnLst>
              <a:rect l="l" t="t" r="r" b="b"/>
              <a:pathLst>
                <a:path w="20848" h="52839">
                  <a:moveTo>
                    <a:pt x="9602" y="45981"/>
                  </a:moveTo>
                  <a:lnTo>
                    <a:pt x="-11247" y="45981"/>
                  </a:lnTo>
                  <a:lnTo>
                    <a:pt x="-11247" y="-6858"/>
                  </a:lnTo>
                  <a:lnTo>
                    <a:pt x="9602" y="-6858"/>
                  </a:lnTo>
                  <a:lnTo>
                    <a:pt x="9602" y="45981"/>
                  </a:lnTo>
                </a:path>
              </a:pathLst>
            </a:custGeom>
            <a:grpFill/>
            <a:ln w="548" cap="flat">
              <a:noFill/>
              <a:prstDash val="solid"/>
              <a:miter/>
            </a:ln>
          </p:spPr>
          <p:txBody>
            <a:bodyPr/>
            <a:lstStyle/>
            <a:p>
              <a:endParaRPr lang="en-US"/>
            </a:p>
          </p:txBody>
        </p:sp>
        <p:sp>
          <p:nvSpPr>
            <p:cNvPr id="74" name="Freeform: Shape 73">
              <a:extLst>
                <a:ext uri="{FF2B5EF4-FFF2-40B4-BE49-F238E27FC236}">
                  <a16:creationId xmlns:a16="http://schemas.microsoft.com/office/drawing/2014/main" id="{26FAD768-B8EF-6760-207C-107BDF137A94}"/>
                </a:ext>
              </a:extLst>
            </p:cNvPr>
            <p:cNvSpPr/>
            <p:nvPr/>
          </p:nvSpPr>
          <p:spPr>
            <a:xfrm flipV="1">
              <a:off x="26192310" y="3704845"/>
              <a:ext cx="20848" cy="52839"/>
            </a:xfrm>
            <a:custGeom>
              <a:avLst/>
              <a:gdLst>
                <a:gd name="csX0" fmla="*/ 9536 w 20848"/>
                <a:gd name="csY0" fmla="*/ 45981 h 52839"/>
                <a:gd name="csX1" fmla="*/ -11312 w 20848"/>
                <a:gd name="csY1" fmla="*/ 45981 h 52839"/>
                <a:gd name="csX2" fmla="*/ -11312 w 20848"/>
                <a:gd name="csY2" fmla="*/ -6858 h 52839"/>
                <a:gd name="csX3" fmla="*/ 9536 w 20848"/>
                <a:gd name="csY3" fmla="*/ -6858 h 52839"/>
                <a:gd name="csX4" fmla="*/ 9536 w 20848"/>
                <a:gd name="csY4" fmla="*/ 45981 h 52839"/>
              </a:gdLst>
              <a:ahLst/>
              <a:cxnLst>
                <a:cxn ang="0">
                  <a:pos x="csX0" y="csY0"/>
                </a:cxn>
                <a:cxn ang="0">
                  <a:pos x="csX1" y="csY1"/>
                </a:cxn>
                <a:cxn ang="0">
                  <a:pos x="csX2" y="csY2"/>
                </a:cxn>
                <a:cxn ang="0">
                  <a:pos x="csX3" y="csY3"/>
                </a:cxn>
                <a:cxn ang="0">
                  <a:pos x="csX4" y="csY4"/>
                </a:cxn>
              </a:cxnLst>
              <a:rect l="l" t="t" r="r" b="b"/>
              <a:pathLst>
                <a:path w="20848" h="52839">
                  <a:moveTo>
                    <a:pt x="9536" y="45981"/>
                  </a:moveTo>
                  <a:lnTo>
                    <a:pt x="-11312" y="45981"/>
                  </a:lnTo>
                  <a:lnTo>
                    <a:pt x="-11312" y="-6858"/>
                  </a:lnTo>
                  <a:lnTo>
                    <a:pt x="9536" y="-6858"/>
                  </a:lnTo>
                  <a:lnTo>
                    <a:pt x="9536" y="45981"/>
                  </a:lnTo>
                </a:path>
              </a:pathLst>
            </a:custGeom>
            <a:grpFill/>
            <a:ln w="548" cap="flat">
              <a:noFill/>
              <a:prstDash val="solid"/>
              <a:miter/>
            </a:ln>
          </p:spPr>
          <p:txBody>
            <a:bodyPr/>
            <a:lstStyle/>
            <a:p>
              <a:endParaRPr lang="en-US"/>
            </a:p>
          </p:txBody>
        </p:sp>
        <p:sp>
          <p:nvSpPr>
            <p:cNvPr id="75" name="Freeform: Shape 74">
              <a:extLst>
                <a:ext uri="{FF2B5EF4-FFF2-40B4-BE49-F238E27FC236}">
                  <a16:creationId xmlns:a16="http://schemas.microsoft.com/office/drawing/2014/main" id="{67635F16-6C63-0C96-C6FA-6C2FDD4447BC}"/>
                </a:ext>
              </a:extLst>
            </p:cNvPr>
            <p:cNvSpPr/>
            <p:nvPr/>
          </p:nvSpPr>
          <p:spPr>
            <a:xfrm flipV="1">
              <a:off x="26245143" y="3704845"/>
              <a:ext cx="20848" cy="52839"/>
            </a:xfrm>
            <a:custGeom>
              <a:avLst/>
              <a:gdLst>
                <a:gd name="csX0" fmla="*/ 9471 w 20848"/>
                <a:gd name="csY0" fmla="*/ 45981 h 52839"/>
                <a:gd name="csX1" fmla="*/ -11378 w 20848"/>
                <a:gd name="csY1" fmla="*/ 45981 h 52839"/>
                <a:gd name="csX2" fmla="*/ -11378 w 20848"/>
                <a:gd name="csY2" fmla="*/ -6858 h 52839"/>
                <a:gd name="csX3" fmla="*/ 9471 w 20848"/>
                <a:gd name="csY3" fmla="*/ -6858 h 52839"/>
                <a:gd name="csX4" fmla="*/ 9471 w 20848"/>
                <a:gd name="csY4" fmla="*/ 45981 h 52839"/>
              </a:gdLst>
              <a:ahLst/>
              <a:cxnLst>
                <a:cxn ang="0">
                  <a:pos x="csX0" y="csY0"/>
                </a:cxn>
                <a:cxn ang="0">
                  <a:pos x="csX1" y="csY1"/>
                </a:cxn>
                <a:cxn ang="0">
                  <a:pos x="csX2" y="csY2"/>
                </a:cxn>
                <a:cxn ang="0">
                  <a:pos x="csX3" y="csY3"/>
                </a:cxn>
                <a:cxn ang="0">
                  <a:pos x="csX4" y="csY4"/>
                </a:cxn>
              </a:cxnLst>
              <a:rect l="l" t="t" r="r" b="b"/>
              <a:pathLst>
                <a:path w="20848" h="52839">
                  <a:moveTo>
                    <a:pt x="9471" y="45981"/>
                  </a:moveTo>
                  <a:lnTo>
                    <a:pt x="-11378" y="45981"/>
                  </a:lnTo>
                  <a:lnTo>
                    <a:pt x="-11378" y="-6858"/>
                  </a:lnTo>
                  <a:lnTo>
                    <a:pt x="9471" y="-6858"/>
                  </a:lnTo>
                  <a:lnTo>
                    <a:pt x="9471" y="45981"/>
                  </a:lnTo>
                </a:path>
              </a:pathLst>
            </a:custGeom>
            <a:grpFill/>
            <a:ln w="548" cap="flat">
              <a:noFill/>
              <a:prstDash val="solid"/>
              <a:miter/>
            </a:ln>
          </p:spPr>
          <p:txBody>
            <a:bodyPr/>
            <a:lstStyle/>
            <a:p>
              <a:endParaRPr lang="en-US"/>
            </a:p>
          </p:txBody>
        </p:sp>
        <p:sp>
          <p:nvSpPr>
            <p:cNvPr id="76" name="Freeform: Shape 75">
              <a:extLst>
                <a:ext uri="{FF2B5EF4-FFF2-40B4-BE49-F238E27FC236}">
                  <a16:creationId xmlns:a16="http://schemas.microsoft.com/office/drawing/2014/main" id="{4D05EB42-D01F-D8A3-01EF-41D551496E05}"/>
                </a:ext>
              </a:extLst>
            </p:cNvPr>
            <p:cNvSpPr/>
            <p:nvPr/>
          </p:nvSpPr>
          <p:spPr>
            <a:xfrm flipV="1">
              <a:off x="26013343" y="3687508"/>
              <a:ext cx="273112" cy="17337"/>
            </a:xfrm>
            <a:custGeom>
              <a:avLst/>
              <a:gdLst>
                <a:gd name="csX0" fmla="*/ 261866 w 273112"/>
                <a:gd name="csY0" fmla="*/ 10395 h 17337"/>
                <a:gd name="csX1" fmla="*/ -11247 w 273112"/>
                <a:gd name="csY1" fmla="*/ 10395 h 17337"/>
                <a:gd name="csX2" fmla="*/ -11247 w 273112"/>
                <a:gd name="csY2" fmla="*/ -6943 h 17337"/>
                <a:gd name="csX3" fmla="*/ 261866 w 273112"/>
                <a:gd name="csY3" fmla="*/ -6943 h 17337"/>
                <a:gd name="csX4" fmla="*/ 261866 w 273112"/>
                <a:gd name="csY4" fmla="*/ 10395 h 17337"/>
              </a:gdLst>
              <a:ahLst/>
              <a:cxnLst>
                <a:cxn ang="0">
                  <a:pos x="csX0" y="csY0"/>
                </a:cxn>
                <a:cxn ang="0">
                  <a:pos x="csX1" y="csY1"/>
                </a:cxn>
                <a:cxn ang="0">
                  <a:pos x="csX2" y="csY2"/>
                </a:cxn>
                <a:cxn ang="0">
                  <a:pos x="csX3" y="csY3"/>
                </a:cxn>
                <a:cxn ang="0">
                  <a:pos x="csX4" y="csY4"/>
                </a:cxn>
              </a:cxnLst>
              <a:rect l="l" t="t" r="r" b="b"/>
              <a:pathLst>
                <a:path w="273112" h="17337">
                  <a:moveTo>
                    <a:pt x="261866" y="10395"/>
                  </a:moveTo>
                  <a:lnTo>
                    <a:pt x="-11247" y="10395"/>
                  </a:lnTo>
                  <a:lnTo>
                    <a:pt x="-11247" y="-6943"/>
                  </a:lnTo>
                  <a:lnTo>
                    <a:pt x="261866" y="-6943"/>
                  </a:lnTo>
                  <a:lnTo>
                    <a:pt x="261866" y="10395"/>
                  </a:lnTo>
                </a:path>
              </a:pathLst>
            </a:custGeom>
            <a:grpFill/>
            <a:ln w="548" cap="flat">
              <a:noFill/>
              <a:prstDash val="solid"/>
              <a:miter/>
            </a:ln>
          </p:spPr>
          <p:txBody>
            <a:bodyPr/>
            <a:lstStyle/>
            <a:p>
              <a:endParaRPr lang="en-US"/>
            </a:p>
          </p:txBody>
        </p:sp>
        <p:sp>
          <p:nvSpPr>
            <p:cNvPr id="77" name="Freeform: Shape 76">
              <a:extLst>
                <a:ext uri="{FF2B5EF4-FFF2-40B4-BE49-F238E27FC236}">
                  <a16:creationId xmlns:a16="http://schemas.microsoft.com/office/drawing/2014/main" id="{43A32399-FCD0-DD28-5015-9009BF37DEEB}"/>
                </a:ext>
              </a:extLst>
            </p:cNvPr>
            <p:cNvSpPr/>
            <p:nvPr/>
          </p:nvSpPr>
          <p:spPr>
            <a:xfrm flipV="1">
              <a:off x="26086642" y="3393174"/>
              <a:ext cx="126516" cy="15899"/>
            </a:xfrm>
            <a:custGeom>
              <a:avLst/>
              <a:gdLst>
                <a:gd name="csX0" fmla="*/ 115270 w 126516"/>
                <a:gd name="csY0" fmla="*/ 8247 h 15899"/>
                <a:gd name="csX1" fmla="*/ -11247 w 126516"/>
                <a:gd name="csY1" fmla="*/ 8247 h 15899"/>
                <a:gd name="csX2" fmla="*/ -11247 w 126516"/>
                <a:gd name="csY2" fmla="*/ -7653 h 15899"/>
                <a:gd name="csX3" fmla="*/ 115270 w 126516"/>
                <a:gd name="csY3" fmla="*/ -7653 h 15899"/>
                <a:gd name="csX4" fmla="*/ 115270 w 126516"/>
                <a:gd name="csY4" fmla="*/ 8247 h 15899"/>
              </a:gdLst>
              <a:ahLst/>
              <a:cxnLst>
                <a:cxn ang="0">
                  <a:pos x="csX0" y="csY0"/>
                </a:cxn>
                <a:cxn ang="0">
                  <a:pos x="csX1" y="csY1"/>
                </a:cxn>
                <a:cxn ang="0">
                  <a:pos x="csX2" y="csY2"/>
                </a:cxn>
                <a:cxn ang="0">
                  <a:pos x="csX3" y="csY3"/>
                </a:cxn>
                <a:cxn ang="0">
                  <a:pos x="csX4" y="csY4"/>
                </a:cxn>
              </a:cxnLst>
              <a:rect l="l" t="t" r="r" b="b"/>
              <a:pathLst>
                <a:path w="126516" h="15899">
                  <a:moveTo>
                    <a:pt x="115270" y="8247"/>
                  </a:moveTo>
                  <a:lnTo>
                    <a:pt x="-11247" y="8247"/>
                  </a:lnTo>
                  <a:lnTo>
                    <a:pt x="-11247" y="-7653"/>
                  </a:lnTo>
                  <a:lnTo>
                    <a:pt x="115270" y="-7653"/>
                  </a:lnTo>
                  <a:lnTo>
                    <a:pt x="115270" y="8247"/>
                  </a:lnTo>
                </a:path>
              </a:pathLst>
            </a:custGeom>
            <a:grpFill/>
            <a:ln w="548" cap="flat">
              <a:noFill/>
              <a:prstDash val="solid"/>
              <a:miter/>
            </a:ln>
          </p:spPr>
          <p:txBody>
            <a:bodyPr/>
            <a:lstStyle/>
            <a:p>
              <a:endParaRPr lang="en-US"/>
            </a:p>
          </p:txBody>
        </p:sp>
        <p:sp>
          <p:nvSpPr>
            <p:cNvPr id="78" name="Freeform: Shape 77">
              <a:extLst>
                <a:ext uri="{FF2B5EF4-FFF2-40B4-BE49-F238E27FC236}">
                  <a16:creationId xmlns:a16="http://schemas.microsoft.com/office/drawing/2014/main" id="{594BDF46-46D3-48AB-0C7C-0628343BDE14}"/>
                </a:ext>
              </a:extLst>
            </p:cNvPr>
            <p:cNvSpPr/>
            <p:nvPr/>
          </p:nvSpPr>
          <p:spPr>
            <a:xfrm flipV="1">
              <a:off x="26149900" y="3255454"/>
              <a:ext cx="1714" cy="137719"/>
            </a:xfrm>
            <a:custGeom>
              <a:avLst/>
              <a:gdLst>
                <a:gd name="csX0" fmla="*/ -11247 w 1714"/>
                <a:gd name="csY0" fmla="*/ -7837 h 137719"/>
                <a:gd name="csX1" fmla="*/ -11247 w 1714"/>
                <a:gd name="csY1" fmla="*/ 129883 h 137719"/>
                <a:gd name="csX2" fmla="*/ -11247 w 1714"/>
                <a:gd name="csY2" fmla="*/ -7837 h 137719"/>
              </a:gdLst>
              <a:ahLst/>
              <a:cxnLst>
                <a:cxn ang="0">
                  <a:pos x="csX0" y="csY0"/>
                </a:cxn>
                <a:cxn ang="0">
                  <a:pos x="csX1" y="csY1"/>
                </a:cxn>
                <a:cxn ang="0">
                  <a:pos x="csX2" y="csY2"/>
                </a:cxn>
              </a:cxnLst>
              <a:rect l="l" t="t" r="r" b="b"/>
              <a:pathLst>
                <a:path w="1714" h="137719">
                  <a:moveTo>
                    <a:pt x="-11247" y="-7837"/>
                  </a:moveTo>
                  <a:lnTo>
                    <a:pt x="-11247" y="129883"/>
                  </a:lnTo>
                  <a:lnTo>
                    <a:pt x="-11247" y="-7837"/>
                  </a:lnTo>
                </a:path>
              </a:pathLst>
            </a:custGeom>
            <a:grpFill/>
            <a:ln w="548" cap="flat">
              <a:noFill/>
              <a:prstDash val="solid"/>
              <a:miter/>
            </a:ln>
          </p:spPr>
          <p:txBody>
            <a:bodyPr/>
            <a:lstStyle/>
            <a:p>
              <a:endParaRPr lang="en-US"/>
            </a:p>
          </p:txBody>
        </p:sp>
        <p:sp>
          <p:nvSpPr>
            <p:cNvPr id="79" name="Freeform: Shape 78">
              <a:extLst>
                <a:ext uri="{FF2B5EF4-FFF2-40B4-BE49-F238E27FC236}">
                  <a16:creationId xmlns:a16="http://schemas.microsoft.com/office/drawing/2014/main" id="{B2D87115-6C50-D36A-E3ED-1D5398A357F2}"/>
                </a:ext>
              </a:extLst>
            </p:cNvPr>
            <p:cNvSpPr/>
            <p:nvPr/>
          </p:nvSpPr>
          <p:spPr>
            <a:xfrm flipV="1">
              <a:off x="26148748" y="3254308"/>
              <a:ext cx="2303" cy="140007"/>
            </a:xfrm>
            <a:custGeom>
              <a:avLst/>
              <a:gdLst>
                <a:gd name="csX0" fmla="*/ -10095 w 2303"/>
                <a:gd name="csY0" fmla="*/ -7837 h 140007"/>
                <a:gd name="csX1" fmla="*/ -11247 w 2303"/>
                <a:gd name="csY1" fmla="*/ -6696 h 140007"/>
                <a:gd name="csX2" fmla="*/ -11247 w 2303"/>
                <a:gd name="csY2" fmla="*/ 131024 h 140007"/>
                <a:gd name="csX3" fmla="*/ -10095 w 2303"/>
                <a:gd name="csY3" fmla="*/ 132170 h 140007"/>
                <a:gd name="csX4" fmla="*/ -8943 w 2303"/>
                <a:gd name="csY4" fmla="*/ 131024 h 140007"/>
                <a:gd name="csX5" fmla="*/ -8943 w 2303"/>
                <a:gd name="csY5" fmla="*/ -6696 h 140007"/>
                <a:gd name="csX6" fmla="*/ -10095 w 2303"/>
                <a:gd name="csY6" fmla="*/ -7837 h 140007"/>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2303" h="140007">
                  <a:moveTo>
                    <a:pt x="-10095" y="-7837"/>
                  </a:moveTo>
                  <a:cubicBezTo>
                    <a:pt x="-10753" y="-7837"/>
                    <a:pt x="-11247" y="-7327"/>
                    <a:pt x="-11247" y="-6696"/>
                  </a:cubicBezTo>
                  <a:lnTo>
                    <a:pt x="-11247" y="131024"/>
                  </a:lnTo>
                  <a:cubicBezTo>
                    <a:pt x="-11247" y="131660"/>
                    <a:pt x="-10753" y="132170"/>
                    <a:pt x="-10095" y="132170"/>
                  </a:cubicBezTo>
                  <a:cubicBezTo>
                    <a:pt x="-9436" y="132170"/>
                    <a:pt x="-8943" y="131660"/>
                    <a:pt x="-8943" y="131024"/>
                  </a:cubicBezTo>
                  <a:lnTo>
                    <a:pt x="-8943" y="-6696"/>
                  </a:lnTo>
                  <a:cubicBezTo>
                    <a:pt x="-8943" y="-7327"/>
                    <a:pt x="-9436" y="-7837"/>
                    <a:pt x="-10095" y="-7837"/>
                  </a:cubicBezTo>
                </a:path>
              </a:pathLst>
            </a:custGeom>
            <a:grpFill/>
            <a:ln w="548" cap="flat">
              <a:noFill/>
              <a:prstDash val="solid"/>
              <a:miter/>
            </a:ln>
          </p:spPr>
          <p:txBody>
            <a:bodyPr/>
            <a:lstStyle/>
            <a:p>
              <a:endParaRPr lang="en-US"/>
            </a:p>
          </p:txBody>
        </p:sp>
        <p:sp>
          <p:nvSpPr>
            <p:cNvPr id="80" name="Freeform: Shape 79">
              <a:extLst>
                <a:ext uri="{FF2B5EF4-FFF2-40B4-BE49-F238E27FC236}">
                  <a16:creationId xmlns:a16="http://schemas.microsoft.com/office/drawing/2014/main" id="{359D90A4-D9D3-0300-647C-C8C81D5FE260}"/>
                </a:ext>
              </a:extLst>
            </p:cNvPr>
            <p:cNvSpPr/>
            <p:nvPr/>
          </p:nvSpPr>
          <p:spPr>
            <a:xfrm flipV="1">
              <a:off x="25026285" y="3192531"/>
              <a:ext cx="235531" cy="251156"/>
            </a:xfrm>
            <a:custGeom>
              <a:avLst/>
              <a:gdLst>
                <a:gd name="csX0" fmla="*/ 225532 w 235531"/>
                <a:gd name="csY0" fmla="*/ 243304 h 251156"/>
                <a:gd name="csX1" fmla="*/ -10000 w 235531"/>
                <a:gd name="csY1" fmla="*/ -7852 h 251156"/>
                <a:gd name="csX2" fmla="*/ 224379 w 235531"/>
                <a:gd name="csY2" fmla="*/ 73462 h 251156"/>
                <a:gd name="csX3" fmla="*/ 225532 w 235531"/>
                <a:gd name="csY3" fmla="*/ 73643 h 251156"/>
                <a:gd name="csX4" fmla="*/ 225532 w 235531"/>
                <a:gd name="csY4" fmla="*/ 243304 h 251156"/>
              </a:gdLst>
              <a:ahLst/>
              <a:cxnLst>
                <a:cxn ang="0">
                  <a:pos x="csX0" y="csY0"/>
                </a:cxn>
                <a:cxn ang="0">
                  <a:pos x="csX1" y="csY1"/>
                </a:cxn>
                <a:cxn ang="0">
                  <a:pos x="csX2" y="csY2"/>
                </a:cxn>
                <a:cxn ang="0">
                  <a:pos x="csX3" y="csY3"/>
                </a:cxn>
                <a:cxn ang="0">
                  <a:pos x="csX4" y="csY4"/>
                </a:cxn>
              </a:cxnLst>
              <a:rect l="l" t="t" r="r" b="b"/>
              <a:pathLst>
                <a:path w="235531" h="251156">
                  <a:moveTo>
                    <a:pt x="225532" y="243304"/>
                  </a:moveTo>
                  <a:lnTo>
                    <a:pt x="-10000" y="-7852"/>
                  </a:lnTo>
                  <a:lnTo>
                    <a:pt x="224379" y="73462"/>
                  </a:lnTo>
                  <a:cubicBezTo>
                    <a:pt x="224763" y="73593"/>
                    <a:pt x="225148" y="73637"/>
                    <a:pt x="225532" y="73643"/>
                  </a:cubicBezTo>
                  <a:lnTo>
                    <a:pt x="225532" y="243304"/>
                  </a:lnTo>
                </a:path>
              </a:pathLst>
            </a:custGeom>
            <a:grpFill/>
            <a:ln w="548" cap="flat">
              <a:noFill/>
              <a:prstDash val="solid"/>
              <a:miter/>
            </a:ln>
          </p:spPr>
          <p:txBody>
            <a:bodyPr/>
            <a:lstStyle/>
            <a:p>
              <a:endParaRPr lang="en-US"/>
            </a:p>
          </p:txBody>
        </p:sp>
        <p:sp>
          <p:nvSpPr>
            <p:cNvPr id="81" name="Freeform: Shape 80">
              <a:extLst>
                <a:ext uri="{FF2B5EF4-FFF2-40B4-BE49-F238E27FC236}">
                  <a16:creationId xmlns:a16="http://schemas.microsoft.com/office/drawing/2014/main" id="{71658F8A-11DE-11C4-76C0-2CC36BAC728E}"/>
                </a:ext>
              </a:extLst>
            </p:cNvPr>
            <p:cNvSpPr/>
            <p:nvPr/>
          </p:nvSpPr>
          <p:spPr>
            <a:xfrm flipV="1">
              <a:off x="25029851" y="2983186"/>
              <a:ext cx="231965" cy="200544"/>
            </a:xfrm>
            <a:custGeom>
              <a:avLst/>
              <a:gdLst>
                <a:gd name="csX0" fmla="*/ 221963 w 231965"/>
                <a:gd name="csY0" fmla="*/ 192128 h 200544"/>
                <a:gd name="csX1" fmla="*/ -10002 w 231965"/>
                <a:gd name="csY1" fmla="*/ 100647 h 200544"/>
                <a:gd name="csX2" fmla="*/ 221963 w 231965"/>
                <a:gd name="csY2" fmla="*/ -8417 h 200544"/>
              </a:gdLst>
              <a:ahLst/>
              <a:cxnLst>
                <a:cxn ang="0">
                  <a:pos x="csX0" y="csY0"/>
                </a:cxn>
                <a:cxn ang="0">
                  <a:pos x="csX1" y="csY1"/>
                </a:cxn>
                <a:cxn ang="0">
                  <a:pos x="csX2" y="csY2"/>
                </a:cxn>
              </a:cxnLst>
              <a:rect l="l" t="t" r="r" b="b"/>
              <a:pathLst>
                <a:path w="231965" h="200544">
                  <a:moveTo>
                    <a:pt x="221963" y="192128"/>
                  </a:moveTo>
                  <a:lnTo>
                    <a:pt x="-10002" y="100647"/>
                  </a:lnTo>
                  <a:lnTo>
                    <a:pt x="221963" y="-8417"/>
                  </a:lnTo>
                  <a:close/>
                </a:path>
              </a:pathLst>
            </a:custGeom>
            <a:grpFill/>
            <a:ln w="548" cap="flat">
              <a:noFill/>
              <a:prstDash val="solid"/>
              <a:miter/>
            </a:ln>
          </p:spPr>
          <p:txBody>
            <a:bodyPr/>
            <a:lstStyle/>
            <a:p>
              <a:endParaRPr lang="en-US"/>
            </a:p>
          </p:txBody>
        </p:sp>
        <p:sp>
          <p:nvSpPr>
            <p:cNvPr id="82" name="Freeform: Shape 81">
              <a:extLst>
                <a:ext uri="{FF2B5EF4-FFF2-40B4-BE49-F238E27FC236}">
                  <a16:creationId xmlns:a16="http://schemas.microsoft.com/office/drawing/2014/main" id="{68491E05-E016-3A4D-513C-7195BD915452}"/>
                </a:ext>
              </a:extLst>
            </p:cNvPr>
            <p:cNvSpPr/>
            <p:nvPr/>
          </p:nvSpPr>
          <p:spPr>
            <a:xfrm flipV="1">
              <a:off x="24959899" y="3193656"/>
              <a:ext cx="291437" cy="254009"/>
            </a:xfrm>
            <a:custGeom>
              <a:avLst/>
              <a:gdLst>
                <a:gd name="csX0" fmla="*/ 281485 w 291437"/>
                <a:gd name="csY0" fmla="*/ 246163 h 254009"/>
                <a:gd name="csX1" fmla="*/ -9952 w 291437"/>
                <a:gd name="csY1" fmla="*/ 173589 h 254009"/>
                <a:gd name="csX2" fmla="*/ 43321 w 291437"/>
                <a:gd name="csY2" fmla="*/ -7846 h 254009"/>
              </a:gdLst>
              <a:ahLst/>
              <a:cxnLst>
                <a:cxn ang="0">
                  <a:pos x="csX0" y="csY0"/>
                </a:cxn>
                <a:cxn ang="0">
                  <a:pos x="csX1" y="csY1"/>
                </a:cxn>
                <a:cxn ang="0">
                  <a:pos x="csX2" y="csY2"/>
                </a:cxn>
              </a:cxnLst>
              <a:rect l="l" t="t" r="r" b="b"/>
              <a:pathLst>
                <a:path w="291437" h="254009">
                  <a:moveTo>
                    <a:pt x="281485" y="246163"/>
                  </a:moveTo>
                  <a:lnTo>
                    <a:pt x="-9952" y="173589"/>
                  </a:lnTo>
                  <a:lnTo>
                    <a:pt x="43321" y="-7846"/>
                  </a:lnTo>
                  <a:close/>
                </a:path>
              </a:pathLst>
            </a:custGeom>
            <a:grpFill/>
            <a:ln w="548" cap="flat">
              <a:noFill/>
              <a:prstDash val="solid"/>
              <a:miter/>
            </a:ln>
          </p:spPr>
          <p:txBody>
            <a:bodyPr/>
            <a:lstStyle/>
            <a:p>
              <a:endParaRPr lang="en-US"/>
            </a:p>
          </p:txBody>
        </p:sp>
        <p:sp>
          <p:nvSpPr>
            <p:cNvPr id="83" name="Freeform: Shape 82">
              <a:extLst>
                <a:ext uri="{FF2B5EF4-FFF2-40B4-BE49-F238E27FC236}">
                  <a16:creationId xmlns:a16="http://schemas.microsoft.com/office/drawing/2014/main" id="{6B5FE7CF-3C2E-4602-AD5A-A67CEFD414EC}"/>
                </a:ext>
              </a:extLst>
            </p:cNvPr>
            <p:cNvSpPr/>
            <p:nvPr/>
          </p:nvSpPr>
          <p:spPr>
            <a:xfrm flipV="1">
              <a:off x="25022828" y="3369242"/>
              <a:ext cx="238987" cy="210238"/>
            </a:xfrm>
            <a:custGeom>
              <a:avLst/>
              <a:gdLst>
                <a:gd name="csX0" fmla="*/ 228990 w 238987"/>
                <a:gd name="csY0" fmla="*/ -7476 h 210238"/>
                <a:gd name="csX1" fmla="*/ 228990 w 238987"/>
                <a:gd name="csY1" fmla="*/ 202763 h 210238"/>
                <a:gd name="csX2" fmla="*/ -9998 w 238987"/>
                <a:gd name="csY2" fmla="*/ 119858 h 210238"/>
              </a:gdLst>
              <a:ahLst/>
              <a:cxnLst>
                <a:cxn ang="0">
                  <a:pos x="csX0" y="csY0"/>
                </a:cxn>
                <a:cxn ang="0">
                  <a:pos x="csX1" y="csY1"/>
                </a:cxn>
                <a:cxn ang="0">
                  <a:pos x="csX2" y="csY2"/>
                </a:cxn>
              </a:cxnLst>
              <a:rect l="l" t="t" r="r" b="b"/>
              <a:pathLst>
                <a:path w="238987" h="210238">
                  <a:moveTo>
                    <a:pt x="228990" y="-7476"/>
                  </a:moveTo>
                  <a:lnTo>
                    <a:pt x="228990" y="202763"/>
                  </a:lnTo>
                  <a:lnTo>
                    <a:pt x="-9998" y="119858"/>
                  </a:lnTo>
                  <a:close/>
                </a:path>
              </a:pathLst>
            </a:custGeom>
            <a:grpFill/>
            <a:ln w="548" cap="flat">
              <a:noFill/>
              <a:prstDash val="solid"/>
              <a:miter/>
            </a:ln>
          </p:spPr>
          <p:txBody>
            <a:bodyPr/>
            <a:lstStyle/>
            <a:p>
              <a:endParaRPr lang="en-US"/>
            </a:p>
          </p:txBody>
        </p:sp>
        <p:sp>
          <p:nvSpPr>
            <p:cNvPr id="84" name="Freeform: Shape 83">
              <a:extLst>
                <a:ext uri="{FF2B5EF4-FFF2-40B4-BE49-F238E27FC236}">
                  <a16:creationId xmlns:a16="http://schemas.microsoft.com/office/drawing/2014/main" id="{47F03A73-59BD-66EF-AB20-DC8927DA58F2}"/>
                </a:ext>
              </a:extLst>
            </p:cNvPr>
            <p:cNvSpPr/>
            <p:nvPr/>
          </p:nvSpPr>
          <p:spPr>
            <a:xfrm flipV="1">
              <a:off x="25015147" y="4008320"/>
              <a:ext cx="246668" cy="247288"/>
            </a:xfrm>
            <a:custGeom>
              <a:avLst/>
              <a:gdLst>
                <a:gd name="csX0" fmla="*/ 236676 w 246668"/>
                <a:gd name="csY0" fmla="*/ 241394 h 247288"/>
                <a:gd name="csX1" fmla="*/ -9993 w 246668"/>
                <a:gd name="csY1" fmla="*/ -5894 h 247288"/>
                <a:gd name="csX2" fmla="*/ 236072 w 246668"/>
                <a:gd name="csY2" fmla="*/ 37657 h 247288"/>
                <a:gd name="csX3" fmla="*/ 236676 w 246668"/>
                <a:gd name="csY3" fmla="*/ 37706 h 247288"/>
                <a:gd name="csX4" fmla="*/ 236676 w 246668"/>
                <a:gd name="csY4" fmla="*/ 241394 h 247288"/>
              </a:gdLst>
              <a:ahLst/>
              <a:cxnLst>
                <a:cxn ang="0">
                  <a:pos x="csX0" y="csY0"/>
                </a:cxn>
                <a:cxn ang="0">
                  <a:pos x="csX1" y="csY1"/>
                </a:cxn>
                <a:cxn ang="0">
                  <a:pos x="csX2" y="csY2"/>
                </a:cxn>
                <a:cxn ang="0">
                  <a:pos x="csX3" y="csY3"/>
                </a:cxn>
                <a:cxn ang="0">
                  <a:pos x="csX4" y="csY4"/>
                </a:cxn>
              </a:cxnLst>
              <a:rect l="l" t="t" r="r" b="b"/>
              <a:pathLst>
                <a:path w="246668" h="247288">
                  <a:moveTo>
                    <a:pt x="236676" y="241394"/>
                  </a:moveTo>
                  <a:lnTo>
                    <a:pt x="-9993" y="-5894"/>
                  </a:lnTo>
                  <a:lnTo>
                    <a:pt x="236072" y="37657"/>
                  </a:lnTo>
                  <a:cubicBezTo>
                    <a:pt x="236237" y="37695"/>
                    <a:pt x="236456" y="37706"/>
                    <a:pt x="236676" y="37706"/>
                  </a:cubicBezTo>
                  <a:lnTo>
                    <a:pt x="236676" y="241394"/>
                  </a:lnTo>
                </a:path>
              </a:pathLst>
            </a:custGeom>
            <a:grpFill/>
            <a:ln w="548" cap="flat">
              <a:noFill/>
              <a:prstDash val="solid"/>
              <a:miter/>
            </a:ln>
          </p:spPr>
          <p:txBody>
            <a:bodyPr/>
            <a:lstStyle/>
            <a:p>
              <a:endParaRPr lang="en-US"/>
            </a:p>
          </p:txBody>
        </p:sp>
        <p:sp>
          <p:nvSpPr>
            <p:cNvPr id="85" name="Freeform: Shape 84">
              <a:extLst>
                <a:ext uri="{FF2B5EF4-FFF2-40B4-BE49-F238E27FC236}">
                  <a16:creationId xmlns:a16="http://schemas.microsoft.com/office/drawing/2014/main" id="{148EC6B4-DE62-9B64-5A4B-699D49A0A86D}"/>
                </a:ext>
              </a:extLst>
            </p:cNvPr>
            <p:cNvSpPr/>
            <p:nvPr/>
          </p:nvSpPr>
          <p:spPr>
            <a:xfrm flipV="1">
              <a:off x="25015916" y="3780009"/>
              <a:ext cx="245900" cy="219368"/>
            </a:xfrm>
            <a:custGeom>
              <a:avLst/>
              <a:gdLst>
                <a:gd name="csX0" fmla="*/ 235907 w 245900"/>
                <a:gd name="csY0" fmla="*/ -6477 h 219368"/>
                <a:gd name="csX1" fmla="*/ 235907 w 245900"/>
                <a:gd name="csY1" fmla="*/ 212891 h 219368"/>
                <a:gd name="csX2" fmla="*/ -9993 w 245900"/>
                <a:gd name="csY2" fmla="*/ 152513 h 219368"/>
              </a:gdLst>
              <a:ahLst/>
              <a:cxnLst>
                <a:cxn ang="0">
                  <a:pos x="csX0" y="csY0"/>
                </a:cxn>
                <a:cxn ang="0">
                  <a:pos x="csX1" y="csY1"/>
                </a:cxn>
                <a:cxn ang="0">
                  <a:pos x="csX2" y="csY2"/>
                </a:cxn>
              </a:cxnLst>
              <a:rect l="l" t="t" r="r" b="b"/>
              <a:pathLst>
                <a:path w="245900" h="219368">
                  <a:moveTo>
                    <a:pt x="235907" y="-6477"/>
                  </a:moveTo>
                  <a:lnTo>
                    <a:pt x="235907" y="212891"/>
                  </a:lnTo>
                  <a:lnTo>
                    <a:pt x="-9993" y="152513"/>
                  </a:lnTo>
                  <a:close/>
                </a:path>
              </a:pathLst>
            </a:custGeom>
            <a:grpFill/>
            <a:ln w="548" cap="flat">
              <a:noFill/>
              <a:prstDash val="solid"/>
              <a:miter/>
            </a:ln>
          </p:spPr>
          <p:txBody>
            <a:bodyPr/>
            <a:lstStyle/>
            <a:p>
              <a:endParaRPr lang="en-US"/>
            </a:p>
          </p:txBody>
        </p:sp>
        <p:sp>
          <p:nvSpPr>
            <p:cNvPr id="86" name="Freeform: Shape 85">
              <a:extLst>
                <a:ext uri="{FF2B5EF4-FFF2-40B4-BE49-F238E27FC236}">
                  <a16:creationId xmlns:a16="http://schemas.microsoft.com/office/drawing/2014/main" id="{0C01D5C7-DB72-309D-03EE-CD9B9D37B7B3}"/>
                </a:ext>
              </a:extLst>
            </p:cNvPr>
            <p:cNvSpPr/>
            <p:nvPr/>
          </p:nvSpPr>
          <p:spPr>
            <a:xfrm flipV="1">
              <a:off x="24949530" y="3588610"/>
              <a:ext cx="302190" cy="246586"/>
            </a:xfrm>
            <a:custGeom>
              <a:avLst/>
              <a:gdLst>
                <a:gd name="csX0" fmla="*/ 292245 w 302190"/>
                <a:gd name="csY0" fmla="*/ 239682 h 246586"/>
                <a:gd name="csX1" fmla="*/ -9946 w 302190"/>
                <a:gd name="csY1" fmla="*/ 186683 h 246586"/>
                <a:gd name="csX2" fmla="*/ 46783 w 302190"/>
                <a:gd name="csY2" fmla="*/ -6905 h 246586"/>
              </a:gdLst>
              <a:ahLst/>
              <a:cxnLst>
                <a:cxn ang="0">
                  <a:pos x="csX0" y="csY0"/>
                </a:cxn>
                <a:cxn ang="0">
                  <a:pos x="csX1" y="csY1"/>
                </a:cxn>
                <a:cxn ang="0">
                  <a:pos x="csX2" y="csY2"/>
                </a:cxn>
              </a:cxnLst>
              <a:rect l="l" t="t" r="r" b="b"/>
              <a:pathLst>
                <a:path w="302190" h="246586">
                  <a:moveTo>
                    <a:pt x="292245" y="239682"/>
                  </a:moveTo>
                  <a:lnTo>
                    <a:pt x="-9946" y="186683"/>
                  </a:lnTo>
                  <a:lnTo>
                    <a:pt x="46783" y="-6905"/>
                  </a:lnTo>
                  <a:close/>
                </a:path>
              </a:pathLst>
            </a:custGeom>
            <a:grpFill/>
            <a:ln w="548" cap="flat">
              <a:noFill/>
              <a:prstDash val="solid"/>
              <a:miter/>
            </a:ln>
          </p:spPr>
          <p:txBody>
            <a:bodyPr/>
            <a:lstStyle/>
            <a:p>
              <a:endParaRPr lang="en-US"/>
            </a:p>
          </p:txBody>
        </p:sp>
        <p:sp>
          <p:nvSpPr>
            <p:cNvPr id="87" name="Freeform: Shape 86">
              <a:extLst>
                <a:ext uri="{FF2B5EF4-FFF2-40B4-BE49-F238E27FC236}">
                  <a16:creationId xmlns:a16="http://schemas.microsoft.com/office/drawing/2014/main" id="{25D93DD9-F7DF-C494-6CEE-CA8E8A822675}"/>
                </a:ext>
              </a:extLst>
            </p:cNvPr>
            <p:cNvSpPr/>
            <p:nvPr/>
          </p:nvSpPr>
          <p:spPr>
            <a:xfrm flipV="1">
              <a:off x="25018439" y="3588226"/>
              <a:ext cx="243377" cy="244479"/>
            </a:xfrm>
            <a:custGeom>
              <a:avLst/>
              <a:gdLst>
                <a:gd name="csX0" fmla="*/ 233382 w 243377"/>
                <a:gd name="csY0" fmla="*/ 237571 h 244479"/>
                <a:gd name="csX1" fmla="*/ -9995 w 243377"/>
                <a:gd name="csY1" fmla="*/ -6908 h 244479"/>
                <a:gd name="csX2" fmla="*/ 232559 w 243377"/>
                <a:gd name="csY2" fmla="*/ 52652 h 244479"/>
                <a:gd name="csX3" fmla="*/ 233382 w 243377"/>
                <a:gd name="csY3" fmla="*/ 52740 h 244479"/>
                <a:gd name="csX4" fmla="*/ 233382 w 243377"/>
                <a:gd name="csY4" fmla="*/ 237571 h 244479"/>
              </a:gdLst>
              <a:ahLst/>
              <a:cxnLst>
                <a:cxn ang="0">
                  <a:pos x="csX0" y="csY0"/>
                </a:cxn>
                <a:cxn ang="0">
                  <a:pos x="csX1" y="csY1"/>
                </a:cxn>
                <a:cxn ang="0">
                  <a:pos x="csX2" y="csY2"/>
                </a:cxn>
                <a:cxn ang="0">
                  <a:pos x="csX3" y="csY3"/>
                </a:cxn>
                <a:cxn ang="0">
                  <a:pos x="csX4" y="csY4"/>
                </a:cxn>
              </a:cxnLst>
              <a:rect l="l" t="t" r="r" b="b"/>
              <a:pathLst>
                <a:path w="243377" h="244479">
                  <a:moveTo>
                    <a:pt x="233382" y="237571"/>
                  </a:moveTo>
                  <a:lnTo>
                    <a:pt x="-9995" y="-6908"/>
                  </a:lnTo>
                  <a:lnTo>
                    <a:pt x="232559" y="52652"/>
                  </a:lnTo>
                  <a:cubicBezTo>
                    <a:pt x="232833" y="52718"/>
                    <a:pt x="233108" y="52740"/>
                    <a:pt x="233382" y="52740"/>
                  </a:cubicBezTo>
                  <a:lnTo>
                    <a:pt x="233382" y="237571"/>
                  </a:lnTo>
                </a:path>
              </a:pathLst>
            </a:custGeom>
            <a:grpFill/>
            <a:ln w="548" cap="flat">
              <a:noFill/>
              <a:prstDash val="solid"/>
              <a:miter/>
            </a:ln>
          </p:spPr>
          <p:txBody>
            <a:bodyPr/>
            <a:lstStyle/>
            <a:p>
              <a:endParaRPr lang="en-US"/>
            </a:p>
          </p:txBody>
        </p:sp>
        <p:sp>
          <p:nvSpPr>
            <p:cNvPr id="88" name="Freeform: Shape 87">
              <a:extLst>
                <a:ext uri="{FF2B5EF4-FFF2-40B4-BE49-F238E27FC236}">
                  <a16:creationId xmlns:a16="http://schemas.microsoft.com/office/drawing/2014/main" id="{3CE0D9F3-6E15-C953-1736-E7217A17844A}"/>
                </a:ext>
              </a:extLst>
            </p:cNvPr>
            <p:cNvSpPr/>
            <p:nvPr/>
          </p:nvSpPr>
          <p:spPr>
            <a:xfrm flipV="1">
              <a:off x="25014544" y="4218916"/>
              <a:ext cx="247272" cy="195238"/>
            </a:xfrm>
            <a:custGeom>
              <a:avLst/>
              <a:gdLst>
                <a:gd name="csX0" fmla="*/ 237280 w 247272"/>
                <a:gd name="csY0" fmla="*/ -5450 h 195238"/>
                <a:gd name="csX1" fmla="*/ 237280 w 247272"/>
                <a:gd name="csY1" fmla="*/ 189789 h 195238"/>
                <a:gd name="csX2" fmla="*/ -9993 w 247272"/>
                <a:gd name="csY2" fmla="*/ 146029 h 195238"/>
              </a:gdLst>
              <a:ahLst/>
              <a:cxnLst>
                <a:cxn ang="0">
                  <a:pos x="csX0" y="csY0"/>
                </a:cxn>
                <a:cxn ang="0">
                  <a:pos x="csX1" y="csY1"/>
                </a:cxn>
                <a:cxn ang="0">
                  <a:pos x="csX2" y="csY2"/>
                </a:cxn>
              </a:cxnLst>
              <a:rect l="l" t="t" r="r" b="b"/>
              <a:pathLst>
                <a:path w="247272" h="195238">
                  <a:moveTo>
                    <a:pt x="237280" y="-5450"/>
                  </a:moveTo>
                  <a:lnTo>
                    <a:pt x="237280" y="189789"/>
                  </a:lnTo>
                  <a:lnTo>
                    <a:pt x="-9993" y="146029"/>
                  </a:lnTo>
                  <a:close/>
                </a:path>
              </a:pathLst>
            </a:custGeom>
            <a:grpFill/>
            <a:ln w="548" cap="flat">
              <a:noFill/>
              <a:prstDash val="solid"/>
              <a:miter/>
            </a:ln>
          </p:spPr>
          <p:txBody>
            <a:bodyPr/>
            <a:lstStyle/>
            <a:p>
              <a:endParaRPr lang="en-US"/>
            </a:p>
          </p:txBody>
        </p:sp>
        <p:sp>
          <p:nvSpPr>
            <p:cNvPr id="89" name="Freeform: Shape 88">
              <a:extLst>
                <a:ext uri="{FF2B5EF4-FFF2-40B4-BE49-F238E27FC236}">
                  <a16:creationId xmlns:a16="http://schemas.microsoft.com/office/drawing/2014/main" id="{2FD21B15-E13F-377E-BE2B-0132F0FFE69A}"/>
                </a:ext>
              </a:extLst>
            </p:cNvPr>
            <p:cNvSpPr/>
            <p:nvPr/>
          </p:nvSpPr>
          <p:spPr>
            <a:xfrm flipV="1">
              <a:off x="24936802" y="3842274"/>
              <a:ext cx="315139" cy="195688"/>
            </a:xfrm>
            <a:custGeom>
              <a:avLst/>
              <a:gdLst>
                <a:gd name="csX0" fmla="*/ 59465 w 315139"/>
                <a:gd name="csY0" fmla="*/ 189333 h 195688"/>
                <a:gd name="csX1" fmla="*/ -9938 w 315139"/>
                <a:gd name="csY1" fmla="*/ -6356 h 195688"/>
                <a:gd name="csX2" fmla="*/ 305201 w 315139"/>
                <a:gd name="csY2" fmla="*/ 30441 h 195688"/>
              </a:gdLst>
              <a:ahLst/>
              <a:cxnLst>
                <a:cxn ang="0">
                  <a:pos x="csX0" y="csY0"/>
                </a:cxn>
                <a:cxn ang="0">
                  <a:pos x="csX1" y="csY1"/>
                </a:cxn>
                <a:cxn ang="0">
                  <a:pos x="csX2" y="csY2"/>
                </a:cxn>
              </a:cxnLst>
              <a:rect l="l" t="t" r="r" b="b"/>
              <a:pathLst>
                <a:path w="315139" h="195688">
                  <a:moveTo>
                    <a:pt x="59465" y="189333"/>
                  </a:moveTo>
                  <a:lnTo>
                    <a:pt x="-9938" y="-6356"/>
                  </a:lnTo>
                  <a:lnTo>
                    <a:pt x="305201" y="30441"/>
                  </a:lnTo>
                  <a:close/>
                </a:path>
              </a:pathLst>
            </a:custGeom>
            <a:grpFill/>
            <a:ln w="548" cap="flat">
              <a:noFill/>
              <a:prstDash val="solid"/>
              <a:miter/>
            </a:ln>
          </p:spPr>
          <p:txBody>
            <a:bodyPr/>
            <a:lstStyle/>
            <a:p>
              <a:endParaRPr lang="en-US"/>
            </a:p>
          </p:txBody>
        </p:sp>
        <p:sp>
          <p:nvSpPr>
            <p:cNvPr id="90" name="Freeform: Shape 89">
              <a:extLst>
                <a:ext uri="{FF2B5EF4-FFF2-40B4-BE49-F238E27FC236}">
                  <a16:creationId xmlns:a16="http://schemas.microsoft.com/office/drawing/2014/main" id="{51712CF5-8CEB-1CCC-DFAC-4E61430E7C14}"/>
                </a:ext>
              </a:extLst>
            </p:cNvPr>
            <p:cNvSpPr/>
            <p:nvPr/>
          </p:nvSpPr>
          <p:spPr>
            <a:xfrm flipV="1">
              <a:off x="24936582" y="4008013"/>
              <a:ext cx="315852" cy="249175"/>
            </a:xfrm>
            <a:custGeom>
              <a:avLst/>
              <a:gdLst>
                <a:gd name="csX0" fmla="*/ 305914 w 315852"/>
                <a:gd name="csY0" fmla="*/ 243283 h 249175"/>
                <a:gd name="csX1" fmla="*/ -9939 w 315852"/>
                <a:gd name="csY1" fmla="*/ 206398 h 249175"/>
                <a:gd name="csX2" fmla="*/ 57325 w 315852"/>
                <a:gd name="csY2" fmla="*/ -5893 h 249175"/>
              </a:gdLst>
              <a:ahLst/>
              <a:cxnLst>
                <a:cxn ang="0">
                  <a:pos x="csX0" y="csY0"/>
                </a:cxn>
                <a:cxn ang="0">
                  <a:pos x="csX1" y="csY1"/>
                </a:cxn>
                <a:cxn ang="0">
                  <a:pos x="csX2" y="csY2"/>
                </a:cxn>
              </a:cxnLst>
              <a:rect l="l" t="t" r="r" b="b"/>
              <a:pathLst>
                <a:path w="315852" h="249175">
                  <a:moveTo>
                    <a:pt x="305914" y="243283"/>
                  </a:moveTo>
                  <a:lnTo>
                    <a:pt x="-9939" y="206398"/>
                  </a:lnTo>
                  <a:lnTo>
                    <a:pt x="57325" y="-5893"/>
                  </a:lnTo>
                  <a:close/>
                </a:path>
              </a:pathLst>
            </a:custGeom>
            <a:grpFill/>
            <a:ln w="548" cap="flat">
              <a:noFill/>
              <a:prstDash val="solid"/>
              <a:miter/>
            </a:ln>
          </p:spPr>
          <p:txBody>
            <a:bodyPr/>
            <a:lstStyle/>
            <a:p>
              <a:endParaRPr lang="en-US"/>
            </a:p>
          </p:txBody>
        </p:sp>
        <p:sp>
          <p:nvSpPr>
            <p:cNvPr id="91" name="Freeform: Shape 90">
              <a:extLst>
                <a:ext uri="{FF2B5EF4-FFF2-40B4-BE49-F238E27FC236}">
                  <a16:creationId xmlns:a16="http://schemas.microsoft.com/office/drawing/2014/main" id="{DEAF9618-8167-B2C8-9FAE-8C130459A30B}"/>
                </a:ext>
              </a:extLst>
            </p:cNvPr>
            <p:cNvSpPr/>
            <p:nvPr/>
          </p:nvSpPr>
          <p:spPr>
            <a:xfrm flipV="1">
              <a:off x="24935485" y="4264189"/>
              <a:ext cx="326331" cy="197274"/>
            </a:xfrm>
            <a:custGeom>
              <a:avLst/>
              <a:gdLst>
                <a:gd name="csX0" fmla="*/ 316388 w 326331"/>
                <a:gd name="csY0" fmla="*/ 34520 h 197274"/>
                <a:gd name="csX1" fmla="*/ 316333 w 326331"/>
                <a:gd name="csY1" fmla="*/ 34520 h 197274"/>
                <a:gd name="csX2" fmla="*/ 314577 w 326331"/>
                <a:gd name="csY2" fmla="*/ 35025 h 197274"/>
                <a:gd name="csX3" fmla="*/ 58472 w 326331"/>
                <a:gd name="csY3" fmla="*/ 191936 h 197274"/>
                <a:gd name="csX4" fmla="*/ -9944 w 326331"/>
                <a:gd name="csY4" fmla="*/ -5339 h 197274"/>
                <a:gd name="csX5" fmla="*/ 316388 w 326331"/>
                <a:gd name="csY5" fmla="*/ -5339 h 197274"/>
                <a:gd name="csX6" fmla="*/ 316388 w 326331"/>
                <a:gd name="csY6" fmla="*/ 34520 h 197274"/>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26331" h="197274">
                  <a:moveTo>
                    <a:pt x="316388" y="34520"/>
                  </a:moveTo>
                  <a:lnTo>
                    <a:pt x="316333" y="34520"/>
                  </a:lnTo>
                  <a:cubicBezTo>
                    <a:pt x="315729" y="34520"/>
                    <a:pt x="315126" y="34679"/>
                    <a:pt x="314577" y="35025"/>
                  </a:cubicBezTo>
                  <a:lnTo>
                    <a:pt x="58472" y="191936"/>
                  </a:lnTo>
                  <a:lnTo>
                    <a:pt x="-9944" y="-5339"/>
                  </a:lnTo>
                  <a:lnTo>
                    <a:pt x="316388" y="-5339"/>
                  </a:lnTo>
                  <a:lnTo>
                    <a:pt x="316388" y="34520"/>
                  </a:lnTo>
                </a:path>
              </a:pathLst>
            </a:custGeom>
            <a:grpFill/>
            <a:ln w="548" cap="flat">
              <a:noFill/>
              <a:prstDash val="solid"/>
              <a:miter/>
            </a:ln>
          </p:spPr>
          <p:txBody>
            <a:bodyPr/>
            <a:lstStyle/>
            <a:p>
              <a:endParaRPr lang="en-US"/>
            </a:p>
          </p:txBody>
        </p:sp>
        <p:sp>
          <p:nvSpPr>
            <p:cNvPr id="92" name="Freeform: Shape 91">
              <a:extLst>
                <a:ext uri="{FF2B5EF4-FFF2-40B4-BE49-F238E27FC236}">
                  <a16:creationId xmlns:a16="http://schemas.microsoft.com/office/drawing/2014/main" id="{1D3BCABD-5E76-CCCD-CD2D-9960C8A91DBA}"/>
                </a:ext>
              </a:extLst>
            </p:cNvPr>
            <p:cNvSpPr/>
            <p:nvPr/>
          </p:nvSpPr>
          <p:spPr>
            <a:xfrm flipV="1">
              <a:off x="24988319" y="2878149"/>
              <a:ext cx="273497" cy="157289"/>
            </a:xfrm>
            <a:custGeom>
              <a:avLst/>
              <a:gdLst>
                <a:gd name="csX0" fmla="*/ 262204 w 273497"/>
                <a:gd name="csY0" fmla="*/ 90226 h 157289"/>
                <a:gd name="csX1" fmla="*/ 263521 w 273497"/>
                <a:gd name="csY1" fmla="*/ 90462 h 157289"/>
                <a:gd name="csX2" fmla="*/ 263521 w 273497"/>
                <a:gd name="csY2" fmla="*/ 148568 h 157289"/>
                <a:gd name="csX3" fmla="*/ -9976 w 273497"/>
                <a:gd name="csY3" fmla="*/ 82056 h 157289"/>
                <a:gd name="csX4" fmla="*/ 13066 w 273497"/>
                <a:gd name="csY4" fmla="*/ -8722 h 157289"/>
                <a:gd name="csX5" fmla="*/ 262204 w 273497"/>
                <a:gd name="csY5" fmla="*/ 90226 h 157289"/>
              </a:gdLst>
              <a:ahLst/>
              <a:cxnLst>
                <a:cxn ang="0">
                  <a:pos x="csX0" y="csY0"/>
                </a:cxn>
                <a:cxn ang="0">
                  <a:pos x="csX1" y="csY1"/>
                </a:cxn>
                <a:cxn ang="0">
                  <a:pos x="csX2" y="csY2"/>
                </a:cxn>
                <a:cxn ang="0">
                  <a:pos x="csX3" y="csY3"/>
                </a:cxn>
                <a:cxn ang="0">
                  <a:pos x="csX4" y="csY4"/>
                </a:cxn>
                <a:cxn ang="0">
                  <a:pos x="csX5" y="csY5"/>
                </a:cxn>
              </a:cxnLst>
              <a:rect l="l" t="t" r="r" b="b"/>
              <a:pathLst>
                <a:path w="273497" h="157289">
                  <a:moveTo>
                    <a:pt x="262204" y="90226"/>
                  </a:moveTo>
                  <a:cubicBezTo>
                    <a:pt x="262643" y="90390"/>
                    <a:pt x="263081" y="90462"/>
                    <a:pt x="263521" y="90462"/>
                  </a:cubicBezTo>
                  <a:lnTo>
                    <a:pt x="263521" y="148568"/>
                  </a:lnTo>
                  <a:lnTo>
                    <a:pt x="-9976" y="82056"/>
                  </a:lnTo>
                  <a:lnTo>
                    <a:pt x="13066" y="-8722"/>
                  </a:lnTo>
                  <a:lnTo>
                    <a:pt x="262204" y="90226"/>
                  </a:lnTo>
                </a:path>
              </a:pathLst>
            </a:custGeom>
            <a:grpFill/>
            <a:ln w="548" cap="flat">
              <a:noFill/>
              <a:prstDash val="solid"/>
              <a:miter/>
            </a:ln>
          </p:spPr>
          <p:txBody>
            <a:bodyPr/>
            <a:lstStyle/>
            <a:p>
              <a:endParaRPr lang="en-US"/>
            </a:p>
          </p:txBody>
        </p:sp>
        <p:sp>
          <p:nvSpPr>
            <p:cNvPr id="93" name="Freeform: Shape 92">
              <a:extLst>
                <a:ext uri="{FF2B5EF4-FFF2-40B4-BE49-F238E27FC236}">
                  <a16:creationId xmlns:a16="http://schemas.microsoft.com/office/drawing/2014/main" id="{587405DD-E5DC-3EC5-8990-BBAD1DF245AC}"/>
                </a:ext>
              </a:extLst>
            </p:cNvPr>
            <p:cNvSpPr/>
            <p:nvPr/>
          </p:nvSpPr>
          <p:spPr>
            <a:xfrm flipV="1">
              <a:off x="25013008" y="2943366"/>
              <a:ext cx="248808" cy="127673"/>
            </a:xfrm>
            <a:custGeom>
              <a:avLst/>
              <a:gdLst>
                <a:gd name="csX0" fmla="*/ 238817 w 248808"/>
                <a:gd name="csY0" fmla="*/ 119074 h 127673"/>
                <a:gd name="csX1" fmla="*/ -9553 w 248808"/>
                <a:gd name="csY1" fmla="*/ 20461 h 127673"/>
                <a:gd name="csX2" fmla="*/ -9992 w 248808"/>
                <a:gd name="csY2" fmla="*/ 20335 h 127673"/>
                <a:gd name="csX3" fmla="*/ -2640 w 248808"/>
                <a:gd name="csY3" fmla="*/ -8600 h 127673"/>
                <a:gd name="csX4" fmla="*/ 237554 w 248808"/>
                <a:gd name="csY4" fmla="*/ 86128 h 127673"/>
                <a:gd name="csX5" fmla="*/ 238817 w 248808"/>
                <a:gd name="csY5" fmla="*/ 86358 h 127673"/>
                <a:gd name="csX6" fmla="*/ 238817 w 248808"/>
                <a:gd name="csY6" fmla="*/ 119074 h 127673"/>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248808" h="127673">
                  <a:moveTo>
                    <a:pt x="238817" y="119074"/>
                  </a:moveTo>
                  <a:lnTo>
                    <a:pt x="-9553" y="20461"/>
                  </a:lnTo>
                  <a:cubicBezTo>
                    <a:pt x="-9663" y="20406"/>
                    <a:pt x="-9827" y="20373"/>
                    <a:pt x="-9992" y="20335"/>
                  </a:cubicBezTo>
                  <a:lnTo>
                    <a:pt x="-2640" y="-8600"/>
                  </a:lnTo>
                  <a:lnTo>
                    <a:pt x="237554" y="86128"/>
                  </a:lnTo>
                  <a:cubicBezTo>
                    <a:pt x="237938" y="86292"/>
                    <a:pt x="238377" y="86358"/>
                    <a:pt x="238817" y="86358"/>
                  </a:cubicBezTo>
                  <a:lnTo>
                    <a:pt x="238817" y="119074"/>
                  </a:lnTo>
                </a:path>
              </a:pathLst>
            </a:custGeom>
            <a:grpFill/>
            <a:ln w="548" cap="flat">
              <a:noFill/>
              <a:prstDash val="solid"/>
              <a:miter/>
            </a:ln>
          </p:spPr>
          <p:txBody>
            <a:bodyPr/>
            <a:lstStyle/>
            <a:p>
              <a:endParaRPr lang="en-US"/>
            </a:p>
          </p:txBody>
        </p:sp>
        <p:sp>
          <p:nvSpPr>
            <p:cNvPr id="94" name="Freeform: Shape 93">
              <a:extLst>
                <a:ext uri="{FF2B5EF4-FFF2-40B4-BE49-F238E27FC236}">
                  <a16:creationId xmlns:a16="http://schemas.microsoft.com/office/drawing/2014/main" id="{627AF527-5E89-E089-61EF-CC42F1680562}"/>
                </a:ext>
              </a:extLst>
            </p:cNvPr>
            <p:cNvSpPr/>
            <p:nvPr/>
          </p:nvSpPr>
          <p:spPr>
            <a:xfrm flipV="1">
              <a:off x="24960229" y="3077673"/>
              <a:ext cx="291382" cy="181413"/>
            </a:xfrm>
            <a:custGeom>
              <a:avLst/>
              <a:gdLst>
                <a:gd name="csX0" fmla="*/ 49959 w 291382"/>
                <a:gd name="csY0" fmla="*/ 173201 h 181413"/>
                <a:gd name="csX1" fmla="*/ -9953 w 291382"/>
                <a:gd name="csY1" fmla="*/ -8213 h 181413"/>
                <a:gd name="csX2" fmla="*/ 281430 w 291382"/>
                <a:gd name="csY2" fmla="*/ 64350 h 181413"/>
              </a:gdLst>
              <a:ahLst/>
              <a:cxnLst>
                <a:cxn ang="0">
                  <a:pos x="csX0" y="csY0"/>
                </a:cxn>
                <a:cxn ang="0">
                  <a:pos x="csX1" y="csY1"/>
                </a:cxn>
                <a:cxn ang="0">
                  <a:pos x="csX2" y="csY2"/>
                </a:cxn>
              </a:cxnLst>
              <a:rect l="l" t="t" r="r" b="b"/>
              <a:pathLst>
                <a:path w="291382" h="181413">
                  <a:moveTo>
                    <a:pt x="49959" y="173201"/>
                  </a:moveTo>
                  <a:lnTo>
                    <a:pt x="-9953" y="-8213"/>
                  </a:lnTo>
                  <a:lnTo>
                    <a:pt x="281430" y="64350"/>
                  </a:lnTo>
                  <a:close/>
                </a:path>
              </a:pathLst>
            </a:custGeom>
            <a:grpFill/>
            <a:ln w="548" cap="flat">
              <a:noFill/>
              <a:prstDash val="solid"/>
              <a:miter/>
            </a:ln>
          </p:spPr>
          <p:txBody>
            <a:bodyPr/>
            <a:lstStyle/>
            <a:p>
              <a:endParaRPr lang="en-US"/>
            </a:p>
          </p:txBody>
        </p:sp>
        <p:sp>
          <p:nvSpPr>
            <p:cNvPr id="95" name="Freeform: Shape 94">
              <a:extLst>
                <a:ext uri="{FF2B5EF4-FFF2-40B4-BE49-F238E27FC236}">
                  <a16:creationId xmlns:a16="http://schemas.microsoft.com/office/drawing/2014/main" id="{14B96D89-7137-D0BB-BD21-0B66881F798E}"/>
                </a:ext>
              </a:extLst>
            </p:cNvPr>
            <p:cNvSpPr/>
            <p:nvPr/>
          </p:nvSpPr>
          <p:spPr>
            <a:xfrm flipV="1">
              <a:off x="24949859" y="3454753"/>
              <a:ext cx="301532" cy="179833"/>
            </a:xfrm>
            <a:custGeom>
              <a:avLst/>
              <a:gdLst>
                <a:gd name="csX0" fmla="*/ 53312 w 301532"/>
                <a:gd name="csY0" fmla="*/ 172526 h 179833"/>
                <a:gd name="csX1" fmla="*/ -9946 w 301532"/>
                <a:gd name="csY1" fmla="*/ -7307 h 179833"/>
                <a:gd name="csX2" fmla="*/ 291587 w 301532"/>
                <a:gd name="csY2" fmla="*/ 45571 h 179833"/>
              </a:gdLst>
              <a:ahLst/>
              <a:cxnLst>
                <a:cxn ang="0">
                  <a:pos x="csX0" y="csY0"/>
                </a:cxn>
                <a:cxn ang="0">
                  <a:pos x="csX1" y="csY1"/>
                </a:cxn>
                <a:cxn ang="0">
                  <a:pos x="csX2" y="csY2"/>
                </a:cxn>
              </a:cxnLst>
              <a:rect l="l" t="t" r="r" b="b"/>
              <a:pathLst>
                <a:path w="301532" h="179833">
                  <a:moveTo>
                    <a:pt x="53312" y="172526"/>
                  </a:moveTo>
                  <a:lnTo>
                    <a:pt x="-9946" y="-7307"/>
                  </a:lnTo>
                  <a:lnTo>
                    <a:pt x="291587" y="45571"/>
                  </a:lnTo>
                  <a:close/>
                </a:path>
              </a:pathLst>
            </a:custGeom>
            <a:grpFill/>
            <a:ln w="548" cap="flat">
              <a:noFill/>
              <a:prstDash val="solid"/>
              <a:miter/>
            </a:ln>
          </p:spPr>
          <p:txBody>
            <a:bodyPr/>
            <a:lstStyle/>
            <a:p>
              <a:endParaRPr lang="en-US"/>
            </a:p>
          </p:txBody>
        </p:sp>
        <p:sp>
          <p:nvSpPr>
            <p:cNvPr id="96" name="Freeform: Shape 95">
              <a:extLst>
                <a:ext uri="{FF2B5EF4-FFF2-40B4-BE49-F238E27FC236}">
                  <a16:creationId xmlns:a16="http://schemas.microsoft.com/office/drawing/2014/main" id="{A832A884-3D47-A323-DE43-B95DE4CBD676}"/>
                </a:ext>
              </a:extLst>
            </p:cNvPr>
            <p:cNvSpPr/>
            <p:nvPr/>
          </p:nvSpPr>
          <p:spPr>
            <a:xfrm flipV="1">
              <a:off x="25286505" y="3196108"/>
              <a:ext cx="341912" cy="293176"/>
            </a:xfrm>
            <a:custGeom>
              <a:avLst/>
              <a:gdLst>
                <a:gd name="csX0" fmla="*/ 279294 w 341912"/>
                <a:gd name="csY0" fmla="*/ -7793 h 293176"/>
                <a:gd name="csX1" fmla="*/ 331524 w 341912"/>
                <a:gd name="csY1" fmla="*/ 158741 h 293176"/>
                <a:gd name="csX2" fmla="*/ 331359 w 341912"/>
                <a:gd name="csY2" fmla="*/ 158774 h 293176"/>
                <a:gd name="csX3" fmla="*/ -10388 w 341912"/>
                <a:gd name="csY3" fmla="*/ 285384 h 293176"/>
                <a:gd name="csX4" fmla="*/ 279294 w 341912"/>
                <a:gd name="csY4" fmla="*/ -7793 h 293176"/>
              </a:gdLst>
              <a:ahLst/>
              <a:cxnLst>
                <a:cxn ang="0">
                  <a:pos x="csX0" y="csY0"/>
                </a:cxn>
                <a:cxn ang="0">
                  <a:pos x="csX1" y="csY1"/>
                </a:cxn>
                <a:cxn ang="0">
                  <a:pos x="csX2" y="csY2"/>
                </a:cxn>
                <a:cxn ang="0">
                  <a:pos x="csX3" y="csY3"/>
                </a:cxn>
                <a:cxn ang="0">
                  <a:pos x="csX4" y="csY4"/>
                </a:cxn>
              </a:cxnLst>
              <a:rect l="l" t="t" r="r" b="b"/>
              <a:pathLst>
                <a:path w="341912" h="293176">
                  <a:moveTo>
                    <a:pt x="279294" y="-7793"/>
                  </a:moveTo>
                  <a:lnTo>
                    <a:pt x="331524" y="158741"/>
                  </a:lnTo>
                  <a:cubicBezTo>
                    <a:pt x="331469" y="158758"/>
                    <a:pt x="331414" y="158752"/>
                    <a:pt x="331359" y="158774"/>
                  </a:cubicBezTo>
                  <a:lnTo>
                    <a:pt x="-10388" y="285384"/>
                  </a:lnTo>
                  <a:lnTo>
                    <a:pt x="279294" y="-7793"/>
                  </a:lnTo>
                </a:path>
              </a:pathLst>
            </a:custGeom>
            <a:grpFill/>
            <a:ln w="548" cap="flat">
              <a:noFill/>
              <a:prstDash val="solid"/>
              <a:miter/>
            </a:ln>
          </p:spPr>
          <p:txBody>
            <a:bodyPr/>
            <a:lstStyle/>
            <a:p>
              <a:endParaRPr lang="en-US"/>
            </a:p>
          </p:txBody>
        </p:sp>
        <p:sp>
          <p:nvSpPr>
            <p:cNvPr id="97" name="Freeform: Shape 96">
              <a:extLst>
                <a:ext uri="{FF2B5EF4-FFF2-40B4-BE49-F238E27FC236}">
                  <a16:creationId xmlns:a16="http://schemas.microsoft.com/office/drawing/2014/main" id="{8B6038FA-6746-D3FF-7019-2BC9DF0A5219}"/>
                </a:ext>
              </a:extLst>
            </p:cNvPr>
            <p:cNvSpPr/>
            <p:nvPr/>
          </p:nvSpPr>
          <p:spPr>
            <a:xfrm flipV="1">
              <a:off x="25532460" y="3072840"/>
              <a:ext cx="54205" cy="63236"/>
            </a:xfrm>
            <a:custGeom>
              <a:avLst/>
              <a:gdLst>
                <a:gd name="csX0" fmla="*/ 43691 w 54205"/>
                <a:gd name="csY0" fmla="*/ 27883 h 63236"/>
                <a:gd name="csX1" fmla="*/ 43197 w 54205"/>
                <a:gd name="csY1" fmla="*/ 28047 h 63236"/>
                <a:gd name="csX2" fmla="*/ -10515 w 54205"/>
                <a:gd name="csY2" fmla="*/ 54870 h 63236"/>
                <a:gd name="csX3" fmla="*/ 31785 w 54205"/>
                <a:gd name="csY3" fmla="*/ -8366 h 63236"/>
                <a:gd name="csX4" fmla="*/ 43691 w 54205"/>
                <a:gd name="csY4" fmla="*/ 27883 h 63236"/>
              </a:gdLst>
              <a:ahLst/>
              <a:cxnLst>
                <a:cxn ang="0">
                  <a:pos x="csX0" y="csY0"/>
                </a:cxn>
                <a:cxn ang="0">
                  <a:pos x="csX1" y="csY1"/>
                </a:cxn>
                <a:cxn ang="0">
                  <a:pos x="csX2" y="csY2"/>
                </a:cxn>
                <a:cxn ang="0">
                  <a:pos x="csX3" y="csY3"/>
                </a:cxn>
                <a:cxn ang="0">
                  <a:pos x="csX4" y="csY4"/>
                </a:cxn>
              </a:cxnLst>
              <a:rect l="l" t="t" r="r" b="b"/>
              <a:pathLst>
                <a:path w="54205" h="63236">
                  <a:moveTo>
                    <a:pt x="43691" y="27883"/>
                  </a:moveTo>
                  <a:cubicBezTo>
                    <a:pt x="43526" y="27932"/>
                    <a:pt x="43362" y="27970"/>
                    <a:pt x="43197" y="28047"/>
                  </a:cubicBezTo>
                  <a:lnTo>
                    <a:pt x="-10515" y="54870"/>
                  </a:lnTo>
                  <a:lnTo>
                    <a:pt x="31785" y="-8366"/>
                  </a:lnTo>
                  <a:cubicBezTo>
                    <a:pt x="34144" y="-1141"/>
                    <a:pt x="39137" y="14265"/>
                    <a:pt x="43691" y="27883"/>
                  </a:cubicBezTo>
                </a:path>
              </a:pathLst>
            </a:custGeom>
            <a:grpFill/>
            <a:ln w="548" cap="flat">
              <a:noFill/>
              <a:prstDash val="solid"/>
              <a:miter/>
            </a:ln>
          </p:spPr>
          <p:txBody>
            <a:bodyPr/>
            <a:lstStyle/>
            <a:p>
              <a:endParaRPr lang="en-US"/>
            </a:p>
          </p:txBody>
        </p:sp>
        <p:sp>
          <p:nvSpPr>
            <p:cNvPr id="98" name="Freeform: Shape 97">
              <a:extLst>
                <a:ext uri="{FF2B5EF4-FFF2-40B4-BE49-F238E27FC236}">
                  <a16:creationId xmlns:a16="http://schemas.microsoft.com/office/drawing/2014/main" id="{FFDF6E63-C4BA-575F-AD54-A7215F45DF17}"/>
                </a:ext>
              </a:extLst>
            </p:cNvPr>
            <p:cNvSpPr/>
            <p:nvPr/>
          </p:nvSpPr>
          <p:spPr>
            <a:xfrm flipV="1">
              <a:off x="25273228" y="2943514"/>
              <a:ext cx="289736" cy="187217"/>
            </a:xfrm>
            <a:custGeom>
              <a:avLst/>
              <a:gdLst>
                <a:gd name="csX0" fmla="*/ 279397 w 289736"/>
                <a:gd name="csY0" fmla="*/ -8528 h 187217"/>
                <a:gd name="csX1" fmla="*/ 236493 w 289736"/>
                <a:gd name="csY1" fmla="*/ 55541 h 187217"/>
                <a:gd name="csX2" fmla="*/ -10340 w 289736"/>
                <a:gd name="csY2" fmla="*/ 178689 h 187217"/>
                <a:gd name="csX3" fmla="*/ -10340 w 289736"/>
                <a:gd name="csY3" fmla="*/ 146117 h 187217"/>
                <a:gd name="csX4" fmla="*/ -8749 w 289736"/>
                <a:gd name="csY4" fmla="*/ 145722 h 187217"/>
                <a:gd name="csX5" fmla="*/ 279397 w 289736"/>
                <a:gd name="csY5" fmla="*/ -8528 h 187217"/>
              </a:gdLst>
              <a:ahLst/>
              <a:cxnLst>
                <a:cxn ang="0">
                  <a:pos x="csX0" y="csY0"/>
                </a:cxn>
                <a:cxn ang="0">
                  <a:pos x="csX1" y="csY1"/>
                </a:cxn>
                <a:cxn ang="0">
                  <a:pos x="csX2" y="csY2"/>
                </a:cxn>
                <a:cxn ang="0">
                  <a:pos x="csX3" y="csY3"/>
                </a:cxn>
                <a:cxn ang="0">
                  <a:pos x="csX4" y="csY4"/>
                </a:cxn>
                <a:cxn ang="0">
                  <a:pos x="csX5" y="csY5"/>
                </a:cxn>
              </a:cxnLst>
              <a:rect l="l" t="t" r="r" b="b"/>
              <a:pathLst>
                <a:path w="289736" h="187217">
                  <a:moveTo>
                    <a:pt x="279397" y="-8528"/>
                  </a:moveTo>
                  <a:lnTo>
                    <a:pt x="236493" y="55541"/>
                  </a:lnTo>
                  <a:lnTo>
                    <a:pt x="-10340" y="178689"/>
                  </a:lnTo>
                  <a:lnTo>
                    <a:pt x="-10340" y="146117"/>
                  </a:lnTo>
                  <a:cubicBezTo>
                    <a:pt x="-9791" y="146117"/>
                    <a:pt x="-9242" y="146002"/>
                    <a:pt x="-8749" y="145722"/>
                  </a:cubicBezTo>
                  <a:lnTo>
                    <a:pt x="279397" y="-8528"/>
                  </a:lnTo>
                </a:path>
              </a:pathLst>
            </a:custGeom>
            <a:grpFill/>
            <a:ln w="548" cap="flat">
              <a:noFill/>
              <a:prstDash val="solid"/>
              <a:miter/>
            </a:ln>
          </p:spPr>
          <p:txBody>
            <a:bodyPr/>
            <a:lstStyle/>
            <a:p>
              <a:endParaRPr lang="en-US"/>
            </a:p>
          </p:txBody>
        </p:sp>
        <p:sp>
          <p:nvSpPr>
            <p:cNvPr id="99" name="Freeform: Shape 98">
              <a:extLst>
                <a:ext uri="{FF2B5EF4-FFF2-40B4-BE49-F238E27FC236}">
                  <a16:creationId xmlns:a16="http://schemas.microsoft.com/office/drawing/2014/main" id="{004522EC-5D8C-6E8F-0A3B-ABD2AF94265D}"/>
                </a:ext>
              </a:extLst>
            </p:cNvPr>
            <p:cNvSpPr/>
            <p:nvPr/>
          </p:nvSpPr>
          <p:spPr>
            <a:xfrm flipV="1">
              <a:off x="25273228" y="3780075"/>
              <a:ext cx="309926" cy="219702"/>
            </a:xfrm>
            <a:custGeom>
              <a:avLst/>
              <a:gdLst>
                <a:gd name="csX0" fmla="*/ -10352 w 309926"/>
                <a:gd name="csY0" fmla="*/ 213226 h 219702"/>
                <a:gd name="csX1" fmla="*/ -10352 w 309926"/>
                <a:gd name="csY1" fmla="*/ -6477 h 219702"/>
                <a:gd name="csX2" fmla="*/ 299574 w 309926"/>
                <a:gd name="csY2" fmla="*/ 114427 h 219702"/>
              </a:gdLst>
              <a:ahLst/>
              <a:cxnLst>
                <a:cxn ang="0">
                  <a:pos x="csX0" y="csY0"/>
                </a:cxn>
                <a:cxn ang="0">
                  <a:pos x="csX1" y="csY1"/>
                </a:cxn>
                <a:cxn ang="0">
                  <a:pos x="csX2" y="csY2"/>
                </a:cxn>
              </a:cxnLst>
              <a:rect l="l" t="t" r="r" b="b"/>
              <a:pathLst>
                <a:path w="309926" h="219702">
                  <a:moveTo>
                    <a:pt x="-10352" y="213226"/>
                  </a:moveTo>
                  <a:lnTo>
                    <a:pt x="-10352" y="-6477"/>
                  </a:lnTo>
                  <a:lnTo>
                    <a:pt x="299574" y="114427"/>
                  </a:lnTo>
                  <a:close/>
                </a:path>
              </a:pathLst>
            </a:custGeom>
            <a:grpFill/>
            <a:ln w="548" cap="flat">
              <a:noFill/>
              <a:prstDash val="solid"/>
              <a:miter/>
            </a:ln>
          </p:spPr>
          <p:txBody>
            <a:bodyPr/>
            <a:lstStyle/>
            <a:p>
              <a:endParaRPr lang="en-US"/>
            </a:p>
          </p:txBody>
        </p:sp>
        <p:sp>
          <p:nvSpPr>
            <p:cNvPr id="100" name="Freeform: Shape 99">
              <a:extLst>
                <a:ext uri="{FF2B5EF4-FFF2-40B4-BE49-F238E27FC236}">
                  <a16:creationId xmlns:a16="http://schemas.microsoft.com/office/drawing/2014/main" id="{4E61E08C-E9C1-E5EE-6EDD-95F1CAA8EB12}"/>
                </a:ext>
              </a:extLst>
            </p:cNvPr>
            <p:cNvSpPr/>
            <p:nvPr/>
          </p:nvSpPr>
          <p:spPr>
            <a:xfrm flipV="1">
              <a:off x="25273228" y="3192399"/>
              <a:ext cx="287213" cy="290718"/>
            </a:xfrm>
            <a:custGeom>
              <a:avLst/>
              <a:gdLst>
                <a:gd name="csX0" fmla="*/ 276875 w 287213"/>
                <a:gd name="csY0" fmla="*/ -7805 h 290718"/>
                <a:gd name="csX1" fmla="*/ -10338 w 287213"/>
                <a:gd name="csY1" fmla="*/ 282914 h 290718"/>
                <a:gd name="csX2" fmla="*/ -10338 w 287213"/>
                <a:gd name="csY2" fmla="*/ 113132 h 290718"/>
                <a:gd name="csX3" fmla="*/ -9022 w 287213"/>
                <a:gd name="csY3" fmla="*/ 112863 h 290718"/>
                <a:gd name="csX4" fmla="*/ 276875 w 287213"/>
                <a:gd name="csY4" fmla="*/ -7805 h 290718"/>
              </a:gdLst>
              <a:ahLst/>
              <a:cxnLst>
                <a:cxn ang="0">
                  <a:pos x="csX0" y="csY0"/>
                </a:cxn>
                <a:cxn ang="0">
                  <a:pos x="csX1" y="csY1"/>
                </a:cxn>
                <a:cxn ang="0">
                  <a:pos x="csX2" y="csY2"/>
                </a:cxn>
                <a:cxn ang="0">
                  <a:pos x="csX3" y="csY3"/>
                </a:cxn>
                <a:cxn ang="0">
                  <a:pos x="csX4" y="csY4"/>
                </a:cxn>
              </a:cxnLst>
              <a:rect l="l" t="t" r="r" b="b"/>
              <a:pathLst>
                <a:path w="287213" h="290718">
                  <a:moveTo>
                    <a:pt x="276875" y="-7805"/>
                  </a:moveTo>
                  <a:lnTo>
                    <a:pt x="-10338" y="282914"/>
                  </a:lnTo>
                  <a:lnTo>
                    <a:pt x="-10338" y="113132"/>
                  </a:lnTo>
                  <a:cubicBezTo>
                    <a:pt x="-9899" y="113132"/>
                    <a:pt x="-9460" y="113044"/>
                    <a:pt x="-9022" y="112863"/>
                  </a:cubicBezTo>
                  <a:lnTo>
                    <a:pt x="276875" y="-7805"/>
                  </a:lnTo>
                </a:path>
              </a:pathLst>
            </a:custGeom>
            <a:grpFill/>
            <a:ln w="548" cap="flat">
              <a:noFill/>
              <a:prstDash val="solid"/>
              <a:miter/>
            </a:ln>
          </p:spPr>
          <p:txBody>
            <a:bodyPr/>
            <a:lstStyle/>
            <a:p>
              <a:endParaRPr lang="en-US"/>
            </a:p>
          </p:txBody>
        </p:sp>
        <p:sp>
          <p:nvSpPr>
            <p:cNvPr id="101" name="Freeform: Shape 100">
              <a:extLst>
                <a:ext uri="{FF2B5EF4-FFF2-40B4-BE49-F238E27FC236}">
                  <a16:creationId xmlns:a16="http://schemas.microsoft.com/office/drawing/2014/main" id="{0B14027E-FE0D-2AA8-E6A6-A06691A45EAD}"/>
                </a:ext>
              </a:extLst>
            </p:cNvPr>
            <p:cNvSpPr/>
            <p:nvPr/>
          </p:nvSpPr>
          <p:spPr>
            <a:xfrm flipV="1">
              <a:off x="25273228" y="3588029"/>
              <a:ext cx="306525" cy="282554"/>
            </a:xfrm>
            <a:custGeom>
              <a:avLst/>
              <a:gdLst>
                <a:gd name="csX0" fmla="*/ 296175 w 306525"/>
                <a:gd name="csY0" fmla="*/ -6863 h 282554"/>
                <a:gd name="csX1" fmla="*/ -10350 w 306525"/>
                <a:gd name="csY1" fmla="*/ 275692 h 282554"/>
                <a:gd name="csX2" fmla="*/ -10350 w 306525"/>
                <a:gd name="csY2" fmla="*/ 90658 h 282554"/>
                <a:gd name="csX3" fmla="*/ -9308 w 306525"/>
                <a:gd name="csY3" fmla="*/ 90510 h 282554"/>
                <a:gd name="csX4" fmla="*/ 296175 w 306525"/>
                <a:gd name="csY4" fmla="*/ -6863 h 282554"/>
              </a:gdLst>
              <a:ahLst/>
              <a:cxnLst>
                <a:cxn ang="0">
                  <a:pos x="csX0" y="csY0"/>
                </a:cxn>
                <a:cxn ang="0">
                  <a:pos x="csX1" y="csY1"/>
                </a:cxn>
                <a:cxn ang="0">
                  <a:pos x="csX2" y="csY2"/>
                </a:cxn>
                <a:cxn ang="0">
                  <a:pos x="csX3" y="csY3"/>
                </a:cxn>
                <a:cxn ang="0">
                  <a:pos x="csX4" y="csY4"/>
                </a:cxn>
              </a:cxnLst>
              <a:rect l="l" t="t" r="r" b="b"/>
              <a:pathLst>
                <a:path w="306525" h="282554">
                  <a:moveTo>
                    <a:pt x="296175" y="-6863"/>
                  </a:moveTo>
                  <a:lnTo>
                    <a:pt x="-10350" y="275692"/>
                  </a:lnTo>
                  <a:lnTo>
                    <a:pt x="-10350" y="90658"/>
                  </a:lnTo>
                  <a:cubicBezTo>
                    <a:pt x="-10021" y="90658"/>
                    <a:pt x="-9637" y="90625"/>
                    <a:pt x="-9308" y="90510"/>
                  </a:cubicBezTo>
                  <a:lnTo>
                    <a:pt x="296175" y="-6863"/>
                  </a:lnTo>
                </a:path>
              </a:pathLst>
            </a:custGeom>
            <a:grpFill/>
            <a:ln w="548" cap="flat">
              <a:noFill/>
              <a:prstDash val="solid"/>
              <a:miter/>
            </a:ln>
          </p:spPr>
          <p:txBody>
            <a:bodyPr/>
            <a:lstStyle/>
            <a:p>
              <a:endParaRPr lang="en-US"/>
            </a:p>
          </p:txBody>
        </p:sp>
        <p:sp>
          <p:nvSpPr>
            <p:cNvPr id="102" name="Freeform: Shape 101">
              <a:extLst>
                <a:ext uri="{FF2B5EF4-FFF2-40B4-BE49-F238E27FC236}">
                  <a16:creationId xmlns:a16="http://schemas.microsoft.com/office/drawing/2014/main" id="{2C961BED-BF5A-BCEB-D12E-9043BE480C1C}"/>
                </a:ext>
              </a:extLst>
            </p:cNvPr>
            <p:cNvSpPr/>
            <p:nvPr/>
          </p:nvSpPr>
          <p:spPr>
            <a:xfrm flipV="1">
              <a:off x="25273228" y="2983389"/>
              <a:ext cx="285567" cy="200692"/>
            </a:xfrm>
            <a:custGeom>
              <a:avLst/>
              <a:gdLst>
                <a:gd name="csX0" fmla="*/ -10337 w 285567"/>
                <a:gd name="csY0" fmla="*/ 192276 h 200692"/>
                <a:gd name="csX1" fmla="*/ -10337 w 285567"/>
                <a:gd name="csY1" fmla="*/ -8416 h 200692"/>
                <a:gd name="csX2" fmla="*/ 275230 w 285567"/>
                <a:gd name="csY2" fmla="*/ 39365 h 200692"/>
                <a:gd name="csX3" fmla="*/ -10337 w 285567"/>
                <a:gd name="csY3" fmla="*/ 192276 h 200692"/>
              </a:gdLst>
              <a:ahLst/>
              <a:cxnLst>
                <a:cxn ang="0">
                  <a:pos x="csX0" y="csY0"/>
                </a:cxn>
                <a:cxn ang="0">
                  <a:pos x="csX1" y="csY1"/>
                </a:cxn>
                <a:cxn ang="0">
                  <a:pos x="csX2" y="csY2"/>
                </a:cxn>
                <a:cxn ang="0">
                  <a:pos x="csX3" y="csY3"/>
                </a:cxn>
              </a:cxnLst>
              <a:rect l="l" t="t" r="r" b="b"/>
              <a:pathLst>
                <a:path w="285567" h="200692">
                  <a:moveTo>
                    <a:pt x="-10337" y="192276"/>
                  </a:moveTo>
                  <a:lnTo>
                    <a:pt x="-10337" y="-8416"/>
                  </a:lnTo>
                  <a:cubicBezTo>
                    <a:pt x="-2437" y="-7862"/>
                    <a:pt x="173073" y="21913"/>
                    <a:pt x="275230" y="39365"/>
                  </a:cubicBezTo>
                  <a:lnTo>
                    <a:pt x="-10337" y="192276"/>
                  </a:lnTo>
                </a:path>
              </a:pathLst>
            </a:custGeom>
            <a:grpFill/>
            <a:ln w="548" cap="flat">
              <a:noFill/>
              <a:prstDash val="solid"/>
              <a:miter/>
            </a:ln>
          </p:spPr>
          <p:txBody>
            <a:bodyPr/>
            <a:lstStyle/>
            <a:p>
              <a:endParaRPr lang="en-US"/>
            </a:p>
          </p:txBody>
        </p:sp>
        <p:sp>
          <p:nvSpPr>
            <p:cNvPr id="103" name="Freeform: Shape 102">
              <a:extLst>
                <a:ext uri="{FF2B5EF4-FFF2-40B4-BE49-F238E27FC236}">
                  <a16:creationId xmlns:a16="http://schemas.microsoft.com/office/drawing/2014/main" id="{D330D414-5F2E-8143-1F4F-72E3796D83BE}"/>
                </a:ext>
              </a:extLst>
            </p:cNvPr>
            <p:cNvSpPr/>
            <p:nvPr/>
          </p:nvSpPr>
          <p:spPr>
            <a:xfrm flipV="1">
              <a:off x="25273228" y="3369336"/>
              <a:ext cx="291712" cy="210452"/>
            </a:xfrm>
            <a:custGeom>
              <a:avLst/>
              <a:gdLst>
                <a:gd name="csX0" fmla="*/ -10341 w 291712"/>
                <a:gd name="csY0" fmla="*/ 202977 h 210452"/>
                <a:gd name="csX1" fmla="*/ -10341 w 291712"/>
                <a:gd name="csY1" fmla="*/ -7476 h 210452"/>
                <a:gd name="csX2" fmla="*/ 281371 w 291712"/>
                <a:gd name="csY2" fmla="*/ 79868 h 210452"/>
              </a:gdLst>
              <a:ahLst/>
              <a:cxnLst>
                <a:cxn ang="0">
                  <a:pos x="csX0" y="csY0"/>
                </a:cxn>
                <a:cxn ang="0">
                  <a:pos x="csX1" y="csY1"/>
                </a:cxn>
                <a:cxn ang="0">
                  <a:pos x="csX2" y="csY2"/>
                </a:cxn>
              </a:cxnLst>
              <a:rect l="l" t="t" r="r" b="b"/>
              <a:pathLst>
                <a:path w="291712" h="210452">
                  <a:moveTo>
                    <a:pt x="-10341" y="202977"/>
                  </a:moveTo>
                  <a:lnTo>
                    <a:pt x="-10341" y="-7476"/>
                  </a:lnTo>
                  <a:lnTo>
                    <a:pt x="281371" y="79868"/>
                  </a:lnTo>
                  <a:close/>
                </a:path>
              </a:pathLst>
            </a:custGeom>
            <a:grpFill/>
            <a:ln w="548" cap="flat">
              <a:noFill/>
              <a:prstDash val="solid"/>
              <a:miter/>
            </a:ln>
          </p:spPr>
          <p:txBody>
            <a:bodyPr/>
            <a:lstStyle/>
            <a:p>
              <a:endParaRPr lang="en-US"/>
            </a:p>
          </p:txBody>
        </p:sp>
        <p:sp>
          <p:nvSpPr>
            <p:cNvPr id="104" name="Freeform: Shape 103">
              <a:extLst>
                <a:ext uri="{FF2B5EF4-FFF2-40B4-BE49-F238E27FC236}">
                  <a16:creationId xmlns:a16="http://schemas.microsoft.com/office/drawing/2014/main" id="{68386FED-049F-C52B-73AB-2BD5B8B9030D}"/>
                </a:ext>
              </a:extLst>
            </p:cNvPr>
            <p:cNvSpPr/>
            <p:nvPr/>
          </p:nvSpPr>
          <p:spPr>
            <a:xfrm flipV="1">
              <a:off x="25285791" y="3590289"/>
              <a:ext cx="350087" cy="284382"/>
            </a:xfrm>
            <a:custGeom>
              <a:avLst/>
              <a:gdLst>
                <a:gd name="csX0" fmla="*/ 298108 w 350087"/>
                <a:gd name="csY0" fmla="*/ -6855 h 284382"/>
                <a:gd name="csX1" fmla="*/ 339695 w 350087"/>
                <a:gd name="csY1" fmla="*/ 183512 h 284382"/>
                <a:gd name="csX2" fmla="*/ 339531 w 350087"/>
                <a:gd name="csY2" fmla="*/ 183534 h 284382"/>
                <a:gd name="csX3" fmla="*/ -10393 w 350087"/>
                <a:gd name="csY3" fmla="*/ 277527 h 284382"/>
                <a:gd name="csX4" fmla="*/ 298108 w 350087"/>
                <a:gd name="csY4" fmla="*/ -6855 h 284382"/>
              </a:gdLst>
              <a:ahLst/>
              <a:cxnLst>
                <a:cxn ang="0">
                  <a:pos x="csX0" y="csY0"/>
                </a:cxn>
                <a:cxn ang="0">
                  <a:pos x="csX1" y="csY1"/>
                </a:cxn>
                <a:cxn ang="0">
                  <a:pos x="csX2" y="csY2"/>
                </a:cxn>
                <a:cxn ang="0">
                  <a:pos x="csX3" y="csY3"/>
                </a:cxn>
                <a:cxn ang="0">
                  <a:pos x="csX4" y="csY4"/>
                </a:cxn>
              </a:cxnLst>
              <a:rect l="l" t="t" r="r" b="b"/>
              <a:pathLst>
                <a:path w="350087" h="284382">
                  <a:moveTo>
                    <a:pt x="298108" y="-6855"/>
                  </a:moveTo>
                  <a:lnTo>
                    <a:pt x="339695" y="183512"/>
                  </a:lnTo>
                  <a:cubicBezTo>
                    <a:pt x="339640" y="183522"/>
                    <a:pt x="339585" y="183512"/>
                    <a:pt x="339531" y="183534"/>
                  </a:cubicBezTo>
                  <a:lnTo>
                    <a:pt x="-10393" y="277527"/>
                  </a:lnTo>
                  <a:lnTo>
                    <a:pt x="298108" y="-6855"/>
                  </a:lnTo>
                </a:path>
              </a:pathLst>
            </a:custGeom>
            <a:grpFill/>
            <a:ln w="548" cap="flat">
              <a:noFill/>
              <a:prstDash val="solid"/>
              <a:miter/>
            </a:ln>
          </p:spPr>
          <p:txBody>
            <a:bodyPr/>
            <a:lstStyle/>
            <a:p>
              <a:endParaRPr lang="en-US"/>
            </a:p>
          </p:txBody>
        </p:sp>
        <p:sp>
          <p:nvSpPr>
            <p:cNvPr id="105" name="Freeform: Shape 104">
              <a:extLst>
                <a:ext uri="{FF2B5EF4-FFF2-40B4-BE49-F238E27FC236}">
                  <a16:creationId xmlns:a16="http://schemas.microsoft.com/office/drawing/2014/main" id="{911C9419-47A3-D75F-1433-B0FAB537AC5C}"/>
                </a:ext>
              </a:extLst>
            </p:cNvPr>
            <p:cNvSpPr/>
            <p:nvPr/>
          </p:nvSpPr>
          <p:spPr>
            <a:xfrm flipV="1">
              <a:off x="25285024" y="4008732"/>
              <a:ext cx="348221" cy="248429"/>
            </a:xfrm>
            <a:custGeom>
              <a:avLst/>
              <a:gdLst>
                <a:gd name="csX0" fmla="*/ 291691 w 348221"/>
                <a:gd name="csY0" fmla="*/ -5892 h 248429"/>
                <a:gd name="csX1" fmla="*/ 337832 w 348221"/>
                <a:gd name="csY1" fmla="*/ 189391 h 248429"/>
                <a:gd name="csX2" fmla="*/ -10390 w 348221"/>
                <a:gd name="csY2" fmla="*/ 242538 h 248429"/>
              </a:gdLst>
              <a:ahLst/>
              <a:cxnLst>
                <a:cxn ang="0">
                  <a:pos x="csX0" y="csY0"/>
                </a:cxn>
                <a:cxn ang="0">
                  <a:pos x="csX1" y="csY1"/>
                </a:cxn>
                <a:cxn ang="0">
                  <a:pos x="csX2" y="csY2"/>
                </a:cxn>
              </a:cxnLst>
              <a:rect l="l" t="t" r="r" b="b"/>
              <a:pathLst>
                <a:path w="348221" h="248429">
                  <a:moveTo>
                    <a:pt x="291691" y="-5892"/>
                  </a:moveTo>
                  <a:lnTo>
                    <a:pt x="337832" y="189391"/>
                  </a:lnTo>
                  <a:lnTo>
                    <a:pt x="-10390" y="242538"/>
                  </a:lnTo>
                  <a:close/>
                </a:path>
              </a:pathLst>
            </a:custGeom>
            <a:grpFill/>
            <a:ln w="548" cap="flat">
              <a:noFill/>
              <a:prstDash val="solid"/>
              <a:miter/>
            </a:ln>
          </p:spPr>
          <p:txBody>
            <a:bodyPr/>
            <a:lstStyle/>
            <a:p>
              <a:endParaRPr lang="en-US"/>
            </a:p>
          </p:txBody>
        </p:sp>
        <p:sp>
          <p:nvSpPr>
            <p:cNvPr id="106" name="Freeform: Shape 105">
              <a:extLst>
                <a:ext uri="{FF2B5EF4-FFF2-40B4-BE49-F238E27FC236}">
                  <a16:creationId xmlns:a16="http://schemas.microsoft.com/office/drawing/2014/main" id="{7CDD8FD8-F454-4CA8-2491-6E1D61C3623C}"/>
                </a:ext>
              </a:extLst>
            </p:cNvPr>
            <p:cNvSpPr/>
            <p:nvPr/>
          </p:nvSpPr>
          <p:spPr>
            <a:xfrm flipV="1">
              <a:off x="25273228" y="2878149"/>
              <a:ext cx="322606" cy="215165"/>
            </a:xfrm>
            <a:custGeom>
              <a:avLst/>
              <a:gdLst>
                <a:gd name="csX0" fmla="*/ 305273 w 322606"/>
                <a:gd name="csY0" fmla="*/ -8652 h 215165"/>
                <a:gd name="csX1" fmla="*/ 312240 w 322606"/>
                <a:gd name="csY1" fmla="*/ 10270 h 215165"/>
                <a:gd name="csX2" fmla="*/ -10360 w 322606"/>
                <a:gd name="csY2" fmla="*/ 206514 h 215165"/>
                <a:gd name="csX3" fmla="*/ -10360 w 322606"/>
                <a:gd name="csY3" fmla="*/ 148396 h 215165"/>
                <a:gd name="csX4" fmla="*/ -8824 w 322606"/>
                <a:gd name="csY4" fmla="*/ 148050 h 215165"/>
                <a:gd name="csX5" fmla="*/ 305273 w 322606"/>
                <a:gd name="csY5" fmla="*/ -8652 h 215165"/>
              </a:gdLst>
              <a:ahLst/>
              <a:cxnLst>
                <a:cxn ang="0">
                  <a:pos x="csX0" y="csY0"/>
                </a:cxn>
                <a:cxn ang="0">
                  <a:pos x="csX1" y="csY1"/>
                </a:cxn>
                <a:cxn ang="0">
                  <a:pos x="csX2" y="csY2"/>
                </a:cxn>
                <a:cxn ang="0">
                  <a:pos x="csX3" y="csY3"/>
                </a:cxn>
                <a:cxn ang="0">
                  <a:pos x="csX4" y="csY4"/>
                </a:cxn>
                <a:cxn ang="0">
                  <a:pos x="csX5" y="csY5"/>
                </a:cxn>
              </a:cxnLst>
              <a:rect l="l" t="t" r="r" b="b"/>
              <a:pathLst>
                <a:path w="322606" h="215165">
                  <a:moveTo>
                    <a:pt x="305273" y="-8652"/>
                  </a:moveTo>
                  <a:cubicBezTo>
                    <a:pt x="308784" y="1772"/>
                    <a:pt x="311692" y="9903"/>
                    <a:pt x="312240" y="10270"/>
                  </a:cubicBezTo>
                  <a:cubicBezTo>
                    <a:pt x="313831" y="11329"/>
                    <a:pt x="-10360" y="206514"/>
                    <a:pt x="-10360" y="206514"/>
                  </a:cubicBezTo>
                  <a:lnTo>
                    <a:pt x="-10360" y="148396"/>
                  </a:lnTo>
                  <a:cubicBezTo>
                    <a:pt x="-9866" y="148396"/>
                    <a:pt x="-9318" y="148297"/>
                    <a:pt x="-8824" y="148050"/>
                  </a:cubicBezTo>
                  <a:lnTo>
                    <a:pt x="305273" y="-8652"/>
                  </a:lnTo>
                </a:path>
              </a:pathLst>
            </a:custGeom>
            <a:grpFill/>
            <a:ln w="548" cap="flat">
              <a:noFill/>
              <a:prstDash val="solid"/>
              <a:miter/>
            </a:ln>
          </p:spPr>
          <p:txBody>
            <a:bodyPr/>
            <a:lstStyle/>
            <a:p>
              <a:endParaRPr lang="en-US"/>
            </a:p>
          </p:txBody>
        </p:sp>
        <p:sp>
          <p:nvSpPr>
            <p:cNvPr id="107" name="Freeform: Shape 106">
              <a:extLst>
                <a:ext uri="{FF2B5EF4-FFF2-40B4-BE49-F238E27FC236}">
                  <a16:creationId xmlns:a16="http://schemas.microsoft.com/office/drawing/2014/main" id="{C9E5CD1F-9327-DFF8-2F8B-B90D0294A7B4}"/>
                </a:ext>
              </a:extLst>
            </p:cNvPr>
            <p:cNvSpPr/>
            <p:nvPr/>
          </p:nvSpPr>
          <p:spPr>
            <a:xfrm flipV="1">
              <a:off x="25273228" y="4218899"/>
              <a:ext cx="301752" cy="195442"/>
            </a:xfrm>
            <a:custGeom>
              <a:avLst/>
              <a:gdLst>
                <a:gd name="csX0" fmla="*/ -10347 w 301752"/>
                <a:gd name="csY0" fmla="*/ 189992 h 195442"/>
                <a:gd name="csX1" fmla="*/ -10347 w 301752"/>
                <a:gd name="csY1" fmla="*/ -5450 h 195442"/>
                <a:gd name="csX2" fmla="*/ 291405 w 301752"/>
                <a:gd name="csY2" fmla="*/ 146189 h 195442"/>
              </a:gdLst>
              <a:ahLst/>
              <a:cxnLst>
                <a:cxn ang="0">
                  <a:pos x="csX0" y="csY0"/>
                </a:cxn>
                <a:cxn ang="0">
                  <a:pos x="csX1" y="csY1"/>
                </a:cxn>
                <a:cxn ang="0">
                  <a:pos x="csX2" y="csY2"/>
                </a:cxn>
              </a:cxnLst>
              <a:rect l="l" t="t" r="r" b="b"/>
              <a:pathLst>
                <a:path w="301752" h="195442">
                  <a:moveTo>
                    <a:pt x="-10347" y="189992"/>
                  </a:moveTo>
                  <a:lnTo>
                    <a:pt x="-10347" y="-5450"/>
                  </a:lnTo>
                  <a:lnTo>
                    <a:pt x="291405" y="146189"/>
                  </a:lnTo>
                  <a:close/>
                </a:path>
              </a:pathLst>
            </a:custGeom>
            <a:grpFill/>
            <a:ln w="548" cap="flat">
              <a:noFill/>
              <a:prstDash val="solid"/>
              <a:miter/>
            </a:ln>
          </p:spPr>
          <p:txBody>
            <a:bodyPr/>
            <a:lstStyle/>
            <a:p>
              <a:endParaRPr lang="en-US"/>
            </a:p>
          </p:txBody>
        </p:sp>
        <p:sp>
          <p:nvSpPr>
            <p:cNvPr id="108" name="Freeform: Shape 107">
              <a:extLst>
                <a:ext uri="{FF2B5EF4-FFF2-40B4-BE49-F238E27FC236}">
                  <a16:creationId xmlns:a16="http://schemas.microsoft.com/office/drawing/2014/main" id="{9A7A33B4-BD00-9011-4055-AB00F47730E2}"/>
                </a:ext>
              </a:extLst>
            </p:cNvPr>
            <p:cNvSpPr/>
            <p:nvPr/>
          </p:nvSpPr>
          <p:spPr>
            <a:xfrm flipV="1">
              <a:off x="25273228" y="4007898"/>
              <a:ext cx="301313" cy="247820"/>
            </a:xfrm>
            <a:custGeom>
              <a:avLst/>
              <a:gdLst>
                <a:gd name="csX0" fmla="*/ 290966 w 301313"/>
                <a:gd name="csY0" fmla="*/ -5895 h 247820"/>
                <a:gd name="csX1" fmla="*/ -10347 w 301313"/>
                <a:gd name="csY1" fmla="*/ 241926 h 247820"/>
                <a:gd name="csX2" fmla="*/ -10347 w 301313"/>
                <a:gd name="csY2" fmla="*/ 37810 h 247820"/>
                <a:gd name="csX3" fmla="*/ -9853 w 301313"/>
                <a:gd name="csY3" fmla="*/ 37783 h 247820"/>
                <a:gd name="csX4" fmla="*/ 290966 w 301313"/>
                <a:gd name="csY4" fmla="*/ -5895 h 247820"/>
              </a:gdLst>
              <a:ahLst/>
              <a:cxnLst>
                <a:cxn ang="0">
                  <a:pos x="csX0" y="csY0"/>
                </a:cxn>
                <a:cxn ang="0">
                  <a:pos x="csX1" y="csY1"/>
                </a:cxn>
                <a:cxn ang="0">
                  <a:pos x="csX2" y="csY2"/>
                </a:cxn>
                <a:cxn ang="0">
                  <a:pos x="csX3" y="csY3"/>
                </a:cxn>
                <a:cxn ang="0">
                  <a:pos x="csX4" y="csY4"/>
                </a:cxn>
              </a:cxnLst>
              <a:rect l="l" t="t" r="r" b="b"/>
              <a:pathLst>
                <a:path w="301313" h="247820">
                  <a:moveTo>
                    <a:pt x="290966" y="-5895"/>
                  </a:moveTo>
                  <a:lnTo>
                    <a:pt x="-10347" y="241926"/>
                  </a:lnTo>
                  <a:lnTo>
                    <a:pt x="-10347" y="37810"/>
                  </a:lnTo>
                  <a:cubicBezTo>
                    <a:pt x="-10182" y="37810"/>
                    <a:pt x="-10018" y="37816"/>
                    <a:pt x="-9853" y="37783"/>
                  </a:cubicBezTo>
                  <a:lnTo>
                    <a:pt x="290966" y="-5895"/>
                  </a:lnTo>
                </a:path>
              </a:pathLst>
            </a:custGeom>
            <a:grpFill/>
            <a:ln w="548" cap="flat">
              <a:noFill/>
              <a:prstDash val="solid"/>
              <a:miter/>
            </a:ln>
          </p:spPr>
          <p:txBody>
            <a:bodyPr/>
            <a:lstStyle/>
            <a:p>
              <a:endParaRPr lang="en-US"/>
            </a:p>
          </p:txBody>
        </p:sp>
        <p:sp>
          <p:nvSpPr>
            <p:cNvPr id="109" name="Freeform: Shape 108">
              <a:extLst>
                <a:ext uri="{FF2B5EF4-FFF2-40B4-BE49-F238E27FC236}">
                  <a16:creationId xmlns:a16="http://schemas.microsoft.com/office/drawing/2014/main" id="{4F23CFCC-575A-24FE-CF73-9EF8E643E89E}"/>
                </a:ext>
              </a:extLst>
            </p:cNvPr>
            <p:cNvSpPr/>
            <p:nvPr/>
          </p:nvSpPr>
          <p:spPr>
            <a:xfrm flipV="1">
              <a:off x="25273228" y="4264090"/>
              <a:ext cx="389808" cy="197373"/>
            </a:xfrm>
            <a:custGeom>
              <a:avLst/>
              <a:gdLst>
                <a:gd name="csX0" fmla="*/ 303859 w 389808"/>
                <a:gd name="csY0" fmla="*/ 192034 h 197373"/>
                <a:gd name="csX1" fmla="*/ -8866 w 389808"/>
                <a:gd name="csY1" fmla="*/ 34887 h 197373"/>
                <a:gd name="csX2" fmla="*/ -10402 w 389808"/>
                <a:gd name="csY2" fmla="*/ 34520 h 197373"/>
                <a:gd name="csX3" fmla="*/ -10402 w 389808"/>
                <a:gd name="csY3" fmla="*/ 34520 h 197373"/>
                <a:gd name="csX4" fmla="*/ -10402 w 389808"/>
                <a:gd name="csY4" fmla="*/ -5339 h 197373"/>
                <a:gd name="csX5" fmla="*/ 379407 w 389808"/>
                <a:gd name="csY5" fmla="*/ -5339 h 197373"/>
                <a:gd name="csX6" fmla="*/ 303859 w 389808"/>
                <a:gd name="csY6" fmla="*/ 192034 h 197373"/>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89808" h="197373">
                  <a:moveTo>
                    <a:pt x="303859" y="192034"/>
                  </a:moveTo>
                  <a:lnTo>
                    <a:pt x="-8866" y="34887"/>
                  </a:lnTo>
                  <a:cubicBezTo>
                    <a:pt x="-9359" y="34635"/>
                    <a:pt x="-9908" y="34520"/>
                    <a:pt x="-10402" y="34520"/>
                  </a:cubicBezTo>
                  <a:lnTo>
                    <a:pt x="-10402" y="34520"/>
                  </a:lnTo>
                  <a:lnTo>
                    <a:pt x="-10402" y="-5339"/>
                  </a:lnTo>
                  <a:lnTo>
                    <a:pt x="379407" y="-5339"/>
                  </a:lnTo>
                  <a:lnTo>
                    <a:pt x="303859" y="192034"/>
                  </a:lnTo>
                </a:path>
              </a:pathLst>
            </a:custGeom>
            <a:grpFill/>
            <a:ln w="548" cap="flat">
              <a:noFill/>
              <a:prstDash val="solid"/>
              <a:miter/>
            </a:ln>
          </p:spPr>
          <p:txBody>
            <a:bodyPr/>
            <a:lstStyle/>
            <a:p>
              <a:endParaRPr lang="en-US"/>
            </a:p>
          </p:txBody>
        </p:sp>
        <p:sp>
          <p:nvSpPr>
            <p:cNvPr id="110" name="Freeform: Shape 109">
              <a:extLst>
                <a:ext uri="{FF2B5EF4-FFF2-40B4-BE49-F238E27FC236}">
                  <a16:creationId xmlns:a16="http://schemas.microsoft.com/office/drawing/2014/main" id="{2FC13C5F-96B5-8A10-F606-98364FDC7E05}"/>
                </a:ext>
              </a:extLst>
            </p:cNvPr>
            <p:cNvSpPr/>
            <p:nvPr/>
          </p:nvSpPr>
          <p:spPr>
            <a:xfrm flipV="1">
              <a:off x="25286999" y="3141573"/>
              <a:ext cx="341144" cy="173792"/>
            </a:xfrm>
            <a:custGeom>
              <a:avLst/>
              <a:gdLst>
                <a:gd name="csX0" fmla="*/ 276989 w 341144"/>
                <a:gd name="csY0" fmla="*/ 163766 h 173792"/>
                <a:gd name="csX1" fmla="*/ 276057 w 341144"/>
                <a:gd name="csY1" fmla="*/ 163629 h 173792"/>
                <a:gd name="csX2" fmla="*/ 275014 w 341144"/>
                <a:gd name="csY2" fmla="*/ 163804 h 173792"/>
                <a:gd name="csX3" fmla="*/ 274411 w 341144"/>
                <a:gd name="csY3" fmla="*/ 164035 h 173792"/>
                <a:gd name="csX4" fmla="*/ 274411 w 341144"/>
                <a:gd name="csY4" fmla="*/ 164041 h 173792"/>
                <a:gd name="csX5" fmla="*/ 271284 w 341144"/>
                <a:gd name="csY5" fmla="*/ 165724 h 173792"/>
                <a:gd name="csX6" fmla="*/ -10388 w 341144"/>
                <a:gd name="csY6" fmla="*/ 118333 h 173792"/>
                <a:gd name="csX7" fmla="*/ 330756 w 341144"/>
                <a:gd name="csY7" fmla="*/ -8068 h 173792"/>
                <a:gd name="csX8" fmla="*/ 277044 w 341144"/>
                <a:gd name="csY8" fmla="*/ 163794 h 173792"/>
                <a:gd name="csX9" fmla="*/ 276989 w 341144"/>
                <a:gd name="csY9" fmla="*/ 163766 h 17379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Lst>
              <a:rect l="l" t="t" r="r" b="b"/>
              <a:pathLst>
                <a:path w="341144" h="173792">
                  <a:moveTo>
                    <a:pt x="276989" y="163766"/>
                  </a:moveTo>
                  <a:cubicBezTo>
                    <a:pt x="276660" y="163678"/>
                    <a:pt x="276386" y="163629"/>
                    <a:pt x="276057" y="163629"/>
                  </a:cubicBezTo>
                  <a:cubicBezTo>
                    <a:pt x="275673" y="163629"/>
                    <a:pt x="275343" y="163700"/>
                    <a:pt x="275014" y="163804"/>
                  </a:cubicBezTo>
                  <a:cubicBezTo>
                    <a:pt x="274794" y="163870"/>
                    <a:pt x="274630" y="163936"/>
                    <a:pt x="274411" y="164035"/>
                  </a:cubicBezTo>
                  <a:cubicBezTo>
                    <a:pt x="274411" y="164035"/>
                    <a:pt x="274411" y="164035"/>
                    <a:pt x="274411" y="164041"/>
                  </a:cubicBezTo>
                  <a:lnTo>
                    <a:pt x="271284" y="165724"/>
                  </a:lnTo>
                  <a:cubicBezTo>
                    <a:pt x="234031" y="159360"/>
                    <a:pt x="42939" y="126744"/>
                    <a:pt x="-10388" y="118333"/>
                  </a:cubicBezTo>
                  <a:lnTo>
                    <a:pt x="330756" y="-8068"/>
                  </a:lnTo>
                  <a:lnTo>
                    <a:pt x="277044" y="163794"/>
                  </a:lnTo>
                  <a:cubicBezTo>
                    <a:pt x="277044" y="163783"/>
                    <a:pt x="276989" y="163777"/>
                    <a:pt x="276989" y="163766"/>
                  </a:cubicBezTo>
                </a:path>
              </a:pathLst>
            </a:custGeom>
            <a:grpFill/>
            <a:ln w="548" cap="flat">
              <a:noFill/>
              <a:prstDash val="solid"/>
              <a:miter/>
            </a:ln>
          </p:spPr>
          <p:txBody>
            <a:bodyPr/>
            <a:lstStyle/>
            <a:p>
              <a:endParaRPr lang="en-US"/>
            </a:p>
          </p:txBody>
        </p:sp>
        <p:sp>
          <p:nvSpPr>
            <p:cNvPr id="111" name="Freeform: Shape 110">
              <a:extLst>
                <a:ext uri="{FF2B5EF4-FFF2-40B4-BE49-F238E27FC236}">
                  <a16:creationId xmlns:a16="http://schemas.microsoft.com/office/drawing/2014/main" id="{38FD132D-BAAC-ABFC-12A3-B6C86082E016}"/>
                </a:ext>
              </a:extLst>
            </p:cNvPr>
            <p:cNvSpPr/>
            <p:nvPr/>
          </p:nvSpPr>
          <p:spPr>
            <a:xfrm flipV="1">
              <a:off x="25286395" y="3881930"/>
              <a:ext cx="346795" cy="173008"/>
            </a:xfrm>
            <a:custGeom>
              <a:avLst/>
              <a:gdLst>
                <a:gd name="csX0" fmla="*/ -10391 w 346795"/>
                <a:gd name="csY0" fmla="*/ 46651 h 173008"/>
                <a:gd name="csX1" fmla="*/ 336404 w 346795"/>
                <a:gd name="csY1" fmla="*/ -6288 h 173008"/>
                <a:gd name="csX2" fmla="*/ 297396 w 346795"/>
                <a:gd name="csY2" fmla="*/ 166720 h 173008"/>
              </a:gdLst>
              <a:ahLst/>
              <a:cxnLst>
                <a:cxn ang="0">
                  <a:pos x="csX0" y="csY0"/>
                </a:cxn>
                <a:cxn ang="0">
                  <a:pos x="csX1" y="csY1"/>
                </a:cxn>
                <a:cxn ang="0">
                  <a:pos x="csX2" y="csY2"/>
                </a:cxn>
              </a:cxnLst>
              <a:rect l="l" t="t" r="r" b="b"/>
              <a:pathLst>
                <a:path w="346795" h="173008">
                  <a:moveTo>
                    <a:pt x="-10391" y="46651"/>
                  </a:moveTo>
                  <a:lnTo>
                    <a:pt x="336404" y="-6288"/>
                  </a:lnTo>
                  <a:lnTo>
                    <a:pt x="297396" y="166720"/>
                  </a:lnTo>
                  <a:close/>
                </a:path>
              </a:pathLst>
            </a:custGeom>
            <a:grpFill/>
            <a:ln w="548" cap="flat">
              <a:noFill/>
              <a:prstDash val="solid"/>
              <a:miter/>
            </a:ln>
          </p:spPr>
          <p:txBody>
            <a:bodyPr/>
            <a:lstStyle/>
            <a:p>
              <a:endParaRPr lang="en-US"/>
            </a:p>
          </p:txBody>
        </p:sp>
        <p:sp>
          <p:nvSpPr>
            <p:cNvPr id="112" name="Freeform: Shape 111">
              <a:extLst>
                <a:ext uri="{FF2B5EF4-FFF2-40B4-BE49-F238E27FC236}">
                  <a16:creationId xmlns:a16="http://schemas.microsoft.com/office/drawing/2014/main" id="{A8ACEA02-F9D0-0538-17BF-F1EC910FFACF}"/>
                </a:ext>
              </a:extLst>
            </p:cNvPr>
            <p:cNvSpPr/>
            <p:nvPr/>
          </p:nvSpPr>
          <p:spPr>
            <a:xfrm flipV="1">
              <a:off x="25285791" y="3496241"/>
              <a:ext cx="349538" cy="180842"/>
            </a:xfrm>
            <a:custGeom>
              <a:avLst/>
              <a:gdLst>
                <a:gd name="csX0" fmla="*/ 279838 w 349538"/>
                <a:gd name="csY0" fmla="*/ 173598 h 180842"/>
                <a:gd name="csX1" fmla="*/ -10392 w 349538"/>
                <a:gd name="csY1" fmla="*/ 86693 h 180842"/>
                <a:gd name="csX2" fmla="*/ 339147 w 349538"/>
                <a:gd name="csY2" fmla="*/ -7206 h 180842"/>
                <a:gd name="csX3" fmla="*/ 279894 w 349538"/>
                <a:gd name="csY3" fmla="*/ 173637 h 180842"/>
                <a:gd name="csX4" fmla="*/ 279838 w 349538"/>
                <a:gd name="csY4" fmla="*/ 173598 h 180842"/>
              </a:gdLst>
              <a:ahLst/>
              <a:cxnLst>
                <a:cxn ang="0">
                  <a:pos x="csX0" y="csY0"/>
                </a:cxn>
                <a:cxn ang="0">
                  <a:pos x="csX1" y="csY1"/>
                </a:cxn>
                <a:cxn ang="0">
                  <a:pos x="csX2" y="csY2"/>
                </a:cxn>
                <a:cxn ang="0">
                  <a:pos x="csX3" y="csY3"/>
                </a:cxn>
                <a:cxn ang="0">
                  <a:pos x="csX4" y="csY4"/>
                </a:cxn>
              </a:cxnLst>
              <a:rect l="l" t="t" r="r" b="b"/>
              <a:pathLst>
                <a:path w="349538" h="180842">
                  <a:moveTo>
                    <a:pt x="279838" y="173598"/>
                  </a:moveTo>
                  <a:lnTo>
                    <a:pt x="-10392" y="86693"/>
                  </a:lnTo>
                  <a:lnTo>
                    <a:pt x="339147" y="-7206"/>
                  </a:lnTo>
                  <a:lnTo>
                    <a:pt x="279894" y="173637"/>
                  </a:lnTo>
                  <a:cubicBezTo>
                    <a:pt x="279894" y="173625"/>
                    <a:pt x="279838" y="173609"/>
                    <a:pt x="279838" y="173598"/>
                  </a:cubicBezTo>
                </a:path>
              </a:pathLst>
            </a:custGeom>
            <a:grpFill/>
            <a:ln w="548" cap="flat">
              <a:noFill/>
              <a:prstDash val="solid"/>
              <a:miter/>
            </a:ln>
          </p:spPr>
          <p:txBody>
            <a:bodyPr/>
            <a:lstStyle/>
            <a:p>
              <a:endParaRPr lang="en-US"/>
            </a:p>
          </p:txBody>
        </p:sp>
        <p:sp>
          <p:nvSpPr>
            <p:cNvPr id="113" name="Freeform: Shape 112">
              <a:extLst>
                <a:ext uri="{FF2B5EF4-FFF2-40B4-BE49-F238E27FC236}">
                  <a16:creationId xmlns:a16="http://schemas.microsoft.com/office/drawing/2014/main" id="{6F0440E3-F01C-3231-38BB-4598C623A849}"/>
                </a:ext>
              </a:extLst>
            </p:cNvPr>
            <p:cNvSpPr/>
            <p:nvPr/>
          </p:nvSpPr>
          <p:spPr>
            <a:xfrm flipV="1">
              <a:off x="25240968" y="4477462"/>
              <a:ext cx="48663" cy="32040"/>
            </a:xfrm>
            <a:custGeom>
              <a:avLst/>
              <a:gdLst>
                <a:gd name="csX0" fmla="*/ 14209 w 48663"/>
                <a:gd name="csY0" fmla="*/ -5024 h 32040"/>
                <a:gd name="csX1" fmla="*/ 38514 w 48663"/>
                <a:gd name="csY1" fmla="*/ 27016 h 32040"/>
                <a:gd name="csX2" fmla="*/ -10150 w 48663"/>
                <a:gd name="csY2" fmla="*/ 27016 h 32040"/>
              </a:gdLst>
              <a:ahLst/>
              <a:cxnLst>
                <a:cxn ang="0">
                  <a:pos x="csX0" y="csY0"/>
                </a:cxn>
                <a:cxn ang="0">
                  <a:pos x="csX1" y="csY1"/>
                </a:cxn>
                <a:cxn ang="0">
                  <a:pos x="csX2" y="csY2"/>
                </a:cxn>
              </a:cxnLst>
              <a:rect l="l" t="t" r="r" b="b"/>
              <a:pathLst>
                <a:path w="48663" h="32040">
                  <a:moveTo>
                    <a:pt x="14209" y="-5024"/>
                  </a:moveTo>
                  <a:lnTo>
                    <a:pt x="38514" y="27016"/>
                  </a:lnTo>
                  <a:lnTo>
                    <a:pt x="-10150" y="27016"/>
                  </a:lnTo>
                  <a:close/>
                </a:path>
              </a:pathLst>
            </a:custGeom>
            <a:grpFill/>
            <a:ln w="548" cap="flat">
              <a:noFill/>
              <a:prstDash val="solid"/>
              <a:miter/>
            </a:ln>
          </p:spPr>
          <p:txBody>
            <a:bodyPr/>
            <a:lstStyle/>
            <a:p>
              <a:endParaRPr lang="en-US"/>
            </a:p>
          </p:txBody>
        </p:sp>
        <p:sp>
          <p:nvSpPr>
            <p:cNvPr id="114" name="Freeform: Shape 113">
              <a:extLst>
                <a:ext uri="{FF2B5EF4-FFF2-40B4-BE49-F238E27FC236}">
                  <a16:creationId xmlns:a16="http://schemas.microsoft.com/office/drawing/2014/main" id="{649ECB12-CAB0-1058-D342-454DA3633B99}"/>
                </a:ext>
              </a:extLst>
            </p:cNvPr>
            <p:cNvSpPr/>
            <p:nvPr/>
          </p:nvSpPr>
          <p:spPr>
            <a:xfrm flipV="1">
              <a:off x="25742425" y="4477462"/>
              <a:ext cx="81363" cy="53590"/>
            </a:xfrm>
            <a:custGeom>
              <a:avLst/>
              <a:gdLst>
                <a:gd name="csX0" fmla="*/ 70571 w 81363"/>
                <a:gd name="csY0" fmla="*/ 48593 h 53590"/>
                <a:gd name="csX1" fmla="*/ -10792 w 81363"/>
                <a:gd name="csY1" fmla="*/ 48593 h 53590"/>
                <a:gd name="csX2" fmla="*/ 29917 w 81363"/>
                <a:gd name="csY2" fmla="*/ -4998 h 53590"/>
              </a:gdLst>
              <a:ahLst/>
              <a:cxnLst>
                <a:cxn ang="0">
                  <a:pos x="csX0" y="csY0"/>
                </a:cxn>
                <a:cxn ang="0">
                  <a:pos x="csX1" y="csY1"/>
                </a:cxn>
                <a:cxn ang="0">
                  <a:pos x="csX2" y="csY2"/>
                </a:cxn>
              </a:cxnLst>
              <a:rect l="l" t="t" r="r" b="b"/>
              <a:pathLst>
                <a:path w="81363" h="53590">
                  <a:moveTo>
                    <a:pt x="70571" y="48593"/>
                  </a:moveTo>
                  <a:lnTo>
                    <a:pt x="-10792" y="48593"/>
                  </a:lnTo>
                  <a:lnTo>
                    <a:pt x="29917" y="-4998"/>
                  </a:lnTo>
                  <a:close/>
                </a:path>
              </a:pathLst>
            </a:custGeom>
            <a:grpFill/>
            <a:ln w="548" cap="flat">
              <a:noFill/>
              <a:prstDash val="solid"/>
              <a:miter/>
            </a:ln>
          </p:spPr>
          <p:txBody>
            <a:bodyPr/>
            <a:lstStyle/>
            <a:p>
              <a:endParaRPr lang="en-US"/>
            </a:p>
          </p:txBody>
        </p:sp>
        <p:sp>
          <p:nvSpPr>
            <p:cNvPr id="115" name="Freeform: Shape 114">
              <a:extLst>
                <a:ext uri="{FF2B5EF4-FFF2-40B4-BE49-F238E27FC236}">
                  <a16:creationId xmlns:a16="http://schemas.microsoft.com/office/drawing/2014/main" id="{06A0F4A4-4268-0F36-06F9-BDD62C99AE41}"/>
                </a:ext>
              </a:extLst>
            </p:cNvPr>
            <p:cNvSpPr/>
            <p:nvPr/>
          </p:nvSpPr>
          <p:spPr>
            <a:xfrm flipV="1">
              <a:off x="25620627" y="4647776"/>
              <a:ext cx="185220" cy="244040"/>
            </a:xfrm>
            <a:custGeom>
              <a:avLst/>
              <a:gdLst>
                <a:gd name="csX0" fmla="*/ 174515 w 185220"/>
                <a:gd name="csY0" fmla="*/ 102444 h 244040"/>
                <a:gd name="csX1" fmla="*/ 70384 w 185220"/>
                <a:gd name="csY1" fmla="*/ 239681 h 244040"/>
                <a:gd name="csX2" fmla="*/ -10705 w 185220"/>
                <a:gd name="csY2" fmla="*/ 132866 h 244040"/>
                <a:gd name="csX3" fmla="*/ 93481 w 185220"/>
                <a:gd name="csY3" fmla="*/ -4360 h 244040"/>
                <a:gd name="csX4" fmla="*/ 174515 w 185220"/>
                <a:gd name="csY4" fmla="*/ 102444 h 244040"/>
              </a:gdLst>
              <a:ahLst/>
              <a:cxnLst>
                <a:cxn ang="0">
                  <a:pos x="csX0" y="csY0"/>
                </a:cxn>
                <a:cxn ang="0">
                  <a:pos x="csX1" y="csY1"/>
                </a:cxn>
                <a:cxn ang="0">
                  <a:pos x="csX2" y="csY2"/>
                </a:cxn>
                <a:cxn ang="0">
                  <a:pos x="csX3" y="csY3"/>
                </a:cxn>
                <a:cxn ang="0">
                  <a:pos x="csX4" y="csY4"/>
                </a:cxn>
              </a:cxnLst>
              <a:rect l="l" t="t" r="r" b="b"/>
              <a:pathLst>
                <a:path w="185220" h="244040">
                  <a:moveTo>
                    <a:pt x="174515" y="102444"/>
                  </a:moveTo>
                  <a:lnTo>
                    <a:pt x="70384" y="239681"/>
                  </a:lnTo>
                  <a:lnTo>
                    <a:pt x="-10705" y="132866"/>
                  </a:lnTo>
                  <a:lnTo>
                    <a:pt x="93481" y="-4360"/>
                  </a:lnTo>
                  <a:lnTo>
                    <a:pt x="174515" y="102444"/>
                  </a:lnTo>
                </a:path>
              </a:pathLst>
            </a:custGeom>
            <a:grpFill/>
            <a:ln w="548" cap="flat">
              <a:noFill/>
              <a:prstDash val="solid"/>
              <a:miter/>
            </a:ln>
          </p:spPr>
          <p:txBody>
            <a:bodyPr/>
            <a:lstStyle/>
            <a:p>
              <a:endParaRPr lang="en-US"/>
            </a:p>
          </p:txBody>
        </p:sp>
        <p:sp>
          <p:nvSpPr>
            <p:cNvPr id="116" name="Freeform: Shape 115">
              <a:extLst>
                <a:ext uri="{FF2B5EF4-FFF2-40B4-BE49-F238E27FC236}">
                  <a16:creationId xmlns:a16="http://schemas.microsoft.com/office/drawing/2014/main" id="{E09D2E27-4EE1-84D8-BDB6-000A374DC8F0}"/>
                </a:ext>
              </a:extLst>
            </p:cNvPr>
            <p:cNvSpPr/>
            <p:nvPr/>
          </p:nvSpPr>
          <p:spPr>
            <a:xfrm flipV="1">
              <a:off x="25579588" y="4477462"/>
              <a:ext cx="66166" cy="43567"/>
            </a:xfrm>
            <a:custGeom>
              <a:avLst/>
              <a:gdLst>
                <a:gd name="csX0" fmla="*/ 55586 w 66166"/>
                <a:gd name="csY0" fmla="*/ 38557 h 43567"/>
                <a:gd name="csX1" fmla="*/ -10581 w 66166"/>
                <a:gd name="csY1" fmla="*/ 38557 h 43567"/>
                <a:gd name="csX2" fmla="*/ 22503 w 66166"/>
                <a:gd name="csY2" fmla="*/ -5011 h 43567"/>
              </a:gdLst>
              <a:ahLst/>
              <a:cxnLst>
                <a:cxn ang="0">
                  <a:pos x="csX0" y="csY0"/>
                </a:cxn>
                <a:cxn ang="0">
                  <a:pos x="csX1" y="csY1"/>
                </a:cxn>
                <a:cxn ang="0">
                  <a:pos x="csX2" y="csY2"/>
                </a:cxn>
              </a:cxnLst>
              <a:rect l="l" t="t" r="r" b="b"/>
              <a:pathLst>
                <a:path w="66166" h="43567">
                  <a:moveTo>
                    <a:pt x="55586" y="38557"/>
                  </a:moveTo>
                  <a:lnTo>
                    <a:pt x="-10581" y="38557"/>
                  </a:lnTo>
                  <a:lnTo>
                    <a:pt x="22503" y="-5011"/>
                  </a:lnTo>
                  <a:close/>
                </a:path>
              </a:pathLst>
            </a:custGeom>
            <a:grpFill/>
            <a:ln w="548" cap="flat">
              <a:noFill/>
              <a:prstDash val="solid"/>
              <a:miter/>
            </a:ln>
          </p:spPr>
          <p:txBody>
            <a:bodyPr/>
            <a:lstStyle/>
            <a:p>
              <a:endParaRPr lang="en-US"/>
            </a:p>
          </p:txBody>
        </p:sp>
        <p:sp>
          <p:nvSpPr>
            <p:cNvPr id="117" name="Freeform: Shape 116">
              <a:extLst>
                <a:ext uri="{FF2B5EF4-FFF2-40B4-BE49-F238E27FC236}">
                  <a16:creationId xmlns:a16="http://schemas.microsoft.com/office/drawing/2014/main" id="{FE3F85D2-4FAA-C859-6E51-B9AE54E01F01}"/>
                </a:ext>
              </a:extLst>
            </p:cNvPr>
            <p:cNvSpPr/>
            <p:nvPr/>
          </p:nvSpPr>
          <p:spPr>
            <a:xfrm flipV="1">
              <a:off x="25081972" y="4477462"/>
              <a:ext cx="179734" cy="160998"/>
            </a:xfrm>
            <a:custGeom>
              <a:avLst/>
              <a:gdLst>
                <a:gd name="csX0" fmla="*/ 142597 w 179734"/>
                <a:gd name="csY0" fmla="*/ 156129 h 160998"/>
                <a:gd name="csX1" fmla="*/ 25957 w 179734"/>
                <a:gd name="csY1" fmla="*/ 156129 h 160998"/>
                <a:gd name="csX2" fmla="*/ 25408 w 179734"/>
                <a:gd name="csY2" fmla="*/ 154401 h 160998"/>
                <a:gd name="csX3" fmla="*/ -10034 w 179734"/>
                <a:gd name="csY3" fmla="*/ 107701 h 160998"/>
                <a:gd name="csX4" fmla="*/ 75444 w 179734"/>
                <a:gd name="csY4" fmla="*/ -4869 h 160998"/>
                <a:gd name="csX5" fmla="*/ 169700 w 179734"/>
                <a:gd name="csY5" fmla="*/ 119359 h 160998"/>
                <a:gd name="csX6" fmla="*/ 143091 w 179734"/>
                <a:gd name="csY6" fmla="*/ 154401 h 160998"/>
                <a:gd name="csX7" fmla="*/ 142597 w 179734"/>
                <a:gd name="csY7" fmla="*/ 156129 h 16099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179734" h="160998">
                  <a:moveTo>
                    <a:pt x="142597" y="156129"/>
                  </a:moveTo>
                  <a:lnTo>
                    <a:pt x="25957" y="156129"/>
                  </a:lnTo>
                  <a:cubicBezTo>
                    <a:pt x="25957" y="155525"/>
                    <a:pt x="25792" y="154917"/>
                    <a:pt x="25408" y="154401"/>
                  </a:cubicBezTo>
                  <a:lnTo>
                    <a:pt x="-10034" y="107701"/>
                  </a:lnTo>
                  <a:lnTo>
                    <a:pt x="75444" y="-4869"/>
                  </a:lnTo>
                  <a:lnTo>
                    <a:pt x="169700" y="119359"/>
                  </a:lnTo>
                  <a:lnTo>
                    <a:pt x="143091" y="154401"/>
                  </a:lnTo>
                  <a:cubicBezTo>
                    <a:pt x="142707" y="154917"/>
                    <a:pt x="142597" y="155525"/>
                    <a:pt x="142597" y="156129"/>
                  </a:cubicBezTo>
                </a:path>
              </a:pathLst>
            </a:custGeom>
            <a:grpFill/>
            <a:ln w="548" cap="flat">
              <a:noFill/>
              <a:prstDash val="solid"/>
              <a:miter/>
            </a:ln>
          </p:spPr>
          <p:txBody>
            <a:bodyPr/>
            <a:lstStyle/>
            <a:p>
              <a:endParaRPr lang="en-US"/>
            </a:p>
          </p:txBody>
        </p:sp>
        <p:sp>
          <p:nvSpPr>
            <p:cNvPr id="118" name="Freeform: Shape 117">
              <a:extLst>
                <a:ext uri="{FF2B5EF4-FFF2-40B4-BE49-F238E27FC236}">
                  <a16:creationId xmlns:a16="http://schemas.microsoft.com/office/drawing/2014/main" id="{B2C8958B-2570-CC8F-579D-1A7320961111}"/>
                </a:ext>
              </a:extLst>
            </p:cNvPr>
            <p:cNvSpPr/>
            <p:nvPr/>
          </p:nvSpPr>
          <p:spPr>
            <a:xfrm flipV="1">
              <a:off x="25442593" y="4477462"/>
              <a:ext cx="166512" cy="155100"/>
            </a:xfrm>
            <a:custGeom>
              <a:avLst/>
              <a:gdLst>
                <a:gd name="csX0" fmla="*/ 120158 w 166512"/>
                <a:gd name="csY0" fmla="*/ 150224 h 155100"/>
                <a:gd name="csX1" fmla="*/ 21018 w 166512"/>
                <a:gd name="csY1" fmla="*/ 150224 h 155100"/>
                <a:gd name="csX2" fmla="*/ 20470 w 166512"/>
                <a:gd name="csY2" fmla="*/ 148496 h 155100"/>
                <a:gd name="csX3" fmla="*/ -10473 w 166512"/>
                <a:gd name="csY3" fmla="*/ 107693 h 155100"/>
                <a:gd name="csX4" fmla="*/ 74950 w 166512"/>
                <a:gd name="csY4" fmla="*/ -4876 h 155100"/>
                <a:gd name="csX5" fmla="*/ 156039 w 166512"/>
                <a:gd name="csY5" fmla="*/ 101933 h 155100"/>
                <a:gd name="csX6" fmla="*/ 120652 w 166512"/>
                <a:gd name="csY6" fmla="*/ 148496 h 155100"/>
                <a:gd name="csX7" fmla="*/ 120158 w 166512"/>
                <a:gd name="csY7" fmla="*/ 150224 h 15510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166512" h="155100">
                  <a:moveTo>
                    <a:pt x="120158" y="150224"/>
                  </a:moveTo>
                  <a:lnTo>
                    <a:pt x="21018" y="150224"/>
                  </a:lnTo>
                  <a:cubicBezTo>
                    <a:pt x="21018" y="149620"/>
                    <a:pt x="20854" y="149012"/>
                    <a:pt x="20470" y="148496"/>
                  </a:cubicBezTo>
                  <a:lnTo>
                    <a:pt x="-10473" y="107693"/>
                  </a:lnTo>
                  <a:lnTo>
                    <a:pt x="74950" y="-4876"/>
                  </a:lnTo>
                  <a:lnTo>
                    <a:pt x="156039" y="101933"/>
                  </a:lnTo>
                  <a:lnTo>
                    <a:pt x="120652" y="148496"/>
                  </a:lnTo>
                  <a:cubicBezTo>
                    <a:pt x="120268" y="149012"/>
                    <a:pt x="120158" y="149620"/>
                    <a:pt x="120158" y="150224"/>
                  </a:cubicBezTo>
                </a:path>
              </a:pathLst>
            </a:custGeom>
            <a:grpFill/>
            <a:ln w="548" cap="flat">
              <a:noFill/>
              <a:prstDash val="solid"/>
              <a:miter/>
            </a:ln>
          </p:spPr>
          <p:txBody>
            <a:bodyPr/>
            <a:lstStyle/>
            <a:p>
              <a:endParaRPr lang="en-US"/>
            </a:p>
          </p:txBody>
        </p:sp>
        <p:sp>
          <p:nvSpPr>
            <p:cNvPr id="119" name="Freeform: Shape 118">
              <a:extLst>
                <a:ext uri="{FF2B5EF4-FFF2-40B4-BE49-F238E27FC236}">
                  <a16:creationId xmlns:a16="http://schemas.microsoft.com/office/drawing/2014/main" id="{CB49D618-DD2D-AA13-EBCD-5A7240F7F136}"/>
                </a:ext>
              </a:extLst>
            </p:cNvPr>
            <p:cNvSpPr/>
            <p:nvPr/>
          </p:nvSpPr>
          <p:spPr>
            <a:xfrm flipV="1">
              <a:off x="25268893" y="4477462"/>
              <a:ext cx="166512" cy="149339"/>
            </a:xfrm>
            <a:custGeom>
              <a:avLst/>
              <a:gdLst>
                <a:gd name="csX0" fmla="*/ 124763 w 166512"/>
                <a:gd name="csY0" fmla="*/ 144456 h 149339"/>
                <a:gd name="csX1" fmla="*/ 16845 w 166512"/>
                <a:gd name="csY1" fmla="*/ 144456 h 149339"/>
                <a:gd name="csX2" fmla="*/ 16351 w 166512"/>
                <a:gd name="csY2" fmla="*/ 142728 h 149339"/>
                <a:gd name="csX3" fmla="*/ -10258 w 166512"/>
                <a:gd name="csY3" fmla="*/ 107687 h 149339"/>
                <a:gd name="csX4" fmla="*/ 75166 w 166512"/>
                <a:gd name="csY4" fmla="*/ -4883 h 149339"/>
                <a:gd name="csX5" fmla="*/ 156254 w 166512"/>
                <a:gd name="csY5" fmla="*/ 101926 h 149339"/>
                <a:gd name="csX6" fmla="*/ 125256 w 166512"/>
                <a:gd name="csY6" fmla="*/ 142728 h 149339"/>
                <a:gd name="csX7" fmla="*/ 124763 w 166512"/>
                <a:gd name="csY7" fmla="*/ 144456 h 14933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166512" h="149339">
                  <a:moveTo>
                    <a:pt x="124763" y="144456"/>
                  </a:moveTo>
                  <a:lnTo>
                    <a:pt x="16845" y="144456"/>
                  </a:lnTo>
                  <a:cubicBezTo>
                    <a:pt x="16845" y="143853"/>
                    <a:pt x="16735" y="143244"/>
                    <a:pt x="16351" y="142728"/>
                  </a:cubicBezTo>
                  <a:lnTo>
                    <a:pt x="-10258" y="107687"/>
                  </a:lnTo>
                  <a:lnTo>
                    <a:pt x="75166" y="-4883"/>
                  </a:lnTo>
                  <a:lnTo>
                    <a:pt x="156254" y="101926"/>
                  </a:lnTo>
                  <a:lnTo>
                    <a:pt x="125256" y="142728"/>
                  </a:lnTo>
                  <a:cubicBezTo>
                    <a:pt x="124872" y="143244"/>
                    <a:pt x="124763" y="143853"/>
                    <a:pt x="124763" y="144456"/>
                  </a:cubicBezTo>
                </a:path>
              </a:pathLst>
            </a:custGeom>
            <a:grpFill/>
            <a:ln w="548" cap="flat">
              <a:noFill/>
              <a:prstDash val="solid"/>
              <a:miter/>
            </a:ln>
          </p:spPr>
          <p:txBody>
            <a:bodyPr/>
            <a:lstStyle/>
            <a:p>
              <a:endParaRPr lang="en-US"/>
            </a:p>
          </p:txBody>
        </p:sp>
        <p:sp>
          <p:nvSpPr>
            <p:cNvPr id="120" name="Freeform: Shape 119">
              <a:extLst>
                <a:ext uri="{FF2B5EF4-FFF2-40B4-BE49-F238E27FC236}">
                  <a16:creationId xmlns:a16="http://schemas.microsoft.com/office/drawing/2014/main" id="{4C89D8A5-89DA-A90B-9EB6-0808B90828A0}"/>
                </a:ext>
              </a:extLst>
            </p:cNvPr>
            <p:cNvSpPr/>
            <p:nvPr/>
          </p:nvSpPr>
          <p:spPr>
            <a:xfrm flipV="1">
              <a:off x="25410278" y="4477462"/>
              <a:ext cx="57387" cy="37806"/>
            </a:xfrm>
            <a:custGeom>
              <a:avLst/>
              <a:gdLst>
                <a:gd name="csX0" fmla="*/ 18328 w 57387"/>
                <a:gd name="csY0" fmla="*/ -5017 h 37806"/>
                <a:gd name="csX1" fmla="*/ 47022 w 57387"/>
                <a:gd name="csY1" fmla="*/ 32789 h 37806"/>
                <a:gd name="csX2" fmla="*/ -10365 w 57387"/>
                <a:gd name="csY2" fmla="*/ 32789 h 37806"/>
              </a:gdLst>
              <a:ahLst/>
              <a:cxnLst>
                <a:cxn ang="0">
                  <a:pos x="csX0" y="csY0"/>
                </a:cxn>
                <a:cxn ang="0">
                  <a:pos x="csX1" y="csY1"/>
                </a:cxn>
                <a:cxn ang="0">
                  <a:pos x="csX2" y="csY2"/>
                </a:cxn>
              </a:cxnLst>
              <a:rect l="l" t="t" r="r" b="b"/>
              <a:pathLst>
                <a:path w="57387" h="37806">
                  <a:moveTo>
                    <a:pt x="18328" y="-5017"/>
                  </a:moveTo>
                  <a:lnTo>
                    <a:pt x="47022" y="32789"/>
                  </a:lnTo>
                  <a:lnTo>
                    <a:pt x="-10365" y="32789"/>
                  </a:lnTo>
                  <a:close/>
                </a:path>
              </a:pathLst>
            </a:custGeom>
            <a:grpFill/>
            <a:ln w="548" cap="flat">
              <a:noFill/>
              <a:prstDash val="solid"/>
              <a:miter/>
            </a:ln>
          </p:spPr>
          <p:txBody>
            <a:bodyPr/>
            <a:lstStyle/>
            <a:p>
              <a:endParaRPr lang="en-US"/>
            </a:p>
          </p:txBody>
        </p:sp>
        <p:sp>
          <p:nvSpPr>
            <p:cNvPr id="121" name="Freeform: Shape 120">
              <a:extLst>
                <a:ext uri="{FF2B5EF4-FFF2-40B4-BE49-F238E27FC236}">
                  <a16:creationId xmlns:a16="http://schemas.microsoft.com/office/drawing/2014/main" id="{3392D00B-9BED-021F-8FA9-611459B6CC1E}"/>
                </a:ext>
              </a:extLst>
            </p:cNvPr>
            <p:cNvSpPr/>
            <p:nvPr/>
          </p:nvSpPr>
          <p:spPr>
            <a:xfrm flipV="1">
              <a:off x="25616238" y="4477462"/>
              <a:ext cx="163275" cy="160866"/>
            </a:xfrm>
            <a:custGeom>
              <a:avLst/>
              <a:gdLst>
                <a:gd name="csX0" fmla="*/ 24701 w 163275"/>
                <a:gd name="csY0" fmla="*/ 154269 h 160866"/>
                <a:gd name="csX1" fmla="*/ -10686 w 163275"/>
                <a:gd name="csY1" fmla="*/ 107706 h 160866"/>
                <a:gd name="csX2" fmla="*/ 74792 w 163275"/>
                <a:gd name="csY2" fmla="*/ -4869 h 160866"/>
                <a:gd name="csX3" fmla="*/ 152589 w 163275"/>
                <a:gd name="csY3" fmla="*/ 97677 h 160866"/>
                <a:gd name="csX4" fmla="*/ 109630 w 163275"/>
                <a:gd name="csY4" fmla="*/ 154269 h 160866"/>
                <a:gd name="csX5" fmla="*/ 109136 w 163275"/>
                <a:gd name="csY5" fmla="*/ 155997 h 160866"/>
                <a:gd name="csX6" fmla="*/ 25194 w 163275"/>
                <a:gd name="csY6" fmla="*/ 155997 h 160866"/>
                <a:gd name="csX7" fmla="*/ 24701 w 163275"/>
                <a:gd name="csY7" fmla="*/ 154269 h 16086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163275" h="160866">
                  <a:moveTo>
                    <a:pt x="24701" y="154269"/>
                  </a:moveTo>
                  <a:lnTo>
                    <a:pt x="-10686" y="107706"/>
                  </a:lnTo>
                  <a:lnTo>
                    <a:pt x="74792" y="-4869"/>
                  </a:lnTo>
                  <a:lnTo>
                    <a:pt x="152589" y="97677"/>
                  </a:lnTo>
                  <a:lnTo>
                    <a:pt x="109630" y="154269"/>
                  </a:lnTo>
                  <a:cubicBezTo>
                    <a:pt x="109246" y="154785"/>
                    <a:pt x="109136" y="155394"/>
                    <a:pt x="109136" y="155997"/>
                  </a:cubicBezTo>
                  <a:lnTo>
                    <a:pt x="25194" y="155997"/>
                  </a:lnTo>
                  <a:cubicBezTo>
                    <a:pt x="25194" y="155394"/>
                    <a:pt x="25085" y="154785"/>
                    <a:pt x="24701" y="154269"/>
                  </a:cubicBezTo>
                </a:path>
              </a:pathLst>
            </a:custGeom>
            <a:grpFill/>
            <a:ln w="548" cap="flat">
              <a:noFill/>
              <a:prstDash val="solid"/>
              <a:miter/>
            </a:ln>
          </p:spPr>
          <p:txBody>
            <a:bodyPr/>
            <a:lstStyle/>
            <a:p>
              <a:endParaRPr lang="en-US"/>
            </a:p>
          </p:txBody>
        </p:sp>
        <p:sp>
          <p:nvSpPr>
            <p:cNvPr id="122" name="Freeform: Shape 121">
              <a:extLst>
                <a:ext uri="{FF2B5EF4-FFF2-40B4-BE49-F238E27FC236}">
                  <a16:creationId xmlns:a16="http://schemas.microsoft.com/office/drawing/2014/main" id="{C53C9955-CFC1-D068-A3AB-E8FB9E67BB1B}"/>
                </a:ext>
              </a:extLst>
            </p:cNvPr>
            <p:cNvSpPr/>
            <p:nvPr/>
          </p:nvSpPr>
          <p:spPr>
            <a:xfrm flipV="1">
              <a:off x="25531582" y="4530483"/>
              <a:ext cx="166512" cy="219379"/>
            </a:xfrm>
            <a:custGeom>
              <a:avLst/>
              <a:gdLst>
                <a:gd name="csX0" fmla="*/ 155929 w 166512"/>
                <a:gd name="csY0" fmla="*/ 102138 h 219379"/>
                <a:gd name="csX1" fmla="*/ 70506 w 166512"/>
                <a:gd name="csY1" fmla="*/ 214708 h 219379"/>
                <a:gd name="csX2" fmla="*/ -10583 w 166512"/>
                <a:gd name="csY2" fmla="*/ 107899 h 219379"/>
                <a:gd name="csX3" fmla="*/ 74895 w 166512"/>
                <a:gd name="csY3" fmla="*/ -4671 h 219379"/>
                <a:gd name="csX4" fmla="*/ 155929 w 166512"/>
                <a:gd name="csY4" fmla="*/ 102138 h 219379"/>
              </a:gdLst>
              <a:ahLst/>
              <a:cxnLst>
                <a:cxn ang="0">
                  <a:pos x="csX0" y="csY0"/>
                </a:cxn>
                <a:cxn ang="0">
                  <a:pos x="csX1" y="csY1"/>
                </a:cxn>
                <a:cxn ang="0">
                  <a:pos x="csX2" y="csY2"/>
                </a:cxn>
                <a:cxn ang="0">
                  <a:pos x="csX3" y="csY3"/>
                </a:cxn>
                <a:cxn ang="0">
                  <a:pos x="csX4" y="csY4"/>
                </a:cxn>
              </a:cxnLst>
              <a:rect l="l" t="t" r="r" b="b"/>
              <a:pathLst>
                <a:path w="166512" h="219379">
                  <a:moveTo>
                    <a:pt x="155929" y="102138"/>
                  </a:moveTo>
                  <a:lnTo>
                    <a:pt x="70506" y="214708"/>
                  </a:lnTo>
                  <a:lnTo>
                    <a:pt x="-10583" y="107899"/>
                  </a:lnTo>
                  <a:lnTo>
                    <a:pt x="74895" y="-4671"/>
                  </a:lnTo>
                  <a:lnTo>
                    <a:pt x="155929" y="102138"/>
                  </a:lnTo>
                </a:path>
              </a:pathLst>
            </a:custGeom>
            <a:grpFill/>
            <a:ln w="548" cap="flat">
              <a:noFill/>
              <a:prstDash val="solid"/>
              <a:miter/>
            </a:ln>
          </p:spPr>
          <p:txBody>
            <a:bodyPr/>
            <a:lstStyle/>
            <a:p>
              <a:endParaRPr lang="en-US"/>
            </a:p>
          </p:txBody>
        </p:sp>
        <p:sp>
          <p:nvSpPr>
            <p:cNvPr id="123" name="Freeform: Shape 122">
              <a:extLst>
                <a:ext uri="{FF2B5EF4-FFF2-40B4-BE49-F238E27FC236}">
                  <a16:creationId xmlns:a16="http://schemas.microsoft.com/office/drawing/2014/main" id="{EE6F4A46-848C-83F9-0FB4-578ADDD05F79}"/>
                </a:ext>
              </a:extLst>
            </p:cNvPr>
            <p:cNvSpPr/>
            <p:nvPr/>
          </p:nvSpPr>
          <p:spPr>
            <a:xfrm flipV="1">
              <a:off x="24766723" y="4543782"/>
              <a:ext cx="210238" cy="276245"/>
            </a:xfrm>
            <a:custGeom>
              <a:avLst/>
              <a:gdLst>
                <a:gd name="csX0" fmla="*/ -9663 w 210238"/>
                <a:gd name="csY0" fmla="*/ 105771 h 276245"/>
                <a:gd name="csX1" fmla="*/ 75157 w 210238"/>
                <a:gd name="csY1" fmla="*/ -4571 h 276245"/>
                <a:gd name="csX2" fmla="*/ 200576 w 210238"/>
                <a:gd name="csY2" fmla="*/ 160657 h 276245"/>
                <a:gd name="csX3" fmla="*/ 116305 w 210238"/>
                <a:gd name="csY3" fmla="*/ 271675 h 276245"/>
                <a:gd name="csX4" fmla="*/ -9663 w 210238"/>
                <a:gd name="csY4" fmla="*/ 105771 h 276245"/>
              </a:gdLst>
              <a:ahLst/>
              <a:cxnLst>
                <a:cxn ang="0">
                  <a:pos x="csX0" y="csY0"/>
                </a:cxn>
                <a:cxn ang="0">
                  <a:pos x="csX1" y="csY1"/>
                </a:cxn>
                <a:cxn ang="0">
                  <a:pos x="csX2" y="csY2"/>
                </a:cxn>
                <a:cxn ang="0">
                  <a:pos x="csX3" y="csY3"/>
                </a:cxn>
                <a:cxn ang="0">
                  <a:pos x="csX4" y="csY4"/>
                </a:cxn>
              </a:cxnLst>
              <a:rect l="l" t="t" r="r" b="b"/>
              <a:pathLst>
                <a:path w="210238" h="276245">
                  <a:moveTo>
                    <a:pt x="-9663" y="105771"/>
                  </a:moveTo>
                  <a:lnTo>
                    <a:pt x="75157" y="-4571"/>
                  </a:lnTo>
                  <a:lnTo>
                    <a:pt x="200576" y="160657"/>
                  </a:lnTo>
                  <a:lnTo>
                    <a:pt x="116305" y="271675"/>
                  </a:lnTo>
                  <a:lnTo>
                    <a:pt x="-9663" y="105771"/>
                  </a:lnTo>
                </a:path>
              </a:pathLst>
            </a:custGeom>
            <a:grpFill/>
            <a:ln w="548" cap="flat">
              <a:noFill/>
              <a:prstDash val="solid"/>
              <a:miter/>
            </a:ln>
          </p:spPr>
          <p:txBody>
            <a:bodyPr/>
            <a:lstStyle/>
            <a:p>
              <a:endParaRPr lang="en-US"/>
            </a:p>
          </p:txBody>
        </p:sp>
        <p:sp>
          <p:nvSpPr>
            <p:cNvPr id="124" name="Freeform: Shape 123">
              <a:extLst>
                <a:ext uri="{FF2B5EF4-FFF2-40B4-BE49-F238E27FC236}">
                  <a16:creationId xmlns:a16="http://schemas.microsoft.com/office/drawing/2014/main" id="{80C79F47-E4B4-C4D3-7677-F2E7D15A3762}"/>
                </a:ext>
              </a:extLst>
            </p:cNvPr>
            <p:cNvSpPr/>
            <p:nvPr/>
          </p:nvSpPr>
          <p:spPr>
            <a:xfrm flipV="1">
              <a:off x="24984149" y="4530620"/>
              <a:ext cx="179679" cy="236749"/>
            </a:xfrm>
            <a:custGeom>
              <a:avLst/>
              <a:gdLst>
                <a:gd name="csX0" fmla="*/ 169767 w 179679"/>
                <a:gd name="csY0" fmla="*/ 119529 h 236749"/>
                <a:gd name="csX1" fmla="*/ 84343 w 179679"/>
                <a:gd name="csY1" fmla="*/ 232099 h 236749"/>
                <a:gd name="csX2" fmla="*/ -9913 w 179679"/>
                <a:gd name="csY2" fmla="*/ 107920 h 236749"/>
                <a:gd name="csX3" fmla="*/ 75510 w 179679"/>
                <a:gd name="csY3" fmla="*/ -4650 h 236749"/>
                <a:gd name="csX4" fmla="*/ 169767 w 179679"/>
                <a:gd name="csY4" fmla="*/ 119529 h 236749"/>
              </a:gdLst>
              <a:ahLst/>
              <a:cxnLst>
                <a:cxn ang="0">
                  <a:pos x="csX0" y="csY0"/>
                </a:cxn>
                <a:cxn ang="0">
                  <a:pos x="csX1" y="csY1"/>
                </a:cxn>
                <a:cxn ang="0">
                  <a:pos x="csX2" y="csY2"/>
                </a:cxn>
                <a:cxn ang="0">
                  <a:pos x="csX3" y="csY3"/>
                </a:cxn>
                <a:cxn ang="0">
                  <a:pos x="csX4" y="csY4"/>
                </a:cxn>
              </a:cxnLst>
              <a:rect l="l" t="t" r="r" b="b"/>
              <a:pathLst>
                <a:path w="179679" h="236749">
                  <a:moveTo>
                    <a:pt x="169767" y="119529"/>
                  </a:moveTo>
                  <a:lnTo>
                    <a:pt x="84343" y="232099"/>
                  </a:lnTo>
                  <a:lnTo>
                    <a:pt x="-9913" y="107920"/>
                  </a:lnTo>
                  <a:lnTo>
                    <a:pt x="75510" y="-4650"/>
                  </a:lnTo>
                  <a:lnTo>
                    <a:pt x="169767" y="119529"/>
                  </a:lnTo>
                </a:path>
              </a:pathLst>
            </a:custGeom>
            <a:grpFill/>
            <a:ln w="548" cap="flat">
              <a:noFill/>
              <a:prstDash val="solid"/>
              <a:miter/>
            </a:ln>
          </p:spPr>
          <p:txBody>
            <a:bodyPr/>
            <a:lstStyle/>
            <a:p>
              <a:endParaRPr lang="en-US"/>
            </a:p>
          </p:txBody>
        </p:sp>
        <p:sp>
          <p:nvSpPr>
            <p:cNvPr id="125" name="Freeform: Shape 124">
              <a:extLst>
                <a:ext uri="{FF2B5EF4-FFF2-40B4-BE49-F238E27FC236}">
                  <a16:creationId xmlns:a16="http://schemas.microsoft.com/office/drawing/2014/main" id="{780BB5E5-F7AD-27D2-E1F4-69D0679538B9}"/>
                </a:ext>
              </a:extLst>
            </p:cNvPr>
            <p:cNvSpPr/>
            <p:nvPr/>
          </p:nvSpPr>
          <p:spPr>
            <a:xfrm flipV="1">
              <a:off x="24651619" y="4569387"/>
              <a:ext cx="107917" cy="282396"/>
            </a:xfrm>
            <a:custGeom>
              <a:avLst/>
              <a:gdLst>
                <a:gd name="csX0" fmla="*/ -9456 w 107917"/>
                <a:gd name="csY0" fmla="*/ 277894 h 282396"/>
                <a:gd name="csX1" fmla="*/ -9456 w 107917"/>
                <a:gd name="csY1" fmla="*/ -4502 h 282396"/>
                <a:gd name="csX2" fmla="*/ 98461 w 107917"/>
                <a:gd name="csY2" fmla="*/ 137574 h 282396"/>
              </a:gdLst>
              <a:ahLst/>
              <a:cxnLst>
                <a:cxn ang="0">
                  <a:pos x="csX0" y="csY0"/>
                </a:cxn>
                <a:cxn ang="0">
                  <a:pos x="csX1" y="csY1"/>
                </a:cxn>
                <a:cxn ang="0">
                  <a:pos x="csX2" y="csY2"/>
                </a:cxn>
              </a:cxnLst>
              <a:rect l="l" t="t" r="r" b="b"/>
              <a:pathLst>
                <a:path w="107917" h="282396">
                  <a:moveTo>
                    <a:pt x="-9456" y="277894"/>
                  </a:moveTo>
                  <a:lnTo>
                    <a:pt x="-9456" y="-4502"/>
                  </a:lnTo>
                  <a:lnTo>
                    <a:pt x="98461" y="137574"/>
                  </a:lnTo>
                  <a:close/>
                </a:path>
              </a:pathLst>
            </a:custGeom>
            <a:grpFill/>
            <a:ln w="548" cap="flat">
              <a:noFill/>
              <a:prstDash val="solid"/>
              <a:miter/>
            </a:ln>
          </p:spPr>
          <p:txBody>
            <a:bodyPr/>
            <a:lstStyle/>
            <a:p>
              <a:endParaRPr lang="en-US"/>
            </a:p>
          </p:txBody>
        </p:sp>
        <p:sp>
          <p:nvSpPr>
            <p:cNvPr id="126" name="Freeform: Shape 125">
              <a:extLst>
                <a:ext uri="{FF2B5EF4-FFF2-40B4-BE49-F238E27FC236}">
                  <a16:creationId xmlns:a16="http://schemas.microsoft.com/office/drawing/2014/main" id="{A34F3360-23DB-A20A-BC2E-6BFBAB1A7D68}"/>
                </a:ext>
              </a:extLst>
            </p:cNvPr>
            <p:cNvSpPr/>
            <p:nvPr/>
          </p:nvSpPr>
          <p:spPr>
            <a:xfrm flipV="1">
              <a:off x="25073193" y="4647913"/>
              <a:ext cx="179679" cy="236749"/>
            </a:xfrm>
            <a:custGeom>
              <a:avLst/>
              <a:gdLst>
                <a:gd name="csX0" fmla="*/ 169656 w 179679"/>
                <a:gd name="csY0" fmla="*/ 119811 h 236749"/>
                <a:gd name="csX1" fmla="*/ 84233 w 179679"/>
                <a:gd name="csY1" fmla="*/ 232381 h 236749"/>
                <a:gd name="csX2" fmla="*/ -10023 w 179679"/>
                <a:gd name="csY2" fmla="*/ 108196 h 236749"/>
                <a:gd name="csX3" fmla="*/ 75400 w 179679"/>
                <a:gd name="csY3" fmla="*/ -4368 h 236749"/>
                <a:gd name="csX4" fmla="*/ 169656 w 179679"/>
                <a:gd name="csY4" fmla="*/ 119811 h 236749"/>
              </a:gdLst>
              <a:ahLst/>
              <a:cxnLst>
                <a:cxn ang="0">
                  <a:pos x="csX0" y="csY0"/>
                </a:cxn>
                <a:cxn ang="0">
                  <a:pos x="csX1" y="csY1"/>
                </a:cxn>
                <a:cxn ang="0">
                  <a:pos x="csX2" y="csY2"/>
                </a:cxn>
                <a:cxn ang="0">
                  <a:pos x="csX3" y="csY3"/>
                </a:cxn>
                <a:cxn ang="0">
                  <a:pos x="csX4" y="csY4"/>
                </a:cxn>
              </a:cxnLst>
              <a:rect l="l" t="t" r="r" b="b"/>
              <a:pathLst>
                <a:path w="179679" h="236749">
                  <a:moveTo>
                    <a:pt x="169656" y="119811"/>
                  </a:moveTo>
                  <a:lnTo>
                    <a:pt x="84233" y="232381"/>
                  </a:lnTo>
                  <a:lnTo>
                    <a:pt x="-10023" y="108196"/>
                  </a:lnTo>
                  <a:lnTo>
                    <a:pt x="75400" y="-4368"/>
                  </a:lnTo>
                  <a:lnTo>
                    <a:pt x="169656" y="119811"/>
                  </a:lnTo>
                </a:path>
              </a:pathLst>
            </a:custGeom>
            <a:grpFill/>
            <a:ln w="548" cap="flat">
              <a:noFill/>
              <a:prstDash val="solid"/>
              <a:miter/>
            </a:ln>
          </p:spPr>
          <p:txBody>
            <a:bodyPr/>
            <a:lstStyle/>
            <a:p>
              <a:endParaRPr lang="en-US"/>
            </a:p>
          </p:txBody>
        </p:sp>
        <p:sp>
          <p:nvSpPr>
            <p:cNvPr id="127" name="Freeform: Shape 126">
              <a:extLst>
                <a:ext uri="{FF2B5EF4-FFF2-40B4-BE49-F238E27FC236}">
                  <a16:creationId xmlns:a16="http://schemas.microsoft.com/office/drawing/2014/main" id="{BD8A63C1-8327-DFFB-24B4-3B5DC7C038E4}"/>
                </a:ext>
              </a:extLst>
            </p:cNvPr>
            <p:cNvSpPr/>
            <p:nvPr/>
          </p:nvSpPr>
          <p:spPr>
            <a:xfrm flipV="1">
              <a:off x="25357938" y="4524727"/>
              <a:ext cx="166512" cy="219373"/>
            </a:xfrm>
            <a:custGeom>
              <a:avLst/>
              <a:gdLst>
                <a:gd name="csX0" fmla="*/ 156144 w 166512"/>
                <a:gd name="csY0" fmla="*/ 102124 h 219373"/>
                <a:gd name="csX1" fmla="*/ 70666 w 166512"/>
                <a:gd name="csY1" fmla="*/ 214688 h 219373"/>
                <a:gd name="csX2" fmla="*/ -10368 w 166512"/>
                <a:gd name="csY2" fmla="*/ 107890 h 219373"/>
                <a:gd name="csX3" fmla="*/ 75055 w 166512"/>
                <a:gd name="csY3" fmla="*/ -4685 h 219373"/>
                <a:gd name="csX4" fmla="*/ 156144 w 166512"/>
                <a:gd name="csY4" fmla="*/ 102124 h 219373"/>
              </a:gdLst>
              <a:ahLst/>
              <a:cxnLst>
                <a:cxn ang="0">
                  <a:pos x="csX0" y="csY0"/>
                </a:cxn>
                <a:cxn ang="0">
                  <a:pos x="csX1" y="csY1"/>
                </a:cxn>
                <a:cxn ang="0">
                  <a:pos x="csX2" y="csY2"/>
                </a:cxn>
                <a:cxn ang="0">
                  <a:pos x="csX3" y="csY3"/>
                </a:cxn>
                <a:cxn ang="0">
                  <a:pos x="csX4" y="csY4"/>
                </a:cxn>
              </a:cxnLst>
              <a:rect l="l" t="t" r="r" b="b"/>
              <a:pathLst>
                <a:path w="166512" h="219373">
                  <a:moveTo>
                    <a:pt x="156144" y="102124"/>
                  </a:moveTo>
                  <a:lnTo>
                    <a:pt x="70666" y="214688"/>
                  </a:lnTo>
                  <a:lnTo>
                    <a:pt x="-10368" y="107890"/>
                  </a:lnTo>
                  <a:lnTo>
                    <a:pt x="75055" y="-4685"/>
                  </a:lnTo>
                  <a:lnTo>
                    <a:pt x="156144" y="102124"/>
                  </a:lnTo>
                </a:path>
              </a:pathLst>
            </a:custGeom>
            <a:grpFill/>
            <a:ln w="548" cap="flat">
              <a:noFill/>
              <a:prstDash val="solid"/>
              <a:miter/>
            </a:ln>
          </p:spPr>
          <p:txBody>
            <a:bodyPr/>
            <a:lstStyle/>
            <a:p>
              <a:endParaRPr lang="en-US"/>
            </a:p>
          </p:txBody>
        </p:sp>
        <p:sp>
          <p:nvSpPr>
            <p:cNvPr id="128" name="Freeform: Shape 127">
              <a:extLst>
                <a:ext uri="{FF2B5EF4-FFF2-40B4-BE49-F238E27FC236}">
                  <a16:creationId xmlns:a16="http://schemas.microsoft.com/office/drawing/2014/main" id="{F74821BE-FE42-6A6F-D7DC-3B3FA49BA868}"/>
                </a:ext>
              </a:extLst>
            </p:cNvPr>
            <p:cNvSpPr/>
            <p:nvPr/>
          </p:nvSpPr>
          <p:spPr>
            <a:xfrm flipV="1">
              <a:off x="25171016" y="4518961"/>
              <a:ext cx="179734" cy="236793"/>
            </a:xfrm>
            <a:custGeom>
              <a:avLst/>
              <a:gdLst>
                <a:gd name="csX0" fmla="*/ 169590 w 179734"/>
                <a:gd name="csY0" fmla="*/ 119550 h 236793"/>
                <a:gd name="csX1" fmla="*/ 84166 w 179734"/>
                <a:gd name="csY1" fmla="*/ 232115 h 236793"/>
                <a:gd name="csX2" fmla="*/ -10145 w 179734"/>
                <a:gd name="csY2" fmla="*/ 107886 h 236793"/>
                <a:gd name="csX3" fmla="*/ 75278 w 179734"/>
                <a:gd name="csY3" fmla="*/ -4678 h 236793"/>
                <a:gd name="csX4" fmla="*/ 169590 w 179734"/>
                <a:gd name="csY4" fmla="*/ 119550 h 236793"/>
              </a:gdLst>
              <a:ahLst/>
              <a:cxnLst>
                <a:cxn ang="0">
                  <a:pos x="csX0" y="csY0"/>
                </a:cxn>
                <a:cxn ang="0">
                  <a:pos x="csX1" y="csY1"/>
                </a:cxn>
                <a:cxn ang="0">
                  <a:pos x="csX2" y="csY2"/>
                </a:cxn>
                <a:cxn ang="0">
                  <a:pos x="csX3" y="csY3"/>
                </a:cxn>
                <a:cxn ang="0">
                  <a:pos x="csX4" y="csY4"/>
                </a:cxn>
              </a:cxnLst>
              <a:rect l="l" t="t" r="r" b="b"/>
              <a:pathLst>
                <a:path w="179734" h="236793">
                  <a:moveTo>
                    <a:pt x="169590" y="119550"/>
                  </a:moveTo>
                  <a:lnTo>
                    <a:pt x="84166" y="232115"/>
                  </a:lnTo>
                  <a:lnTo>
                    <a:pt x="-10145" y="107886"/>
                  </a:lnTo>
                  <a:lnTo>
                    <a:pt x="75278" y="-4678"/>
                  </a:lnTo>
                  <a:lnTo>
                    <a:pt x="169590" y="119550"/>
                  </a:lnTo>
                </a:path>
              </a:pathLst>
            </a:custGeom>
            <a:grpFill/>
            <a:ln w="548" cap="flat">
              <a:noFill/>
              <a:prstDash val="solid"/>
              <a:miter/>
            </a:ln>
          </p:spPr>
          <p:txBody>
            <a:bodyPr/>
            <a:lstStyle/>
            <a:p>
              <a:endParaRPr lang="en-US"/>
            </a:p>
          </p:txBody>
        </p:sp>
        <p:sp>
          <p:nvSpPr>
            <p:cNvPr id="129" name="Freeform: Shape 128">
              <a:extLst>
                <a:ext uri="{FF2B5EF4-FFF2-40B4-BE49-F238E27FC236}">
                  <a16:creationId xmlns:a16="http://schemas.microsoft.com/office/drawing/2014/main" id="{BF976015-EB29-6529-5113-94533EBA19C9}"/>
                </a:ext>
              </a:extLst>
            </p:cNvPr>
            <p:cNvSpPr/>
            <p:nvPr/>
          </p:nvSpPr>
          <p:spPr>
            <a:xfrm flipV="1">
              <a:off x="25446927" y="4642021"/>
              <a:ext cx="166512" cy="219379"/>
            </a:xfrm>
            <a:custGeom>
              <a:avLst/>
              <a:gdLst>
                <a:gd name="csX0" fmla="*/ 156034 w 166512"/>
                <a:gd name="csY0" fmla="*/ 102406 h 219379"/>
                <a:gd name="csX1" fmla="*/ 70610 w 166512"/>
                <a:gd name="csY1" fmla="*/ 214976 h 219379"/>
                <a:gd name="csX2" fmla="*/ -10478 w 166512"/>
                <a:gd name="csY2" fmla="*/ 108172 h 219379"/>
                <a:gd name="csX3" fmla="*/ 75000 w 166512"/>
                <a:gd name="csY3" fmla="*/ -4403 h 219379"/>
                <a:gd name="csX4" fmla="*/ 156034 w 166512"/>
                <a:gd name="csY4" fmla="*/ 102406 h 219379"/>
              </a:gdLst>
              <a:ahLst/>
              <a:cxnLst>
                <a:cxn ang="0">
                  <a:pos x="csX0" y="csY0"/>
                </a:cxn>
                <a:cxn ang="0">
                  <a:pos x="csX1" y="csY1"/>
                </a:cxn>
                <a:cxn ang="0">
                  <a:pos x="csX2" y="csY2"/>
                </a:cxn>
                <a:cxn ang="0">
                  <a:pos x="csX3" y="csY3"/>
                </a:cxn>
                <a:cxn ang="0">
                  <a:pos x="csX4" y="csY4"/>
                </a:cxn>
              </a:cxnLst>
              <a:rect l="l" t="t" r="r" b="b"/>
              <a:pathLst>
                <a:path w="166512" h="219379">
                  <a:moveTo>
                    <a:pt x="156034" y="102406"/>
                  </a:moveTo>
                  <a:lnTo>
                    <a:pt x="70610" y="214976"/>
                  </a:lnTo>
                  <a:lnTo>
                    <a:pt x="-10478" y="108172"/>
                  </a:lnTo>
                  <a:lnTo>
                    <a:pt x="75000" y="-4403"/>
                  </a:lnTo>
                  <a:lnTo>
                    <a:pt x="156034" y="102406"/>
                  </a:lnTo>
                </a:path>
              </a:pathLst>
            </a:custGeom>
            <a:grpFill/>
            <a:ln w="548" cap="flat">
              <a:noFill/>
              <a:prstDash val="solid"/>
              <a:miter/>
            </a:ln>
          </p:spPr>
          <p:txBody>
            <a:bodyPr/>
            <a:lstStyle/>
            <a:p>
              <a:endParaRPr lang="en-US"/>
            </a:p>
          </p:txBody>
        </p:sp>
        <p:sp>
          <p:nvSpPr>
            <p:cNvPr id="130" name="Freeform: Shape 129">
              <a:extLst>
                <a:ext uri="{FF2B5EF4-FFF2-40B4-BE49-F238E27FC236}">
                  <a16:creationId xmlns:a16="http://schemas.microsoft.com/office/drawing/2014/main" id="{AA199E97-987B-96C5-A932-9BFA322B9E5F}"/>
                </a:ext>
              </a:extLst>
            </p:cNvPr>
            <p:cNvSpPr/>
            <p:nvPr/>
          </p:nvSpPr>
          <p:spPr>
            <a:xfrm flipV="1">
              <a:off x="25260061" y="4636255"/>
              <a:ext cx="179734" cy="236798"/>
            </a:xfrm>
            <a:custGeom>
              <a:avLst/>
              <a:gdLst>
                <a:gd name="csX0" fmla="*/ 169479 w 179734"/>
                <a:gd name="csY0" fmla="*/ 119833 h 236798"/>
                <a:gd name="csX1" fmla="*/ 84001 w 179734"/>
                <a:gd name="csY1" fmla="*/ 232403 h 236798"/>
                <a:gd name="csX2" fmla="*/ -10255 w 179734"/>
                <a:gd name="csY2" fmla="*/ 108174 h 236798"/>
                <a:gd name="csX3" fmla="*/ 75168 w 179734"/>
                <a:gd name="csY3" fmla="*/ -4396 h 236798"/>
                <a:gd name="csX4" fmla="*/ 169479 w 179734"/>
                <a:gd name="csY4" fmla="*/ 119833 h 236798"/>
              </a:gdLst>
              <a:ahLst/>
              <a:cxnLst>
                <a:cxn ang="0">
                  <a:pos x="csX0" y="csY0"/>
                </a:cxn>
                <a:cxn ang="0">
                  <a:pos x="csX1" y="csY1"/>
                </a:cxn>
                <a:cxn ang="0">
                  <a:pos x="csX2" y="csY2"/>
                </a:cxn>
                <a:cxn ang="0">
                  <a:pos x="csX3" y="csY3"/>
                </a:cxn>
                <a:cxn ang="0">
                  <a:pos x="csX4" y="csY4"/>
                </a:cxn>
              </a:cxnLst>
              <a:rect l="l" t="t" r="r" b="b"/>
              <a:pathLst>
                <a:path w="179734" h="236798">
                  <a:moveTo>
                    <a:pt x="169479" y="119833"/>
                  </a:moveTo>
                  <a:lnTo>
                    <a:pt x="84001" y="232403"/>
                  </a:lnTo>
                  <a:lnTo>
                    <a:pt x="-10255" y="108174"/>
                  </a:lnTo>
                  <a:lnTo>
                    <a:pt x="75168" y="-4396"/>
                  </a:lnTo>
                  <a:lnTo>
                    <a:pt x="169479" y="119833"/>
                  </a:lnTo>
                </a:path>
              </a:pathLst>
            </a:custGeom>
            <a:grpFill/>
            <a:ln w="548" cap="flat">
              <a:noFill/>
              <a:prstDash val="solid"/>
              <a:miter/>
            </a:ln>
          </p:spPr>
          <p:txBody>
            <a:bodyPr/>
            <a:lstStyle/>
            <a:p>
              <a:endParaRPr lang="en-US"/>
            </a:p>
          </p:txBody>
        </p:sp>
        <p:sp>
          <p:nvSpPr>
            <p:cNvPr id="131" name="Freeform: Shape 130">
              <a:extLst>
                <a:ext uri="{FF2B5EF4-FFF2-40B4-BE49-F238E27FC236}">
                  <a16:creationId xmlns:a16="http://schemas.microsoft.com/office/drawing/2014/main" id="{1CCCAD59-8193-3443-0E35-1C4FD73C6B00}"/>
                </a:ext>
              </a:extLst>
            </p:cNvPr>
            <p:cNvSpPr/>
            <p:nvPr/>
          </p:nvSpPr>
          <p:spPr>
            <a:xfrm flipV="1">
              <a:off x="25705282" y="4540512"/>
              <a:ext cx="181984" cy="239772"/>
            </a:xfrm>
            <a:custGeom>
              <a:avLst/>
              <a:gdLst>
                <a:gd name="csX0" fmla="*/ 171176 w 181984"/>
                <a:gd name="csY0" fmla="*/ 97918 h 239772"/>
                <a:gd name="csX1" fmla="*/ 67043 w 181984"/>
                <a:gd name="csY1" fmla="*/ 235149 h 239772"/>
                <a:gd name="csX2" fmla="*/ -10808 w 181984"/>
                <a:gd name="csY2" fmla="*/ 132608 h 239772"/>
                <a:gd name="csX3" fmla="*/ 93378 w 181984"/>
                <a:gd name="csY3" fmla="*/ -4623 h 239772"/>
                <a:gd name="csX4" fmla="*/ 171176 w 181984"/>
                <a:gd name="csY4" fmla="*/ 97918 h 239772"/>
              </a:gdLst>
              <a:ahLst/>
              <a:cxnLst>
                <a:cxn ang="0">
                  <a:pos x="csX0" y="csY0"/>
                </a:cxn>
                <a:cxn ang="0">
                  <a:pos x="csX1" y="csY1"/>
                </a:cxn>
                <a:cxn ang="0">
                  <a:pos x="csX2" y="csY2"/>
                </a:cxn>
                <a:cxn ang="0">
                  <a:pos x="csX3" y="csY3"/>
                </a:cxn>
                <a:cxn ang="0">
                  <a:pos x="csX4" y="csY4"/>
                </a:cxn>
              </a:cxnLst>
              <a:rect l="l" t="t" r="r" b="b"/>
              <a:pathLst>
                <a:path w="181984" h="239772">
                  <a:moveTo>
                    <a:pt x="171176" y="97918"/>
                  </a:moveTo>
                  <a:lnTo>
                    <a:pt x="67043" y="235149"/>
                  </a:lnTo>
                  <a:lnTo>
                    <a:pt x="-10808" y="132608"/>
                  </a:lnTo>
                  <a:lnTo>
                    <a:pt x="93378" y="-4623"/>
                  </a:lnTo>
                  <a:lnTo>
                    <a:pt x="171176" y="97918"/>
                  </a:lnTo>
                </a:path>
              </a:pathLst>
            </a:custGeom>
            <a:grpFill/>
            <a:ln w="548" cap="flat">
              <a:noFill/>
              <a:prstDash val="solid"/>
              <a:miter/>
            </a:ln>
          </p:spPr>
          <p:txBody>
            <a:bodyPr/>
            <a:lstStyle/>
            <a:p>
              <a:endParaRPr lang="en-US"/>
            </a:p>
          </p:txBody>
        </p:sp>
        <p:sp>
          <p:nvSpPr>
            <p:cNvPr id="132" name="Freeform: Shape 131">
              <a:extLst>
                <a:ext uri="{FF2B5EF4-FFF2-40B4-BE49-F238E27FC236}">
                  <a16:creationId xmlns:a16="http://schemas.microsoft.com/office/drawing/2014/main" id="{5187727B-0DFD-13CB-6D45-51724B24DF43}"/>
                </a:ext>
              </a:extLst>
            </p:cNvPr>
            <p:cNvSpPr/>
            <p:nvPr/>
          </p:nvSpPr>
          <p:spPr>
            <a:xfrm flipV="1">
              <a:off x="25894453" y="4569425"/>
              <a:ext cx="82186" cy="216636"/>
            </a:xfrm>
            <a:custGeom>
              <a:avLst/>
              <a:gdLst>
                <a:gd name="csX0" fmla="*/ 71205 w 82186"/>
                <a:gd name="csY0" fmla="*/ -4581 h 216636"/>
                <a:gd name="csX1" fmla="*/ 71205 w 82186"/>
                <a:gd name="csY1" fmla="*/ 212055 h 216636"/>
                <a:gd name="csX2" fmla="*/ -10981 w 82186"/>
                <a:gd name="csY2" fmla="*/ 103737 h 216636"/>
              </a:gdLst>
              <a:ahLst/>
              <a:cxnLst>
                <a:cxn ang="0">
                  <a:pos x="csX0" y="csY0"/>
                </a:cxn>
                <a:cxn ang="0">
                  <a:pos x="csX1" y="csY1"/>
                </a:cxn>
                <a:cxn ang="0">
                  <a:pos x="csX2" y="csY2"/>
                </a:cxn>
              </a:cxnLst>
              <a:rect l="l" t="t" r="r" b="b"/>
              <a:pathLst>
                <a:path w="82186" h="216636">
                  <a:moveTo>
                    <a:pt x="71205" y="-4581"/>
                  </a:moveTo>
                  <a:lnTo>
                    <a:pt x="71205" y="212055"/>
                  </a:lnTo>
                  <a:lnTo>
                    <a:pt x="-10981" y="103737"/>
                  </a:lnTo>
                  <a:close/>
                </a:path>
              </a:pathLst>
            </a:custGeom>
            <a:grpFill/>
            <a:ln w="548" cap="flat">
              <a:noFill/>
              <a:prstDash val="solid"/>
              <a:miter/>
            </a:ln>
          </p:spPr>
          <p:txBody>
            <a:bodyPr/>
            <a:lstStyle/>
            <a:p>
              <a:endParaRPr lang="en-US"/>
            </a:p>
          </p:txBody>
        </p:sp>
        <p:sp>
          <p:nvSpPr>
            <p:cNvPr id="133" name="Freeform: Shape 132">
              <a:extLst>
                <a:ext uri="{FF2B5EF4-FFF2-40B4-BE49-F238E27FC236}">
                  <a16:creationId xmlns:a16="http://schemas.microsoft.com/office/drawing/2014/main" id="{AE6260EF-E5E7-0C9D-40A1-2FFDBBB27137}"/>
                </a:ext>
              </a:extLst>
            </p:cNvPr>
            <p:cNvSpPr/>
            <p:nvPr/>
          </p:nvSpPr>
          <p:spPr>
            <a:xfrm flipV="1">
              <a:off x="25707861" y="4901276"/>
              <a:ext cx="33850" cy="22335"/>
            </a:xfrm>
            <a:custGeom>
              <a:avLst/>
              <a:gdLst>
                <a:gd name="csX0" fmla="*/ -10720 w 33850"/>
                <a:gd name="csY0" fmla="*/ -4016 h 22335"/>
                <a:gd name="csX1" fmla="*/ 23131 w 33850"/>
                <a:gd name="csY1" fmla="*/ -4016 h 22335"/>
                <a:gd name="csX2" fmla="*/ 6233 w 33850"/>
                <a:gd name="csY2" fmla="*/ 18319 h 22335"/>
              </a:gdLst>
              <a:ahLst/>
              <a:cxnLst>
                <a:cxn ang="0">
                  <a:pos x="csX0" y="csY0"/>
                </a:cxn>
                <a:cxn ang="0">
                  <a:pos x="csX1" y="csY1"/>
                </a:cxn>
                <a:cxn ang="0">
                  <a:pos x="csX2" y="csY2"/>
                </a:cxn>
              </a:cxnLst>
              <a:rect l="l" t="t" r="r" b="b"/>
              <a:pathLst>
                <a:path w="33850" h="22335">
                  <a:moveTo>
                    <a:pt x="-10720" y="-4016"/>
                  </a:moveTo>
                  <a:lnTo>
                    <a:pt x="23131" y="-4016"/>
                  </a:lnTo>
                  <a:lnTo>
                    <a:pt x="6233" y="18319"/>
                  </a:lnTo>
                  <a:close/>
                </a:path>
              </a:pathLst>
            </a:custGeom>
            <a:grpFill/>
            <a:ln w="548" cap="flat">
              <a:noFill/>
              <a:prstDash val="solid"/>
              <a:miter/>
            </a:ln>
          </p:spPr>
          <p:txBody>
            <a:bodyPr/>
            <a:lstStyle/>
            <a:p>
              <a:endParaRPr lang="en-US"/>
            </a:p>
          </p:txBody>
        </p:sp>
        <p:sp>
          <p:nvSpPr>
            <p:cNvPr id="134" name="Freeform: Shape 133">
              <a:extLst>
                <a:ext uri="{FF2B5EF4-FFF2-40B4-BE49-F238E27FC236}">
                  <a16:creationId xmlns:a16="http://schemas.microsoft.com/office/drawing/2014/main" id="{33E6358F-E589-20F8-9A1B-0865169AB724}"/>
                </a:ext>
              </a:extLst>
            </p:cNvPr>
            <p:cNvSpPr/>
            <p:nvPr/>
          </p:nvSpPr>
          <p:spPr>
            <a:xfrm flipV="1">
              <a:off x="25728379" y="4789737"/>
              <a:ext cx="182697" cy="133873"/>
            </a:xfrm>
            <a:custGeom>
              <a:avLst/>
              <a:gdLst>
                <a:gd name="csX0" fmla="*/ -10837 w 182697"/>
                <a:gd name="csY0" fmla="*/ 22914 h 133873"/>
                <a:gd name="csX1" fmla="*/ 8365 w 182697"/>
                <a:gd name="csY1" fmla="*/ -2422 h 133873"/>
                <a:gd name="csX2" fmla="*/ 8914 w 182697"/>
                <a:gd name="csY2" fmla="*/ -4151 h 133873"/>
                <a:gd name="csX3" fmla="*/ 171860 w 182697"/>
                <a:gd name="csY3" fmla="*/ -4151 h 133873"/>
                <a:gd name="csX4" fmla="*/ 70252 w 182697"/>
                <a:gd name="csY4" fmla="*/ 129723 h 133873"/>
                <a:gd name="csX5" fmla="*/ -10837 w 182697"/>
                <a:gd name="csY5" fmla="*/ 22914 h 133873"/>
              </a:gdLst>
              <a:ahLst/>
              <a:cxnLst>
                <a:cxn ang="0">
                  <a:pos x="csX0" y="csY0"/>
                </a:cxn>
                <a:cxn ang="0">
                  <a:pos x="csX1" y="csY1"/>
                </a:cxn>
                <a:cxn ang="0">
                  <a:pos x="csX2" y="csY2"/>
                </a:cxn>
                <a:cxn ang="0">
                  <a:pos x="csX3" y="csY3"/>
                </a:cxn>
                <a:cxn ang="0">
                  <a:pos x="csX4" y="csY4"/>
                </a:cxn>
                <a:cxn ang="0">
                  <a:pos x="csX5" y="csY5"/>
                </a:cxn>
              </a:cxnLst>
              <a:rect l="l" t="t" r="r" b="b"/>
              <a:pathLst>
                <a:path w="182697" h="133873">
                  <a:moveTo>
                    <a:pt x="-10837" y="22914"/>
                  </a:moveTo>
                  <a:lnTo>
                    <a:pt x="8365" y="-2422"/>
                  </a:lnTo>
                  <a:cubicBezTo>
                    <a:pt x="8804" y="-2938"/>
                    <a:pt x="8914" y="-3547"/>
                    <a:pt x="8914" y="-4151"/>
                  </a:cubicBezTo>
                  <a:lnTo>
                    <a:pt x="171860" y="-4151"/>
                  </a:lnTo>
                  <a:lnTo>
                    <a:pt x="70252" y="129723"/>
                  </a:lnTo>
                  <a:lnTo>
                    <a:pt x="-10837" y="22914"/>
                  </a:lnTo>
                </a:path>
              </a:pathLst>
            </a:custGeom>
            <a:grpFill/>
            <a:ln w="548" cap="flat">
              <a:noFill/>
              <a:prstDash val="solid"/>
              <a:miter/>
            </a:ln>
          </p:spPr>
          <p:txBody>
            <a:bodyPr/>
            <a:lstStyle/>
            <a:p>
              <a:endParaRPr lang="en-US"/>
            </a:p>
          </p:txBody>
        </p:sp>
        <p:sp>
          <p:nvSpPr>
            <p:cNvPr id="135" name="Freeform: Shape 134">
              <a:extLst>
                <a:ext uri="{FF2B5EF4-FFF2-40B4-BE49-F238E27FC236}">
                  <a16:creationId xmlns:a16="http://schemas.microsoft.com/office/drawing/2014/main" id="{A60C4817-1ABA-9098-21BB-C85644D4924B}"/>
                </a:ext>
              </a:extLst>
            </p:cNvPr>
            <p:cNvSpPr/>
            <p:nvPr/>
          </p:nvSpPr>
          <p:spPr>
            <a:xfrm flipV="1">
              <a:off x="25535971" y="4759320"/>
              <a:ext cx="185221" cy="164290"/>
            </a:xfrm>
            <a:custGeom>
              <a:avLst/>
              <a:gdLst>
                <a:gd name="csX0" fmla="*/ 70489 w 185221"/>
                <a:gd name="csY0" fmla="*/ 160103 h 164290"/>
                <a:gd name="csX1" fmla="*/ -10600 w 185221"/>
                <a:gd name="csY1" fmla="*/ 53294 h 164290"/>
                <a:gd name="csX2" fmla="*/ 31700 w 185221"/>
                <a:gd name="csY2" fmla="*/ -2459 h 164290"/>
                <a:gd name="csX3" fmla="*/ 32249 w 185221"/>
                <a:gd name="csY3" fmla="*/ -4187 h 164290"/>
                <a:gd name="csX4" fmla="*/ 154870 w 185221"/>
                <a:gd name="csY4" fmla="*/ -4187 h 164290"/>
                <a:gd name="csX5" fmla="*/ 155418 w 185221"/>
                <a:gd name="csY5" fmla="*/ -2459 h 164290"/>
                <a:gd name="csX6" fmla="*/ 174621 w 185221"/>
                <a:gd name="csY6" fmla="*/ 22877 h 164290"/>
                <a:gd name="csX7" fmla="*/ 70489 w 185221"/>
                <a:gd name="csY7" fmla="*/ 160103 h 16429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185221" h="164290">
                  <a:moveTo>
                    <a:pt x="70489" y="160103"/>
                  </a:moveTo>
                  <a:lnTo>
                    <a:pt x="-10600" y="53294"/>
                  </a:lnTo>
                  <a:lnTo>
                    <a:pt x="31700" y="-2459"/>
                  </a:lnTo>
                  <a:cubicBezTo>
                    <a:pt x="32139" y="-2975"/>
                    <a:pt x="32249" y="-3584"/>
                    <a:pt x="32249" y="-4187"/>
                  </a:cubicBezTo>
                  <a:lnTo>
                    <a:pt x="154870" y="-4187"/>
                  </a:lnTo>
                  <a:cubicBezTo>
                    <a:pt x="154870" y="-3584"/>
                    <a:pt x="155034" y="-2975"/>
                    <a:pt x="155418" y="-2459"/>
                  </a:cubicBezTo>
                  <a:lnTo>
                    <a:pt x="174621" y="22877"/>
                  </a:lnTo>
                  <a:lnTo>
                    <a:pt x="70489" y="160103"/>
                  </a:lnTo>
                </a:path>
              </a:pathLst>
            </a:custGeom>
            <a:grpFill/>
            <a:ln w="548" cap="flat">
              <a:noFill/>
              <a:prstDash val="solid"/>
              <a:miter/>
            </a:ln>
          </p:spPr>
          <p:txBody>
            <a:bodyPr/>
            <a:lstStyle/>
            <a:p>
              <a:endParaRPr lang="en-US"/>
            </a:p>
          </p:txBody>
        </p:sp>
        <p:sp>
          <p:nvSpPr>
            <p:cNvPr id="136" name="Freeform: Shape 135">
              <a:extLst>
                <a:ext uri="{FF2B5EF4-FFF2-40B4-BE49-F238E27FC236}">
                  <a16:creationId xmlns:a16="http://schemas.microsoft.com/office/drawing/2014/main" id="{21CBEF99-3E5C-6C89-E437-5EDA85FAF3F9}"/>
                </a:ext>
              </a:extLst>
            </p:cNvPr>
            <p:cNvSpPr/>
            <p:nvPr/>
          </p:nvSpPr>
          <p:spPr>
            <a:xfrm flipV="1">
              <a:off x="25045213" y="4477462"/>
              <a:ext cx="66330" cy="43699"/>
            </a:xfrm>
            <a:custGeom>
              <a:avLst/>
              <a:gdLst>
                <a:gd name="csX0" fmla="*/ 23274 w 66330"/>
                <a:gd name="csY0" fmla="*/ -5010 h 43699"/>
                <a:gd name="csX1" fmla="*/ 56412 w 66330"/>
                <a:gd name="csY1" fmla="*/ 38689 h 43699"/>
                <a:gd name="csX2" fmla="*/ -9919 w 66330"/>
                <a:gd name="csY2" fmla="*/ 38689 h 43699"/>
              </a:gdLst>
              <a:ahLst/>
              <a:cxnLst>
                <a:cxn ang="0">
                  <a:pos x="csX0" y="csY0"/>
                </a:cxn>
                <a:cxn ang="0">
                  <a:pos x="csX1" y="csY1"/>
                </a:cxn>
                <a:cxn ang="0">
                  <a:pos x="csX2" y="csY2"/>
                </a:cxn>
              </a:cxnLst>
              <a:rect l="l" t="t" r="r" b="b"/>
              <a:pathLst>
                <a:path w="66330" h="43699">
                  <a:moveTo>
                    <a:pt x="23274" y="-5010"/>
                  </a:moveTo>
                  <a:lnTo>
                    <a:pt x="56412" y="38689"/>
                  </a:lnTo>
                  <a:lnTo>
                    <a:pt x="-9919" y="38689"/>
                  </a:lnTo>
                  <a:close/>
                </a:path>
              </a:pathLst>
            </a:custGeom>
            <a:grpFill/>
            <a:ln w="548" cap="flat">
              <a:noFill/>
              <a:prstDash val="solid"/>
              <a:miter/>
            </a:ln>
          </p:spPr>
          <p:txBody>
            <a:bodyPr/>
            <a:lstStyle/>
            <a:p>
              <a:endParaRPr lang="en-US"/>
            </a:p>
          </p:txBody>
        </p:sp>
        <p:sp>
          <p:nvSpPr>
            <p:cNvPr id="137" name="Freeform: Shape 136">
              <a:extLst>
                <a:ext uri="{FF2B5EF4-FFF2-40B4-BE49-F238E27FC236}">
                  <a16:creationId xmlns:a16="http://schemas.microsoft.com/office/drawing/2014/main" id="{E76EAEC9-3D0C-E409-E405-AB6A7BE5F213}"/>
                </a:ext>
              </a:extLst>
            </p:cNvPr>
            <p:cNvSpPr/>
            <p:nvPr/>
          </p:nvSpPr>
          <p:spPr>
            <a:xfrm flipV="1">
              <a:off x="25492354" y="4870859"/>
              <a:ext cx="80046" cy="52751"/>
            </a:xfrm>
            <a:custGeom>
              <a:avLst/>
              <a:gdLst>
                <a:gd name="csX0" fmla="*/ -10481 w 80046"/>
                <a:gd name="csY0" fmla="*/ -4053 h 52751"/>
                <a:gd name="csX1" fmla="*/ 69566 w 80046"/>
                <a:gd name="csY1" fmla="*/ -4053 h 52751"/>
                <a:gd name="csX2" fmla="*/ 29570 w 80046"/>
                <a:gd name="csY2" fmla="*/ 48699 h 52751"/>
              </a:gdLst>
              <a:ahLst/>
              <a:cxnLst>
                <a:cxn ang="0">
                  <a:pos x="csX0" y="csY0"/>
                </a:cxn>
                <a:cxn ang="0">
                  <a:pos x="csX1" y="csY1"/>
                </a:cxn>
                <a:cxn ang="0">
                  <a:pos x="csX2" y="csY2"/>
                </a:cxn>
              </a:cxnLst>
              <a:rect l="l" t="t" r="r" b="b"/>
              <a:pathLst>
                <a:path w="80046" h="52751">
                  <a:moveTo>
                    <a:pt x="-10481" y="-4053"/>
                  </a:moveTo>
                  <a:lnTo>
                    <a:pt x="69566" y="-4053"/>
                  </a:lnTo>
                  <a:lnTo>
                    <a:pt x="29570" y="48699"/>
                  </a:lnTo>
                  <a:close/>
                </a:path>
              </a:pathLst>
            </a:custGeom>
            <a:grpFill/>
            <a:ln w="548" cap="flat">
              <a:noFill/>
              <a:prstDash val="solid"/>
              <a:miter/>
            </a:ln>
          </p:spPr>
          <p:txBody>
            <a:bodyPr/>
            <a:lstStyle/>
            <a:p>
              <a:endParaRPr lang="en-US"/>
            </a:p>
          </p:txBody>
        </p:sp>
        <p:sp>
          <p:nvSpPr>
            <p:cNvPr id="138" name="Freeform: Shape 137">
              <a:extLst>
                <a:ext uri="{FF2B5EF4-FFF2-40B4-BE49-F238E27FC236}">
                  <a16:creationId xmlns:a16="http://schemas.microsoft.com/office/drawing/2014/main" id="{FA4E0CE4-A3D1-95B0-6209-CC70BDED609F}"/>
                </a:ext>
              </a:extLst>
            </p:cNvPr>
            <p:cNvSpPr/>
            <p:nvPr/>
          </p:nvSpPr>
          <p:spPr>
            <a:xfrm flipV="1">
              <a:off x="24651619" y="4714398"/>
              <a:ext cx="196357" cy="209212"/>
            </a:xfrm>
            <a:custGeom>
              <a:avLst/>
              <a:gdLst>
                <a:gd name="csX0" fmla="*/ 101973 w 196357"/>
                <a:gd name="csY0" fmla="*/ 204972 h 209212"/>
                <a:gd name="csX1" fmla="*/ -7262 w 196357"/>
                <a:gd name="csY1" fmla="*/ 61135 h 209212"/>
                <a:gd name="csX2" fmla="*/ -9511 w 196357"/>
                <a:gd name="csY2" fmla="*/ 60005 h 209212"/>
                <a:gd name="csX3" fmla="*/ -9511 w 196357"/>
                <a:gd name="csY3" fmla="*/ -4241 h 209212"/>
                <a:gd name="csX4" fmla="*/ 112616 w 196357"/>
                <a:gd name="csY4" fmla="*/ -4241 h 209212"/>
                <a:gd name="csX5" fmla="*/ 113110 w 196357"/>
                <a:gd name="csY5" fmla="*/ -2513 h 209212"/>
                <a:gd name="csX6" fmla="*/ 186847 w 196357"/>
                <a:gd name="csY6" fmla="*/ 94624 h 209212"/>
                <a:gd name="csX7" fmla="*/ 101973 w 196357"/>
                <a:gd name="csY7" fmla="*/ 204972 h 20921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196357" h="209212">
                  <a:moveTo>
                    <a:pt x="101973" y="204972"/>
                  </a:moveTo>
                  <a:lnTo>
                    <a:pt x="-7262" y="61135"/>
                  </a:lnTo>
                  <a:cubicBezTo>
                    <a:pt x="-7811" y="60394"/>
                    <a:pt x="-8634" y="60005"/>
                    <a:pt x="-9511" y="60005"/>
                  </a:cubicBezTo>
                  <a:lnTo>
                    <a:pt x="-9511" y="-4241"/>
                  </a:lnTo>
                  <a:lnTo>
                    <a:pt x="112616" y="-4241"/>
                  </a:lnTo>
                  <a:cubicBezTo>
                    <a:pt x="112616" y="-3638"/>
                    <a:pt x="112726" y="-3029"/>
                    <a:pt x="113110" y="-2513"/>
                  </a:cubicBezTo>
                  <a:lnTo>
                    <a:pt x="186847" y="94624"/>
                  </a:lnTo>
                  <a:lnTo>
                    <a:pt x="101973" y="204972"/>
                  </a:lnTo>
                </a:path>
              </a:pathLst>
            </a:custGeom>
            <a:grpFill/>
            <a:ln w="548" cap="flat">
              <a:noFill/>
              <a:prstDash val="solid"/>
              <a:miter/>
            </a:ln>
          </p:spPr>
          <p:txBody>
            <a:bodyPr/>
            <a:lstStyle/>
            <a:p>
              <a:endParaRPr lang="en-US"/>
            </a:p>
          </p:txBody>
        </p:sp>
        <p:sp>
          <p:nvSpPr>
            <p:cNvPr id="139" name="Freeform: Shape 138">
              <a:extLst>
                <a:ext uri="{FF2B5EF4-FFF2-40B4-BE49-F238E27FC236}">
                  <a16:creationId xmlns:a16="http://schemas.microsoft.com/office/drawing/2014/main" id="{715AE16E-AC83-0EF9-305C-4FF7E6308D80}"/>
                </a:ext>
              </a:extLst>
            </p:cNvPr>
            <p:cNvSpPr/>
            <p:nvPr/>
          </p:nvSpPr>
          <p:spPr>
            <a:xfrm flipV="1">
              <a:off x="24651619" y="4477462"/>
              <a:ext cx="237505" cy="227526"/>
            </a:xfrm>
            <a:custGeom>
              <a:avLst/>
              <a:gdLst>
                <a:gd name="csX0" fmla="*/ -7288 w 237505"/>
                <a:gd name="csY0" fmla="*/ 137243 h 227526"/>
                <a:gd name="csX1" fmla="*/ 101947 w 237505"/>
                <a:gd name="csY1" fmla="*/ -4789 h 227526"/>
                <a:gd name="csX2" fmla="*/ 227969 w 237505"/>
                <a:gd name="csY2" fmla="*/ 161141 h 227526"/>
                <a:gd name="csX3" fmla="*/ 182542 w 237505"/>
                <a:gd name="csY3" fmla="*/ 221009 h 227526"/>
                <a:gd name="csX4" fmla="*/ 181993 w 237505"/>
                <a:gd name="csY4" fmla="*/ 222737 h 227526"/>
                <a:gd name="csX5" fmla="*/ -9537 w 237505"/>
                <a:gd name="csY5" fmla="*/ 222737 h 227526"/>
                <a:gd name="csX6" fmla="*/ -9537 w 237505"/>
                <a:gd name="csY6" fmla="*/ 138313 h 227526"/>
                <a:gd name="csX7" fmla="*/ -7288 w 237505"/>
                <a:gd name="csY7" fmla="*/ 137243 h 22752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237505" h="227526">
                  <a:moveTo>
                    <a:pt x="-7288" y="137243"/>
                  </a:moveTo>
                  <a:lnTo>
                    <a:pt x="101947" y="-4789"/>
                  </a:lnTo>
                  <a:lnTo>
                    <a:pt x="227969" y="161141"/>
                  </a:lnTo>
                  <a:lnTo>
                    <a:pt x="182542" y="221009"/>
                  </a:lnTo>
                  <a:cubicBezTo>
                    <a:pt x="182158" y="221525"/>
                    <a:pt x="181993" y="222134"/>
                    <a:pt x="181993" y="222737"/>
                  </a:cubicBezTo>
                  <a:lnTo>
                    <a:pt x="-9537" y="222737"/>
                  </a:lnTo>
                  <a:lnTo>
                    <a:pt x="-9537" y="138313"/>
                  </a:lnTo>
                  <a:cubicBezTo>
                    <a:pt x="-8714" y="138313"/>
                    <a:pt x="-7836" y="137972"/>
                    <a:pt x="-7288" y="137243"/>
                  </a:cubicBezTo>
                </a:path>
              </a:pathLst>
            </a:custGeom>
            <a:grpFill/>
            <a:ln w="548" cap="flat">
              <a:noFill/>
              <a:prstDash val="solid"/>
              <a:miter/>
            </a:ln>
          </p:spPr>
          <p:txBody>
            <a:bodyPr/>
            <a:lstStyle/>
            <a:p>
              <a:endParaRPr lang="en-US"/>
            </a:p>
          </p:txBody>
        </p:sp>
        <p:sp>
          <p:nvSpPr>
            <p:cNvPr id="140" name="Freeform: Shape 139">
              <a:extLst>
                <a:ext uri="{FF2B5EF4-FFF2-40B4-BE49-F238E27FC236}">
                  <a16:creationId xmlns:a16="http://schemas.microsoft.com/office/drawing/2014/main" id="{FEEF239B-E117-2D8C-2A46-D9DD2D6CD04E}"/>
                </a:ext>
              </a:extLst>
            </p:cNvPr>
            <p:cNvSpPr/>
            <p:nvPr/>
          </p:nvSpPr>
          <p:spPr>
            <a:xfrm flipV="1">
              <a:off x="25786700" y="4477462"/>
              <a:ext cx="189939" cy="195551"/>
            </a:xfrm>
            <a:custGeom>
              <a:avLst/>
              <a:gdLst>
                <a:gd name="csX0" fmla="*/ 32593 w 189939"/>
                <a:gd name="csY0" fmla="*/ 190724 h 195551"/>
                <a:gd name="csX1" fmla="*/ 32045 w 189939"/>
                <a:gd name="csY1" fmla="*/ 188996 h 195551"/>
                <a:gd name="csX2" fmla="*/ -10914 w 189939"/>
                <a:gd name="csY2" fmla="*/ 132404 h 195551"/>
                <a:gd name="csX3" fmla="*/ 93273 w 189939"/>
                <a:gd name="csY3" fmla="*/ -4828 h 195551"/>
                <a:gd name="csX4" fmla="*/ 176776 w 189939"/>
                <a:gd name="csY4" fmla="*/ 105218 h 195551"/>
                <a:gd name="csX5" fmla="*/ 179025 w 189939"/>
                <a:gd name="csY5" fmla="*/ 106299 h 195551"/>
                <a:gd name="csX6" fmla="*/ 179025 w 189939"/>
                <a:gd name="csY6" fmla="*/ 190724 h 195551"/>
                <a:gd name="csX7" fmla="*/ 32593 w 189939"/>
                <a:gd name="csY7" fmla="*/ 190724 h 195551"/>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189939" h="195551">
                  <a:moveTo>
                    <a:pt x="32593" y="190724"/>
                  </a:moveTo>
                  <a:cubicBezTo>
                    <a:pt x="32593" y="190120"/>
                    <a:pt x="32428" y="189511"/>
                    <a:pt x="32045" y="188996"/>
                  </a:cubicBezTo>
                  <a:lnTo>
                    <a:pt x="-10914" y="132404"/>
                  </a:lnTo>
                  <a:lnTo>
                    <a:pt x="93273" y="-4828"/>
                  </a:lnTo>
                  <a:lnTo>
                    <a:pt x="176776" y="105218"/>
                  </a:lnTo>
                  <a:cubicBezTo>
                    <a:pt x="177325" y="105959"/>
                    <a:pt x="178202" y="106299"/>
                    <a:pt x="179025" y="106299"/>
                  </a:cubicBezTo>
                  <a:lnTo>
                    <a:pt x="179025" y="190724"/>
                  </a:lnTo>
                  <a:lnTo>
                    <a:pt x="32593" y="190724"/>
                  </a:lnTo>
                </a:path>
              </a:pathLst>
            </a:custGeom>
            <a:grpFill/>
            <a:ln w="548" cap="flat">
              <a:noFill/>
              <a:prstDash val="solid"/>
              <a:miter/>
            </a:ln>
          </p:spPr>
          <p:txBody>
            <a:bodyPr/>
            <a:lstStyle/>
            <a:p>
              <a:endParaRPr lang="en-US"/>
            </a:p>
          </p:txBody>
        </p:sp>
        <p:sp>
          <p:nvSpPr>
            <p:cNvPr id="141" name="Freeform: Shape 140">
              <a:extLst>
                <a:ext uri="{FF2B5EF4-FFF2-40B4-BE49-F238E27FC236}">
                  <a16:creationId xmlns:a16="http://schemas.microsoft.com/office/drawing/2014/main" id="{53112F95-F52B-8D59-2782-B68918AB9C79}"/>
                </a:ext>
              </a:extLst>
            </p:cNvPr>
            <p:cNvSpPr/>
            <p:nvPr/>
          </p:nvSpPr>
          <p:spPr>
            <a:xfrm flipV="1">
              <a:off x="25813035" y="4682472"/>
              <a:ext cx="163604" cy="241138"/>
            </a:xfrm>
            <a:custGeom>
              <a:avLst/>
              <a:gdLst>
                <a:gd name="csX0" fmla="*/ 150425 w 163604"/>
                <a:gd name="csY0" fmla="*/ 126812 h 241138"/>
                <a:gd name="csX1" fmla="*/ 66922 w 163604"/>
                <a:gd name="csY1" fmla="*/ 236859 h 241138"/>
                <a:gd name="csX2" fmla="*/ -10930 w 163604"/>
                <a:gd name="csY2" fmla="*/ 134318 h 241138"/>
                <a:gd name="csX3" fmla="*/ 92928 w 163604"/>
                <a:gd name="csY3" fmla="*/ -2551 h 241138"/>
                <a:gd name="csX4" fmla="*/ 93476 w 163604"/>
                <a:gd name="csY4" fmla="*/ -4280 h 241138"/>
                <a:gd name="csX5" fmla="*/ 152674 w 163604"/>
                <a:gd name="csY5" fmla="*/ -4280 h 241138"/>
                <a:gd name="csX6" fmla="*/ 152674 w 163604"/>
                <a:gd name="csY6" fmla="*/ 125682 h 241138"/>
                <a:gd name="csX7" fmla="*/ 150425 w 163604"/>
                <a:gd name="csY7" fmla="*/ 126812 h 24113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163604" h="241138">
                  <a:moveTo>
                    <a:pt x="150425" y="126812"/>
                  </a:moveTo>
                  <a:lnTo>
                    <a:pt x="66922" y="236859"/>
                  </a:lnTo>
                  <a:lnTo>
                    <a:pt x="-10930" y="134318"/>
                  </a:lnTo>
                  <a:lnTo>
                    <a:pt x="92928" y="-2551"/>
                  </a:lnTo>
                  <a:cubicBezTo>
                    <a:pt x="93366" y="-3067"/>
                    <a:pt x="93476" y="-3676"/>
                    <a:pt x="93476" y="-4280"/>
                  </a:cubicBezTo>
                  <a:lnTo>
                    <a:pt x="152674" y="-4280"/>
                  </a:lnTo>
                  <a:lnTo>
                    <a:pt x="152674" y="125682"/>
                  </a:lnTo>
                  <a:cubicBezTo>
                    <a:pt x="151851" y="125682"/>
                    <a:pt x="150974" y="126072"/>
                    <a:pt x="150425" y="126812"/>
                  </a:cubicBezTo>
                </a:path>
              </a:pathLst>
            </a:custGeom>
            <a:grpFill/>
            <a:ln w="548" cap="flat">
              <a:noFill/>
              <a:prstDash val="solid"/>
              <a:miter/>
            </a:ln>
          </p:spPr>
          <p:txBody>
            <a:bodyPr/>
            <a:lstStyle/>
            <a:p>
              <a:endParaRPr lang="en-US"/>
            </a:p>
          </p:txBody>
        </p:sp>
        <p:sp>
          <p:nvSpPr>
            <p:cNvPr id="142" name="Freeform: Shape 141">
              <a:extLst>
                <a:ext uri="{FF2B5EF4-FFF2-40B4-BE49-F238E27FC236}">
                  <a16:creationId xmlns:a16="http://schemas.microsoft.com/office/drawing/2014/main" id="{727AB0F7-2CBF-9D28-B01A-A9E3604B8C2F}"/>
                </a:ext>
              </a:extLst>
            </p:cNvPr>
            <p:cNvSpPr/>
            <p:nvPr/>
          </p:nvSpPr>
          <p:spPr>
            <a:xfrm flipV="1">
              <a:off x="24849568" y="4477462"/>
              <a:ext cx="86356" cy="56871"/>
            </a:xfrm>
            <a:custGeom>
              <a:avLst/>
              <a:gdLst>
                <a:gd name="csX0" fmla="*/ 76668 w 86356"/>
                <a:gd name="csY0" fmla="*/ 51877 h 56871"/>
                <a:gd name="csX1" fmla="*/ -9688 w 86356"/>
                <a:gd name="csY1" fmla="*/ 51877 h 56871"/>
                <a:gd name="csX2" fmla="*/ 33434 w 86356"/>
                <a:gd name="csY2" fmla="*/ -4995 h 56871"/>
              </a:gdLst>
              <a:ahLst/>
              <a:cxnLst>
                <a:cxn ang="0">
                  <a:pos x="csX0" y="csY0"/>
                </a:cxn>
                <a:cxn ang="0">
                  <a:pos x="csX1" y="csY1"/>
                </a:cxn>
                <a:cxn ang="0">
                  <a:pos x="csX2" y="csY2"/>
                </a:cxn>
              </a:cxnLst>
              <a:rect l="l" t="t" r="r" b="b"/>
              <a:pathLst>
                <a:path w="86356" h="56871">
                  <a:moveTo>
                    <a:pt x="76668" y="51877"/>
                  </a:moveTo>
                  <a:lnTo>
                    <a:pt x="-9688" y="51877"/>
                  </a:lnTo>
                  <a:lnTo>
                    <a:pt x="33434" y="-4995"/>
                  </a:lnTo>
                  <a:close/>
                </a:path>
              </a:pathLst>
            </a:custGeom>
            <a:grpFill/>
            <a:ln w="548" cap="flat">
              <a:noFill/>
              <a:prstDash val="solid"/>
              <a:miter/>
            </a:ln>
          </p:spPr>
          <p:txBody>
            <a:bodyPr/>
            <a:lstStyle/>
            <a:p>
              <a:endParaRPr lang="en-US"/>
            </a:p>
          </p:txBody>
        </p:sp>
        <p:sp>
          <p:nvSpPr>
            <p:cNvPr id="143" name="Freeform: Shape 142">
              <a:extLst>
                <a:ext uri="{FF2B5EF4-FFF2-40B4-BE49-F238E27FC236}">
                  <a16:creationId xmlns:a16="http://schemas.microsoft.com/office/drawing/2014/main" id="{E597DAA9-5ADF-571A-4EEE-94C0CBEB9B99}"/>
                </a:ext>
              </a:extLst>
            </p:cNvPr>
            <p:cNvSpPr/>
            <p:nvPr/>
          </p:nvSpPr>
          <p:spPr>
            <a:xfrm flipV="1">
              <a:off x="24855164" y="4659528"/>
              <a:ext cx="210842" cy="264082"/>
            </a:xfrm>
            <a:custGeom>
              <a:avLst/>
              <a:gdLst>
                <a:gd name="csX0" fmla="*/ 115592 w 210842"/>
                <a:gd name="csY0" fmla="*/ 259775 h 264082"/>
                <a:gd name="csX1" fmla="*/ -9773 w 210842"/>
                <a:gd name="csY1" fmla="*/ 94580 h 264082"/>
                <a:gd name="csX2" fmla="*/ 64952 w 210842"/>
                <a:gd name="csY2" fmla="*/ -2562 h 264082"/>
                <a:gd name="csX3" fmla="*/ 65501 w 210842"/>
                <a:gd name="csY3" fmla="*/ -4307 h 264082"/>
                <a:gd name="csX4" fmla="*/ 86843 w 210842"/>
                <a:gd name="csY4" fmla="*/ -4307 h 264082"/>
                <a:gd name="csX5" fmla="*/ 87391 w 210842"/>
                <a:gd name="csY5" fmla="*/ -2579 h 264082"/>
                <a:gd name="csX6" fmla="*/ 201070 w 210842"/>
                <a:gd name="csY6" fmla="*/ 147205 h 264082"/>
                <a:gd name="csX7" fmla="*/ 115592 w 210842"/>
                <a:gd name="csY7" fmla="*/ 259775 h 26408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210842" h="264082">
                  <a:moveTo>
                    <a:pt x="115592" y="259775"/>
                  </a:moveTo>
                  <a:lnTo>
                    <a:pt x="-9773" y="94580"/>
                  </a:lnTo>
                  <a:lnTo>
                    <a:pt x="64952" y="-2562"/>
                  </a:lnTo>
                  <a:cubicBezTo>
                    <a:pt x="65336" y="-3089"/>
                    <a:pt x="65501" y="-3698"/>
                    <a:pt x="65501" y="-4307"/>
                  </a:cubicBezTo>
                  <a:lnTo>
                    <a:pt x="86843" y="-4307"/>
                  </a:lnTo>
                  <a:cubicBezTo>
                    <a:pt x="86843" y="-3704"/>
                    <a:pt x="87007" y="-3095"/>
                    <a:pt x="87391" y="-2579"/>
                  </a:cubicBezTo>
                  <a:lnTo>
                    <a:pt x="201070" y="147205"/>
                  </a:lnTo>
                  <a:lnTo>
                    <a:pt x="115592" y="259775"/>
                  </a:lnTo>
                </a:path>
              </a:pathLst>
            </a:custGeom>
            <a:grpFill/>
            <a:ln w="548" cap="flat">
              <a:noFill/>
              <a:prstDash val="solid"/>
              <a:miter/>
            </a:ln>
          </p:spPr>
          <p:txBody>
            <a:bodyPr/>
            <a:lstStyle/>
            <a:p>
              <a:endParaRPr lang="en-US"/>
            </a:p>
          </p:txBody>
        </p:sp>
        <p:sp>
          <p:nvSpPr>
            <p:cNvPr id="144" name="Freeform: Shape 143">
              <a:extLst>
                <a:ext uri="{FF2B5EF4-FFF2-40B4-BE49-F238E27FC236}">
                  <a16:creationId xmlns:a16="http://schemas.microsoft.com/office/drawing/2014/main" id="{169AFD3D-EF7F-87AE-127A-D5B40FF4FD34}"/>
                </a:ext>
              </a:extLst>
            </p:cNvPr>
            <p:cNvSpPr/>
            <p:nvPr/>
          </p:nvSpPr>
          <p:spPr>
            <a:xfrm flipV="1">
              <a:off x="24780110" y="4829448"/>
              <a:ext cx="143908" cy="94163"/>
            </a:xfrm>
            <a:custGeom>
              <a:avLst/>
              <a:gdLst>
                <a:gd name="csX0" fmla="*/ -9638 w 143908"/>
                <a:gd name="csY0" fmla="*/ -4103 h 94163"/>
                <a:gd name="csX1" fmla="*/ 134270 w 143908"/>
                <a:gd name="csY1" fmla="*/ -4103 h 94163"/>
                <a:gd name="csX2" fmla="*/ 61850 w 143908"/>
                <a:gd name="csY2" fmla="*/ 90060 h 94163"/>
              </a:gdLst>
              <a:ahLst/>
              <a:cxnLst>
                <a:cxn ang="0">
                  <a:pos x="csX0" y="csY0"/>
                </a:cxn>
                <a:cxn ang="0">
                  <a:pos x="csX1" y="csY1"/>
                </a:cxn>
                <a:cxn ang="0">
                  <a:pos x="csX2" y="csY2"/>
                </a:cxn>
              </a:cxnLst>
              <a:rect l="l" t="t" r="r" b="b"/>
              <a:pathLst>
                <a:path w="143908" h="94163">
                  <a:moveTo>
                    <a:pt x="-9638" y="-4103"/>
                  </a:moveTo>
                  <a:lnTo>
                    <a:pt x="134270" y="-4103"/>
                  </a:lnTo>
                  <a:lnTo>
                    <a:pt x="61850" y="90060"/>
                  </a:lnTo>
                  <a:close/>
                </a:path>
              </a:pathLst>
            </a:custGeom>
            <a:grpFill/>
            <a:ln w="548" cap="flat">
              <a:noFill/>
              <a:prstDash val="solid"/>
              <a:miter/>
            </a:ln>
          </p:spPr>
          <p:txBody>
            <a:bodyPr/>
            <a:lstStyle/>
            <a:p>
              <a:endParaRPr lang="en-US"/>
            </a:p>
          </p:txBody>
        </p:sp>
        <p:sp>
          <p:nvSpPr>
            <p:cNvPr id="145" name="Freeform: Shape 144">
              <a:extLst>
                <a:ext uri="{FF2B5EF4-FFF2-40B4-BE49-F238E27FC236}">
                  <a16:creationId xmlns:a16="http://schemas.microsoft.com/office/drawing/2014/main" id="{DD3077D5-B590-C5CB-6D9E-2D81B48D1D4D}"/>
                </a:ext>
              </a:extLst>
            </p:cNvPr>
            <p:cNvSpPr/>
            <p:nvPr/>
          </p:nvSpPr>
          <p:spPr>
            <a:xfrm flipV="1">
              <a:off x="24896312" y="4477462"/>
              <a:ext cx="178472" cy="172607"/>
            </a:xfrm>
            <a:custGeom>
              <a:avLst/>
              <a:gdLst>
                <a:gd name="csX0" fmla="*/ 168669 w 178472"/>
                <a:gd name="csY0" fmla="*/ 119324 h 172607"/>
                <a:gd name="csX1" fmla="*/ 133227 w 178472"/>
                <a:gd name="csY1" fmla="*/ 166024 h 172607"/>
                <a:gd name="csX2" fmla="*/ 132733 w 178472"/>
                <a:gd name="csY2" fmla="*/ 167752 h 172607"/>
                <a:gd name="csX3" fmla="*/ 36172 w 178472"/>
                <a:gd name="csY3" fmla="*/ 167752 h 172607"/>
                <a:gd name="csX4" fmla="*/ 35624 w 178472"/>
                <a:gd name="csY4" fmla="*/ 166024 h 172607"/>
                <a:gd name="csX5" fmla="*/ -9803 w 178472"/>
                <a:gd name="csY5" fmla="*/ 106156 h 172607"/>
                <a:gd name="csX6" fmla="*/ 74413 w 178472"/>
                <a:gd name="csY6" fmla="*/ -4855 h 172607"/>
                <a:gd name="csX7" fmla="*/ 168669 w 178472"/>
                <a:gd name="csY7" fmla="*/ 119324 h 172607"/>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178472" h="172607">
                  <a:moveTo>
                    <a:pt x="168669" y="119324"/>
                  </a:moveTo>
                  <a:lnTo>
                    <a:pt x="133227" y="166024"/>
                  </a:lnTo>
                  <a:cubicBezTo>
                    <a:pt x="132843" y="166540"/>
                    <a:pt x="132733" y="167149"/>
                    <a:pt x="132733" y="167752"/>
                  </a:cubicBezTo>
                  <a:lnTo>
                    <a:pt x="36172" y="167752"/>
                  </a:lnTo>
                  <a:cubicBezTo>
                    <a:pt x="36172" y="167149"/>
                    <a:pt x="36063" y="166540"/>
                    <a:pt x="35624" y="166024"/>
                  </a:cubicBezTo>
                  <a:lnTo>
                    <a:pt x="-9803" y="106156"/>
                  </a:lnTo>
                  <a:lnTo>
                    <a:pt x="74413" y="-4855"/>
                  </a:lnTo>
                  <a:lnTo>
                    <a:pt x="168669" y="119324"/>
                  </a:lnTo>
                </a:path>
              </a:pathLst>
            </a:custGeom>
            <a:grpFill/>
            <a:ln w="548" cap="flat">
              <a:noFill/>
              <a:prstDash val="solid"/>
              <a:miter/>
            </a:ln>
          </p:spPr>
          <p:txBody>
            <a:bodyPr/>
            <a:lstStyle/>
            <a:p>
              <a:endParaRPr lang="en-US"/>
            </a:p>
          </p:txBody>
        </p:sp>
        <p:sp>
          <p:nvSpPr>
            <p:cNvPr id="146" name="Freeform: Shape 145">
              <a:extLst>
                <a:ext uri="{FF2B5EF4-FFF2-40B4-BE49-F238E27FC236}">
                  <a16:creationId xmlns:a16="http://schemas.microsoft.com/office/drawing/2014/main" id="{4A7766B7-6B5A-B35E-52CF-C9CC3CCA617B}"/>
                </a:ext>
              </a:extLst>
            </p:cNvPr>
            <p:cNvSpPr/>
            <p:nvPr/>
          </p:nvSpPr>
          <p:spPr>
            <a:xfrm flipV="1">
              <a:off x="25136232" y="4894116"/>
              <a:ext cx="44768" cy="29495"/>
            </a:xfrm>
            <a:custGeom>
              <a:avLst/>
              <a:gdLst>
                <a:gd name="csX0" fmla="*/ -10018 w 44768"/>
                <a:gd name="csY0" fmla="*/ -4025 h 29495"/>
                <a:gd name="csX1" fmla="*/ 34751 w 44768"/>
                <a:gd name="csY1" fmla="*/ -4025 h 29495"/>
                <a:gd name="csX2" fmla="*/ 12366 w 44768"/>
                <a:gd name="csY2" fmla="*/ 25470 h 29495"/>
              </a:gdLst>
              <a:ahLst/>
              <a:cxnLst>
                <a:cxn ang="0">
                  <a:pos x="csX0" y="csY0"/>
                </a:cxn>
                <a:cxn ang="0">
                  <a:pos x="csX1" y="csY1"/>
                </a:cxn>
                <a:cxn ang="0">
                  <a:pos x="csX2" y="csY2"/>
                </a:cxn>
              </a:cxnLst>
              <a:rect l="l" t="t" r="r" b="b"/>
              <a:pathLst>
                <a:path w="44768" h="29495">
                  <a:moveTo>
                    <a:pt x="-10018" y="-4025"/>
                  </a:moveTo>
                  <a:lnTo>
                    <a:pt x="34751" y="-4025"/>
                  </a:lnTo>
                  <a:lnTo>
                    <a:pt x="12366" y="25470"/>
                  </a:lnTo>
                  <a:close/>
                </a:path>
              </a:pathLst>
            </a:custGeom>
            <a:grpFill/>
            <a:ln w="548" cap="flat">
              <a:noFill/>
              <a:prstDash val="solid"/>
              <a:miter/>
            </a:ln>
          </p:spPr>
          <p:txBody>
            <a:bodyPr/>
            <a:lstStyle/>
            <a:p>
              <a:endParaRPr lang="en-US"/>
            </a:p>
          </p:txBody>
        </p:sp>
        <p:sp>
          <p:nvSpPr>
            <p:cNvPr id="147" name="Freeform: Shape 146">
              <a:extLst>
                <a:ext uri="{FF2B5EF4-FFF2-40B4-BE49-F238E27FC236}">
                  <a16:creationId xmlns:a16="http://schemas.microsoft.com/office/drawing/2014/main" id="{140A1333-8FB9-D739-8679-AEC69108F6BF}"/>
                </a:ext>
              </a:extLst>
            </p:cNvPr>
            <p:cNvSpPr/>
            <p:nvPr/>
          </p:nvSpPr>
          <p:spPr>
            <a:xfrm flipV="1">
              <a:off x="25314266" y="4882512"/>
              <a:ext cx="62435" cy="41098"/>
            </a:xfrm>
            <a:custGeom>
              <a:avLst/>
              <a:gdLst>
                <a:gd name="csX0" fmla="*/ -10250 w 62435"/>
                <a:gd name="csY0" fmla="*/ -4039 h 41098"/>
                <a:gd name="csX1" fmla="*/ 52186 w 62435"/>
                <a:gd name="csY1" fmla="*/ -4039 h 41098"/>
                <a:gd name="csX2" fmla="*/ 20968 w 62435"/>
                <a:gd name="csY2" fmla="*/ 37060 h 41098"/>
              </a:gdLst>
              <a:ahLst/>
              <a:cxnLst>
                <a:cxn ang="0">
                  <a:pos x="csX0" y="csY0"/>
                </a:cxn>
                <a:cxn ang="0">
                  <a:pos x="csX1" y="csY1"/>
                </a:cxn>
                <a:cxn ang="0">
                  <a:pos x="csX2" y="csY2"/>
                </a:cxn>
              </a:cxnLst>
              <a:rect l="l" t="t" r="r" b="b"/>
              <a:pathLst>
                <a:path w="62435" h="41098">
                  <a:moveTo>
                    <a:pt x="-10250" y="-4039"/>
                  </a:moveTo>
                  <a:lnTo>
                    <a:pt x="52186" y="-4039"/>
                  </a:lnTo>
                  <a:lnTo>
                    <a:pt x="20968" y="37060"/>
                  </a:lnTo>
                  <a:close/>
                </a:path>
              </a:pathLst>
            </a:custGeom>
            <a:grpFill/>
            <a:ln w="548" cap="flat">
              <a:noFill/>
              <a:prstDash val="solid"/>
              <a:miter/>
            </a:ln>
          </p:spPr>
          <p:txBody>
            <a:bodyPr/>
            <a:lstStyle/>
            <a:p>
              <a:endParaRPr lang="en-US"/>
            </a:p>
          </p:txBody>
        </p:sp>
        <p:sp>
          <p:nvSpPr>
            <p:cNvPr id="148" name="Freeform: Shape 147">
              <a:extLst>
                <a:ext uri="{FF2B5EF4-FFF2-40B4-BE49-F238E27FC236}">
                  <a16:creationId xmlns:a16="http://schemas.microsoft.com/office/drawing/2014/main" id="{14480437-D73F-BB53-C803-42D8A08CBBF8}"/>
                </a:ext>
              </a:extLst>
            </p:cNvPr>
            <p:cNvSpPr/>
            <p:nvPr/>
          </p:nvSpPr>
          <p:spPr>
            <a:xfrm flipV="1">
              <a:off x="25162183" y="4765207"/>
              <a:ext cx="179734" cy="158403"/>
            </a:xfrm>
            <a:custGeom>
              <a:avLst/>
              <a:gdLst>
                <a:gd name="csX0" fmla="*/ 84122 w 179734"/>
                <a:gd name="csY0" fmla="*/ 154223 h 158403"/>
                <a:gd name="csX1" fmla="*/ -10134 w 179734"/>
                <a:gd name="csY1" fmla="*/ 30039 h 158403"/>
                <a:gd name="csX2" fmla="*/ 14555 w 179734"/>
                <a:gd name="csY2" fmla="*/ -2452 h 158403"/>
                <a:gd name="csX3" fmla="*/ 15049 w 179734"/>
                <a:gd name="csY3" fmla="*/ -4180 h 158403"/>
                <a:gd name="csX4" fmla="*/ 135585 w 179734"/>
                <a:gd name="csY4" fmla="*/ -4180 h 158403"/>
                <a:gd name="csX5" fmla="*/ 136079 w 179734"/>
                <a:gd name="csY5" fmla="*/ -2452 h 158403"/>
                <a:gd name="csX6" fmla="*/ 169601 w 179734"/>
                <a:gd name="csY6" fmla="*/ 41648 h 158403"/>
                <a:gd name="csX7" fmla="*/ 84122 w 179734"/>
                <a:gd name="csY7" fmla="*/ 154223 h 158403"/>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179734" h="158403">
                  <a:moveTo>
                    <a:pt x="84122" y="154223"/>
                  </a:moveTo>
                  <a:lnTo>
                    <a:pt x="-10134" y="30039"/>
                  </a:lnTo>
                  <a:lnTo>
                    <a:pt x="14555" y="-2452"/>
                  </a:lnTo>
                  <a:cubicBezTo>
                    <a:pt x="14939" y="-2968"/>
                    <a:pt x="15049" y="-3577"/>
                    <a:pt x="15049" y="-4180"/>
                  </a:cubicBezTo>
                  <a:lnTo>
                    <a:pt x="135585" y="-4180"/>
                  </a:lnTo>
                  <a:cubicBezTo>
                    <a:pt x="135585" y="-3577"/>
                    <a:pt x="135695" y="-2968"/>
                    <a:pt x="136079" y="-2452"/>
                  </a:cubicBezTo>
                  <a:lnTo>
                    <a:pt x="169601" y="41648"/>
                  </a:lnTo>
                  <a:lnTo>
                    <a:pt x="84122" y="154223"/>
                  </a:lnTo>
                </a:path>
              </a:pathLst>
            </a:custGeom>
            <a:grpFill/>
            <a:ln w="548" cap="flat">
              <a:noFill/>
              <a:prstDash val="solid"/>
              <a:miter/>
            </a:ln>
          </p:spPr>
          <p:txBody>
            <a:bodyPr/>
            <a:lstStyle/>
            <a:p>
              <a:endParaRPr lang="en-US"/>
            </a:p>
          </p:txBody>
        </p:sp>
        <p:sp>
          <p:nvSpPr>
            <p:cNvPr id="149" name="Freeform: Shape 148">
              <a:extLst>
                <a:ext uri="{FF2B5EF4-FFF2-40B4-BE49-F238E27FC236}">
                  <a16:creationId xmlns:a16="http://schemas.microsoft.com/office/drawing/2014/main" id="{4D805427-261B-1385-47A9-A227206C1C95}"/>
                </a:ext>
              </a:extLst>
            </p:cNvPr>
            <p:cNvSpPr/>
            <p:nvPr/>
          </p:nvSpPr>
          <p:spPr>
            <a:xfrm flipV="1">
              <a:off x="24958199" y="4776828"/>
              <a:ext cx="196797" cy="146783"/>
            </a:xfrm>
            <a:custGeom>
              <a:avLst/>
              <a:gdLst>
                <a:gd name="csX0" fmla="*/ 101482 w 196797"/>
                <a:gd name="csY0" fmla="*/ 142617 h 146783"/>
                <a:gd name="csX1" fmla="*/ -9892 w 196797"/>
                <a:gd name="csY1" fmla="*/ -4166 h 146783"/>
                <a:gd name="csX2" fmla="*/ 161723 w 196797"/>
                <a:gd name="csY2" fmla="*/ -4166 h 146783"/>
                <a:gd name="csX3" fmla="*/ 162272 w 196797"/>
                <a:gd name="csY3" fmla="*/ -2438 h 146783"/>
                <a:gd name="csX4" fmla="*/ 186906 w 196797"/>
                <a:gd name="csY4" fmla="*/ 30053 h 146783"/>
                <a:gd name="csX5" fmla="*/ 101482 w 196797"/>
                <a:gd name="csY5" fmla="*/ 142617 h 146783"/>
              </a:gdLst>
              <a:ahLst/>
              <a:cxnLst>
                <a:cxn ang="0">
                  <a:pos x="csX0" y="csY0"/>
                </a:cxn>
                <a:cxn ang="0">
                  <a:pos x="csX1" y="csY1"/>
                </a:cxn>
                <a:cxn ang="0">
                  <a:pos x="csX2" y="csY2"/>
                </a:cxn>
                <a:cxn ang="0">
                  <a:pos x="csX3" y="csY3"/>
                </a:cxn>
                <a:cxn ang="0">
                  <a:pos x="csX4" y="csY4"/>
                </a:cxn>
                <a:cxn ang="0">
                  <a:pos x="csX5" y="csY5"/>
                </a:cxn>
              </a:cxnLst>
              <a:rect l="l" t="t" r="r" b="b"/>
              <a:pathLst>
                <a:path w="196797" h="146783">
                  <a:moveTo>
                    <a:pt x="101482" y="142617"/>
                  </a:moveTo>
                  <a:lnTo>
                    <a:pt x="-9892" y="-4166"/>
                  </a:lnTo>
                  <a:lnTo>
                    <a:pt x="161723" y="-4166"/>
                  </a:lnTo>
                  <a:cubicBezTo>
                    <a:pt x="161723" y="-3563"/>
                    <a:pt x="161887" y="-2954"/>
                    <a:pt x="162272" y="-2438"/>
                  </a:cubicBezTo>
                  <a:lnTo>
                    <a:pt x="186906" y="30053"/>
                  </a:lnTo>
                  <a:lnTo>
                    <a:pt x="101482" y="142617"/>
                  </a:lnTo>
                </a:path>
              </a:pathLst>
            </a:custGeom>
            <a:grpFill/>
            <a:ln w="548" cap="flat">
              <a:noFill/>
              <a:prstDash val="solid"/>
              <a:miter/>
            </a:ln>
          </p:spPr>
          <p:txBody>
            <a:bodyPr/>
            <a:lstStyle/>
            <a:p>
              <a:endParaRPr lang="en-US"/>
            </a:p>
          </p:txBody>
        </p:sp>
        <p:sp>
          <p:nvSpPr>
            <p:cNvPr id="150" name="Freeform: Shape 149">
              <a:extLst>
                <a:ext uri="{FF2B5EF4-FFF2-40B4-BE49-F238E27FC236}">
                  <a16:creationId xmlns:a16="http://schemas.microsoft.com/office/drawing/2014/main" id="{70E167AE-C372-1C84-03D8-413E30988CE1}"/>
                </a:ext>
              </a:extLst>
            </p:cNvPr>
            <p:cNvSpPr/>
            <p:nvPr/>
          </p:nvSpPr>
          <p:spPr>
            <a:xfrm flipV="1">
              <a:off x="25349050" y="4753554"/>
              <a:ext cx="179734" cy="170056"/>
            </a:xfrm>
            <a:custGeom>
              <a:avLst/>
              <a:gdLst>
                <a:gd name="csX0" fmla="*/ 83946 w 179734"/>
                <a:gd name="csY0" fmla="*/ 165862 h 170056"/>
                <a:gd name="csX1" fmla="*/ -10365 w 179734"/>
                <a:gd name="csY1" fmla="*/ 41634 h 170056"/>
                <a:gd name="csX2" fmla="*/ 23102 w 179734"/>
                <a:gd name="csY2" fmla="*/ -2466 h 170056"/>
                <a:gd name="csX3" fmla="*/ 23650 w 179734"/>
                <a:gd name="csY3" fmla="*/ -4194 h 170056"/>
                <a:gd name="csX4" fmla="*/ 126520 w 179734"/>
                <a:gd name="csY4" fmla="*/ -4194 h 170056"/>
                <a:gd name="csX5" fmla="*/ 127069 w 179734"/>
                <a:gd name="csY5" fmla="*/ -2466 h 170056"/>
                <a:gd name="csX6" fmla="*/ 169369 w 179734"/>
                <a:gd name="csY6" fmla="*/ 53287 h 170056"/>
                <a:gd name="csX7" fmla="*/ 83946 w 179734"/>
                <a:gd name="csY7" fmla="*/ 165862 h 17005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179734" h="170056">
                  <a:moveTo>
                    <a:pt x="83946" y="165862"/>
                  </a:moveTo>
                  <a:lnTo>
                    <a:pt x="-10365" y="41634"/>
                  </a:lnTo>
                  <a:lnTo>
                    <a:pt x="23102" y="-2466"/>
                  </a:lnTo>
                  <a:cubicBezTo>
                    <a:pt x="23540" y="-2982"/>
                    <a:pt x="23650" y="-3591"/>
                    <a:pt x="23650" y="-4194"/>
                  </a:cubicBezTo>
                  <a:lnTo>
                    <a:pt x="126520" y="-4194"/>
                  </a:lnTo>
                  <a:cubicBezTo>
                    <a:pt x="126520" y="-3591"/>
                    <a:pt x="126685" y="-2982"/>
                    <a:pt x="127069" y="-2466"/>
                  </a:cubicBezTo>
                  <a:lnTo>
                    <a:pt x="169369" y="53287"/>
                  </a:lnTo>
                  <a:lnTo>
                    <a:pt x="83946" y="165862"/>
                  </a:lnTo>
                </a:path>
              </a:pathLst>
            </a:custGeom>
            <a:grpFill/>
            <a:ln w="548" cap="flat">
              <a:noFill/>
              <a:prstDash val="solid"/>
              <a:miter/>
            </a:ln>
          </p:spPr>
          <p:txBody>
            <a:bodyPr/>
            <a:lstStyle/>
            <a:p>
              <a:endParaRPr lang="en-US"/>
            </a:p>
          </p:txBody>
        </p:sp>
        <p:sp>
          <p:nvSpPr>
            <p:cNvPr id="151" name="Freeform: Shape 150">
              <a:extLst>
                <a:ext uri="{FF2B5EF4-FFF2-40B4-BE49-F238E27FC236}">
                  <a16:creationId xmlns:a16="http://schemas.microsoft.com/office/drawing/2014/main" id="{6E7B04A5-A530-EB38-C9CA-E2E4B1D3BF3B}"/>
                </a:ext>
              </a:extLst>
            </p:cNvPr>
            <p:cNvSpPr/>
            <p:nvPr/>
          </p:nvSpPr>
          <p:spPr>
            <a:xfrm flipV="1">
              <a:off x="26928145" y="4806805"/>
              <a:ext cx="13003" cy="48488"/>
            </a:xfrm>
            <a:custGeom>
              <a:avLst/>
              <a:gdLst>
                <a:gd name="csX0" fmla="*/ -12219 w 13003"/>
                <a:gd name="csY0" fmla="*/ -4212 h 48488"/>
                <a:gd name="csX1" fmla="*/ 784 w 13003"/>
                <a:gd name="csY1" fmla="*/ -4212 h 48488"/>
                <a:gd name="csX2" fmla="*/ 784 w 13003"/>
                <a:gd name="csY2" fmla="*/ 44277 h 48488"/>
                <a:gd name="csX3" fmla="*/ -12219 w 13003"/>
                <a:gd name="csY3" fmla="*/ 44277 h 48488"/>
                <a:gd name="csX4" fmla="*/ -12219 w 13003"/>
                <a:gd name="csY4" fmla="*/ -4212 h 48488"/>
              </a:gdLst>
              <a:ahLst/>
              <a:cxnLst>
                <a:cxn ang="0">
                  <a:pos x="csX0" y="csY0"/>
                </a:cxn>
                <a:cxn ang="0">
                  <a:pos x="csX1" y="csY1"/>
                </a:cxn>
                <a:cxn ang="0">
                  <a:pos x="csX2" y="csY2"/>
                </a:cxn>
                <a:cxn ang="0">
                  <a:pos x="csX3" y="csY3"/>
                </a:cxn>
                <a:cxn ang="0">
                  <a:pos x="csX4" y="csY4"/>
                </a:cxn>
              </a:cxnLst>
              <a:rect l="l" t="t" r="r" b="b"/>
              <a:pathLst>
                <a:path w="13003" h="48488">
                  <a:moveTo>
                    <a:pt x="-12219" y="-4212"/>
                  </a:moveTo>
                  <a:lnTo>
                    <a:pt x="784" y="-4212"/>
                  </a:lnTo>
                  <a:lnTo>
                    <a:pt x="784" y="44277"/>
                  </a:lnTo>
                  <a:lnTo>
                    <a:pt x="-12219" y="44277"/>
                  </a:lnTo>
                  <a:lnTo>
                    <a:pt x="-12219" y="-4212"/>
                  </a:lnTo>
                </a:path>
              </a:pathLst>
            </a:custGeom>
            <a:grpFill/>
            <a:ln w="548" cap="flat">
              <a:noFill/>
              <a:prstDash val="solid"/>
              <a:miter/>
            </a:ln>
          </p:spPr>
          <p:txBody>
            <a:bodyPr/>
            <a:lstStyle/>
            <a:p>
              <a:endParaRPr lang="en-US"/>
            </a:p>
          </p:txBody>
        </p:sp>
        <p:sp>
          <p:nvSpPr>
            <p:cNvPr id="152" name="Freeform: Shape 151">
              <a:extLst>
                <a:ext uri="{FF2B5EF4-FFF2-40B4-BE49-F238E27FC236}">
                  <a16:creationId xmlns:a16="http://schemas.microsoft.com/office/drawing/2014/main" id="{9DCBC808-2C9C-5229-D5ED-D3665AD14274}"/>
                </a:ext>
              </a:extLst>
            </p:cNvPr>
            <p:cNvSpPr/>
            <p:nvPr/>
          </p:nvSpPr>
          <p:spPr>
            <a:xfrm flipV="1">
              <a:off x="27373970" y="4806805"/>
              <a:ext cx="12948" cy="48488"/>
            </a:xfrm>
            <a:custGeom>
              <a:avLst/>
              <a:gdLst>
                <a:gd name="csX0" fmla="*/ -12772 w 12948"/>
                <a:gd name="csY0" fmla="*/ -4212 h 48488"/>
                <a:gd name="csX1" fmla="*/ 177 w 12948"/>
                <a:gd name="csY1" fmla="*/ -4212 h 48488"/>
                <a:gd name="csX2" fmla="*/ 177 w 12948"/>
                <a:gd name="csY2" fmla="*/ 44277 h 48488"/>
                <a:gd name="csX3" fmla="*/ -12772 w 12948"/>
                <a:gd name="csY3" fmla="*/ 44277 h 48488"/>
                <a:gd name="csX4" fmla="*/ -12772 w 12948"/>
                <a:gd name="csY4" fmla="*/ -4212 h 48488"/>
              </a:gdLst>
              <a:ahLst/>
              <a:cxnLst>
                <a:cxn ang="0">
                  <a:pos x="csX0" y="csY0"/>
                </a:cxn>
                <a:cxn ang="0">
                  <a:pos x="csX1" y="csY1"/>
                </a:cxn>
                <a:cxn ang="0">
                  <a:pos x="csX2" y="csY2"/>
                </a:cxn>
                <a:cxn ang="0">
                  <a:pos x="csX3" y="csY3"/>
                </a:cxn>
                <a:cxn ang="0">
                  <a:pos x="csX4" y="csY4"/>
                </a:cxn>
              </a:cxnLst>
              <a:rect l="l" t="t" r="r" b="b"/>
              <a:pathLst>
                <a:path w="12948" h="48488">
                  <a:moveTo>
                    <a:pt x="-12772" y="-4212"/>
                  </a:moveTo>
                  <a:lnTo>
                    <a:pt x="177" y="-4212"/>
                  </a:lnTo>
                  <a:lnTo>
                    <a:pt x="177" y="44277"/>
                  </a:lnTo>
                  <a:lnTo>
                    <a:pt x="-12772" y="44277"/>
                  </a:lnTo>
                  <a:lnTo>
                    <a:pt x="-12772" y="-4212"/>
                  </a:lnTo>
                </a:path>
              </a:pathLst>
            </a:custGeom>
            <a:grpFill/>
            <a:ln w="548" cap="flat">
              <a:noFill/>
              <a:prstDash val="solid"/>
              <a:miter/>
            </a:ln>
          </p:spPr>
          <p:txBody>
            <a:bodyPr/>
            <a:lstStyle/>
            <a:p>
              <a:endParaRPr lang="en-US"/>
            </a:p>
          </p:txBody>
        </p:sp>
        <p:sp>
          <p:nvSpPr>
            <p:cNvPr id="153" name="Freeform: Shape 152">
              <a:extLst>
                <a:ext uri="{FF2B5EF4-FFF2-40B4-BE49-F238E27FC236}">
                  <a16:creationId xmlns:a16="http://schemas.microsoft.com/office/drawing/2014/main" id="{30CF3926-3638-C104-91F9-6A94FD5EFAD4}"/>
                </a:ext>
              </a:extLst>
            </p:cNvPr>
            <p:cNvSpPr/>
            <p:nvPr/>
          </p:nvSpPr>
          <p:spPr>
            <a:xfrm flipV="1">
              <a:off x="26368204" y="4030836"/>
              <a:ext cx="1578711" cy="892774"/>
            </a:xfrm>
            <a:custGeom>
              <a:avLst/>
              <a:gdLst>
                <a:gd name="csX0" fmla="*/ 1515467 w 1578711"/>
                <a:gd name="csY0" fmla="*/ 860339 h 892774"/>
                <a:gd name="csX1" fmla="*/ 1534066 w 1578711"/>
                <a:gd name="csY1" fmla="*/ 860339 h 892774"/>
                <a:gd name="csX2" fmla="*/ 1534066 w 1578711"/>
                <a:gd name="csY2" fmla="*/ 887711 h 892774"/>
                <a:gd name="csX3" fmla="*/ 1309618 w 1578711"/>
                <a:gd name="csY3" fmla="*/ 887711 h 892774"/>
                <a:gd name="csX4" fmla="*/ 1309618 w 1578711"/>
                <a:gd name="csY4" fmla="*/ 860339 h 892774"/>
                <a:gd name="csX5" fmla="*/ 1328271 w 1578711"/>
                <a:gd name="csY5" fmla="*/ 860339 h 892774"/>
                <a:gd name="csX6" fmla="*/ 1328271 w 1578711"/>
                <a:gd name="csY6" fmla="*/ 498177 h 892774"/>
                <a:gd name="csX7" fmla="*/ 1283996 w 1578711"/>
                <a:gd name="csY7" fmla="*/ 498177 h 892774"/>
                <a:gd name="csX8" fmla="*/ 1209161 w 1578711"/>
                <a:gd name="csY8" fmla="*/ 572687 h 892774"/>
                <a:gd name="csX9" fmla="*/ 1163843 w 1578711"/>
                <a:gd name="csY9" fmla="*/ 643851 h 892774"/>
                <a:gd name="csX10" fmla="*/ 1118526 w 1578711"/>
                <a:gd name="csY10" fmla="*/ 572687 h 892774"/>
                <a:gd name="csX11" fmla="*/ 1030250 w 1578711"/>
                <a:gd name="csY11" fmla="*/ 472522 h 892774"/>
                <a:gd name="csX12" fmla="*/ 1030250 w 1578711"/>
                <a:gd name="csY12" fmla="*/ 507388 h 892774"/>
                <a:gd name="csX13" fmla="*/ 1049343 w 1578711"/>
                <a:gd name="csY13" fmla="*/ 527523 h 892774"/>
                <a:gd name="csX14" fmla="*/ 1049343 w 1578711"/>
                <a:gd name="csY14" fmla="*/ 537816 h 892774"/>
                <a:gd name="csX15" fmla="*/ 1034364 w 1578711"/>
                <a:gd name="csY15" fmla="*/ 537816 h 892774"/>
                <a:gd name="csX16" fmla="*/ 1034364 w 1578711"/>
                <a:gd name="csY16" fmla="*/ 609896 h 892774"/>
                <a:gd name="csX17" fmla="*/ 1049232 w 1578711"/>
                <a:gd name="csY17" fmla="*/ 609896 h 892774"/>
                <a:gd name="csX18" fmla="*/ 1038096 w 1578711"/>
                <a:gd name="csY18" fmla="*/ 625154 h 892774"/>
                <a:gd name="csX19" fmla="*/ 1027232 w 1578711"/>
                <a:gd name="csY19" fmla="*/ 625154 h 892774"/>
                <a:gd name="csX20" fmla="*/ 1037162 w 1578711"/>
                <a:gd name="csY20" fmla="*/ 647335 h 892774"/>
                <a:gd name="csX21" fmla="*/ 1004189 w 1578711"/>
                <a:gd name="csY21" fmla="*/ 681176 h 892774"/>
                <a:gd name="csX22" fmla="*/ 1004409 w 1578711"/>
                <a:gd name="csY22" fmla="*/ 681894 h 892774"/>
                <a:gd name="csX23" fmla="*/ 1004409 w 1578711"/>
                <a:gd name="csY23" fmla="*/ 713732 h 892774"/>
                <a:gd name="csX24" fmla="*/ 1003202 w 1578711"/>
                <a:gd name="csY24" fmla="*/ 714955 h 892774"/>
                <a:gd name="csX25" fmla="*/ 1001995 w 1578711"/>
                <a:gd name="csY25" fmla="*/ 713732 h 892774"/>
                <a:gd name="csX26" fmla="*/ 1001995 w 1578711"/>
                <a:gd name="csY26" fmla="*/ 681894 h 892774"/>
                <a:gd name="csX27" fmla="*/ 1002214 w 1578711"/>
                <a:gd name="csY27" fmla="*/ 681176 h 892774"/>
                <a:gd name="csX28" fmla="*/ 969241 w 1578711"/>
                <a:gd name="csY28" fmla="*/ 647335 h 892774"/>
                <a:gd name="csX29" fmla="*/ 979171 w 1578711"/>
                <a:gd name="csY29" fmla="*/ 625154 h 892774"/>
                <a:gd name="csX30" fmla="*/ 961176 w 1578711"/>
                <a:gd name="csY30" fmla="*/ 625154 h 892774"/>
                <a:gd name="csX31" fmla="*/ 950039 w 1578711"/>
                <a:gd name="csY31" fmla="*/ 609896 h 892774"/>
                <a:gd name="csX32" fmla="*/ 965126 w 1578711"/>
                <a:gd name="csY32" fmla="*/ 609896 h 892774"/>
                <a:gd name="csX33" fmla="*/ 965126 w 1578711"/>
                <a:gd name="csY33" fmla="*/ 537816 h 892774"/>
                <a:gd name="csX34" fmla="*/ 950148 w 1578711"/>
                <a:gd name="csY34" fmla="*/ 537816 h 892774"/>
                <a:gd name="csX35" fmla="*/ 950148 w 1578711"/>
                <a:gd name="csY35" fmla="*/ 527523 h 892774"/>
                <a:gd name="csX36" fmla="*/ 969241 w 1578711"/>
                <a:gd name="csY36" fmla="*/ 507388 h 892774"/>
                <a:gd name="csX37" fmla="*/ 969241 w 1578711"/>
                <a:gd name="csY37" fmla="*/ 465659 h 892774"/>
                <a:gd name="csX38" fmla="*/ 810410 w 1578711"/>
                <a:gd name="csY38" fmla="*/ 465659 h 892774"/>
                <a:gd name="csX39" fmla="*/ 810300 w 1578711"/>
                <a:gd name="csY39" fmla="*/ 465966 h 892774"/>
                <a:gd name="csX40" fmla="*/ 828241 w 1578711"/>
                <a:gd name="csY40" fmla="*/ 465966 h 892774"/>
                <a:gd name="csX41" fmla="*/ 828241 w 1578711"/>
                <a:gd name="csY41" fmla="*/ 489020 h 892774"/>
                <a:gd name="csX42" fmla="*/ 827472 w 1578711"/>
                <a:gd name="csY42" fmla="*/ 489020 h 892774"/>
                <a:gd name="csX43" fmla="*/ 824346 w 1578711"/>
                <a:gd name="csY43" fmla="*/ 496053 h 892774"/>
                <a:gd name="csX44" fmla="*/ 835099 w 1578711"/>
                <a:gd name="csY44" fmla="*/ 507388 h 892774"/>
                <a:gd name="csX45" fmla="*/ 845906 w 1578711"/>
                <a:gd name="csY45" fmla="*/ 496053 h 892774"/>
                <a:gd name="csX46" fmla="*/ 842725 w 1578711"/>
                <a:gd name="csY46" fmla="*/ 489020 h 892774"/>
                <a:gd name="csX47" fmla="*/ 841957 w 1578711"/>
                <a:gd name="csY47" fmla="*/ 489020 h 892774"/>
                <a:gd name="csX48" fmla="*/ 841957 w 1578711"/>
                <a:gd name="csY48" fmla="*/ 465966 h 892774"/>
                <a:gd name="csX49" fmla="*/ 863025 w 1578711"/>
                <a:gd name="csY49" fmla="*/ 465966 h 892774"/>
                <a:gd name="csX50" fmla="*/ 863025 w 1578711"/>
                <a:gd name="csY50" fmla="*/ 489020 h 892774"/>
                <a:gd name="csX51" fmla="*/ 862256 w 1578711"/>
                <a:gd name="csY51" fmla="*/ 489020 h 892774"/>
                <a:gd name="csX52" fmla="*/ 859074 w 1578711"/>
                <a:gd name="csY52" fmla="*/ 496053 h 892774"/>
                <a:gd name="csX53" fmla="*/ 869883 w 1578711"/>
                <a:gd name="csY53" fmla="*/ 507388 h 892774"/>
                <a:gd name="csX54" fmla="*/ 880636 w 1578711"/>
                <a:gd name="csY54" fmla="*/ 496053 h 892774"/>
                <a:gd name="csX55" fmla="*/ 877508 w 1578711"/>
                <a:gd name="csY55" fmla="*/ 489020 h 892774"/>
                <a:gd name="csX56" fmla="*/ 876741 w 1578711"/>
                <a:gd name="csY56" fmla="*/ 489020 h 892774"/>
                <a:gd name="csX57" fmla="*/ 876741 w 1578711"/>
                <a:gd name="csY57" fmla="*/ 465966 h 892774"/>
                <a:gd name="csX58" fmla="*/ 897753 w 1578711"/>
                <a:gd name="csY58" fmla="*/ 465966 h 892774"/>
                <a:gd name="csX59" fmla="*/ 897753 w 1578711"/>
                <a:gd name="csY59" fmla="*/ 489020 h 892774"/>
                <a:gd name="csX60" fmla="*/ 897040 w 1578711"/>
                <a:gd name="csY60" fmla="*/ 489020 h 892774"/>
                <a:gd name="csX61" fmla="*/ 893858 w 1578711"/>
                <a:gd name="csY61" fmla="*/ 496053 h 892774"/>
                <a:gd name="csX62" fmla="*/ 904611 w 1578711"/>
                <a:gd name="csY62" fmla="*/ 507388 h 892774"/>
                <a:gd name="csX63" fmla="*/ 915420 w 1578711"/>
                <a:gd name="csY63" fmla="*/ 496053 h 892774"/>
                <a:gd name="csX64" fmla="*/ 912237 w 1578711"/>
                <a:gd name="csY64" fmla="*/ 489020 h 892774"/>
                <a:gd name="csX65" fmla="*/ 911524 w 1578711"/>
                <a:gd name="csY65" fmla="*/ 489020 h 892774"/>
                <a:gd name="csX66" fmla="*/ 911524 w 1578711"/>
                <a:gd name="csY66" fmla="*/ 465966 h 892774"/>
                <a:gd name="csX67" fmla="*/ 923649 w 1578711"/>
                <a:gd name="csY67" fmla="*/ 465966 h 892774"/>
                <a:gd name="csX68" fmla="*/ 932537 w 1578711"/>
                <a:gd name="csY68" fmla="*/ 480159 h 892774"/>
                <a:gd name="csX69" fmla="*/ 932537 w 1578711"/>
                <a:gd name="csY69" fmla="*/ 465966 h 892774"/>
                <a:gd name="csX70" fmla="*/ 946253 w 1578711"/>
                <a:gd name="csY70" fmla="*/ 465966 h 892774"/>
                <a:gd name="csX71" fmla="*/ 946253 w 1578711"/>
                <a:gd name="csY71" fmla="*/ 489020 h 892774"/>
                <a:gd name="csX72" fmla="*/ 947021 w 1578711"/>
                <a:gd name="csY72" fmla="*/ 489020 h 892774"/>
                <a:gd name="csX73" fmla="*/ 950148 w 1578711"/>
                <a:gd name="csY73" fmla="*/ 496053 h 892774"/>
                <a:gd name="csX74" fmla="*/ 941315 w 1578711"/>
                <a:gd name="csY74" fmla="*/ 505512 h 892774"/>
                <a:gd name="csX75" fmla="*/ 944113 w 1578711"/>
                <a:gd name="csY75" fmla="*/ 531962 h 892774"/>
                <a:gd name="csX76" fmla="*/ 847992 w 1578711"/>
                <a:gd name="csY76" fmla="*/ 679409 h 892774"/>
                <a:gd name="csX77" fmla="*/ 846675 w 1578711"/>
                <a:gd name="csY77" fmla="*/ 680023 h 892774"/>
                <a:gd name="csX78" fmla="*/ 845468 w 1578711"/>
                <a:gd name="csY78" fmla="*/ 680539 h 892774"/>
                <a:gd name="csX79" fmla="*/ 776832 w 1578711"/>
                <a:gd name="csY79" fmla="*/ 805530 h 892774"/>
                <a:gd name="csX80" fmla="*/ 708252 w 1578711"/>
                <a:gd name="csY80" fmla="*/ 680539 h 892774"/>
                <a:gd name="csX81" fmla="*/ 707046 w 1578711"/>
                <a:gd name="csY81" fmla="*/ 680023 h 892774"/>
                <a:gd name="csX82" fmla="*/ 705729 w 1578711"/>
                <a:gd name="csY82" fmla="*/ 679409 h 892774"/>
                <a:gd name="csX83" fmla="*/ 609608 w 1578711"/>
                <a:gd name="csY83" fmla="*/ 531962 h 892774"/>
                <a:gd name="csX84" fmla="*/ 612240 w 1578711"/>
                <a:gd name="csY84" fmla="*/ 506439 h 892774"/>
                <a:gd name="csX85" fmla="*/ 617947 w 1578711"/>
                <a:gd name="csY85" fmla="*/ 502385 h 892774"/>
                <a:gd name="csX86" fmla="*/ 611583 w 1578711"/>
                <a:gd name="csY86" fmla="*/ 507388 h 892774"/>
                <a:gd name="csX87" fmla="*/ 600775 w 1578711"/>
                <a:gd name="csY87" fmla="*/ 496053 h 892774"/>
                <a:gd name="csX88" fmla="*/ 603956 w 1578711"/>
                <a:gd name="csY88" fmla="*/ 489020 h 892774"/>
                <a:gd name="csX89" fmla="*/ 604670 w 1578711"/>
                <a:gd name="csY89" fmla="*/ 489020 h 892774"/>
                <a:gd name="csX90" fmla="*/ 604670 w 1578711"/>
                <a:gd name="csY90" fmla="*/ 465966 h 892774"/>
                <a:gd name="csX91" fmla="*/ 618441 w 1578711"/>
                <a:gd name="csY91" fmla="*/ 465966 h 892774"/>
                <a:gd name="csX92" fmla="*/ 618441 w 1578711"/>
                <a:gd name="csY92" fmla="*/ 486194 h 892774"/>
                <a:gd name="csX93" fmla="*/ 630071 w 1578711"/>
                <a:gd name="csY93" fmla="*/ 465966 h 892774"/>
                <a:gd name="csX94" fmla="*/ 639454 w 1578711"/>
                <a:gd name="csY94" fmla="*/ 465966 h 892774"/>
                <a:gd name="csX95" fmla="*/ 639454 w 1578711"/>
                <a:gd name="csY95" fmla="*/ 489020 h 892774"/>
                <a:gd name="csX96" fmla="*/ 638686 w 1578711"/>
                <a:gd name="csY96" fmla="*/ 489020 h 892774"/>
                <a:gd name="csX97" fmla="*/ 635558 w 1578711"/>
                <a:gd name="csY97" fmla="*/ 496053 h 892774"/>
                <a:gd name="csX98" fmla="*/ 646312 w 1578711"/>
                <a:gd name="csY98" fmla="*/ 507388 h 892774"/>
                <a:gd name="csX99" fmla="*/ 657120 w 1578711"/>
                <a:gd name="csY99" fmla="*/ 496053 h 892774"/>
                <a:gd name="csX100" fmla="*/ 653937 w 1578711"/>
                <a:gd name="csY100" fmla="*/ 489020 h 892774"/>
                <a:gd name="csX101" fmla="*/ 653225 w 1578711"/>
                <a:gd name="csY101" fmla="*/ 489020 h 892774"/>
                <a:gd name="csX102" fmla="*/ 653225 w 1578711"/>
                <a:gd name="csY102" fmla="*/ 465966 h 892774"/>
                <a:gd name="csX103" fmla="*/ 674237 w 1578711"/>
                <a:gd name="csY103" fmla="*/ 465966 h 892774"/>
                <a:gd name="csX104" fmla="*/ 674237 w 1578711"/>
                <a:gd name="csY104" fmla="*/ 489020 h 892774"/>
                <a:gd name="csX105" fmla="*/ 673470 w 1578711"/>
                <a:gd name="csY105" fmla="*/ 489020 h 892774"/>
                <a:gd name="csX106" fmla="*/ 670287 w 1578711"/>
                <a:gd name="csY106" fmla="*/ 496053 h 892774"/>
                <a:gd name="csX107" fmla="*/ 681095 w 1578711"/>
                <a:gd name="csY107" fmla="*/ 507388 h 892774"/>
                <a:gd name="csX108" fmla="*/ 691849 w 1578711"/>
                <a:gd name="csY108" fmla="*/ 496053 h 892774"/>
                <a:gd name="csX109" fmla="*/ 688721 w 1578711"/>
                <a:gd name="csY109" fmla="*/ 489020 h 892774"/>
                <a:gd name="csX110" fmla="*/ 687953 w 1578711"/>
                <a:gd name="csY110" fmla="*/ 489020 h 892774"/>
                <a:gd name="csX111" fmla="*/ 687953 w 1578711"/>
                <a:gd name="csY111" fmla="*/ 465966 h 892774"/>
                <a:gd name="csX112" fmla="*/ 708966 w 1578711"/>
                <a:gd name="csY112" fmla="*/ 465966 h 892774"/>
                <a:gd name="csX113" fmla="*/ 708966 w 1578711"/>
                <a:gd name="csY113" fmla="*/ 489020 h 892774"/>
                <a:gd name="csX114" fmla="*/ 708252 w 1578711"/>
                <a:gd name="csY114" fmla="*/ 489020 h 892774"/>
                <a:gd name="csX115" fmla="*/ 705071 w 1578711"/>
                <a:gd name="csY115" fmla="*/ 496053 h 892774"/>
                <a:gd name="csX116" fmla="*/ 715879 w 1578711"/>
                <a:gd name="csY116" fmla="*/ 507388 h 892774"/>
                <a:gd name="csX117" fmla="*/ 726632 w 1578711"/>
                <a:gd name="csY117" fmla="*/ 496053 h 892774"/>
                <a:gd name="csX118" fmla="*/ 723450 w 1578711"/>
                <a:gd name="csY118" fmla="*/ 489020 h 892774"/>
                <a:gd name="csX119" fmla="*/ 722737 w 1578711"/>
                <a:gd name="csY119" fmla="*/ 489020 h 892774"/>
                <a:gd name="csX120" fmla="*/ 722737 w 1578711"/>
                <a:gd name="csY120" fmla="*/ 465966 h 892774"/>
                <a:gd name="csX121" fmla="*/ 743421 w 1578711"/>
                <a:gd name="csY121" fmla="*/ 465966 h 892774"/>
                <a:gd name="csX122" fmla="*/ 743256 w 1578711"/>
                <a:gd name="csY122" fmla="*/ 465659 h 892774"/>
                <a:gd name="csX123" fmla="*/ 584480 w 1578711"/>
                <a:gd name="csY123" fmla="*/ 465659 h 892774"/>
                <a:gd name="csX124" fmla="*/ 584480 w 1578711"/>
                <a:gd name="csY124" fmla="*/ 507388 h 892774"/>
                <a:gd name="csX125" fmla="*/ 584480 w 1578711"/>
                <a:gd name="csY125" fmla="*/ 507388 h 892774"/>
                <a:gd name="csX126" fmla="*/ 603518 w 1578711"/>
                <a:gd name="csY126" fmla="*/ 527523 h 892774"/>
                <a:gd name="csX127" fmla="*/ 603518 w 1578711"/>
                <a:gd name="csY127" fmla="*/ 537816 h 892774"/>
                <a:gd name="csX128" fmla="*/ 588594 w 1578711"/>
                <a:gd name="csY128" fmla="*/ 537816 h 892774"/>
                <a:gd name="csX129" fmla="*/ 588594 w 1578711"/>
                <a:gd name="csY129" fmla="*/ 609896 h 892774"/>
                <a:gd name="csX130" fmla="*/ 603408 w 1578711"/>
                <a:gd name="csY130" fmla="*/ 609896 h 892774"/>
                <a:gd name="csX131" fmla="*/ 592271 w 1578711"/>
                <a:gd name="csY131" fmla="*/ 625154 h 892774"/>
                <a:gd name="csX132" fmla="*/ 581407 w 1578711"/>
                <a:gd name="csY132" fmla="*/ 625154 h 892774"/>
                <a:gd name="csX133" fmla="*/ 591392 w 1578711"/>
                <a:gd name="csY133" fmla="*/ 647335 h 892774"/>
                <a:gd name="csX134" fmla="*/ 558364 w 1578711"/>
                <a:gd name="csY134" fmla="*/ 681176 h 892774"/>
                <a:gd name="csX135" fmla="*/ 558639 w 1578711"/>
                <a:gd name="csY135" fmla="*/ 681894 h 892774"/>
                <a:gd name="csX136" fmla="*/ 558639 w 1578711"/>
                <a:gd name="csY136" fmla="*/ 713732 h 892774"/>
                <a:gd name="csX137" fmla="*/ 557432 w 1578711"/>
                <a:gd name="csY137" fmla="*/ 714955 h 892774"/>
                <a:gd name="csX138" fmla="*/ 556170 w 1578711"/>
                <a:gd name="csY138" fmla="*/ 713732 h 892774"/>
                <a:gd name="csX139" fmla="*/ 556170 w 1578711"/>
                <a:gd name="csY139" fmla="*/ 681894 h 892774"/>
                <a:gd name="csX140" fmla="*/ 556444 w 1578711"/>
                <a:gd name="csY140" fmla="*/ 681176 h 892774"/>
                <a:gd name="csX141" fmla="*/ 523417 w 1578711"/>
                <a:gd name="csY141" fmla="*/ 647335 h 892774"/>
                <a:gd name="csX142" fmla="*/ 533347 w 1578711"/>
                <a:gd name="csY142" fmla="*/ 625154 h 892774"/>
                <a:gd name="csX143" fmla="*/ 515406 w 1578711"/>
                <a:gd name="csY143" fmla="*/ 625154 h 892774"/>
                <a:gd name="csX144" fmla="*/ 504269 w 1578711"/>
                <a:gd name="csY144" fmla="*/ 609896 h 892774"/>
                <a:gd name="csX145" fmla="*/ 519356 w 1578711"/>
                <a:gd name="csY145" fmla="*/ 609896 h 892774"/>
                <a:gd name="csX146" fmla="*/ 519356 w 1578711"/>
                <a:gd name="csY146" fmla="*/ 537816 h 892774"/>
                <a:gd name="csX147" fmla="*/ 504378 w 1578711"/>
                <a:gd name="csY147" fmla="*/ 537816 h 892774"/>
                <a:gd name="csX148" fmla="*/ 504378 w 1578711"/>
                <a:gd name="csY148" fmla="*/ 527523 h 892774"/>
                <a:gd name="csX149" fmla="*/ 523417 w 1578711"/>
                <a:gd name="csY149" fmla="*/ 507388 h 892774"/>
                <a:gd name="csX150" fmla="*/ 523417 w 1578711"/>
                <a:gd name="csY150" fmla="*/ 472522 h 892774"/>
                <a:gd name="csX151" fmla="*/ 435195 w 1578711"/>
                <a:gd name="csY151" fmla="*/ 572687 h 892774"/>
                <a:gd name="csX152" fmla="*/ 389877 w 1578711"/>
                <a:gd name="csY152" fmla="*/ 643851 h 892774"/>
                <a:gd name="csX153" fmla="*/ 344560 w 1578711"/>
                <a:gd name="csY153" fmla="*/ 572687 h 892774"/>
                <a:gd name="csX154" fmla="*/ 269725 w 1578711"/>
                <a:gd name="csY154" fmla="*/ 498177 h 892774"/>
                <a:gd name="csX155" fmla="*/ 225449 w 1578711"/>
                <a:gd name="csY155" fmla="*/ 498177 h 892774"/>
                <a:gd name="csX156" fmla="*/ 225449 w 1578711"/>
                <a:gd name="csY156" fmla="*/ 860339 h 892774"/>
                <a:gd name="csX157" fmla="*/ 244048 w 1578711"/>
                <a:gd name="csY157" fmla="*/ 860339 h 892774"/>
                <a:gd name="csX158" fmla="*/ 244048 w 1578711"/>
                <a:gd name="csY158" fmla="*/ 887711 h 892774"/>
                <a:gd name="csX159" fmla="*/ 169269 w 1578711"/>
                <a:gd name="csY159" fmla="*/ 887711 h 892774"/>
                <a:gd name="csX160" fmla="*/ 94435 w 1578711"/>
                <a:gd name="csY160" fmla="*/ 887711 h 892774"/>
                <a:gd name="csX161" fmla="*/ 19600 w 1578711"/>
                <a:gd name="csY161" fmla="*/ 887711 h 892774"/>
                <a:gd name="csX162" fmla="*/ 19600 w 1578711"/>
                <a:gd name="csY162" fmla="*/ 860339 h 892774"/>
                <a:gd name="csX163" fmla="*/ 38254 w 1578711"/>
                <a:gd name="csY163" fmla="*/ 860339 h 892774"/>
                <a:gd name="csX164" fmla="*/ 38254 w 1578711"/>
                <a:gd name="csY164" fmla="*/ 498177 h 892774"/>
                <a:gd name="csX165" fmla="*/ -12496 w 1578711"/>
                <a:gd name="csY165" fmla="*/ 498177 h 892774"/>
                <a:gd name="csX166" fmla="*/ -12496 w 1578711"/>
                <a:gd name="csY166" fmla="*/ 444070 h 892774"/>
                <a:gd name="csX167" fmla="*/ 38254 w 1578711"/>
                <a:gd name="csY167" fmla="*/ 444070 h 892774"/>
                <a:gd name="csX168" fmla="*/ 38254 w 1578711"/>
                <a:gd name="csY168" fmla="*/ -5064 h 892774"/>
                <a:gd name="csX169" fmla="*/ 100634 w 1578711"/>
                <a:gd name="csY169" fmla="*/ -5064 h 892774"/>
                <a:gd name="csX170" fmla="*/ 100634 w 1578711"/>
                <a:gd name="csY170" fmla="*/ 444070 h 892774"/>
                <a:gd name="csX171" fmla="*/ 106394 w 1578711"/>
                <a:gd name="csY171" fmla="*/ 444070 h 892774"/>
                <a:gd name="csX172" fmla="*/ 106394 w 1578711"/>
                <a:gd name="csY172" fmla="*/ -5064 h 892774"/>
                <a:gd name="csX173" fmla="*/ 157309 w 1578711"/>
                <a:gd name="csY173" fmla="*/ -5064 h 892774"/>
                <a:gd name="csX174" fmla="*/ 157309 w 1578711"/>
                <a:gd name="csY174" fmla="*/ 444070 h 892774"/>
                <a:gd name="csX175" fmla="*/ 163015 w 1578711"/>
                <a:gd name="csY175" fmla="*/ 444070 h 892774"/>
                <a:gd name="csX176" fmla="*/ 163015 w 1578711"/>
                <a:gd name="csY176" fmla="*/ -5064 h 892774"/>
                <a:gd name="csX177" fmla="*/ 225449 w 1578711"/>
                <a:gd name="csY177" fmla="*/ -5064 h 892774"/>
                <a:gd name="csX178" fmla="*/ 241196 w 1578711"/>
                <a:gd name="csY178" fmla="*/ -5064 h 892774"/>
                <a:gd name="csX179" fmla="*/ 270109 w 1578711"/>
                <a:gd name="csY179" fmla="*/ -5064 h 892774"/>
                <a:gd name="csX180" fmla="*/ 357837 w 1578711"/>
                <a:gd name="csY180" fmla="*/ -5064 h 892774"/>
                <a:gd name="csX181" fmla="*/ 386749 w 1578711"/>
                <a:gd name="csY181" fmla="*/ -5064 h 892774"/>
                <a:gd name="csX182" fmla="*/ 478757 w 1578711"/>
                <a:gd name="csY182" fmla="*/ -5064 h 892774"/>
                <a:gd name="csX183" fmla="*/ 507670 w 1578711"/>
                <a:gd name="csY183" fmla="*/ -5064 h 892774"/>
                <a:gd name="csX184" fmla="*/ 523417 w 1578711"/>
                <a:gd name="csY184" fmla="*/ -5064 h 892774"/>
                <a:gd name="csX185" fmla="*/ 584480 w 1578711"/>
                <a:gd name="csY185" fmla="*/ -5064 h 892774"/>
                <a:gd name="csX186" fmla="*/ 614600 w 1578711"/>
                <a:gd name="csY186" fmla="*/ -5064 h 892774"/>
                <a:gd name="csX187" fmla="*/ 647628 w 1578711"/>
                <a:gd name="csY187" fmla="*/ -5064 h 892774"/>
                <a:gd name="csX188" fmla="*/ 653554 w 1578711"/>
                <a:gd name="csY188" fmla="*/ -5064 h 892774"/>
                <a:gd name="csX189" fmla="*/ 696182 w 1578711"/>
                <a:gd name="csY189" fmla="*/ -5064 h 892774"/>
                <a:gd name="csX190" fmla="*/ 702437 w 1578711"/>
                <a:gd name="csY190" fmla="*/ -5064 h 892774"/>
                <a:gd name="csX191" fmla="*/ 735466 w 1578711"/>
                <a:gd name="csY191" fmla="*/ -5064 h 892774"/>
                <a:gd name="csX192" fmla="*/ 742817 w 1578711"/>
                <a:gd name="csY192" fmla="*/ -5064 h 892774"/>
                <a:gd name="csX193" fmla="*/ 775626 w 1578711"/>
                <a:gd name="csY193" fmla="*/ -5064 h 892774"/>
                <a:gd name="csX194" fmla="*/ 778095 w 1578711"/>
                <a:gd name="csY194" fmla="*/ -5064 h 892774"/>
                <a:gd name="csX195" fmla="*/ 810848 w 1578711"/>
                <a:gd name="csY195" fmla="*/ -5064 h 892774"/>
                <a:gd name="csX196" fmla="*/ 817871 w 1578711"/>
                <a:gd name="csY196" fmla="*/ -5064 h 892774"/>
                <a:gd name="csX197" fmla="*/ 850899 w 1578711"/>
                <a:gd name="csY197" fmla="*/ -5064 h 892774"/>
                <a:gd name="csX198" fmla="*/ 857208 w 1578711"/>
                <a:gd name="csY198" fmla="*/ -5064 h 892774"/>
                <a:gd name="csX199" fmla="*/ 899838 w 1578711"/>
                <a:gd name="csY199" fmla="*/ -5064 h 892774"/>
                <a:gd name="csX200" fmla="*/ 906093 w 1578711"/>
                <a:gd name="csY200" fmla="*/ -5064 h 892774"/>
                <a:gd name="csX201" fmla="*/ 939066 w 1578711"/>
                <a:gd name="csY201" fmla="*/ -5064 h 892774"/>
                <a:gd name="csX202" fmla="*/ 969241 w 1578711"/>
                <a:gd name="csY202" fmla="*/ -5064 h 892774"/>
                <a:gd name="csX203" fmla="*/ 1030250 w 1578711"/>
                <a:gd name="csY203" fmla="*/ -5064 h 892774"/>
                <a:gd name="csX204" fmla="*/ 1046051 w 1578711"/>
                <a:gd name="csY204" fmla="*/ -5064 h 892774"/>
                <a:gd name="csX205" fmla="*/ 1074964 w 1578711"/>
                <a:gd name="csY205" fmla="*/ -5064 h 892774"/>
                <a:gd name="csX206" fmla="*/ 1166971 w 1578711"/>
                <a:gd name="csY206" fmla="*/ -5064 h 892774"/>
                <a:gd name="csX207" fmla="*/ 1195884 w 1578711"/>
                <a:gd name="csY207" fmla="*/ -5064 h 892774"/>
                <a:gd name="csX208" fmla="*/ 1283557 w 1578711"/>
                <a:gd name="csY208" fmla="*/ -5064 h 892774"/>
                <a:gd name="csX209" fmla="*/ 1312470 w 1578711"/>
                <a:gd name="csY209" fmla="*/ -5064 h 892774"/>
                <a:gd name="csX210" fmla="*/ 1328271 w 1578711"/>
                <a:gd name="csY210" fmla="*/ -5064 h 892774"/>
                <a:gd name="csX211" fmla="*/ 1390651 w 1578711"/>
                <a:gd name="csY211" fmla="*/ -5064 h 892774"/>
                <a:gd name="csX212" fmla="*/ 1390651 w 1578711"/>
                <a:gd name="csY212" fmla="*/ 444070 h 892774"/>
                <a:gd name="csX213" fmla="*/ 1396412 w 1578711"/>
                <a:gd name="csY213" fmla="*/ 444070 h 892774"/>
                <a:gd name="csX214" fmla="*/ 1396412 w 1578711"/>
                <a:gd name="csY214" fmla="*/ -5064 h 892774"/>
                <a:gd name="csX215" fmla="*/ 1447326 w 1578711"/>
                <a:gd name="csY215" fmla="*/ -5064 h 892774"/>
                <a:gd name="csX216" fmla="*/ 1447326 w 1578711"/>
                <a:gd name="csY216" fmla="*/ 444070 h 892774"/>
                <a:gd name="csX217" fmla="*/ 1453031 w 1578711"/>
                <a:gd name="csY217" fmla="*/ 444070 h 892774"/>
                <a:gd name="csX218" fmla="*/ 1453031 w 1578711"/>
                <a:gd name="csY218" fmla="*/ -5064 h 892774"/>
                <a:gd name="csX219" fmla="*/ 1515467 w 1578711"/>
                <a:gd name="csY219" fmla="*/ -5064 h 892774"/>
                <a:gd name="csX220" fmla="*/ 1515467 w 1578711"/>
                <a:gd name="csY220" fmla="*/ 444070 h 892774"/>
                <a:gd name="csX221" fmla="*/ 1566216 w 1578711"/>
                <a:gd name="csY221" fmla="*/ 444070 h 892774"/>
                <a:gd name="csX222" fmla="*/ 1566216 w 1578711"/>
                <a:gd name="csY222" fmla="*/ 498177 h 892774"/>
                <a:gd name="csX223" fmla="*/ 1515467 w 1578711"/>
                <a:gd name="csY223" fmla="*/ 498177 h 892774"/>
                <a:gd name="csX224" fmla="*/ 939615 w 1578711"/>
                <a:gd name="csY224" fmla="*/ 506895 h 892774"/>
                <a:gd name="csX225" fmla="*/ 939889 w 1578711"/>
                <a:gd name="csY225" fmla="*/ 506582 h 892774"/>
                <a:gd name="csX226" fmla="*/ 939615 w 1578711"/>
                <a:gd name="csY226" fmla="*/ 506895 h 892774"/>
                <a:gd name="csX227" fmla="*/ 940657 w 1578711"/>
                <a:gd name="csY227" fmla="*/ 505951 h 892774"/>
                <a:gd name="csX228" fmla="*/ 941261 w 1578711"/>
                <a:gd name="csY228" fmla="*/ 505539 h 892774"/>
                <a:gd name="csX229" fmla="*/ 940657 w 1578711"/>
                <a:gd name="csY229" fmla="*/ 505951 h 892774"/>
                <a:gd name="csX230" fmla="*/ 940053 w 1578711"/>
                <a:gd name="csY230" fmla="*/ 506445 h 892774"/>
                <a:gd name="csX231" fmla="*/ 940492 w 1578711"/>
                <a:gd name="csY231" fmla="*/ 506088 h 892774"/>
                <a:gd name="csX232" fmla="*/ 940053 w 1578711"/>
                <a:gd name="csY232" fmla="*/ 506445 h 892774"/>
                <a:gd name="csX233" fmla="*/ 939560 w 1578711"/>
                <a:gd name="csY233" fmla="*/ 507015 h 892774"/>
                <a:gd name="csX234" fmla="*/ 939395 w 1578711"/>
                <a:gd name="csY234" fmla="*/ 507388 h 892774"/>
                <a:gd name="csX235" fmla="*/ 939560 w 1578711"/>
                <a:gd name="csY235" fmla="*/ 507015 h 892774"/>
                <a:gd name="csX236" fmla="*/ 617947 w 1578711"/>
                <a:gd name="csY236" fmla="*/ 502374 h 892774"/>
                <a:gd name="csX237" fmla="*/ 619812 w 1578711"/>
                <a:gd name="csY237" fmla="*/ 500777 h 892774"/>
                <a:gd name="csX238" fmla="*/ 617947 w 1578711"/>
                <a:gd name="csY238" fmla="*/ 502374 h 892774"/>
                <a:gd name="csX239" fmla="*/ 622226 w 1578711"/>
                <a:gd name="csY239" fmla="*/ 497002 h 892774"/>
                <a:gd name="csX240" fmla="*/ 622336 w 1578711"/>
                <a:gd name="csY240" fmla="*/ 496053 h 892774"/>
                <a:gd name="csX241" fmla="*/ 622226 w 1578711"/>
                <a:gd name="csY241" fmla="*/ 497002 h 892774"/>
                <a:gd name="csX242" fmla="*/ 619921 w 1578711"/>
                <a:gd name="csY242" fmla="*/ 500700 h 892774"/>
                <a:gd name="csX243" fmla="*/ 620580 w 1578711"/>
                <a:gd name="csY243" fmla="*/ 499976 h 892774"/>
                <a:gd name="csX244" fmla="*/ 619921 w 1578711"/>
                <a:gd name="csY244" fmla="*/ 500700 h 892774"/>
                <a:gd name="csX245" fmla="*/ 620800 w 1578711"/>
                <a:gd name="csY245" fmla="*/ 499735 h 892774"/>
                <a:gd name="csX246" fmla="*/ 621238 w 1578711"/>
                <a:gd name="csY246" fmla="*/ 499137 h 892774"/>
                <a:gd name="csX247" fmla="*/ 620800 w 1578711"/>
                <a:gd name="csY247" fmla="*/ 499735 h 892774"/>
                <a:gd name="csX248" fmla="*/ 621403 w 1578711"/>
                <a:gd name="csY248" fmla="*/ 498829 h 892774"/>
                <a:gd name="csX249" fmla="*/ 621732 w 1578711"/>
                <a:gd name="csY249" fmla="*/ 498248 h 892774"/>
                <a:gd name="csX250" fmla="*/ 621403 w 1578711"/>
                <a:gd name="csY250" fmla="*/ 498829 h 892774"/>
                <a:gd name="csX251" fmla="*/ 621897 w 1578711"/>
                <a:gd name="csY251" fmla="*/ 497924 h 892774"/>
                <a:gd name="csX252" fmla="*/ 622116 w 1578711"/>
                <a:gd name="csY252" fmla="*/ 497299 h 892774"/>
                <a:gd name="csX253" fmla="*/ 621897 w 1578711"/>
                <a:gd name="csY253" fmla="*/ 497924 h 892774"/>
                <a:gd name="csX254" fmla="*/ 106394 w 1578711"/>
                <a:gd name="csY254" fmla="*/ 498177 h 892774"/>
                <a:gd name="csX255" fmla="*/ 100634 w 1578711"/>
                <a:gd name="csY255" fmla="*/ 498177 h 892774"/>
                <a:gd name="csX256" fmla="*/ 100634 w 1578711"/>
                <a:gd name="csY256" fmla="*/ 860339 h 892774"/>
                <a:gd name="csX257" fmla="*/ 106394 w 1578711"/>
                <a:gd name="csY257" fmla="*/ 860339 h 892774"/>
                <a:gd name="csX258" fmla="*/ 147433 w 1578711"/>
                <a:gd name="csY258" fmla="*/ 498177 h 892774"/>
                <a:gd name="csX259" fmla="*/ 116270 w 1578711"/>
                <a:gd name="csY259" fmla="*/ 498177 h 892774"/>
                <a:gd name="csX260" fmla="*/ 116270 w 1578711"/>
                <a:gd name="csY260" fmla="*/ 552695 h 892774"/>
                <a:gd name="csX261" fmla="*/ 147433 w 1578711"/>
                <a:gd name="csY261" fmla="*/ 552695 h 892774"/>
                <a:gd name="csX262" fmla="*/ 163015 w 1578711"/>
                <a:gd name="csY262" fmla="*/ 498177 h 892774"/>
                <a:gd name="csX263" fmla="*/ 157309 w 1578711"/>
                <a:gd name="csY263" fmla="*/ 498177 h 892774"/>
                <a:gd name="csX264" fmla="*/ 157309 w 1578711"/>
                <a:gd name="csY264" fmla="*/ 860339 h 892774"/>
                <a:gd name="csX265" fmla="*/ 163015 w 1578711"/>
                <a:gd name="csY265" fmla="*/ 860339 h 892774"/>
                <a:gd name="csX266" fmla="*/ 216727 w 1578711"/>
                <a:gd name="csY266" fmla="*/ 10216 h 892774"/>
                <a:gd name="csX267" fmla="*/ 180406 w 1578711"/>
                <a:gd name="csY267" fmla="*/ 10216 h 892774"/>
                <a:gd name="csX268" fmla="*/ 180406 w 1578711"/>
                <a:gd name="csY268" fmla="*/ 101806 h 892774"/>
                <a:gd name="csX269" fmla="*/ 216727 w 1578711"/>
                <a:gd name="csY269" fmla="*/ 101806 h 892774"/>
                <a:gd name="csX270" fmla="*/ 1252668 w 1578711"/>
                <a:gd name="csY270" fmla="*/ 410822 h 892774"/>
                <a:gd name="csX271" fmla="*/ 1263422 w 1578711"/>
                <a:gd name="csY271" fmla="*/ 399487 h 892774"/>
                <a:gd name="csX272" fmla="*/ 1260240 w 1578711"/>
                <a:gd name="csY272" fmla="*/ 392454 h 892774"/>
                <a:gd name="csX273" fmla="*/ 1259526 w 1578711"/>
                <a:gd name="csY273" fmla="*/ 392454 h 892774"/>
                <a:gd name="csX274" fmla="*/ 1259526 w 1578711"/>
                <a:gd name="csY274" fmla="*/ 369405 h 892774"/>
                <a:gd name="csX275" fmla="*/ 1245756 w 1578711"/>
                <a:gd name="csY275" fmla="*/ 369405 h 892774"/>
                <a:gd name="csX276" fmla="*/ 1245756 w 1578711"/>
                <a:gd name="csY276" fmla="*/ 392454 h 892774"/>
                <a:gd name="csX277" fmla="*/ 1245042 w 1578711"/>
                <a:gd name="csY277" fmla="*/ 392454 h 892774"/>
                <a:gd name="csX278" fmla="*/ 1241861 w 1578711"/>
                <a:gd name="csY278" fmla="*/ 399487 h 892774"/>
                <a:gd name="csX279" fmla="*/ 1252668 w 1578711"/>
                <a:gd name="csY279" fmla="*/ 410822 h 892774"/>
                <a:gd name="csX280" fmla="*/ 1214703 w 1578711"/>
                <a:gd name="csY280" fmla="*/ 410822 h 892774"/>
                <a:gd name="csX281" fmla="*/ 1225456 w 1578711"/>
                <a:gd name="csY281" fmla="*/ 399487 h 892774"/>
                <a:gd name="csX282" fmla="*/ 1222328 w 1578711"/>
                <a:gd name="csY282" fmla="*/ 392454 h 892774"/>
                <a:gd name="csX283" fmla="*/ 1221561 w 1578711"/>
                <a:gd name="csY283" fmla="*/ 392454 h 892774"/>
                <a:gd name="csX284" fmla="*/ 1221561 w 1578711"/>
                <a:gd name="csY284" fmla="*/ 369405 h 892774"/>
                <a:gd name="csX285" fmla="*/ 1207845 w 1578711"/>
                <a:gd name="csY285" fmla="*/ 369405 h 892774"/>
                <a:gd name="csX286" fmla="*/ 1207845 w 1578711"/>
                <a:gd name="csY286" fmla="*/ 392454 h 892774"/>
                <a:gd name="csX287" fmla="*/ 1207077 w 1578711"/>
                <a:gd name="csY287" fmla="*/ 392454 h 892774"/>
                <a:gd name="csX288" fmla="*/ 1203894 w 1578711"/>
                <a:gd name="csY288" fmla="*/ 399487 h 892774"/>
                <a:gd name="csX289" fmla="*/ 1214703 w 1578711"/>
                <a:gd name="csY289" fmla="*/ 410822 h 892774"/>
                <a:gd name="csX290" fmla="*/ 1176736 w 1578711"/>
                <a:gd name="csY290" fmla="*/ 410822 h 892774"/>
                <a:gd name="csX291" fmla="*/ 1187545 w 1578711"/>
                <a:gd name="csY291" fmla="*/ 399487 h 892774"/>
                <a:gd name="csX292" fmla="*/ 1184363 w 1578711"/>
                <a:gd name="csY292" fmla="*/ 392454 h 892774"/>
                <a:gd name="csX293" fmla="*/ 1183649 w 1578711"/>
                <a:gd name="csY293" fmla="*/ 392454 h 892774"/>
                <a:gd name="csX294" fmla="*/ 1183649 w 1578711"/>
                <a:gd name="csY294" fmla="*/ 369405 h 892774"/>
                <a:gd name="csX295" fmla="*/ 1169878 w 1578711"/>
                <a:gd name="csY295" fmla="*/ 369405 h 892774"/>
                <a:gd name="csX296" fmla="*/ 1169878 w 1578711"/>
                <a:gd name="csY296" fmla="*/ 392454 h 892774"/>
                <a:gd name="csX297" fmla="*/ 1169110 w 1578711"/>
                <a:gd name="csY297" fmla="*/ 392454 h 892774"/>
                <a:gd name="csX298" fmla="*/ 1165983 w 1578711"/>
                <a:gd name="csY298" fmla="*/ 399487 h 892774"/>
                <a:gd name="csX299" fmla="*/ 1176736 w 1578711"/>
                <a:gd name="csY299" fmla="*/ 410822 h 892774"/>
                <a:gd name="csX300" fmla="*/ 1138826 w 1578711"/>
                <a:gd name="csY300" fmla="*/ 410822 h 892774"/>
                <a:gd name="csX301" fmla="*/ 1149579 w 1578711"/>
                <a:gd name="csY301" fmla="*/ 399487 h 892774"/>
                <a:gd name="csX302" fmla="*/ 1146452 w 1578711"/>
                <a:gd name="csY302" fmla="*/ 392454 h 892774"/>
                <a:gd name="csX303" fmla="*/ 1145684 w 1578711"/>
                <a:gd name="csY303" fmla="*/ 392454 h 892774"/>
                <a:gd name="csX304" fmla="*/ 1145684 w 1578711"/>
                <a:gd name="csY304" fmla="*/ 369405 h 892774"/>
                <a:gd name="csX305" fmla="*/ 1131913 w 1578711"/>
                <a:gd name="csY305" fmla="*/ 369405 h 892774"/>
                <a:gd name="csX306" fmla="*/ 1131913 w 1578711"/>
                <a:gd name="csY306" fmla="*/ 392454 h 892774"/>
                <a:gd name="csX307" fmla="*/ 1131199 w 1578711"/>
                <a:gd name="csY307" fmla="*/ 392454 h 892774"/>
                <a:gd name="csX308" fmla="*/ 1128018 w 1578711"/>
                <a:gd name="csY308" fmla="*/ 399487 h 892774"/>
                <a:gd name="csX309" fmla="*/ 1138826 w 1578711"/>
                <a:gd name="csY309" fmla="*/ 410822 h 892774"/>
                <a:gd name="csX310" fmla="*/ 1100860 w 1578711"/>
                <a:gd name="csY310" fmla="*/ 410822 h 892774"/>
                <a:gd name="csX311" fmla="*/ 1111613 w 1578711"/>
                <a:gd name="csY311" fmla="*/ 399487 h 892774"/>
                <a:gd name="csX312" fmla="*/ 1108485 w 1578711"/>
                <a:gd name="csY312" fmla="*/ 392454 h 892774"/>
                <a:gd name="csX313" fmla="*/ 1107718 w 1578711"/>
                <a:gd name="csY313" fmla="*/ 392454 h 892774"/>
                <a:gd name="csX314" fmla="*/ 1107718 w 1578711"/>
                <a:gd name="csY314" fmla="*/ 369405 h 892774"/>
                <a:gd name="csX315" fmla="*/ 1094002 w 1578711"/>
                <a:gd name="csY315" fmla="*/ 369405 h 892774"/>
                <a:gd name="csX316" fmla="*/ 1094002 w 1578711"/>
                <a:gd name="csY316" fmla="*/ 392454 h 892774"/>
                <a:gd name="csX317" fmla="*/ 1093234 w 1578711"/>
                <a:gd name="csY317" fmla="*/ 392454 h 892774"/>
                <a:gd name="csX318" fmla="*/ 1090106 w 1578711"/>
                <a:gd name="csY318" fmla="*/ 399487 h 892774"/>
                <a:gd name="csX319" fmla="*/ 1100860 w 1578711"/>
                <a:gd name="csY319" fmla="*/ 410822 h 892774"/>
                <a:gd name="csX320" fmla="*/ 1062894 w 1578711"/>
                <a:gd name="csY320" fmla="*/ 410822 h 892774"/>
                <a:gd name="csX321" fmla="*/ 1073703 w 1578711"/>
                <a:gd name="csY321" fmla="*/ 399487 h 892774"/>
                <a:gd name="csX322" fmla="*/ 1070520 w 1578711"/>
                <a:gd name="csY322" fmla="*/ 392454 h 892774"/>
                <a:gd name="csX323" fmla="*/ 1069806 w 1578711"/>
                <a:gd name="csY323" fmla="*/ 392454 h 892774"/>
                <a:gd name="csX324" fmla="*/ 1069806 w 1578711"/>
                <a:gd name="csY324" fmla="*/ 369405 h 892774"/>
                <a:gd name="csX325" fmla="*/ 1056036 w 1578711"/>
                <a:gd name="csY325" fmla="*/ 369405 h 892774"/>
                <a:gd name="csX326" fmla="*/ 1056036 w 1578711"/>
                <a:gd name="csY326" fmla="*/ 392454 h 892774"/>
                <a:gd name="csX327" fmla="*/ 1055323 w 1578711"/>
                <a:gd name="csY327" fmla="*/ 392454 h 892774"/>
                <a:gd name="csX328" fmla="*/ 1052141 w 1578711"/>
                <a:gd name="csY328" fmla="*/ 399487 h 892774"/>
                <a:gd name="csX329" fmla="*/ 1062894 w 1578711"/>
                <a:gd name="csY329" fmla="*/ 410822 h 892774"/>
                <a:gd name="csX330" fmla="*/ 1043417 w 1578711"/>
                <a:gd name="csY330" fmla="*/ 367699 h 892774"/>
                <a:gd name="csX331" fmla="*/ 1030250 w 1578711"/>
                <a:gd name="csY331" fmla="*/ 367699 h 892774"/>
                <a:gd name="csX332" fmla="*/ 1030250 w 1578711"/>
                <a:gd name="csY332" fmla="*/ 396278 h 892774"/>
                <a:gd name="csX333" fmla="*/ 1043417 w 1578711"/>
                <a:gd name="csY333" fmla="*/ 367699 h 892774"/>
                <a:gd name="csX334" fmla="*/ 987566 w 1578711"/>
                <a:gd name="csY334" fmla="*/ 583709 h 892774"/>
                <a:gd name="csX335" fmla="*/ 999745 w 1578711"/>
                <a:gd name="csY335" fmla="*/ 595917 h 892774"/>
                <a:gd name="csX336" fmla="*/ 1011980 w 1578711"/>
                <a:gd name="csY336" fmla="*/ 583709 h 892774"/>
                <a:gd name="csX337" fmla="*/ 1011980 w 1578711"/>
                <a:gd name="csY337" fmla="*/ 537816 h 892774"/>
                <a:gd name="csX338" fmla="*/ 987566 w 1578711"/>
                <a:gd name="csY338" fmla="*/ 537816 h 892774"/>
                <a:gd name="csX339" fmla="*/ 794280 w 1578711"/>
                <a:gd name="csY339" fmla="*/ 492037 h 892774"/>
                <a:gd name="csX340" fmla="*/ 792579 w 1578711"/>
                <a:gd name="csY340" fmla="*/ 492037 h 892774"/>
                <a:gd name="csX341" fmla="*/ 792579 w 1578711"/>
                <a:gd name="csY341" fmla="*/ 484746 h 892774"/>
                <a:gd name="csX342" fmla="*/ 792579 w 1578711"/>
                <a:gd name="csY342" fmla="*/ 484757 h 892774"/>
                <a:gd name="csX343" fmla="*/ 776832 w 1578711"/>
                <a:gd name="csY343" fmla="*/ 488340 h 892774"/>
                <a:gd name="csX344" fmla="*/ 761142 w 1578711"/>
                <a:gd name="csY344" fmla="*/ 484740 h 892774"/>
                <a:gd name="csX345" fmla="*/ 761142 w 1578711"/>
                <a:gd name="csY345" fmla="*/ 484746 h 892774"/>
                <a:gd name="csX346" fmla="*/ 761142 w 1578711"/>
                <a:gd name="csY346" fmla="*/ 492037 h 892774"/>
                <a:gd name="csX347" fmla="*/ 759441 w 1578711"/>
                <a:gd name="csY347" fmla="*/ 492037 h 892774"/>
                <a:gd name="csX348" fmla="*/ 752199 w 1578711"/>
                <a:gd name="csY348" fmla="*/ 508123 h 892774"/>
                <a:gd name="csX349" fmla="*/ 776832 w 1578711"/>
                <a:gd name="csY349" fmla="*/ 534030 h 892774"/>
                <a:gd name="csX350" fmla="*/ 801467 w 1578711"/>
                <a:gd name="csY350" fmla="*/ 508123 h 892774"/>
                <a:gd name="csX351" fmla="*/ 794280 w 1578711"/>
                <a:gd name="csY351" fmla="*/ 492037 h 892774"/>
                <a:gd name="csX352" fmla="*/ 800918 w 1578711"/>
                <a:gd name="csY352" fmla="*/ 479144 h 892774"/>
                <a:gd name="csX353" fmla="*/ 800480 w 1578711"/>
                <a:gd name="csY353" fmla="*/ 479517 h 892774"/>
                <a:gd name="csX354" fmla="*/ 800918 w 1578711"/>
                <a:gd name="csY354" fmla="*/ 479144 h 892774"/>
                <a:gd name="csX355" fmla="*/ 798504 w 1578711"/>
                <a:gd name="csY355" fmla="*/ 481130 h 892774"/>
                <a:gd name="csX356" fmla="*/ 797955 w 1578711"/>
                <a:gd name="csY356" fmla="*/ 481509 h 892774"/>
                <a:gd name="csX357" fmla="*/ 798504 w 1578711"/>
                <a:gd name="csY357" fmla="*/ 481130 h 892774"/>
                <a:gd name="csX358" fmla="*/ 795597 w 1578711"/>
                <a:gd name="csY358" fmla="*/ 483084 h 892774"/>
                <a:gd name="csX359" fmla="*/ 795432 w 1578711"/>
                <a:gd name="csY359" fmla="*/ 483215 h 892774"/>
                <a:gd name="csX360" fmla="*/ 795597 w 1578711"/>
                <a:gd name="csY360" fmla="*/ 483084 h 892774"/>
                <a:gd name="csX361" fmla="*/ 758344 w 1578711"/>
                <a:gd name="csY361" fmla="*/ 483226 h 892774"/>
                <a:gd name="csX362" fmla="*/ 757904 w 1578711"/>
                <a:gd name="csY362" fmla="*/ 482974 h 892774"/>
                <a:gd name="csX363" fmla="*/ 758344 w 1578711"/>
                <a:gd name="csY363" fmla="*/ 483226 h 892774"/>
                <a:gd name="csX364" fmla="*/ 753241 w 1578711"/>
                <a:gd name="csY364" fmla="*/ 479528 h 892774"/>
                <a:gd name="csX365" fmla="*/ 752748 w 1578711"/>
                <a:gd name="csY365" fmla="*/ 479117 h 892774"/>
                <a:gd name="csX366" fmla="*/ 753241 w 1578711"/>
                <a:gd name="csY366" fmla="*/ 479528 h 892774"/>
                <a:gd name="csX367" fmla="*/ 755766 w 1578711"/>
                <a:gd name="csY367" fmla="*/ 481520 h 892774"/>
                <a:gd name="csX368" fmla="*/ 755161 w 1578711"/>
                <a:gd name="csY368" fmla="*/ 481086 h 892774"/>
                <a:gd name="csX369" fmla="*/ 755766 w 1578711"/>
                <a:gd name="csY369" fmla="*/ 481520 h 892774"/>
                <a:gd name="csX370" fmla="*/ 808764 w 1578711"/>
                <a:gd name="csY370" fmla="*/ 469176 h 892774"/>
                <a:gd name="csX371" fmla="*/ 808928 w 1578711"/>
                <a:gd name="csY371" fmla="*/ 468846 h 892774"/>
                <a:gd name="csX372" fmla="*/ 808764 w 1578711"/>
                <a:gd name="csY372" fmla="*/ 469176 h 892774"/>
                <a:gd name="csX373" fmla="*/ 807118 w 1578711"/>
                <a:gd name="csY373" fmla="*/ 471985 h 892774"/>
                <a:gd name="csX374" fmla="*/ 807338 w 1578711"/>
                <a:gd name="csY374" fmla="*/ 471617 h 892774"/>
                <a:gd name="csX375" fmla="*/ 807118 w 1578711"/>
                <a:gd name="csY375" fmla="*/ 471985 h 892774"/>
                <a:gd name="csX376" fmla="*/ 744957 w 1578711"/>
                <a:gd name="csY376" fmla="*/ 469159 h 892774"/>
                <a:gd name="csX377" fmla="*/ 744793 w 1578711"/>
                <a:gd name="csY377" fmla="*/ 468852 h 892774"/>
                <a:gd name="csX378" fmla="*/ 744957 w 1578711"/>
                <a:gd name="csY378" fmla="*/ 469159 h 892774"/>
                <a:gd name="csX379" fmla="*/ 746603 w 1578711"/>
                <a:gd name="csY379" fmla="*/ 471968 h 892774"/>
                <a:gd name="csX380" fmla="*/ 746383 w 1578711"/>
                <a:gd name="csY380" fmla="*/ 471622 h 892774"/>
                <a:gd name="csX381" fmla="*/ 746603 w 1578711"/>
                <a:gd name="csY381" fmla="*/ 471968 h 892774"/>
                <a:gd name="csX382" fmla="*/ 541740 w 1578711"/>
                <a:gd name="csY382" fmla="*/ 583709 h 892774"/>
                <a:gd name="csX383" fmla="*/ 553975 w 1578711"/>
                <a:gd name="csY383" fmla="*/ 595917 h 892774"/>
                <a:gd name="csX384" fmla="*/ 566155 w 1578711"/>
                <a:gd name="csY384" fmla="*/ 583709 h 892774"/>
                <a:gd name="csX385" fmla="*/ 566155 w 1578711"/>
                <a:gd name="csY385" fmla="*/ 537816 h 892774"/>
                <a:gd name="csX386" fmla="*/ 541740 w 1578711"/>
                <a:gd name="csY386" fmla="*/ 537816 h 892774"/>
                <a:gd name="csX387" fmla="*/ 523417 w 1578711"/>
                <a:gd name="csY387" fmla="*/ 396278 h 892774"/>
                <a:gd name="csX388" fmla="*/ 523417 w 1578711"/>
                <a:gd name="csY388" fmla="*/ 367699 h 892774"/>
                <a:gd name="csX389" fmla="*/ 510249 w 1578711"/>
                <a:gd name="csY389" fmla="*/ 367699 h 892774"/>
                <a:gd name="csX390" fmla="*/ 523417 w 1578711"/>
                <a:gd name="csY390" fmla="*/ 396278 h 892774"/>
                <a:gd name="csX391" fmla="*/ 490772 w 1578711"/>
                <a:gd name="csY391" fmla="*/ 410822 h 892774"/>
                <a:gd name="csX392" fmla="*/ 501580 w 1578711"/>
                <a:gd name="csY392" fmla="*/ 399487 h 892774"/>
                <a:gd name="csX393" fmla="*/ 498398 w 1578711"/>
                <a:gd name="csY393" fmla="*/ 392454 h 892774"/>
                <a:gd name="csX394" fmla="*/ 497685 w 1578711"/>
                <a:gd name="csY394" fmla="*/ 392454 h 892774"/>
                <a:gd name="csX395" fmla="*/ 497685 w 1578711"/>
                <a:gd name="csY395" fmla="*/ 369405 h 892774"/>
                <a:gd name="csX396" fmla="*/ 483914 w 1578711"/>
                <a:gd name="csY396" fmla="*/ 369405 h 892774"/>
                <a:gd name="csX397" fmla="*/ 483914 w 1578711"/>
                <a:gd name="csY397" fmla="*/ 392454 h 892774"/>
                <a:gd name="csX398" fmla="*/ 483146 w 1578711"/>
                <a:gd name="csY398" fmla="*/ 392454 h 892774"/>
                <a:gd name="csX399" fmla="*/ 480018 w 1578711"/>
                <a:gd name="csY399" fmla="*/ 399487 h 892774"/>
                <a:gd name="csX400" fmla="*/ 490772 w 1578711"/>
                <a:gd name="csY400" fmla="*/ 410822 h 892774"/>
                <a:gd name="csX401" fmla="*/ 452861 w 1578711"/>
                <a:gd name="csY401" fmla="*/ 410822 h 892774"/>
                <a:gd name="csX402" fmla="*/ 463615 w 1578711"/>
                <a:gd name="csY402" fmla="*/ 399487 h 892774"/>
                <a:gd name="csX403" fmla="*/ 460487 w 1578711"/>
                <a:gd name="csY403" fmla="*/ 392454 h 892774"/>
                <a:gd name="csX404" fmla="*/ 459719 w 1578711"/>
                <a:gd name="csY404" fmla="*/ 392454 h 892774"/>
                <a:gd name="csX405" fmla="*/ 459719 w 1578711"/>
                <a:gd name="csY405" fmla="*/ 369405 h 892774"/>
                <a:gd name="csX406" fmla="*/ 445948 w 1578711"/>
                <a:gd name="csY406" fmla="*/ 369405 h 892774"/>
                <a:gd name="csX407" fmla="*/ 445948 w 1578711"/>
                <a:gd name="csY407" fmla="*/ 392454 h 892774"/>
                <a:gd name="csX408" fmla="*/ 445235 w 1578711"/>
                <a:gd name="csY408" fmla="*/ 392454 h 892774"/>
                <a:gd name="csX409" fmla="*/ 442053 w 1578711"/>
                <a:gd name="csY409" fmla="*/ 399487 h 892774"/>
                <a:gd name="csX410" fmla="*/ 452861 w 1578711"/>
                <a:gd name="csY410" fmla="*/ 410822 h 892774"/>
                <a:gd name="csX411" fmla="*/ 414895 w 1578711"/>
                <a:gd name="csY411" fmla="*/ 410822 h 892774"/>
                <a:gd name="csX412" fmla="*/ 425648 w 1578711"/>
                <a:gd name="csY412" fmla="*/ 399487 h 892774"/>
                <a:gd name="csX413" fmla="*/ 422521 w 1578711"/>
                <a:gd name="csY413" fmla="*/ 392454 h 892774"/>
                <a:gd name="csX414" fmla="*/ 421753 w 1578711"/>
                <a:gd name="csY414" fmla="*/ 392454 h 892774"/>
                <a:gd name="csX415" fmla="*/ 421753 w 1578711"/>
                <a:gd name="csY415" fmla="*/ 369405 h 892774"/>
                <a:gd name="csX416" fmla="*/ 408037 w 1578711"/>
                <a:gd name="csY416" fmla="*/ 369405 h 892774"/>
                <a:gd name="csX417" fmla="*/ 408037 w 1578711"/>
                <a:gd name="csY417" fmla="*/ 392454 h 892774"/>
                <a:gd name="csX418" fmla="*/ 407269 w 1578711"/>
                <a:gd name="csY418" fmla="*/ 392454 h 892774"/>
                <a:gd name="csX419" fmla="*/ 404142 w 1578711"/>
                <a:gd name="csY419" fmla="*/ 399487 h 892774"/>
                <a:gd name="csX420" fmla="*/ 414895 w 1578711"/>
                <a:gd name="csY420" fmla="*/ 410822 h 892774"/>
                <a:gd name="csX421" fmla="*/ 376984 w 1578711"/>
                <a:gd name="csY421" fmla="*/ 410822 h 892774"/>
                <a:gd name="csX422" fmla="*/ 387737 w 1578711"/>
                <a:gd name="csY422" fmla="*/ 399487 h 892774"/>
                <a:gd name="csX423" fmla="*/ 384555 w 1578711"/>
                <a:gd name="csY423" fmla="*/ 392454 h 892774"/>
                <a:gd name="csX424" fmla="*/ 383842 w 1578711"/>
                <a:gd name="csY424" fmla="*/ 392454 h 892774"/>
                <a:gd name="csX425" fmla="*/ 383842 w 1578711"/>
                <a:gd name="csY425" fmla="*/ 369405 h 892774"/>
                <a:gd name="csX426" fmla="*/ 370072 w 1578711"/>
                <a:gd name="csY426" fmla="*/ 369405 h 892774"/>
                <a:gd name="csX427" fmla="*/ 370072 w 1578711"/>
                <a:gd name="csY427" fmla="*/ 392454 h 892774"/>
                <a:gd name="csX428" fmla="*/ 369303 w 1578711"/>
                <a:gd name="csY428" fmla="*/ 392454 h 892774"/>
                <a:gd name="csX429" fmla="*/ 366175 w 1578711"/>
                <a:gd name="csY429" fmla="*/ 399487 h 892774"/>
                <a:gd name="csX430" fmla="*/ 376984 w 1578711"/>
                <a:gd name="csY430" fmla="*/ 410822 h 892774"/>
                <a:gd name="csX431" fmla="*/ 339018 w 1578711"/>
                <a:gd name="csY431" fmla="*/ 410822 h 892774"/>
                <a:gd name="csX432" fmla="*/ 349772 w 1578711"/>
                <a:gd name="csY432" fmla="*/ 399487 h 892774"/>
                <a:gd name="csX433" fmla="*/ 346644 w 1578711"/>
                <a:gd name="csY433" fmla="*/ 392454 h 892774"/>
                <a:gd name="csX434" fmla="*/ 345876 w 1578711"/>
                <a:gd name="csY434" fmla="*/ 392454 h 892774"/>
                <a:gd name="csX435" fmla="*/ 345876 w 1578711"/>
                <a:gd name="csY435" fmla="*/ 369405 h 892774"/>
                <a:gd name="csX436" fmla="*/ 332160 w 1578711"/>
                <a:gd name="csY436" fmla="*/ 369405 h 892774"/>
                <a:gd name="csX437" fmla="*/ 332160 w 1578711"/>
                <a:gd name="csY437" fmla="*/ 392454 h 892774"/>
                <a:gd name="csX438" fmla="*/ 331393 w 1578711"/>
                <a:gd name="csY438" fmla="*/ 392454 h 892774"/>
                <a:gd name="csX439" fmla="*/ 328210 w 1578711"/>
                <a:gd name="csY439" fmla="*/ 399487 h 892774"/>
                <a:gd name="csX440" fmla="*/ 339018 w 1578711"/>
                <a:gd name="csY440" fmla="*/ 410822 h 892774"/>
                <a:gd name="csX441" fmla="*/ 301052 w 1578711"/>
                <a:gd name="csY441" fmla="*/ 410822 h 892774"/>
                <a:gd name="csX442" fmla="*/ 311860 w 1578711"/>
                <a:gd name="csY442" fmla="*/ 399487 h 892774"/>
                <a:gd name="csX443" fmla="*/ 308679 w 1578711"/>
                <a:gd name="csY443" fmla="*/ 392454 h 892774"/>
                <a:gd name="csX444" fmla="*/ 307965 w 1578711"/>
                <a:gd name="csY444" fmla="*/ 392454 h 892774"/>
                <a:gd name="csX445" fmla="*/ 307965 w 1578711"/>
                <a:gd name="csY445" fmla="*/ 369405 h 892774"/>
                <a:gd name="csX446" fmla="*/ 294194 w 1578711"/>
                <a:gd name="csY446" fmla="*/ 369405 h 892774"/>
                <a:gd name="csX447" fmla="*/ 294194 w 1578711"/>
                <a:gd name="csY447" fmla="*/ 392454 h 892774"/>
                <a:gd name="csX448" fmla="*/ 293426 w 1578711"/>
                <a:gd name="csY448" fmla="*/ 392454 h 892774"/>
                <a:gd name="csX449" fmla="*/ 290299 w 1578711"/>
                <a:gd name="csY449" fmla="*/ 399487 h 892774"/>
                <a:gd name="csX450" fmla="*/ 301052 w 1578711"/>
                <a:gd name="csY450" fmla="*/ 410822 h 892774"/>
                <a:gd name="csX451" fmla="*/ 225449 w 1578711"/>
                <a:gd name="csY451" fmla="*/ 444070 h 892774"/>
                <a:gd name="csX452" fmla="*/ 251017 w 1578711"/>
                <a:gd name="csY452" fmla="*/ 444070 h 892774"/>
                <a:gd name="csX453" fmla="*/ 251017 w 1578711"/>
                <a:gd name="csY453" fmla="*/ 442786 h 892774"/>
                <a:gd name="csX454" fmla="*/ 254527 w 1578711"/>
                <a:gd name="csY454" fmla="*/ 403882 h 892774"/>
                <a:gd name="csX455" fmla="*/ 263141 w 1578711"/>
                <a:gd name="csY455" fmla="*/ 410822 h 892774"/>
                <a:gd name="csX456" fmla="*/ 273895 w 1578711"/>
                <a:gd name="csY456" fmla="*/ 399487 h 892774"/>
                <a:gd name="csX457" fmla="*/ 270768 w 1578711"/>
                <a:gd name="csY457" fmla="*/ 392454 h 892774"/>
                <a:gd name="csX458" fmla="*/ 269999 w 1578711"/>
                <a:gd name="csY458" fmla="*/ 392454 h 892774"/>
                <a:gd name="csX459" fmla="*/ 269999 w 1578711"/>
                <a:gd name="csY459" fmla="*/ 369405 h 892774"/>
                <a:gd name="csX460" fmla="*/ 268079 w 1578711"/>
                <a:gd name="csY460" fmla="*/ 369405 h 892774"/>
                <a:gd name="csX461" fmla="*/ 269505 w 1578711"/>
                <a:gd name="csY461" fmla="*/ 367699 h 892774"/>
                <a:gd name="csX462" fmla="*/ 225449 w 1578711"/>
                <a:gd name="csY462" fmla="*/ 367699 h 892774"/>
                <a:gd name="csX463" fmla="*/ 289091 w 1578711"/>
                <a:gd name="csY463" fmla="*/ 28936 h 892774"/>
                <a:gd name="csX464" fmla="*/ 276363 w 1578711"/>
                <a:gd name="csY464" fmla="*/ 28936 h 892774"/>
                <a:gd name="csX465" fmla="*/ 276363 w 1578711"/>
                <a:gd name="csY465" fmla="*/ 6573 h 892774"/>
                <a:gd name="csX466" fmla="*/ 270109 w 1578711"/>
                <a:gd name="csY466" fmla="*/ 6573 h 892774"/>
                <a:gd name="csX467" fmla="*/ 270109 w 1578711"/>
                <a:gd name="csY467" fmla="*/ 148693 h 892774"/>
                <a:gd name="csX468" fmla="*/ 276363 w 1578711"/>
                <a:gd name="csY468" fmla="*/ 148693 h 892774"/>
                <a:gd name="csX469" fmla="*/ 276363 w 1578711"/>
                <a:gd name="csY469" fmla="*/ 121277 h 892774"/>
                <a:gd name="csX470" fmla="*/ 289091 w 1578711"/>
                <a:gd name="csY470" fmla="*/ 121277 h 892774"/>
                <a:gd name="csX471" fmla="*/ 312739 w 1578711"/>
                <a:gd name="csY471" fmla="*/ 28936 h 892774"/>
                <a:gd name="csX472" fmla="*/ 291506 w 1578711"/>
                <a:gd name="csY472" fmla="*/ 28936 h 892774"/>
                <a:gd name="csX473" fmla="*/ 291506 w 1578711"/>
                <a:gd name="csY473" fmla="*/ 121277 h 892774"/>
                <a:gd name="csX474" fmla="*/ 312739 w 1578711"/>
                <a:gd name="csY474" fmla="*/ 121277 h 892774"/>
                <a:gd name="csX475" fmla="*/ 336440 w 1578711"/>
                <a:gd name="csY475" fmla="*/ 28936 h 892774"/>
                <a:gd name="csX476" fmla="*/ 315208 w 1578711"/>
                <a:gd name="csY476" fmla="*/ 28936 h 892774"/>
                <a:gd name="csX477" fmla="*/ 315208 w 1578711"/>
                <a:gd name="csY477" fmla="*/ 121277 h 892774"/>
                <a:gd name="csX478" fmla="*/ 336440 w 1578711"/>
                <a:gd name="csY478" fmla="*/ 121277 h 892774"/>
                <a:gd name="csX479" fmla="*/ 357837 w 1578711"/>
                <a:gd name="csY479" fmla="*/ 6573 h 892774"/>
                <a:gd name="csX480" fmla="*/ 351636 w 1578711"/>
                <a:gd name="csY480" fmla="*/ 6573 h 892774"/>
                <a:gd name="csX481" fmla="*/ 351636 w 1578711"/>
                <a:gd name="csY481" fmla="*/ 28936 h 892774"/>
                <a:gd name="csX482" fmla="*/ 338908 w 1578711"/>
                <a:gd name="csY482" fmla="*/ 28936 h 892774"/>
                <a:gd name="csX483" fmla="*/ 338908 w 1578711"/>
                <a:gd name="csY483" fmla="*/ 121277 h 892774"/>
                <a:gd name="csX484" fmla="*/ 351636 w 1578711"/>
                <a:gd name="csY484" fmla="*/ 121277 h 892774"/>
                <a:gd name="csX485" fmla="*/ 351636 w 1578711"/>
                <a:gd name="csY485" fmla="*/ 148693 h 892774"/>
                <a:gd name="csX486" fmla="*/ 357837 w 1578711"/>
                <a:gd name="csY486" fmla="*/ 148693 h 892774"/>
                <a:gd name="csX487" fmla="*/ 353447 w 1578711"/>
                <a:gd name="csY487" fmla="*/ 154437 h 892774"/>
                <a:gd name="csX488" fmla="*/ 270109 w 1578711"/>
                <a:gd name="csY488" fmla="*/ 154437 h 892774"/>
                <a:gd name="csX489" fmla="*/ 261385 w 1578711"/>
                <a:gd name="csY489" fmla="*/ 182813 h 892774"/>
                <a:gd name="csX490" fmla="*/ 311805 w 1578711"/>
                <a:gd name="csY490" fmla="*/ 233233 h 892774"/>
                <a:gd name="csX491" fmla="*/ 362226 w 1578711"/>
                <a:gd name="csY491" fmla="*/ 182813 h 892774"/>
                <a:gd name="csX492" fmla="*/ 353447 w 1578711"/>
                <a:gd name="csY492" fmla="*/ 154437 h 892774"/>
                <a:gd name="csX493" fmla="*/ 406665 w 1578711"/>
                <a:gd name="csY493" fmla="*/ 28936 h 892774"/>
                <a:gd name="csX494" fmla="*/ 392127 w 1578711"/>
                <a:gd name="csY494" fmla="*/ 28936 h 892774"/>
                <a:gd name="csX495" fmla="*/ 392127 w 1578711"/>
                <a:gd name="csY495" fmla="*/ 6573 h 892774"/>
                <a:gd name="csX496" fmla="*/ 387079 w 1578711"/>
                <a:gd name="csY496" fmla="*/ 6573 h 892774"/>
                <a:gd name="csX497" fmla="*/ 387079 w 1578711"/>
                <a:gd name="csY497" fmla="*/ 823 h 892774"/>
                <a:gd name="csX498" fmla="*/ 386749 w 1578711"/>
                <a:gd name="csY498" fmla="*/ 823 h 892774"/>
                <a:gd name="csX499" fmla="*/ 386749 w 1578711"/>
                <a:gd name="csY499" fmla="*/ 154437 h 892774"/>
                <a:gd name="csX500" fmla="*/ 387079 w 1578711"/>
                <a:gd name="csY500" fmla="*/ 154437 h 892774"/>
                <a:gd name="csX501" fmla="*/ 387079 w 1578711"/>
                <a:gd name="csY501" fmla="*/ 148693 h 892774"/>
                <a:gd name="csX502" fmla="*/ 392127 w 1578711"/>
                <a:gd name="csY502" fmla="*/ 148693 h 892774"/>
                <a:gd name="csX503" fmla="*/ 392127 w 1578711"/>
                <a:gd name="csY503" fmla="*/ 121277 h 892774"/>
                <a:gd name="csX504" fmla="*/ 406665 w 1578711"/>
                <a:gd name="csY504" fmla="*/ 121277 h 892774"/>
                <a:gd name="csX505" fmla="*/ 431519 w 1578711"/>
                <a:gd name="csY505" fmla="*/ 28936 h 892774"/>
                <a:gd name="csX506" fmla="*/ 409080 w 1578711"/>
                <a:gd name="csY506" fmla="*/ 28936 h 892774"/>
                <a:gd name="csX507" fmla="*/ 409080 w 1578711"/>
                <a:gd name="csY507" fmla="*/ 121277 h 892774"/>
                <a:gd name="csX508" fmla="*/ 431519 w 1578711"/>
                <a:gd name="csY508" fmla="*/ 121277 h 892774"/>
                <a:gd name="csX509" fmla="*/ 456372 w 1578711"/>
                <a:gd name="csY509" fmla="*/ 28936 h 892774"/>
                <a:gd name="csX510" fmla="*/ 433932 w 1578711"/>
                <a:gd name="csY510" fmla="*/ 28936 h 892774"/>
                <a:gd name="csX511" fmla="*/ 433932 w 1578711"/>
                <a:gd name="csY511" fmla="*/ 121277 h 892774"/>
                <a:gd name="csX512" fmla="*/ 456372 w 1578711"/>
                <a:gd name="csY512" fmla="*/ 121277 h 892774"/>
                <a:gd name="csX513" fmla="*/ 478757 w 1578711"/>
                <a:gd name="csY513" fmla="*/ 6573 h 892774"/>
                <a:gd name="csX514" fmla="*/ 473325 w 1578711"/>
                <a:gd name="csY514" fmla="*/ 6573 h 892774"/>
                <a:gd name="csX515" fmla="*/ 473325 w 1578711"/>
                <a:gd name="csY515" fmla="*/ 28936 h 892774"/>
                <a:gd name="csX516" fmla="*/ 458786 w 1578711"/>
                <a:gd name="csY516" fmla="*/ 28936 h 892774"/>
                <a:gd name="csX517" fmla="*/ 458786 w 1578711"/>
                <a:gd name="csY517" fmla="*/ 121277 h 892774"/>
                <a:gd name="csX518" fmla="*/ 473325 w 1578711"/>
                <a:gd name="csY518" fmla="*/ 121277 h 892774"/>
                <a:gd name="csX519" fmla="*/ 473325 w 1578711"/>
                <a:gd name="csY519" fmla="*/ 148693 h 892774"/>
                <a:gd name="csX520" fmla="*/ 478757 w 1578711"/>
                <a:gd name="csY520" fmla="*/ 148693 h 892774"/>
                <a:gd name="csX521" fmla="*/ 473600 w 1578711"/>
                <a:gd name="csY521" fmla="*/ 154437 h 892774"/>
                <a:gd name="csX522" fmla="*/ 390261 w 1578711"/>
                <a:gd name="csY522" fmla="*/ 154437 h 892774"/>
                <a:gd name="csX523" fmla="*/ 381537 w 1578711"/>
                <a:gd name="csY523" fmla="*/ 182813 h 892774"/>
                <a:gd name="csX524" fmla="*/ 431958 w 1578711"/>
                <a:gd name="csY524" fmla="*/ 233233 h 892774"/>
                <a:gd name="csX525" fmla="*/ 482378 w 1578711"/>
                <a:gd name="csY525" fmla="*/ 182813 h 892774"/>
                <a:gd name="csX526" fmla="*/ 473600 w 1578711"/>
                <a:gd name="csY526" fmla="*/ 154437 h 892774"/>
                <a:gd name="csX527" fmla="*/ 523417 w 1578711"/>
                <a:gd name="csY527" fmla="*/ 823 h 892774"/>
                <a:gd name="csX528" fmla="*/ 507670 w 1578711"/>
                <a:gd name="csY528" fmla="*/ 823 h 892774"/>
                <a:gd name="csX529" fmla="*/ 507670 w 1578711"/>
                <a:gd name="csY529" fmla="*/ 260210 h 892774"/>
                <a:gd name="csX530" fmla="*/ 241196 w 1578711"/>
                <a:gd name="csY530" fmla="*/ 260210 h 892774"/>
                <a:gd name="csX531" fmla="*/ 241196 w 1578711"/>
                <a:gd name="csY531" fmla="*/ 154437 h 892774"/>
                <a:gd name="csX532" fmla="*/ 241196 w 1578711"/>
                <a:gd name="csY532" fmla="*/ 823 h 892774"/>
                <a:gd name="csX533" fmla="*/ 225449 w 1578711"/>
                <a:gd name="csY533" fmla="*/ 823 h 892774"/>
                <a:gd name="csX534" fmla="*/ 225449 w 1578711"/>
                <a:gd name="csY534" fmla="*/ 320708 h 892774"/>
                <a:gd name="csX535" fmla="*/ 238672 w 1578711"/>
                <a:gd name="csY535" fmla="*/ 320708 h 892774"/>
                <a:gd name="csX536" fmla="*/ 238672 w 1578711"/>
                <a:gd name="csY536" fmla="*/ 345600 h 892774"/>
                <a:gd name="csX537" fmla="*/ 249041 w 1578711"/>
                <a:gd name="csY537" fmla="*/ 355975 h 892774"/>
                <a:gd name="csX538" fmla="*/ 259465 w 1578711"/>
                <a:gd name="csY538" fmla="*/ 345600 h 892774"/>
                <a:gd name="csX539" fmla="*/ 259465 w 1578711"/>
                <a:gd name="csY539" fmla="*/ 320708 h 892774"/>
                <a:gd name="csX540" fmla="*/ 273895 w 1578711"/>
                <a:gd name="csY540" fmla="*/ 320708 h 892774"/>
                <a:gd name="csX541" fmla="*/ 273895 w 1578711"/>
                <a:gd name="csY541" fmla="*/ 345600 h 892774"/>
                <a:gd name="csX542" fmla="*/ 284264 w 1578711"/>
                <a:gd name="csY542" fmla="*/ 355975 h 892774"/>
                <a:gd name="csX543" fmla="*/ 294634 w 1578711"/>
                <a:gd name="csY543" fmla="*/ 345600 h 892774"/>
                <a:gd name="csX544" fmla="*/ 294634 w 1578711"/>
                <a:gd name="csY544" fmla="*/ 320708 h 892774"/>
                <a:gd name="csX545" fmla="*/ 309117 w 1578711"/>
                <a:gd name="csY545" fmla="*/ 320708 h 892774"/>
                <a:gd name="csX546" fmla="*/ 309117 w 1578711"/>
                <a:gd name="csY546" fmla="*/ 345600 h 892774"/>
                <a:gd name="csX547" fmla="*/ 319486 w 1578711"/>
                <a:gd name="csY547" fmla="*/ 355975 h 892774"/>
                <a:gd name="csX548" fmla="*/ 329856 w 1578711"/>
                <a:gd name="csY548" fmla="*/ 345600 h 892774"/>
                <a:gd name="csX549" fmla="*/ 329856 w 1578711"/>
                <a:gd name="csY549" fmla="*/ 320708 h 892774"/>
                <a:gd name="csX550" fmla="*/ 344286 w 1578711"/>
                <a:gd name="csY550" fmla="*/ 320708 h 892774"/>
                <a:gd name="csX551" fmla="*/ 344286 w 1578711"/>
                <a:gd name="csY551" fmla="*/ 345600 h 892774"/>
                <a:gd name="csX552" fmla="*/ 354654 w 1578711"/>
                <a:gd name="csY552" fmla="*/ 355975 h 892774"/>
                <a:gd name="csX553" fmla="*/ 365023 w 1578711"/>
                <a:gd name="csY553" fmla="*/ 345600 h 892774"/>
                <a:gd name="csX554" fmla="*/ 365023 w 1578711"/>
                <a:gd name="csY554" fmla="*/ 320708 h 892774"/>
                <a:gd name="csX555" fmla="*/ 379508 w 1578711"/>
                <a:gd name="csY555" fmla="*/ 320708 h 892774"/>
                <a:gd name="csX556" fmla="*/ 379508 w 1578711"/>
                <a:gd name="csY556" fmla="*/ 345600 h 892774"/>
                <a:gd name="csX557" fmla="*/ 389877 w 1578711"/>
                <a:gd name="csY557" fmla="*/ 355975 h 892774"/>
                <a:gd name="csX558" fmla="*/ 400247 w 1578711"/>
                <a:gd name="csY558" fmla="*/ 345600 h 892774"/>
                <a:gd name="csX559" fmla="*/ 400247 w 1578711"/>
                <a:gd name="csY559" fmla="*/ 320708 h 892774"/>
                <a:gd name="csX560" fmla="*/ 414730 w 1578711"/>
                <a:gd name="csY560" fmla="*/ 320708 h 892774"/>
                <a:gd name="csX561" fmla="*/ 414730 w 1578711"/>
                <a:gd name="csY561" fmla="*/ 345600 h 892774"/>
                <a:gd name="csX562" fmla="*/ 425100 w 1578711"/>
                <a:gd name="csY562" fmla="*/ 355975 h 892774"/>
                <a:gd name="csX563" fmla="*/ 435469 w 1578711"/>
                <a:gd name="csY563" fmla="*/ 345600 h 892774"/>
                <a:gd name="csX564" fmla="*/ 435469 w 1578711"/>
                <a:gd name="csY564" fmla="*/ 320708 h 892774"/>
                <a:gd name="csX565" fmla="*/ 449899 w 1578711"/>
                <a:gd name="csY565" fmla="*/ 320708 h 892774"/>
                <a:gd name="csX566" fmla="*/ 449899 w 1578711"/>
                <a:gd name="csY566" fmla="*/ 345600 h 892774"/>
                <a:gd name="csX567" fmla="*/ 460267 w 1578711"/>
                <a:gd name="csY567" fmla="*/ 355975 h 892774"/>
                <a:gd name="csX568" fmla="*/ 470637 w 1578711"/>
                <a:gd name="csY568" fmla="*/ 345600 h 892774"/>
                <a:gd name="csX569" fmla="*/ 470637 w 1578711"/>
                <a:gd name="csY569" fmla="*/ 320708 h 892774"/>
                <a:gd name="csX570" fmla="*/ 485121 w 1578711"/>
                <a:gd name="csY570" fmla="*/ 320708 h 892774"/>
                <a:gd name="csX571" fmla="*/ 485121 w 1578711"/>
                <a:gd name="csY571" fmla="*/ 345600 h 892774"/>
                <a:gd name="csX572" fmla="*/ 495491 w 1578711"/>
                <a:gd name="csY572" fmla="*/ 355975 h 892774"/>
                <a:gd name="csX573" fmla="*/ 505860 w 1578711"/>
                <a:gd name="csY573" fmla="*/ 345600 h 892774"/>
                <a:gd name="csX574" fmla="*/ 505860 w 1578711"/>
                <a:gd name="csY574" fmla="*/ 320708 h 892774"/>
                <a:gd name="csX575" fmla="*/ 523417 w 1578711"/>
                <a:gd name="csY575" fmla="*/ 320708 h 892774"/>
                <a:gd name="csX576" fmla="*/ 523417 w 1578711"/>
                <a:gd name="csY576" fmla="*/ 48478 h 892774"/>
                <a:gd name="csX577" fmla="*/ 537022 w 1578711"/>
                <a:gd name="csY577" fmla="*/ 48478 h 892774"/>
                <a:gd name="csX578" fmla="*/ 537022 w 1578711"/>
                <a:gd name="csY578" fmla="*/ 507388 h 892774"/>
                <a:gd name="csX579" fmla="*/ 570929 w 1578711"/>
                <a:gd name="csY579" fmla="*/ 507388 h 892774"/>
                <a:gd name="csX580" fmla="*/ 570929 w 1578711"/>
                <a:gd name="csY580" fmla="*/ 48478 h 892774"/>
                <a:gd name="csX581" fmla="*/ 661180 w 1578711"/>
                <a:gd name="csY581" fmla="*/ 140057 h 892774"/>
                <a:gd name="csX582" fmla="*/ 661180 w 1578711"/>
                <a:gd name="csY582" fmla="*/ 154437 h 892774"/>
                <a:gd name="csX583" fmla="*/ 688557 w 1578711"/>
                <a:gd name="csY583" fmla="*/ 154437 h 892774"/>
                <a:gd name="csX584" fmla="*/ 688557 w 1578711"/>
                <a:gd name="csY584" fmla="*/ 140057 h 892774"/>
                <a:gd name="csX585" fmla="*/ 686417 w 1578711"/>
                <a:gd name="csY585" fmla="*/ 126127 h 892774"/>
                <a:gd name="csX586" fmla="*/ 686417 w 1578711"/>
                <a:gd name="csY586" fmla="*/ 27586 h 892774"/>
                <a:gd name="csX587" fmla="*/ 663374 w 1578711"/>
                <a:gd name="csY587" fmla="*/ 27586 h 892774"/>
                <a:gd name="csX588" fmla="*/ 663374 w 1578711"/>
                <a:gd name="csY588" fmla="*/ 126127 h 892774"/>
                <a:gd name="csX589" fmla="*/ 775626 w 1578711"/>
                <a:gd name="csY589" fmla="*/ 955 h 892774"/>
                <a:gd name="csX590" fmla="*/ 775626 w 1578711"/>
                <a:gd name="csY590" fmla="*/ 125672 h 892774"/>
                <a:gd name="csX591" fmla="*/ 746603 w 1578711"/>
                <a:gd name="csY591" fmla="*/ 125672 h 892774"/>
                <a:gd name="csX592" fmla="*/ 746603 w 1578711"/>
                <a:gd name="csY592" fmla="*/ 140057 h 892774"/>
                <a:gd name="csX593" fmla="*/ 807118 w 1578711"/>
                <a:gd name="csY593" fmla="*/ 140057 h 892774"/>
                <a:gd name="csX594" fmla="*/ 807118 w 1578711"/>
                <a:gd name="csY594" fmla="*/ 125672 h 892774"/>
                <a:gd name="csX595" fmla="*/ 778095 w 1578711"/>
                <a:gd name="csY595" fmla="*/ 125672 h 892774"/>
                <a:gd name="csX596" fmla="*/ 778095 w 1578711"/>
                <a:gd name="csY596" fmla="*/ 955 h 892774"/>
                <a:gd name="csX597" fmla="*/ 807118 w 1578711"/>
                <a:gd name="csY597" fmla="*/ 144254 h 892774"/>
                <a:gd name="csX598" fmla="*/ 746603 w 1578711"/>
                <a:gd name="csY598" fmla="*/ 144254 h 892774"/>
                <a:gd name="csX599" fmla="*/ 746603 w 1578711"/>
                <a:gd name="csY599" fmla="*/ 154437 h 892774"/>
                <a:gd name="csX600" fmla="*/ 807118 w 1578711"/>
                <a:gd name="csY600" fmla="*/ 154437 h 892774"/>
                <a:gd name="csX601" fmla="*/ 863957 w 1578711"/>
                <a:gd name="csY601" fmla="*/ 140057 h 892774"/>
                <a:gd name="csX602" fmla="*/ 863957 w 1578711"/>
                <a:gd name="csY602" fmla="*/ 154437 h 892774"/>
                <a:gd name="csX603" fmla="*/ 893035 w 1578711"/>
                <a:gd name="csY603" fmla="*/ 154437 h 892774"/>
                <a:gd name="csX604" fmla="*/ 893035 w 1578711"/>
                <a:gd name="csY604" fmla="*/ 140057 h 892774"/>
                <a:gd name="csX605" fmla="*/ 890017 w 1578711"/>
                <a:gd name="csY605" fmla="*/ 126127 h 892774"/>
                <a:gd name="csX606" fmla="*/ 890017 w 1578711"/>
                <a:gd name="csY606" fmla="*/ 27586 h 892774"/>
                <a:gd name="csX607" fmla="*/ 866974 w 1578711"/>
                <a:gd name="csY607" fmla="*/ 27586 h 892774"/>
                <a:gd name="csX608" fmla="*/ 866974 w 1578711"/>
                <a:gd name="csY608" fmla="*/ 126127 h 892774"/>
                <a:gd name="csX609" fmla="*/ 899838 w 1578711"/>
                <a:gd name="csY609" fmla="*/ 955 h 892774"/>
                <a:gd name="csX610" fmla="*/ 899838 w 1578711"/>
                <a:gd name="csY610" fmla="*/ 168043 h 892774"/>
                <a:gd name="csX611" fmla="*/ 878496 w 1578711"/>
                <a:gd name="csY611" fmla="*/ 189363 h 892774"/>
                <a:gd name="csX612" fmla="*/ 857208 w 1578711"/>
                <a:gd name="csY612" fmla="*/ 168043 h 892774"/>
                <a:gd name="csX613" fmla="*/ 857208 w 1578711"/>
                <a:gd name="csY613" fmla="*/ 955 h 892774"/>
                <a:gd name="csX614" fmla="*/ 850899 w 1578711"/>
                <a:gd name="csY614" fmla="*/ 955 h 892774"/>
                <a:gd name="csX615" fmla="*/ 850899 w 1578711"/>
                <a:gd name="csY615" fmla="*/ 12356 h 892774"/>
                <a:gd name="csX616" fmla="*/ 845523 w 1578711"/>
                <a:gd name="csY616" fmla="*/ 12356 h 892774"/>
                <a:gd name="csX617" fmla="*/ 845523 w 1578711"/>
                <a:gd name="csY617" fmla="*/ 140057 h 892774"/>
                <a:gd name="csX618" fmla="*/ 850899 w 1578711"/>
                <a:gd name="csY618" fmla="*/ 140057 h 892774"/>
                <a:gd name="csX619" fmla="*/ 850899 w 1578711"/>
                <a:gd name="csY619" fmla="*/ 157477 h 892774"/>
                <a:gd name="csX620" fmla="*/ 817871 w 1578711"/>
                <a:gd name="csY620" fmla="*/ 157477 h 892774"/>
                <a:gd name="csX621" fmla="*/ 817871 w 1578711"/>
                <a:gd name="csY621" fmla="*/ 140057 h 892774"/>
                <a:gd name="csX622" fmla="*/ 823248 w 1578711"/>
                <a:gd name="csY622" fmla="*/ 140057 h 892774"/>
                <a:gd name="csX623" fmla="*/ 823248 w 1578711"/>
                <a:gd name="csY623" fmla="*/ 12356 h 892774"/>
                <a:gd name="csX624" fmla="*/ 817871 w 1578711"/>
                <a:gd name="csY624" fmla="*/ 12356 h 892774"/>
                <a:gd name="csX625" fmla="*/ 817871 w 1578711"/>
                <a:gd name="csY625" fmla="*/ 955 h 892774"/>
                <a:gd name="csX626" fmla="*/ 810848 w 1578711"/>
                <a:gd name="csY626" fmla="*/ 955 h 892774"/>
                <a:gd name="csX627" fmla="*/ 810848 w 1578711"/>
                <a:gd name="csY627" fmla="*/ 181496 h 892774"/>
                <a:gd name="csX628" fmla="*/ 776832 w 1578711"/>
                <a:gd name="csY628" fmla="*/ 215506 h 892774"/>
                <a:gd name="csX629" fmla="*/ 742817 w 1578711"/>
                <a:gd name="csY629" fmla="*/ 181496 h 892774"/>
                <a:gd name="csX630" fmla="*/ 742817 w 1578711"/>
                <a:gd name="csY630" fmla="*/ 955 h 892774"/>
                <a:gd name="csX631" fmla="*/ 735466 w 1578711"/>
                <a:gd name="csY631" fmla="*/ 955 h 892774"/>
                <a:gd name="csX632" fmla="*/ 735466 w 1578711"/>
                <a:gd name="csY632" fmla="*/ 12356 h 892774"/>
                <a:gd name="csX633" fmla="*/ 730089 w 1578711"/>
                <a:gd name="csY633" fmla="*/ 12356 h 892774"/>
                <a:gd name="csX634" fmla="*/ 730089 w 1578711"/>
                <a:gd name="csY634" fmla="*/ 140057 h 892774"/>
                <a:gd name="csX635" fmla="*/ 735466 w 1578711"/>
                <a:gd name="csY635" fmla="*/ 140057 h 892774"/>
                <a:gd name="csX636" fmla="*/ 735466 w 1578711"/>
                <a:gd name="csY636" fmla="*/ 157477 h 892774"/>
                <a:gd name="csX637" fmla="*/ 702437 w 1578711"/>
                <a:gd name="csY637" fmla="*/ 157477 h 892774"/>
                <a:gd name="csX638" fmla="*/ 702437 w 1578711"/>
                <a:gd name="csY638" fmla="*/ 140057 h 892774"/>
                <a:gd name="csX639" fmla="*/ 707814 w 1578711"/>
                <a:gd name="csY639" fmla="*/ 140057 h 892774"/>
                <a:gd name="csX640" fmla="*/ 707814 w 1578711"/>
                <a:gd name="csY640" fmla="*/ 12356 h 892774"/>
                <a:gd name="csX641" fmla="*/ 702437 w 1578711"/>
                <a:gd name="csY641" fmla="*/ 12356 h 892774"/>
                <a:gd name="csX642" fmla="*/ 702437 w 1578711"/>
                <a:gd name="csY642" fmla="*/ 955 h 892774"/>
                <a:gd name="csX643" fmla="*/ 696182 w 1578711"/>
                <a:gd name="csY643" fmla="*/ 955 h 892774"/>
                <a:gd name="csX644" fmla="*/ 696182 w 1578711"/>
                <a:gd name="csY644" fmla="*/ 168043 h 892774"/>
                <a:gd name="csX645" fmla="*/ 674896 w 1578711"/>
                <a:gd name="csY645" fmla="*/ 189363 h 892774"/>
                <a:gd name="csX646" fmla="*/ 653554 w 1578711"/>
                <a:gd name="csY646" fmla="*/ 168043 h 892774"/>
                <a:gd name="csX647" fmla="*/ 653554 w 1578711"/>
                <a:gd name="csY647" fmla="*/ 955 h 892774"/>
                <a:gd name="csX648" fmla="*/ 647628 w 1578711"/>
                <a:gd name="csY648" fmla="*/ 955 h 892774"/>
                <a:gd name="csX649" fmla="*/ 647628 w 1578711"/>
                <a:gd name="csY649" fmla="*/ 12356 h 892774"/>
                <a:gd name="csX650" fmla="*/ 642252 w 1578711"/>
                <a:gd name="csY650" fmla="*/ 12356 h 892774"/>
                <a:gd name="csX651" fmla="*/ 642252 w 1578711"/>
                <a:gd name="csY651" fmla="*/ 140057 h 892774"/>
                <a:gd name="csX652" fmla="*/ 647628 w 1578711"/>
                <a:gd name="csY652" fmla="*/ 140057 h 892774"/>
                <a:gd name="csX653" fmla="*/ 647628 w 1578711"/>
                <a:gd name="csY653" fmla="*/ 157477 h 892774"/>
                <a:gd name="csX654" fmla="*/ 632870 w 1578711"/>
                <a:gd name="csY654" fmla="*/ 157477 h 892774"/>
                <a:gd name="csX655" fmla="*/ 632870 w 1578711"/>
                <a:gd name="csY655" fmla="*/ 192304 h 892774"/>
                <a:gd name="csX656" fmla="*/ 633034 w 1578711"/>
                <a:gd name="csY656" fmla="*/ 192304 h 892774"/>
                <a:gd name="csX657" fmla="*/ 776832 w 1578711"/>
                <a:gd name="csY657" fmla="*/ 330485 h 892774"/>
                <a:gd name="csX658" fmla="*/ 920687 w 1578711"/>
                <a:gd name="csY658" fmla="*/ 192304 h 892774"/>
                <a:gd name="csX659" fmla="*/ 920851 w 1578711"/>
                <a:gd name="csY659" fmla="*/ 192304 h 892774"/>
                <a:gd name="csX660" fmla="*/ 920851 w 1578711"/>
                <a:gd name="csY660" fmla="*/ 157477 h 892774"/>
                <a:gd name="csX661" fmla="*/ 906093 w 1578711"/>
                <a:gd name="csY661" fmla="*/ 157477 h 892774"/>
                <a:gd name="csX662" fmla="*/ 906093 w 1578711"/>
                <a:gd name="csY662" fmla="*/ 140057 h 892774"/>
                <a:gd name="csX663" fmla="*/ 911414 w 1578711"/>
                <a:gd name="csY663" fmla="*/ 140057 h 892774"/>
                <a:gd name="csX664" fmla="*/ 911414 w 1578711"/>
                <a:gd name="csY664" fmla="*/ 12356 h 892774"/>
                <a:gd name="csX665" fmla="*/ 906093 w 1578711"/>
                <a:gd name="csY665" fmla="*/ 12356 h 892774"/>
                <a:gd name="csX666" fmla="*/ 906093 w 1578711"/>
                <a:gd name="csY666" fmla="*/ 955 h 892774"/>
                <a:gd name="csX667" fmla="*/ 969241 w 1578711"/>
                <a:gd name="csY667" fmla="*/ 955 h 892774"/>
                <a:gd name="csX668" fmla="*/ 939066 w 1578711"/>
                <a:gd name="csY668" fmla="*/ 955 h 892774"/>
                <a:gd name="csX669" fmla="*/ 939066 w 1578711"/>
                <a:gd name="csY669" fmla="*/ 12356 h 892774"/>
                <a:gd name="csX670" fmla="*/ 933744 w 1578711"/>
                <a:gd name="csY670" fmla="*/ 12356 h 892774"/>
                <a:gd name="csX671" fmla="*/ 933744 w 1578711"/>
                <a:gd name="csY671" fmla="*/ 140057 h 892774"/>
                <a:gd name="csX672" fmla="*/ 939066 w 1578711"/>
                <a:gd name="csY672" fmla="*/ 140057 h 892774"/>
                <a:gd name="csX673" fmla="*/ 939066 w 1578711"/>
                <a:gd name="csY673" fmla="*/ 157477 h 892774"/>
                <a:gd name="csX674" fmla="*/ 939066 w 1578711"/>
                <a:gd name="csY674" fmla="*/ 378046 h 892774"/>
                <a:gd name="csX675" fmla="*/ 614600 w 1578711"/>
                <a:gd name="csY675" fmla="*/ 378046 h 892774"/>
                <a:gd name="csX676" fmla="*/ 614600 w 1578711"/>
                <a:gd name="csY676" fmla="*/ 157477 h 892774"/>
                <a:gd name="csX677" fmla="*/ 614600 w 1578711"/>
                <a:gd name="csY677" fmla="*/ 140057 h 892774"/>
                <a:gd name="csX678" fmla="*/ 619977 w 1578711"/>
                <a:gd name="csY678" fmla="*/ 140057 h 892774"/>
                <a:gd name="csX679" fmla="*/ 619977 w 1578711"/>
                <a:gd name="csY679" fmla="*/ 12356 h 892774"/>
                <a:gd name="csX680" fmla="*/ 614600 w 1578711"/>
                <a:gd name="csY680" fmla="*/ 12356 h 892774"/>
                <a:gd name="csX681" fmla="*/ 614600 w 1578711"/>
                <a:gd name="csY681" fmla="*/ 955 h 892774"/>
                <a:gd name="csX682" fmla="*/ 584480 w 1578711"/>
                <a:gd name="csY682" fmla="*/ 955 h 892774"/>
                <a:gd name="csX683" fmla="*/ 584480 w 1578711"/>
                <a:gd name="csY683" fmla="*/ 48478 h 892774"/>
                <a:gd name="csX684" fmla="*/ 584480 w 1578711"/>
                <a:gd name="csY684" fmla="*/ 399646 h 892774"/>
                <a:gd name="csX685" fmla="*/ 969241 w 1578711"/>
                <a:gd name="csY685" fmla="*/ 399646 h 892774"/>
                <a:gd name="csX686" fmla="*/ 969241 w 1578711"/>
                <a:gd name="csY686" fmla="*/ 48478 h 892774"/>
                <a:gd name="csX687" fmla="*/ 982792 w 1578711"/>
                <a:gd name="csY687" fmla="*/ 48478 h 892774"/>
                <a:gd name="csX688" fmla="*/ 982792 w 1578711"/>
                <a:gd name="csY688" fmla="*/ 507388 h 892774"/>
                <a:gd name="csX689" fmla="*/ 1016699 w 1578711"/>
                <a:gd name="csY689" fmla="*/ 507388 h 892774"/>
                <a:gd name="csX690" fmla="*/ 1016699 w 1578711"/>
                <a:gd name="csY690" fmla="*/ 48478 h 892774"/>
                <a:gd name="csX691" fmla="*/ 1094880 w 1578711"/>
                <a:gd name="csY691" fmla="*/ 28936 h 892774"/>
                <a:gd name="csX692" fmla="*/ 1080395 w 1578711"/>
                <a:gd name="csY692" fmla="*/ 28936 h 892774"/>
                <a:gd name="csX693" fmla="*/ 1080395 w 1578711"/>
                <a:gd name="csY693" fmla="*/ 6573 h 892774"/>
                <a:gd name="csX694" fmla="*/ 1074964 w 1578711"/>
                <a:gd name="csY694" fmla="*/ 6573 h 892774"/>
                <a:gd name="csX695" fmla="*/ 1074964 w 1578711"/>
                <a:gd name="csY695" fmla="*/ 148693 h 892774"/>
                <a:gd name="csX696" fmla="*/ 1080395 w 1578711"/>
                <a:gd name="csY696" fmla="*/ 148693 h 892774"/>
                <a:gd name="csX697" fmla="*/ 1080395 w 1578711"/>
                <a:gd name="csY697" fmla="*/ 121277 h 892774"/>
                <a:gd name="csX698" fmla="*/ 1094880 w 1578711"/>
                <a:gd name="csY698" fmla="*/ 121277 h 892774"/>
                <a:gd name="csX699" fmla="*/ 1119733 w 1578711"/>
                <a:gd name="csY699" fmla="*/ 28936 h 892774"/>
                <a:gd name="csX700" fmla="*/ 1097349 w 1578711"/>
                <a:gd name="csY700" fmla="*/ 28936 h 892774"/>
                <a:gd name="csX701" fmla="*/ 1097349 w 1578711"/>
                <a:gd name="csY701" fmla="*/ 121277 h 892774"/>
                <a:gd name="csX702" fmla="*/ 1119733 w 1578711"/>
                <a:gd name="csY702" fmla="*/ 121277 h 892774"/>
                <a:gd name="csX703" fmla="*/ 1144586 w 1578711"/>
                <a:gd name="csY703" fmla="*/ 28936 h 892774"/>
                <a:gd name="csX704" fmla="*/ 1122201 w 1578711"/>
                <a:gd name="csY704" fmla="*/ 28936 h 892774"/>
                <a:gd name="csX705" fmla="*/ 1122201 w 1578711"/>
                <a:gd name="csY705" fmla="*/ 121277 h 892774"/>
                <a:gd name="csX706" fmla="*/ 1144586 w 1578711"/>
                <a:gd name="csY706" fmla="*/ 121277 h 892774"/>
                <a:gd name="csX707" fmla="*/ 1166971 w 1578711"/>
                <a:gd name="csY707" fmla="*/ 823 h 892774"/>
                <a:gd name="csX708" fmla="*/ 1166641 w 1578711"/>
                <a:gd name="csY708" fmla="*/ 823 h 892774"/>
                <a:gd name="csX709" fmla="*/ 1166641 w 1578711"/>
                <a:gd name="csY709" fmla="*/ 6573 h 892774"/>
                <a:gd name="csX710" fmla="*/ 1161594 w 1578711"/>
                <a:gd name="csY710" fmla="*/ 6573 h 892774"/>
                <a:gd name="csX711" fmla="*/ 1161594 w 1578711"/>
                <a:gd name="csY711" fmla="*/ 28936 h 892774"/>
                <a:gd name="csX712" fmla="*/ 1147055 w 1578711"/>
                <a:gd name="csY712" fmla="*/ 28936 h 892774"/>
                <a:gd name="csX713" fmla="*/ 1147055 w 1578711"/>
                <a:gd name="csY713" fmla="*/ 121277 h 892774"/>
                <a:gd name="csX714" fmla="*/ 1161594 w 1578711"/>
                <a:gd name="csY714" fmla="*/ 121277 h 892774"/>
                <a:gd name="csX715" fmla="*/ 1161594 w 1578711"/>
                <a:gd name="csY715" fmla="*/ 148693 h 892774"/>
                <a:gd name="csX716" fmla="*/ 1166641 w 1578711"/>
                <a:gd name="csY716" fmla="*/ 148693 h 892774"/>
                <a:gd name="csX717" fmla="*/ 1166641 w 1578711"/>
                <a:gd name="csY717" fmla="*/ 154437 h 892774"/>
                <a:gd name="csX718" fmla="*/ 1166971 w 1578711"/>
                <a:gd name="csY718" fmla="*/ 154437 h 892774"/>
                <a:gd name="csX719" fmla="*/ 1163460 w 1578711"/>
                <a:gd name="csY719" fmla="*/ 154437 h 892774"/>
                <a:gd name="csX720" fmla="*/ 1080121 w 1578711"/>
                <a:gd name="csY720" fmla="*/ 154437 h 892774"/>
                <a:gd name="csX721" fmla="*/ 1071343 w 1578711"/>
                <a:gd name="csY721" fmla="*/ 182813 h 892774"/>
                <a:gd name="csX722" fmla="*/ 1121763 w 1578711"/>
                <a:gd name="csY722" fmla="*/ 233233 h 892774"/>
                <a:gd name="csX723" fmla="*/ 1172183 w 1578711"/>
                <a:gd name="csY723" fmla="*/ 182813 h 892774"/>
                <a:gd name="csX724" fmla="*/ 1163460 w 1578711"/>
                <a:gd name="csY724" fmla="*/ 154437 h 892774"/>
                <a:gd name="csX725" fmla="*/ 1214812 w 1578711"/>
                <a:gd name="csY725" fmla="*/ 28936 h 892774"/>
                <a:gd name="csX726" fmla="*/ 1202084 w 1578711"/>
                <a:gd name="csY726" fmla="*/ 28936 h 892774"/>
                <a:gd name="csX727" fmla="*/ 1202084 w 1578711"/>
                <a:gd name="csY727" fmla="*/ 6573 h 892774"/>
                <a:gd name="csX728" fmla="*/ 1195884 w 1578711"/>
                <a:gd name="csY728" fmla="*/ 6573 h 892774"/>
                <a:gd name="csX729" fmla="*/ 1195884 w 1578711"/>
                <a:gd name="csY729" fmla="*/ 148693 h 892774"/>
                <a:gd name="csX730" fmla="*/ 1202084 w 1578711"/>
                <a:gd name="csY730" fmla="*/ 148693 h 892774"/>
                <a:gd name="csX731" fmla="*/ 1202084 w 1578711"/>
                <a:gd name="csY731" fmla="*/ 121277 h 892774"/>
                <a:gd name="csX732" fmla="*/ 1214812 w 1578711"/>
                <a:gd name="csY732" fmla="*/ 121277 h 892774"/>
                <a:gd name="csX733" fmla="*/ 1238513 w 1578711"/>
                <a:gd name="csY733" fmla="*/ 28936 h 892774"/>
                <a:gd name="csX734" fmla="*/ 1217281 w 1578711"/>
                <a:gd name="csY734" fmla="*/ 28936 h 892774"/>
                <a:gd name="csX735" fmla="*/ 1217281 w 1578711"/>
                <a:gd name="csY735" fmla="*/ 121277 h 892774"/>
                <a:gd name="csX736" fmla="*/ 1238513 w 1578711"/>
                <a:gd name="csY736" fmla="*/ 121277 h 892774"/>
                <a:gd name="csX737" fmla="*/ 1262215 w 1578711"/>
                <a:gd name="csY737" fmla="*/ 28936 h 892774"/>
                <a:gd name="csX738" fmla="*/ 1240927 w 1578711"/>
                <a:gd name="csY738" fmla="*/ 28936 h 892774"/>
                <a:gd name="csX739" fmla="*/ 1240927 w 1578711"/>
                <a:gd name="csY739" fmla="*/ 121277 h 892774"/>
                <a:gd name="csX740" fmla="*/ 1262215 w 1578711"/>
                <a:gd name="csY740" fmla="*/ 121277 h 892774"/>
                <a:gd name="csX741" fmla="*/ 1283557 w 1578711"/>
                <a:gd name="csY741" fmla="*/ 6573 h 892774"/>
                <a:gd name="csX742" fmla="*/ 1277357 w 1578711"/>
                <a:gd name="csY742" fmla="*/ 6573 h 892774"/>
                <a:gd name="csX743" fmla="*/ 1277357 w 1578711"/>
                <a:gd name="csY743" fmla="*/ 28936 h 892774"/>
                <a:gd name="csX744" fmla="*/ 1264629 w 1578711"/>
                <a:gd name="csY744" fmla="*/ 28936 h 892774"/>
                <a:gd name="csX745" fmla="*/ 1264629 w 1578711"/>
                <a:gd name="csY745" fmla="*/ 121277 h 892774"/>
                <a:gd name="csX746" fmla="*/ 1277357 w 1578711"/>
                <a:gd name="csY746" fmla="*/ 121277 h 892774"/>
                <a:gd name="csX747" fmla="*/ 1277357 w 1578711"/>
                <a:gd name="csY747" fmla="*/ 148693 h 892774"/>
                <a:gd name="csX748" fmla="*/ 1283557 w 1578711"/>
                <a:gd name="csY748" fmla="*/ 148693 h 892774"/>
                <a:gd name="csX749" fmla="*/ 1283557 w 1578711"/>
                <a:gd name="csY749" fmla="*/ 154437 h 892774"/>
                <a:gd name="csX750" fmla="*/ 1200219 w 1578711"/>
                <a:gd name="csY750" fmla="*/ 154437 h 892774"/>
                <a:gd name="csX751" fmla="*/ 1191495 w 1578711"/>
                <a:gd name="csY751" fmla="*/ 182813 h 892774"/>
                <a:gd name="csX752" fmla="*/ 1241915 w 1578711"/>
                <a:gd name="csY752" fmla="*/ 233233 h 892774"/>
                <a:gd name="csX753" fmla="*/ 1292336 w 1578711"/>
                <a:gd name="csY753" fmla="*/ 182813 h 892774"/>
                <a:gd name="csX754" fmla="*/ 1283557 w 1578711"/>
                <a:gd name="csY754" fmla="*/ 154437 h 892774"/>
                <a:gd name="csX755" fmla="*/ 1328271 w 1578711"/>
                <a:gd name="csY755" fmla="*/ 823 h 892774"/>
                <a:gd name="csX756" fmla="*/ 1312470 w 1578711"/>
                <a:gd name="csY756" fmla="*/ 823 h 892774"/>
                <a:gd name="csX757" fmla="*/ 1312470 w 1578711"/>
                <a:gd name="csY757" fmla="*/ 260210 h 892774"/>
                <a:gd name="csX758" fmla="*/ 1046051 w 1578711"/>
                <a:gd name="csY758" fmla="*/ 260210 h 892774"/>
                <a:gd name="csX759" fmla="*/ 1046051 w 1578711"/>
                <a:gd name="csY759" fmla="*/ 154437 h 892774"/>
                <a:gd name="csX760" fmla="*/ 1046051 w 1578711"/>
                <a:gd name="csY760" fmla="*/ 823 h 892774"/>
                <a:gd name="csX761" fmla="*/ 1030250 w 1578711"/>
                <a:gd name="csY761" fmla="*/ 823 h 892774"/>
                <a:gd name="csX762" fmla="*/ 1030250 w 1578711"/>
                <a:gd name="csY762" fmla="*/ 48478 h 892774"/>
                <a:gd name="csX763" fmla="*/ 1030250 w 1578711"/>
                <a:gd name="csY763" fmla="*/ 320708 h 892774"/>
                <a:gd name="csX764" fmla="*/ 1047861 w 1578711"/>
                <a:gd name="csY764" fmla="*/ 320708 h 892774"/>
                <a:gd name="csX765" fmla="*/ 1047861 w 1578711"/>
                <a:gd name="csY765" fmla="*/ 345600 h 892774"/>
                <a:gd name="csX766" fmla="*/ 1058230 w 1578711"/>
                <a:gd name="csY766" fmla="*/ 355975 h 892774"/>
                <a:gd name="csX767" fmla="*/ 1068600 w 1578711"/>
                <a:gd name="csY767" fmla="*/ 345600 h 892774"/>
                <a:gd name="csX768" fmla="*/ 1068600 w 1578711"/>
                <a:gd name="csY768" fmla="*/ 320708 h 892774"/>
                <a:gd name="csX769" fmla="*/ 1083029 w 1578711"/>
                <a:gd name="csY769" fmla="*/ 320708 h 892774"/>
                <a:gd name="csX770" fmla="*/ 1083029 w 1578711"/>
                <a:gd name="csY770" fmla="*/ 345600 h 892774"/>
                <a:gd name="csX771" fmla="*/ 1093398 w 1578711"/>
                <a:gd name="csY771" fmla="*/ 355975 h 892774"/>
                <a:gd name="csX772" fmla="*/ 1103822 w 1578711"/>
                <a:gd name="csY772" fmla="*/ 345600 h 892774"/>
                <a:gd name="csX773" fmla="*/ 1103822 w 1578711"/>
                <a:gd name="csY773" fmla="*/ 320708 h 892774"/>
                <a:gd name="csX774" fmla="*/ 1118252 w 1578711"/>
                <a:gd name="csY774" fmla="*/ 320708 h 892774"/>
                <a:gd name="csX775" fmla="*/ 1118252 w 1578711"/>
                <a:gd name="csY775" fmla="*/ 345600 h 892774"/>
                <a:gd name="csX776" fmla="*/ 1128621 w 1578711"/>
                <a:gd name="csY776" fmla="*/ 355975 h 892774"/>
                <a:gd name="csX777" fmla="*/ 1138991 w 1578711"/>
                <a:gd name="csY777" fmla="*/ 345600 h 892774"/>
                <a:gd name="csX778" fmla="*/ 1138991 w 1578711"/>
                <a:gd name="csY778" fmla="*/ 320708 h 892774"/>
                <a:gd name="csX779" fmla="*/ 1153474 w 1578711"/>
                <a:gd name="csY779" fmla="*/ 320708 h 892774"/>
                <a:gd name="csX780" fmla="*/ 1153474 w 1578711"/>
                <a:gd name="csY780" fmla="*/ 345600 h 892774"/>
                <a:gd name="csX781" fmla="*/ 1163843 w 1578711"/>
                <a:gd name="csY781" fmla="*/ 355975 h 892774"/>
                <a:gd name="csX782" fmla="*/ 1174213 w 1578711"/>
                <a:gd name="csY782" fmla="*/ 345600 h 892774"/>
                <a:gd name="csX783" fmla="*/ 1174213 w 1578711"/>
                <a:gd name="csY783" fmla="*/ 320708 h 892774"/>
                <a:gd name="csX784" fmla="*/ 1188643 w 1578711"/>
                <a:gd name="csY784" fmla="*/ 320708 h 892774"/>
                <a:gd name="csX785" fmla="*/ 1188643 w 1578711"/>
                <a:gd name="csY785" fmla="*/ 345600 h 892774"/>
                <a:gd name="csX786" fmla="*/ 1199011 w 1578711"/>
                <a:gd name="csY786" fmla="*/ 355975 h 892774"/>
                <a:gd name="csX787" fmla="*/ 1209381 w 1578711"/>
                <a:gd name="csY787" fmla="*/ 345600 h 892774"/>
                <a:gd name="csX788" fmla="*/ 1209381 w 1578711"/>
                <a:gd name="csY788" fmla="*/ 320708 h 892774"/>
                <a:gd name="csX789" fmla="*/ 1223865 w 1578711"/>
                <a:gd name="csY789" fmla="*/ 320708 h 892774"/>
                <a:gd name="csX790" fmla="*/ 1223865 w 1578711"/>
                <a:gd name="csY790" fmla="*/ 345600 h 892774"/>
                <a:gd name="csX791" fmla="*/ 1234234 w 1578711"/>
                <a:gd name="csY791" fmla="*/ 355975 h 892774"/>
                <a:gd name="csX792" fmla="*/ 1244604 w 1578711"/>
                <a:gd name="csY792" fmla="*/ 345600 h 892774"/>
                <a:gd name="csX793" fmla="*/ 1244604 w 1578711"/>
                <a:gd name="csY793" fmla="*/ 320708 h 892774"/>
                <a:gd name="csX794" fmla="*/ 1259087 w 1578711"/>
                <a:gd name="csY794" fmla="*/ 320708 h 892774"/>
                <a:gd name="csX795" fmla="*/ 1259087 w 1578711"/>
                <a:gd name="csY795" fmla="*/ 345600 h 892774"/>
                <a:gd name="csX796" fmla="*/ 1269457 w 1578711"/>
                <a:gd name="csY796" fmla="*/ 355975 h 892774"/>
                <a:gd name="csX797" fmla="*/ 1279826 w 1578711"/>
                <a:gd name="csY797" fmla="*/ 345600 h 892774"/>
                <a:gd name="csX798" fmla="*/ 1279826 w 1578711"/>
                <a:gd name="csY798" fmla="*/ 320708 h 892774"/>
                <a:gd name="csX799" fmla="*/ 1294256 w 1578711"/>
                <a:gd name="csY799" fmla="*/ 320708 h 892774"/>
                <a:gd name="csX800" fmla="*/ 1294256 w 1578711"/>
                <a:gd name="csY800" fmla="*/ 345600 h 892774"/>
                <a:gd name="csX801" fmla="*/ 1304624 w 1578711"/>
                <a:gd name="csY801" fmla="*/ 355975 h 892774"/>
                <a:gd name="csX802" fmla="*/ 1314994 w 1578711"/>
                <a:gd name="csY802" fmla="*/ 345600 h 892774"/>
                <a:gd name="csX803" fmla="*/ 1314994 w 1578711"/>
                <a:gd name="csY803" fmla="*/ 320708 h 892774"/>
                <a:gd name="csX804" fmla="*/ 1328271 w 1578711"/>
                <a:gd name="csY804" fmla="*/ 320708 h 892774"/>
                <a:gd name="csX805" fmla="*/ 1328271 w 1578711"/>
                <a:gd name="csY805" fmla="*/ 367699 h 892774"/>
                <a:gd name="csX806" fmla="*/ 1284215 w 1578711"/>
                <a:gd name="csY806" fmla="*/ 367699 h 892774"/>
                <a:gd name="csX807" fmla="*/ 1285641 w 1578711"/>
                <a:gd name="csY807" fmla="*/ 369405 h 892774"/>
                <a:gd name="csX808" fmla="*/ 1283721 w 1578711"/>
                <a:gd name="csY808" fmla="*/ 369405 h 892774"/>
                <a:gd name="csX809" fmla="*/ 1283721 w 1578711"/>
                <a:gd name="csY809" fmla="*/ 392454 h 892774"/>
                <a:gd name="csX810" fmla="*/ 1282953 w 1578711"/>
                <a:gd name="csY810" fmla="*/ 392454 h 892774"/>
                <a:gd name="csX811" fmla="*/ 1279826 w 1578711"/>
                <a:gd name="csY811" fmla="*/ 399487 h 892774"/>
                <a:gd name="csX812" fmla="*/ 1290579 w 1578711"/>
                <a:gd name="csY812" fmla="*/ 410822 h 892774"/>
                <a:gd name="csX813" fmla="*/ 1299138 w 1578711"/>
                <a:gd name="csY813" fmla="*/ 403882 h 892774"/>
                <a:gd name="csX814" fmla="*/ 1302704 w 1578711"/>
                <a:gd name="csY814" fmla="*/ 442786 h 892774"/>
                <a:gd name="csX815" fmla="*/ 1302649 w 1578711"/>
                <a:gd name="csY815" fmla="*/ 444070 h 892774"/>
                <a:gd name="csX816" fmla="*/ 1328271 w 1578711"/>
                <a:gd name="csY816" fmla="*/ 444070 h 892774"/>
                <a:gd name="csX817" fmla="*/ 1373315 w 1578711"/>
                <a:gd name="csY817" fmla="*/ 10216 h 892774"/>
                <a:gd name="csX818" fmla="*/ 1336994 w 1578711"/>
                <a:gd name="csY818" fmla="*/ 10216 h 892774"/>
                <a:gd name="csX819" fmla="*/ 1336994 w 1578711"/>
                <a:gd name="csY819" fmla="*/ 101806 h 892774"/>
                <a:gd name="csX820" fmla="*/ 1373315 w 1578711"/>
                <a:gd name="csY820" fmla="*/ 101806 h 892774"/>
                <a:gd name="csX821" fmla="*/ 1396412 w 1578711"/>
                <a:gd name="csY821" fmla="*/ 498177 h 892774"/>
                <a:gd name="csX822" fmla="*/ 1390651 w 1578711"/>
                <a:gd name="csY822" fmla="*/ 498177 h 892774"/>
                <a:gd name="csX823" fmla="*/ 1390651 w 1578711"/>
                <a:gd name="csY823" fmla="*/ 860339 h 892774"/>
                <a:gd name="csX824" fmla="*/ 1396412 w 1578711"/>
                <a:gd name="csY824" fmla="*/ 860339 h 892774"/>
                <a:gd name="csX825" fmla="*/ 1437451 w 1578711"/>
                <a:gd name="csY825" fmla="*/ 498177 h 892774"/>
                <a:gd name="csX826" fmla="*/ 1406288 w 1578711"/>
                <a:gd name="csY826" fmla="*/ 498177 h 892774"/>
                <a:gd name="csX827" fmla="*/ 1406288 w 1578711"/>
                <a:gd name="csY827" fmla="*/ 552695 h 892774"/>
                <a:gd name="csX828" fmla="*/ 1437451 w 1578711"/>
                <a:gd name="csY828" fmla="*/ 552695 h 892774"/>
                <a:gd name="csX829" fmla="*/ 1453031 w 1578711"/>
                <a:gd name="csY829" fmla="*/ 498177 h 892774"/>
                <a:gd name="csX830" fmla="*/ 1447326 w 1578711"/>
                <a:gd name="csY830" fmla="*/ 498177 h 892774"/>
                <a:gd name="csX831" fmla="*/ 1447326 w 1578711"/>
                <a:gd name="csY831" fmla="*/ 860339 h 892774"/>
                <a:gd name="csX832" fmla="*/ 1453031 w 1578711"/>
                <a:gd name="csY832" fmla="*/ 860339 h 892774"/>
                <a:gd name="csX833" fmla="*/ 1453031 w 1578711"/>
                <a:gd name="csY833" fmla="*/ 498177 h 89277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 ang="0">
                  <a:pos x="csX97" y="csY97"/>
                </a:cxn>
                <a:cxn ang="0">
                  <a:pos x="csX98" y="csY98"/>
                </a:cxn>
                <a:cxn ang="0">
                  <a:pos x="csX99" y="csY99"/>
                </a:cxn>
                <a:cxn ang="0">
                  <a:pos x="csX100" y="csY100"/>
                </a:cxn>
                <a:cxn ang="0">
                  <a:pos x="csX101" y="csY101"/>
                </a:cxn>
                <a:cxn ang="0">
                  <a:pos x="csX102" y="csY102"/>
                </a:cxn>
                <a:cxn ang="0">
                  <a:pos x="csX103" y="csY103"/>
                </a:cxn>
                <a:cxn ang="0">
                  <a:pos x="csX104" y="csY104"/>
                </a:cxn>
                <a:cxn ang="0">
                  <a:pos x="csX105" y="csY105"/>
                </a:cxn>
                <a:cxn ang="0">
                  <a:pos x="csX106" y="csY106"/>
                </a:cxn>
                <a:cxn ang="0">
                  <a:pos x="csX107" y="csY107"/>
                </a:cxn>
                <a:cxn ang="0">
                  <a:pos x="csX108" y="csY108"/>
                </a:cxn>
                <a:cxn ang="0">
                  <a:pos x="csX109" y="csY109"/>
                </a:cxn>
                <a:cxn ang="0">
                  <a:pos x="csX110" y="csY110"/>
                </a:cxn>
                <a:cxn ang="0">
                  <a:pos x="csX111" y="csY111"/>
                </a:cxn>
                <a:cxn ang="0">
                  <a:pos x="csX112" y="csY112"/>
                </a:cxn>
                <a:cxn ang="0">
                  <a:pos x="csX113" y="csY113"/>
                </a:cxn>
                <a:cxn ang="0">
                  <a:pos x="csX114" y="csY114"/>
                </a:cxn>
                <a:cxn ang="0">
                  <a:pos x="csX115" y="csY115"/>
                </a:cxn>
                <a:cxn ang="0">
                  <a:pos x="csX116" y="csY116"/>
                </a:cxn>
                <a:cxn ang="0">
                  <a:pos x="csX117" y="csY117"/>
                </a:cxn>
                <a:cxn ang="0">
                  <a:pos x="csX118" y="csY118"/>
                </a:cxn>
                <a:cxn ang="0">
                  <a:pos x="csX119" y="csY119"/>
                </a:cxn>
                <a:cxn ang="0">
                  <a:pos x="csX120" y="csY120"/>
                </a:cxn>
                <a:cxn ang="0">
                  <a:pos x="csX121" y="csY121"/>
                </a:cxn>
                <a:cxn ang="0">
                  <a:pos x="csX122" y="csY122"/>
                </a:cxn>
                <a:cxn ang="0">
                  <a:pos x="csX123" y="csY123"/>
                </a:cxn>
                <a:cxn ang="0">
                  <a:pos x="csX124" y="csY124"/>
                </a:cxn>
                <a:cxn ang="0">
                  <a:pos x="csX125" y="csY125"/>
                </a:cxn>
                <a:cxn ang="0">
                  <a:pos x="csX126" y="csY126"/>
                </a:cxn>
                <a:cxn ang="0">
                  <a:pos x="csX127" y="csY127"/>
                </a:cxn>
                <a:cxn ang="0">
                  <a:pos x="csX128" y="csY128"/>
                </a:cxn>
                <a:cxn ang="0">
                  <a:pos x="csX129" y="csY129"/>
                </a:cxn>
                <a:cxn ang="0">
                  <a:pos x="csX130" y="csY130"/>
                </a:cxn>
                <a:cxn ang="0">
                  <a:pos x="csX131" y="csY131"/>
                </a:cxn>
                <a:cxn ang="0">
                  <a:pos x="csX132" y="csY132"/>
                </a:cxn>
                <a:cxn ang="0">
                  <a:pos x="csX133" y="csY133"/>
                </a:cxn>
                <a:cxn ang="0">
                  <a:pos x="csX134" y="csY134"/>
                </a:cxn>
                <a:cxn ang="0">
                  <a:pos x="csX135" y="csY135"/>
                </a:cxn>
                <a:cxn ang="0">
                  <a:pos x="csX136" y="csY136"/>
                </a:cxn>
                <a:cxn ang="0">
                  <a:pos x="csX137" y="csY137"/>
                </a:cxn>
                <a:cxn ang="0">
                  <a:pos x="csX138" y="csY138"/>
                </a:cxn>
                <a:cxn ang="0">
                  <a:pos x="csX139" y="csY139"/>
                </a:cxn>
                <a:cxn ang="0">
                  <a:pos x="csX140" y="csY140"/>
                </a:cxn>
                <a:cxn ang="0">
                  <a:pos x="csX141" y="csY141"/>
                </a:cxn>
                <a:cxn ang="0">
                  <a:pos x="csX142" y="csY142"/>
                </a:cxn>
                <a:cxn ang="0">
                  <a:pos x="csX143" y="csY143"/>
                </a:cxn>
                <a:cxn ang="0">
                  <a:pos x="csX144" y="csY144"/>
                </a:cxn>
                <a:cxn ang="0">
                  <a:pos x="csX145" y="csY145"/>
                </a:cxn>
                <a:cxn ang="0">
                  <a:pos x="csX146" y="csY146"/>
                </a:cxn>
                <a:cxn ang="0">
                  <a:pos x="csX147" y="csY147"/>
                </a:cxn>
                <a:cxn ang="0">
                  <a:pos x="csX148" y="csY148"/>
                </a:cxn>
                <a:cxn ang="0">
                  <a:pos x="csX149" y="csY149"/>
                </a:cxn>
                <a:cxn ang="0">
                  <a:pos x="csX150" y="csY150"/>
                </a:cxn>
                <a:cxn ang="0">
                  <a:pos x="csX151" y="csY151"/>
                </a:cxn>
                <a:cxn ang="0">
                  <a:pos x="csX152" y="csY152"/>
                </a:cxn>
                <a:cxn ang="0">
                  <a:pos x="csX153" y="csY153"/>
                </a:cxn>
                <a:cxn ang="0">
                  <a:pos x="csX154" y="csY154"/>
                </a:cxn>
                <a:cxn ang="0">
                  <a:pos x="csX155" y="csY155"/>
                </a:cxn>
                <a:cxn ang="0">
                  <a:pos x="csX156" y="csY156"/>
                </a:cxn>
                <a:cxn ang="0">
                  <a:pos x="csX157" y="csY157"/>
                </a:cxn>
                <a:cxn ang="0">
                  <a:pos x="csX158" y="csY158"/>
                </a:cxn>
                <a:cxn ang="0">
                  <a:pos x="csX159" y="csY159"/>
                </a:cxn>
                <a:cxn ang="0">
                  <a:pos x="csX160" y="csY160"/>
                </a:cxn>
                <a:cxn ang="0">
                  <a:pos x="csX161" y="csY161"/>
                </a:cxn>
                <a:cxn ang="0">
                  <a:pos x="csX162" y="csY162"/>
                </a:cxn>
                <a:cxn ang="0">
                  <a:pos x="csX163" y="csY163"/>
                </a:cxn>
                <a:cxn ang="0">
                  <a:pos x="csX164" y="csY164"/>
                </a:cxn>
                <a:cxn ang="0">
                  <a:pos x="csX165" y="csY165"/>
                </a:cxn>
                <a:cxn ang="0">
                  <a:pos x="csX166" y="csY166"/>
                </a:cxn>
                <a:cxn ang="0">
                  <a:pos x="csX167" y="csY167"/>
                </a:cxn>
                <a:cxn ang="0">
                  <a:pos x="csX168" y="csY168"/>
                </a:cxn>
                <a:cxn ang="0">
                  <a:pos x="csX169" y="csY169"/>
                </a:cxn>
                <a:cxn ang="0">
                  <a:pos x="csX170" y="csY170"/>
                </a:cxn>
                <a:cxn ang="0">
                  <a:pos x="csX171" y="csY171"/>
                </a:cxn>
                <a:cxn ang="0">
                  <a:pos x="csX172" y="csY172"/>
                </a:cxn>
                <a:cxn ang="0">
                  <a:pos x="csX173" y="csY173"/>
                </a:cxn>
                <a:cxn ang="0">
                  <a:pos x="csX174" y="csY174"/>
                </a:cxn>
                <a:cxn ang="0">
                  <a:pos x="csX175" y="csY175"/>
                </a:cxn>
                <a:cxn ang="0">
                  <a:pos x="csX176" y="csY176"/>
                </a:cxn>
                <a:cxn ang="0">
                  <a:pos x="csX177" y="csY177"/>
                </a:cxn>
                <a:cxn ang="0">
                  <a:pos x="csX178" y="csY178"/>
                </a:cxn>
                <a:cxn ang="0">
                  <a:pos x="csX179" y="csY179"/>
                </a:cxn>
                <a:cxn ang="0">
                  <a:pos x="csX180" y="csY180"/>
                </a:cxn>
                <a:cxn ang="0">
                  <a:pos x="csX181" y="csY181"/>
                </a:cxn>
                <a:cxn ang="0">
                  <a:pos x="csX182" y="csY182"/>
                </a:cxn>
                <a:cxn ang="0">
                  <a:pos x="csX183" y="csY183"/>
                </a:cxn>
                <a:cxn ang="0">
                  <a:pos x="csX184" y="csY184"/>
                </a:cxn>
                <a:cxn ang="0">
                  <a:pos x="csX185" y="csY185"/>
                </a:cxn>
                <a:cxn ang="0">
                  <a:pos x="csX186" y="csY186"/>
                </a:cxn>
                <a:cxn ang="0">
                  <a:pos x="csX187" y="csY187"/>
                </a:cxn>
                <a:cxn ang="0">
                  <a:pos x="csX188" y="csY188"/>
                </a:cxn>
                <a:cxn ang="0">
                  <a:pos x="csX189" y="csY189"/>
                </a:cxn>
                <a:cxn ang="0">
                  <a:pos x="csX190" y="csY190"/>
                </a:cxn>
                <a:cxn ang="0">
                  <a:pos x="csX191" y="csY191"/>
                </a:cxn>
                <a:cxn ang="0">
                  <a:pos x="csX192" y="csY192"/>
                </a:cxn>
                <a:cxn ang="0">
                  <a:pos x="csX193" y="csY193"/>
                </a:cxn>
                <a:cxn ang="0">
                  <a:pos x="csX194" y="csY194"/>
                </a:cxn>
                <a:cxn ang="0">
                  <a:pos x="csX195" y="csY195"/>
                </a:cxn>
                <a:cxn ang="0">
                  <a:pos x="csX196" y="csY196"/>
                </a:cxn>
                <a:cxn ang="0">
                  <a:pos x="csX197" y="csY197"/>
                </a:cxn>
                <a:cxn ang="0">
                  <a:pos x="csX198" y="csY198"/>
                </a:cxn>
                <a:cxn ang="0">
                  <a:pos x="csX199" y="csY199"/>
                </a:cxn>
                <a:cxn ang="0">
                  <a:pos x="csX200" y="csY200"/>
                </a:cxn>
                <a:cxn ang="0">
                  <a:pos x="csX201" y="csY201"/>
                </a:cxn>
                <a:cxn ang="0">
                  <a:pos x="csX202" y="csY202"/>
                </a:cxn>
                <a:cxn ang="0">
                  <a:pos x="csX203" y="csY203"/>
                </a:cxn>
                <a:cxn ang="0">
                  <a:pos x="csX204" y="csY204"/>
                </a:cxn>
                <a:cxn ang="0">
                  <a:pos x="csX205" y="csY205"/>
                </a:cxn>
                <a:cxn ang="0">
                  <a:pos x="csX206" y="csY206"/>
                </a:cxn>
                <a:cxn ang="0">
                  <a:pos x="csX207" y="csY207"/>
                </a:cxn>
                <a:cxn ang="0">
                  <a:pos x="csX208" y="csY208"/>
                </a:cxn>
                <a:cxn ang="0">
                  <a:pos x="csX209" y="csY209"/>
                </a:cxn>
                <a:cxn ang="0">
                  <a:pos x="csX210" y="csY210"/>
                </a:cxn>
                <a:cxn ang="0">
                  <a:pos x="csX211" y="csY211"/>
                </a:cxn>
                <a:cxn ang="0">
                  <a:pos x="csX212" y="csY212"/>
                </a:cxn>
                <a:cxn ang="0">
                  <a:pos x="csX213" y="csY213"/>
                </a:cxn>
                <a:cxn ang="0">
                  <a:pos x="csX214" y="csY214"/>
                </a:cxn>
                <a:cxn ang="0">
                  <a:pos x="csX215" y="csY215"/>
                </a:cxn>
                <a:cxn ang="0">
                  <a:pos x="csX216" y="csY216"/>
                </a:cxn>
                <a:cxn ang="0">
                  <a:pos x="csX217" y="csY217"/>
                </a:cxn>
                <a:cxn ang="0">
                  <a:pos x="csX218" y="csY218"/>
                </a:cxn>
                <a:cxn ang="0">
                  <a:pos x="csX219" y="csY219"/>
                </a:cxn>
                <a:cxn ang="0">
                  <a:pos x="csX220" y="csY220"/>
                </a:cxn>
                <a:cxn ang="0">
                  <a:pos x="csX221" y="csY221"/>
                </a:cxn>
                <a:cxn ang="0">
                  <a:pos x="csX222" y="csY222"/>
                </a:cxn>
                <a:cxn ang="0">
                  <a:pos x="csX223" y="csY223"/>
                </a:cxn>
                <a:cxn ang="0">
                  <a:pos x="csX224" y="csY224"/>
                </a:cxn>
                <a:cxn ang="0">
                  <a:pos x="csX225" y="csY225"/>
                </a:cxn>
                <a:cxn ang="0">
                  <a:pos x="csX226" y="csY226"/>
                </a:cxn>
                <a:cxn ang="0">
                  <a:pos x="csX227" y="csY227"/>
                </a:cxn>
                <a:cxn ang="0">
                  <a:pos x="csX228" y="csY228"/>
                </a:cxn>
                <a:cxn ang="0">
                  <a:pos x="csX229" y="csY229"/>
                </a:cxn>
                <a:cxn ang="0">
                  <a:pos x="csX230" y="csY230"/>
                </a:cxn>
                <a:cxn ang="0">
                  <a:pos x="csX231" y="csY231"/>
                </a:cxn>
                <a:cxn ang="0">
                  <a:pos x="csX232" y="csY232"/>
                </a:cxn>
                <a:cxn ang="0">
                  <a:pos x="csX233" y="csY233"/>
                </a:cxn>
                <a:cxn ang="0">
                  <a:pos x="csX234" y="csY234"/>
                </a:cxn>
                <a:cxn ang="0">
                  <a:pos x="csX235" y="csY235"/>
                </a:cxn>
                <a:cxn ang="0">
                  <a:pos x="csX236" y="csY236"/>
                </a:cxn>
                <a:cxn ang="0">
                  <a:pos x="csX237" y="csY237"/>
                </a:cxn>
                <a:cxn ang="0">
                  <a:pos x="csX238" y="csY238"/>
                </a:cxn>
                <a:cxn ang="0">
                  <a:pos x="csX239" y="csY239"/>
                </a:cxn>
                <a:cxn ang="0">
                  <a:pos x="csX240" y="csY240"/>
                </a:cxn>
                <a:cxn ang="0">
                  <a:pos x="csX241" y="csY241"/>
                </a:cxn>
                <a:cxn ang="0">
                  <a:pos x="csX242" y="csY242"/>
                </a:cxn>
                <a:cxn ang="0">
                  <a:pos x="csX243" y="csY243"/>
                </a:cxn>
                <a:cxn ang="0">
                  <a:pos x="csX244" y="csY244"/>
                </a:cxn>
                <a:cxn ang="0">
                  <a:pos x="csX245" y="csY245"/>
                </a:cxn>
                <a:cxn ang="0">
                  <a:pos x="csX246" y="csY246"/>
                </a:cxn>
                <a:cxn ang="0">
                  <a:pos x="csX247" y="csY247"/>
                </a:cxn>
                <a:cxn ang="0">
                  <a:pos x="csX248" y="csY248"/>
                </a:cxn>
                <a:cxn ang="0">
                  <a:pos x="csX249" y="csY249"/>
                </a:cxn>
                <a:cxn ang="0">
                  <a:pos x="csX250" y="csY250"/>
                </a:cxn>
                <a:cxn ang="0">
                  <a:pos x="csX251" y="csY251"/>
                </a:cxn>
                <a:cxn ang="0">
                  <a:pos x="csX252" y="csY252"/>
                </a:cxn>
                <a:cxn ang="0">
                  <a:pos x="csX253" y="csY253"/>
                </a:cxn>
                <a:cxn ang="0">
                  <a:pos x="csX254" y="csY254"/>
                </a:cxn>
                <a:cxn ang="0">
                  <a:pos x="csX255" y="csY255"/>
                </a:cxn>
                <a:cxn ang="0">
                  <a:pos x="csX256" y="csY256"/>
                </a:cxn>
                <a:cxn ang="0">
                  <a:pos x="csX257" y="csY257"/>
                </a:cxn>
                <a:cxn ang="0">
                  <a:pos x="csX258" y="csY258"/>
                </a:cxn>
                <a:cxn ang="0">
                  <a:pos x="csX259" y="csY259"/>
                </a:cxn>
                <a:cxn ang="0">
                  <a:pos x="csX260" y="csY260"/>
                </a:cxn>
                <a:cxn ang="0">
                  <a:pos x="csX261" y="csY261"/>
                </a:cxn>
                <a:cxn ang="0">
                  <a:pos x="csX262" y="csY262"/>
                </a:cxn>
                <a:cxn ang="0">
                  <a:pos x="csX263" y="csY263"/>
                </a:cxn>
                <a:cxn ang="0">
                  <a:pos x="csX264" y="csY264"/>
                </a:cxn>
                <a:cxn ang="0">
                  <a:pos x="csX265" y="csY265"/>
                </a:cxn>
                <a:cxn ang="0">
                  <a:pos x="csX266" y="csY266"/>
                </a:cxn>
                <a:cxn ang="0">
                  <a:pos x="csX267" y="csY267"/>
                </a:cxn>
                <a:cxn ang="0">
                  <a:pos x="csX268" y="csY268"/>
                </a:cxn>
                <a:cxn ang="0">
                  <a:pos x="csX269" y="csY269"/>
                </a:cxn>
                <a:cxn ang="0">
                  <a:pos x="csX270" y="csY270"/>
                </a:cxn>
                <a:cxn ang="0">
                  <a:pos x="csX271" y="csY271"/>
                </a:cxn>
                <a:cxn ang="0">
                  <a:pos x="csX272" y="csY272"/>
                </a:cxn>
                <a:cxn ang="0">
                  <a:pos x="csX273" y="csY273"/>
                </a:cxn>
                <a:cxn ang="0">
                  <a:pos x="csX274" y="csY274"/>
                </a:cxn>
                <a:cxn ang="0">
                  <a:pos x="csX275" y="csY275"/>
                </a:cxn>
                <a:cxn ang="0">
                  <a:pos x="csX276" y="csY276"/>
                </a:cxn>
                <a:cxn ang="0">
                  <a:pos x="csX277" y="csY277"/>
                </a:cxn>
                <a:cxn ang="0">
                  <a:pos x="csX278" y="csY278"/>
                </a:cxn>
                <a:cxn ang="0">
                  <a:pos x="csX279" y="csY279"/>
                </a:cxn>
                <a:cxn ang="0">
                  <a:pos x="csX280" y="csY280"/>
                </a:cxn>
                <a:cxn ang="0">
                  <a:pos x="csX281" y="csY281"/>
                </a:cxn>
                <a:cxn ang="0">
                  <a:pos x="csX282" y="csY282"/>
                </a:cxn>
                <a:cxn ang="0">
                  <a:pos x="csX283" y="csY283"/>
                </a:cxn>
                <a:cxn ang="0">
                  <a:pos x="csX284" y="csY284"/>
                </a:cxn>
                <a:cxn ang="0">
                  <a:pos x="csX285" y="csY285"/>
                </a:cxn>
                <a:cxn ang="0">
                  <a:pos x="csX286" y="csY286"/>
                </a:cxn>
                <a:cxn ang="0">
                  <a:pos x="csX287" y="csY287"/>
                </a:cxn>
                <a:cxn ang="0">
                  <a:pos x="csX288" y="csY288"/>
                </a:cxn>
                <a:cxn ang="0">
                  <a:pos x="csX289" y="csY289"/>
                </a:cxn>
                <a:cxn ang="0">
                  <a:pos x="csX290" y="csY290"/>
                </a:cxn>
                <a:cxn ang="0">
                  <a:pos x="csX291" y="csY291"/>
                </a:cxn>
                <a:cxn ang="0">
                  <a:pos x="csX292" y="csY292"/>
                </a:cxn>
                <a:cxn ang="0">
                  <a:pos x="csX293" y="csY293"/>
                </a:cxn>
                <a:cxn ang="0">
                  <a:pos x="csX294" y="csY294"/>
                </a:cxn>
                <a:cxn ang="0">
                  <a:pos x="csX295" y="csY295"/>
                </a:cxn>
                <a:cxn ang="0">
                  <a:pos x="csX296" y="csY296"/>
                </a:cxn>
                <a:cxn ang="0">
                  <a:pos x="csX297" y="csY297"/>
                </a:cxn>
                <a:cxn ang="0">
                  <a:pos x="csX298" y="csY298"/>
                </a:cxn>
                <a:cxn ang="0">
                  <a:pos x="csX299" y="csY299"/>
                </a:cxn>
                <a:cxn ang="0">
                  <a:pos x="csX300" y="csY300"/>
                </a:cxn>
                <a:cxn ang="0">
                  <a:pos x="csX301" y="csY301"/>
                </a:cxn>
                <a:cxn ang="0">
                  <a:pos x="csX302" y="csY302"/>
                </a:cxn>
                <a:cxn ang="0">
                  <a:pos x="csX303" y="csY303"/>
                </a:cxn>
                <a:cxn ang="0">
                  <a:pos x="csX304" y="csY304"/>
                </a:cxn>
                <a:cxn ang="0">
                  <a:pos x="csX305" y="csY305"/>
                </a:cxn>
                <a:cxn ang="0">
                  <a:pos x="csX306" y="csY306"/>
                </a:cxn>
                <a:cxn ang="0">
                  <a:pos x="csX307" y="csY307"/>
                </a:cxn>
                <a:cxn ang="0">
                  <a:pos x="csX308" y="csY308"/>
                </a:cxn>
                <a:cxn ang="0">
                  <a:pos x="csX309" y="csY309"/>
                </a:cxn>
                <a:cxn ang="0">
                  <a:pos x="csX310" y="csY310"/>
                </a:cxn>
                <a:cxn ang="0">
                  <a:pos x="csX311" y="csY311"/>
                </a:cxn>
                <a:cxn ang="0">
                  <a:pos x="csX312" y="csY312"/>
                </a:cxn>
                <a:cxn ang="0">
                  <a:pos x="csX313" y="csY313"/>
                </a:cxn>
                <a:cxn ang="0">
                  <a:pos x="csX314" y="csY314"/>
                </a:cxn>
                <a:cxn ang="0">
                  <a:pos x="csX315" y="csY315"/>
                </a:cxn>
                <a:cxn ang="0">
                  <a:pos x="csX316" y="csY316"/>
                </a:cxn>
                <a:cxn ang="0">
                  <a:pos x="csX317" y="csY317"/>
                </a:cxn>
                <a:cxn ang="0">
                  <a:pos x="csX318" y="csY318"/>
                </a:cxn>
                <a:cxn ang="0">
                  <a:pos x="csX319" y="csY319"/>
                </a:cxn>
                <a:cxn ang="0">
                  <a:pos x="csX320" y="csY320"/>
                </a:cxn>
                <a:cxn ang="0">
                  <a:pos x="csX321" y="csY321"/>
                </a:cxn>
                <a:cxn ang="0">
                  <a:pos x="csX322" y="csY322"/>
                </a:cxn>
                <a:cxn ang="0">
                  <a:pos x="csX323" y="csY323"/>
                </a:cxn>
                <a:cxn ang="0">
                  <a:pos x="csX324" y="csY324"/>
                </a:cxn>
                <a:cxn ang="0">
                  <a:pos x="csX325" y="csY325"/>
                </a:cxn>
                <a:cxn ang="0">
                  <a:pos x="csX326" y="csY326"/>
                </a:cxn>
                <a:cxn ang="0">
                  <a:pos x="csX327" y="csY327"/>
                </a:cxn>
                <a:cxn ang="0">
                  <a:pos x="csX328" y="csY328"/>
                </a:cxn>
                <a:cxn ang="0">
                  <a:pos x="csX329" y="csY329"/>
                </a:cxn>
                <a:cxn ang="0">
                  <a:pos x="csX330" y="csY330"/>
                </a:cxn>
                <a:cxn ang="0">
                  <a:pos x="csX331" y="csY331"/>
                </a:cxn>
                <a:cxn ang="0">
                  <a:pos x="csX332" y="csY332"/>
                </a:cxn>
                <a:cxn ang="0">
                  <a:pos x="csX333" y="csY333"/>
                </a:cxn>
                <a:cxn ang="0">
                  <a:pos x="csX334" y="csY334"/>
                </a:cxn>
                <a:cxn ang="0">
                  <a:pos x="csX335" y="csY335"/>
                </a:cxn>
                <a:cxn ang="0">
                  <a:pos x="csX336" y="csY336"/>
                </a:cxn>
                <a:cxn ang="0">
                  <a:pos x="csX337" y="csY337"/>
                </a:cxn>
                <a:cxn ang="0">
                  <a:pos x="csX338" y="csY338"/>
                </a:cxn>
                <a:cxn ang="0">
                  <a:pos x="csX339" y="csY339"/>
                </a:cxn>
                <a:cxn ang="0">
                  <a:pos x="csX340" y="csY340"/>
                </a:cxn>
                <a:cxn ang="0">
                  <a:pos x="csX341" y="csY341"/>
                </a:cxn>
                <a:cxn ang="0">
                  <a:pos x="csX342" y="csY342"/>
                </a:cxn>
                <a:cxn ang="0">
                  <a:pos x="csX343" y="csY343"/>
                </a:cxn>
                <a:cxn ang="0">
                  <a:pos x="csX344" y="csY344"/>
                </a:cxn>
                <a:cxn ang="0">
                  <a:pos x="csX345" y="csY345"/>
                </a:cxn>
                <a:cxn ang="0">
                  <a:pos x="csX346" y="csY346"/>
                </a:cxn>
                <a:cxn ang="0">
                  <a:pos x="csX347" y="csY347"/>
                </a:cxn>
                <a:cxn ang="0">
                  <a:pos x="csX348" y="csY348"/>
                </a:cxn>
                <a:cxn ang="0">
                  <a:pos x="csX349" y="csY349"/>
                </a:cxn>
                <a:cxn ang="0">
                  <a:pos x="csX350" y="csY350"/>
                </a:cxn>
                <a:cxn ang="0">
                  <a:pos x="csX351" y="csY351"/>
                </a:cxn>
                <a:cxn ang="0">
                  <a:pos x="csX352" y="csY352"/>
                </a:cxn>
                <a:cxn ang="0">
                  <a:pos x="csX353" y="csY353"/>
                </a:cxn>
                <a:cxn ang="0">
                  <a:pos x="csX354" y="csY354"/>
                </a:cxn>
                <a:cxn ang="0">
                  <a:pos x="csX355" y="csY355"/>
                </a:cxn>
                <a:cxn ang="0">
                  <a:pos x="csX356" y="csY356"/>
                </a:cxn>
                <a:cxn ang="0">
                  <a:pos x="csX357" y="csY357"/>
                </a:cxn>
                <a:cxn ang="0">
                  <a:pos x="csX358" y="csY358"/>
                </a:cxn>
                <a:cxn ang="0">
                  <a:pos x="csX359" y="csY359"/>
                </a:cxn>
                <a:cxn ang="0">
                  <a:pos x="csX360" y="csY360"/>
                </a:cxn>
                <a:cxn ang="0">
                  <a:pos x="csX361" y="csY361"/>
                </a:cxn>
                <a:cxn ang="0">
                  <a:pos x="csX362" y="csY362"/>
                </a:cxn>
                <a:cxn ang="0">
                  <a:pos x="csX363" y="csY363"/>
                </a:cxn>
                <a:cxn ang="0">
                  <a:pos x="csX364" y="csY364"/>
                </a:cxn>
                <a:cxn ang="0">
                  <a:pos x="csX365" y="csY365"/>
                </a:cxn>
                <a:cxn ang="0">
                  <a:pos x="csX366" y="csY366"/>
                </a:cxn>
                <a:cxn ang="0">
                  <a:pos x="csX367" y="csY367"/>
                </a:cxn>
                <a:cxn ang="0">
                  <a:pos x="csX368" y="csY368"/>
                </a:cxn>
                <a:cxn ang="0">
                  <a:pos x="csX369" y="csY369"/>
                </a:cxn>
                <a:cxn ang="0">
                  <a:pos x="csX370" y="csY370"/>
                </a:cxn>
                <a:cxn ang="0">
                  <a:pos x="csX371" y="csY371"/>
                </a:cxn>
                <a:cxn ang="0">
                  <a:pos x="csX372" y="csY372"/>
                </a:cxn>
                <a:cxn ang="0">
                  <a:pos x="csX373" y="csY373"/>
                </a:cxn>
                <a:cxn ang="0">
                  <a:pos x="csX374" y="csY374"/>
                </a:cxn>
                <a:cxn ang="0">
                  <a:pos x="csX375" y="csY375"/>
                </a:cxn>
                <a:cxn ang="0">
                  <a:pos x="csX376" y="csY376"/>
                </a:cxn>
                <a:cxn ang="0">
                  <a:pos x="csX377" y="csY377"/>
                </a:cxn>
                <a:cxn ang="0">
                  <a:pos x="csX378" y="csY378"/>
                </a:cxn>
                <a:cxn ang="0">
                  <a:pos x="csX379" y="csY379"/>
                </a:cxn>
                <a:cxn ang="0">
                  <a:pos x="csX380" y="csY380"/>
                </a:cxn>
                <a:cxn ang="0">
                  <a:pos x="csX381" y="csY381"/>
                </a:cxn>
                <a:cxn ang="0">
                  <a:pos x="csX382" y="csY382"/>
                </a:cxn>
                <a:cxn ang="0">
                  <a:pos x="csX383" y="csY383"/>
                </a:cxn>
                <a:cxn ang="0">
                  <a:pos x="csX384" y="csY384"/>
                </a:cxn>
                <a:cxn ang="0">
                  <a:pos x="csX385" y="csY385"/>
                </a:cxn>
                <a:cxn ang="0">
                  <a:pos x="csX386" y="csY386"/>
                </a:cxn>
                <a:cxn ang="0">
                  <a:pos x="csX387" y="csY387"/>
                </a:cxn>
                <a:cxn ang="0">
                  <a:pos x="csX388" y="csY388"/>
                </a:cxn>
                <a:cxn ang="0">
                  <a:pos x="csX389" y="csY389"/>
                </a:cxn>
                <a:cxn ang="0">
                  <a:pos x="csX390" y="csY390"/>
                </a:cxn>
                <a:cxn ang="0">
                  <a:pos x="csX391" y="csY391"/>
                </a:cxn>
                <a:cxn ang="0">
                  <a:pos x="csX392" y="csY392"/>
                </a:cxn>
                <a:cxn ang="0">
                  <a:pos x="csX393" y="csY393"/>
                </a:cxn>
                <a:cxn ang="0">
                  <a:pos x="csX394" y="csY394"/>
                </a:cxn>
                <a:cxn ang="0">
                  <a:pos x="csX395" y="csY395"/>
                </a:cxn>
                <a:cxn ang="0">
                  <a:pos x="csX396" y="csY396"/>
                </a:cxn>
                <a:cxn ang="0">
                  <a:pos x="csX397" y="csY397"/>
                </a:cxn>
                <a:cxn ang="0">
                  <a:pos x="csX398" y="csY398"/>
                </a:cxn>
                <a:cxn ang="0">
                  <a:pos x="csX399" y="csY399"/>
                </a:cxn>
                <a:cxn ang="0">
                  <a:pos x="csX400" y="csY400"/>
                </a:cxn>
                <a:cxn ang="0">
                  <a:pos x="csX401" y="csY401"/>
                </a:cxn>
                <a:cxn ang="0">
                  <a:pos x="csX402" y="csY402"/>
                </a:cxn>
                <a:cxn ang="0">
                  <a:pos x="csX403" y="csY403"/>
                </a:cxn>
                <a:cxn ang="0">
                  <a:pos x="csX404" y="csY404"/>
                </a:cxn>
                <a:cxn ang="0">
                  <a:pos x="csX405" y="csY405"/>
                </a:cxn>
                <a:cxn ang="0">
                  <a:pos x="csX406" y="csY406"/>
                </a:cxn>
                <a:cxn ang="0">
                  <a:pos x="csX407" y="csY407"/>
                </a:cxn>
                <a:cxn ang="0">
                  <a:pos x="csX408" y="csY408"/>
                </a:cxn>
                <a:cxn ang="0">
                  <a:pos x="csX409" y="csY409"/>
                </a:cxn>
                <a:cxn ang="0">
                  <a:pos x="csX410" y="csY410"/>
                </a:cxn>
                <a:cxn ang="0">
                  <a:pos x="csX411" y="csY411"/>
                </a:cxn>
                <a:cxn ang="0">
                  <a:pos x="csX412" y="csY412"/>
                </a:cxn>
                <a:cxn ang="0">
                  <a:pos x="csX413" y="csY413"/>
                </a:cxn>
                <a:cxn ang="0">
                  <a:pos x="csX414" y="csY414"/>
                </a:cxn>
                <a:cxn ang="0">
                  <a:pos x="csX415" y="csY415"/>
                </a:cxn>
                <a:cxn ang="0">
                  <a:pos x="csX416" y="csY416"/>
                </a:cxn>
                <a:cxn ang="0">
                  <a:pos x="csX417" y="csY417"/>
                </a:cxn>
                <a:cxn ang="0">
                  <a:pos x="csX418" y="csY418"/>
                </a:cxn>
                <a:cxn ang="0">
                  <a:pos x="csX419" y="csY419"/>
                </a:cxn>
                <a:cxn ang="0">
                  <a:pos x="csX420" y="csY420"/>
                </a:cxn>
                <a:cxn ang="0">
                  <a:pos x="csX421" y="csY421"/>
                </a:cxn>
                <a:cxn ang="0">
                  <a:pos x="csX422" y="csY422"/>
                </a:cxn>
                <a:cxn ang="0">
                  <a:pos x="csX423" y="csY423"/>
                </a:cxn>
                <a:cxn ang="0">
                  <a:pos x="csX424" y="csY424"/>
                </a:cxn>
                <a:cxn ang="0">
                  <a:pos x="csX425" y="csY425"/>
                </a:cxn>
                <a:cxn ang="0">
                  <a:pos x="csX426" y="csY426"/>
                </a:cxn>
                <a:cxn ang="0">
                  <a:pos x="csX427" y="csY427"/>
                </a:cxn>
                <a:cxn ang="0">
                  <a:pos x="csX428" y="csY428"/>
                </a:cxn>
                <a:cxn ang="0">
                  <a:pos x="csX429" y="csY429"/>
                </a:cxn>
                <a:cxn ang="0">
                  <a:pos x="csX430" y="csY430"/>
                </a:cxn>
                <a:cxn ang="0">
                  <a:pos x="csX431" y="csY431"/>
                </a:cxn>
                <a:cxn ang="0">
                  <a:pos x="csX432" y="csY432"/>
                </a:cxn>
                <a:cxn ang="0">
                  <a:pos x="csX433" y="csY433"/>
                </a:cxn>
                <a:cxn ang="0">
                  <a:pos x="csX434" y="csY434"/>
                </a:cxn>
                <a:cxn ang="0">
                  <a:pos x="csX435" y="csY435"/>
                </a:cxn>
                <a:cxn ang="0">
                  <a:pos x="csX436" y="csY436"/>
                </a:cxn>
                <a:cxn ang="0">
                  <a:pos x="csX437" y="csY437"/>
                </a:cxn>
                <a:cxn ang="0">
                  <a:pos x="csX438" y="csY438"/>
                </a:cxn>
                <a:cxn ang="0">
                  <a:pos x="csX439" y="csY439"/>
                </a:cxn>
                <a:cxn ang="0">
                  <a:pos x="csX440" y="csY440"/>
                </a:cxn>
                <a:cxn ang="0">
                  <a:pos x="csX441" y="csY441"/>
                </a:cxn>
                <a:cxn ang="0">
                  <a:pos x="csX442" y="csY442"/>
                </a:cxn>
                <a:cxn ang="0">
                  <a:pos x="csX443" y="csY443"/>
                </a:cxn>
                <a:cxn ang="0">
                  <a:pos x="csX444" y="csY444"/>
                </a:cxn>
                <a:cxn ang="0">
                  <a:pos x="csX445" y="csY445"/>
                </a:cxn>
                <a:cxn ang="0">
                  <a:pos x="csX446" y="csY446"/>
                </a:cxn>
                <a:cxn ang="0">
                  <a:pos x="csX447" y="csY447"/>
                </a:cxn>
                <a:cxn ang="0">
                  <a:pos x="csX448" y="csY448"/>
                </a:cxn>
                <a:cxn ang="0">
                  <a:pos x="csX449" y="csY449"/>
                </a:cxn>
                <a:cxn ang="0">
                  <a:pos x="csX450" y="csY450"/>
                </a:cxn>
                <a:cxn ang="0">
                  <a:pos x="csX451" y="csY451"/>
                </a:cxn>
                <a:cxn ang="0">
                  <a:pos x="csX452" y="csY452"/>
                </a:cxn>
                <a:cxn ang="0">
                  <a:pos x="csX453" y="csY453"/>
                </a:cxn>
                <a:cxn ang="0">
                  <a:pos x="csX454" y="csY454"/>
                </a:cxn>
                <a:cxn ang="0">
                  <a:pos x="csX455" y="csY455"/>
                </a:cxn>
                <a:cxn ang="0">
                  <a:pos x="csX456" y="csY456"/>
                </a:cxn>
                <a:cxn ang="0">
                  <a:pos x="csX457" y="csY457"/>
                </a:cxn>
                <a:cxn ang="0">
                  <a:pos x="csX458" y="csY458"/>
                </a:cxn>
                <a:cxn ang="0">
                  <a:pos x="csX459" y="csY459"/>
                </a:cxn>
                <a:cxn ang="0">
                  <a:pos x="csX460" y="csY460"/>
                </a:cxn>
                <a:cxn ang="0">
                  <a:pos x="csX461" y="csY461"/>
                </a:cxn>
                <a:cxn ang="0">
                  <a:pos x="csX462" y="csY462"/>
                </a:cxn>
                <a:cxn ang="0">
                  <a:pos x="csX463" y="csY463"/>
                </a:cxn>
                <a:cxn ang="0">
                  <a:pos x="csX464" y="csY464"/>
                </a:cxn>
                <a:cxn ang="0">
                  <a:pos x="csX465" y="csY465"/>
                </a:cxn>
                <a:cxn ang="0">
                  <a:pos x="csX466" y="csY466"/>
                </a:cxn>
                <a:cxn ang="0">
                  <a:pos x="csX467" y="csY467"/>
                </a:cxn>
                <a:cxn ang="0">
                  <a:pos x="csX468" y="csY468"/>
                </a:cxn>
                <a:cxn ang="0">
                  <a:pos x="csX469" y="csY469"/>
                </a:cxn>
                <a:cxn ang="0">
                  <a:pos x="csX470" y="csY470"/>
                </a:cxn>
                <a:cxn ang="0">
                  <a:pos x="csX471" y="csY471"/>
                </a:cxn>
                <a:cxn ang="0">
                  <a:pos x="csX472" y="csY472"/>
                </a:cxn>
                <a:cxn ang="0">
                  <a:pos x="csX473" y="csY473"/>
                </a:cxn>
                <a:cxn ang="0">
                  <a:pos x="csX474" y="csY474"/>
                </a:cxn>
                <a:cxn ang="0">
                  <a:pos x="csX475" y="csY475"/>
                </a:cxn>
                <a:cxn ang="0">
                  <a:pos x="csX476" y="csY476"/>
                </a:cxn>
                <a:cxn ang="0">
                  <a:pos x="csX477" y="csY477"/>
                </a:cxn>
                <a:cxn ang="0">
                  <a:pos x="csX478" y="csY478"/>
                </a:cxn>
                <a:cxn ang="0">
                  <a:pos x="csX479" y="csY479"/>
                </a:cxn>
                <a:cxn ang="0">
                  <a:pos x="csX480" y="csY480"/>
                </a:cxn>
                <a:cxn ang="0">
                  <a:pos x="csX481" y="csY481"/>
                </a:cxn>
                <a:cxn ang="0">
                  <a:pos x="csX482" y="csY482"/>
                </a:cxn>
                <a:cxn ang="0">
                  <a:pos x="csX483" y="csY483"/>
                </a:cxn>
                <a:cxn ang="0">
                  <a:pos x="csX484" y="csY484"/>
                </a:cxn>
                <a:cxn ang="0">
                  <a:pos x="csX485" y="csY485"/>
                </a:cxn>
                <a:cxn ang="0">
                  <a:pos x="csX486" y="csY486"/>
                </a:cxn>
                <a:cxn ang="0">
                  <a:pos x="csX487" y="csY487"/>
                </a:cxn>
                <a:cxn ang="0">
                  <a:pos x="csX488" y="csY488"/>
                </a:cxn>
                <a:cxn ang="0">
                  <a:pos x="csX489" y="csY489"/>
                </a:cxn>
                <a:cxn ang="0">
                  <a:pos x="csX490" y="csY490"/>
                </a:cxn>
                <a:cxn ang="0">
                  <a:pos x="csX491" y="csY491"/>
                </a:cxn>
                <a:cxn ang="0">
                  <a:pos x="csX492" y="csY492"/>
                </a:cxn>
                <a:cxn ang="0">
                  <a:pos x="csX493" y="csY493"/>
                </a:cxn>
                <a:cxn ang="0">
                  <a:pos x="csX494" y="csY494"/>
                </a:cxn>
                <a:cxn ang="0">
                  <a:pos x="csX495" y="csY495"/>
                </a:cxn>
                <a:cxn ang="0">
                  <a:pos x="csX496" y="csY496"/>
                </a:cxn>
                <a:cxn ang="0">
                  <a:pos x="csX497" y="csY497"/>
                </a:cxn>
                <a:cxn ang="0">
                  <a:pos x="csX498" y="csY498"/>
                </a:cxn>
                <a:cxn ang="0">
                  <a:pos x="csX499" y="csY499"/>
                </a:cxn>
                <a:cxn ang="0">
                  <a:pos x="csX500" y="csY500"/>
                </a:cxn>
                <a:cxn ang="0">
                  <a:pos x="csX501" y="csY501"/>
                </a:cxn>
                <a:cxn ang="0">
                  <a:pos x="csX502" y="csY502"/>
                </a:cxn>
                <a:cxn ang="0">
                  <a:pos x="csX503" y="csY503"/>
                </a:cxn>
                <a:cxn ang="0">
                  <a:pos x="csX504" y="csY504"/>
                </a:cxn>
                <a:cxn ang="0">
                  <a:pos x="csX505" y="csY505"/>
                </a:cxn>
                <a:cxn ang="0">
                  <a:pos x="csX506" y="csY506"/>
                </a:cxn>
                <a:cxn ang="0">
                  <a:pos x="csX507" y="csY507"/>
                </a:cxn>
                <a:cxn ang="0">
                  <a:pos x="csX508" y="csY508"/>
                </a:cxn>
                <a:cxn ang="0">
                  <a:pos x="csX509" y="csY509"/>
                </a:cxn>
                <a:cxn ang="0">
                  <a:pos x="csX510" y="csY510"/>
                </a:cxn>
                <a:cxn ang="0">
                  <a:pos x="csX511" y="csY511"/>
                </a:cxn>
                <a:cxn ang="0">
                  <a:pos x="csX512" y="csY512"/>
                </a:cxn>
                <a:cxn ang="0">
                  <a:pos x="csX513" y="csY513"/>
                </a:cxn>
                <a:cxn ang="0">
                  <a:pos x="csX514" y="csY514"/>
                </a:cxn>
                <a:cxn ang="0">
                  <a:pos x="csX515" y="csY515"/>
                </a:cxn>
                <a:cxn ang="0">
                  <a:pos x="csX516" y="csY516"/>
                </a:cxn>
                <a:cxn ang="0">
                  <a:pos x="csX517" y="csY517"/>
                </a:cxn>
                <a:cxn ang="0">
                  <a:pos x="csX518" y="csY518"/>
                </a:cxn>
                <a:cxn ang="0">
                  <a:pos x="csX519" y="csY519"/>
                </a:cxn>
                <a:cxn ang="0">
                  <a:pos x="csX520" y="csY520"/>
                </a:cxn>
                <a:cxn ang="0">
                  <a:pos x="csX521" y="csY521"/>
                </a:cxn>
                <a:cxn ang="0">
                  <a:pos x="csX522" y="csY522"/>
                </a:cxn>
                <a:cxn ang="0">
                  <a:pos x="csX523" y="csY523"/>
                </a:cxn>
                <a:cxn ang="0">
                  <a:pos x="csX524" y="csY524"/>
                </a:cxn>
                <a:cxn ang="0">
                  <a:pos x="csX525" y="csY525"/>
                </a:cxn>
                <a:cxn ang="0">
                  <a:pos x="csX526" y="csY526"/>
                </a:cxn>
                <a:cxn ang="0">
                  <a:pos x="csX527" y="csY527"/>
                </a:cxn>
                <a:cxn ang="0">
                  <a:pos x="csX528" y="csY528"/>
                </a:cxn>
                <a:cxn ang="0">
                  <a:pos x="csX529" y="csY529"/>
                </a:cxn>
                <a:cxn ang="0">
                  <a:pos x="csX530" y="csY530"/>
                </a:cxn>
                <a:cxn ang="0">
                  <a:pos x="csX531" y="csY531"/>
                </a:cxn>
                <a:cxn ang="0">
                  <a:pos x="csX532" y="csY532"/>
                </a:cxn>
                <a:cxn ang="0">
                  <a:pos x="csX533" y="csY533"/>
                </a:cxn>
                <a:cxn ang="0">
                  <a:pos x="csX534" y="csY534"/>
                </a:cxn>
                <a:cxn ang="0">
                  <a:pos x="csX535" y="csY535"/>
                </a:cxn>
                <a:cxn ang="0">
                  <a:pos x="csX536" y="csY536"/>
                </a:cxn>
                <a:cxn ang="0">
                  <a:pos x="csX537" y="csY537"/>
                </a:cxn>
                <a:cxn ang="0">
                  <a:pos x="csX538" y="csY538"/>
                </a:cxn>
                <a:cxn ang="0">
                  <a:pos x="csX539" y="csY539"/>
                </a:cxn>
                <a:cxn ang="0">
                  <a:pos x="csX540" y="csY540"/>
                </a:cxn>
                <a:cxn ang="0">
                  <a:pos x="csX541" y="csY541"/>
                </a:cxn>
                <a:cxn ang="0">
                  <a:pos x="csX542" y="csY542"/>
                </a:cxn>
                <a:cxn ang="0">
                  <a:pos x="csX543" y="csY543"/>
                </a:cxn>
                <a:cxn ang="0">
                  <a:pos x="csX544" y="csY544"/>
                </a:cxn>
                <a:cxn ang="0">
                  <a:pos x="csX545" y="csY545"/>
                </a:cxn>
                <a:cxn ang="0">
                  <a:pos x="csX546" y="csY546"/>
                </a:cxn>
                <a:cxn ang="0">
                  <a:pos x="csX547" y="csY547"/>
                </a:cxn>
                <a:cxn ang="0">
                  <a:pos x="csX548" y="csY548"/>
                </a:cxn>
                <a:cxn ang="0">
                  <a:pos x="csX549" y="csY549"/>
                </a:cxn>
                <a:cxn ang="0">
                  <a:pos x="csX550" y="csY550"/>
                </a:cxn>
                <a:cxn ang="0">
                  <a:pos x="csX551" y="csY551"/>
                </a:cxn>
                <a:cxn ang="0">
                  <a:pos x="csX552" y="csY552"/>
                </a:cxn>
                <a:cxn ang="0">
                  <a:pos x="csX553" y="csY553"/>
                </a:cxn>
                <a:cxn ang="0">
                  <a:pos x="csX554" y="csY554"/>
                </a:cxn>
                <a:cxn ang="0">
                  <a:pos x="csX555" y="csY555"/>
                </a:cxn>
                <a:cxn ang="0">
                  <a:pos x="csX556" y="csY556"/>
                </a:cxn>
                <a:cxn ang="0">
                  <a:pos x="csX557" y="csY557"/>
                </a:cxn>
                <a:cxn ang="0">
                  <a:pos x="csX558" y="csY558"/>
                </a:cxn>
                <a:cxn ang="0">
                  <a:pos x="csX559" y="csY559"/>
                </a:cxn>
                <a:cxn ang="0">
                  <a:pos x="csX560" y="csY560"/>
                </a:cxn>
                <a:cxn ang="0">
                  <a:pos x="csX561" y="csY561"/>
                </a:cxn>
                <a:cxn ang="0">
                  <a:pos x="csX562" y="csY562"/>
                </a:cxn>
                <a:cxn ang="0">
                  <a:pos x="csX563" y="csY563"/>
                </a:cxn>
                <a:cxn ang="0">
                  <a:pos x="csX564" y="csY564"/>
                </a:cxn>
                <a:cxn ang="0">
                  <a:pos x="csX565" y="csY565"/>
                </a:cxn>
                <a:cxn ang="0">
                  <a:pos x="csX566" y="csY566"/>
                </a:cxn>
                <a:cxn ang="0">
                  <a:pos x="csX567" y="csY567"/>
                </a:cxn>
                <a:cxn ang="0">
                  <a:pos x="csX568" y="csY568"/>
                </a:cxn>
                <a:cxn ang="0">
                  <a:pos x="csX569" y="csY569"/>
                </a:cxn>
                <a:cxn ang="0">
                  <a:pos x="csX570" y="csY570"/>
                </a:cxn>
                <a:cxn ang="0">
                  <a:pos x="csX571" y="csY571"/>
                </a:cxn>
                <a:cxn ang="0">
                  <a:pos x="csX572" y="csY572"/>
                </a:cxn>
                <a:cxn ang="0">
                  <a:pos x="csX573" y="csY573"/>
                </a:cxn>
                <a:cxn ang="0">
                  <a:pos x="csX574" y="csY574"/>
                </a:cxn>
                <a:cxn ang="0">
                  <a:pos x="csX575" y="csY575"/>
                </a:cxn>
                <a:cxn ang="0">
                  <a:pos x="csX576" y="csY576"/>
                </a:cxn>
                <a:cxn ang="0">
                  <a:pos x="csX577" y="csY577"/>
                </a:cxn>
                <a:cxn ang="0">
                  <a:pos x="csX578" y="csY578"/>
                </a:cxn>
                <a:cxn ang="0">
                  <a:pos x="csX579" y="csY579"/>
                </a:cxn>
                <a:cxn ang="0">
                  <a:pos x="csX580" y="csY580"/>
                </a:cxn>
                <a:cxn ang="0">
                  <a:pos x="csX581" y="csY581"/>
                </a:cxn>
                <a:cxn ang="0">
                  <a:pos x="csX582" y="csY582"/>
                </a:cxn>
                <a:cxn ang="0">
                  <a:pos x="csX583" y="csY583"/>
                </a:cxn>
                <a:cxn ang="0">
                  <a:pos x="csX584" y="csY584"/>
                </a:cxn>
                <a:cxn ang="0">
                  <a:pos x="csX585" y="csY585"/>
                </a:cxn>
                <a:cxn ang="0">
                  <a:pos x="csX586" y="csY586"/>
                </a:cxn>
                <a:cxn ang="0">
                  <a:pos x="csX587" y="csY587"/>
                </a:cxn>
                <a:cxn ang="0">
                  <a:pos x="csX588" y="csY588"/>
                </a:cxn>
                <a:cxn ang="0">
                  <a:pos x="csX589" y="csY589"/>
                </a:cxn>
                <a:cxn ang="0">
                  <a:pos x="csX590" y="csY590"/>
                </a:cxn>
                <a:cxn ang="0">
                  <a:pos x="csX591" y="csY591"/>
                </a:cxn>
                <a:cxn ang="0">
                  <a:pos x="csX592" y="csY592"/>
                </a:cxn>
                <a:cxn ang="0">
                  <a:pos x="csX593" y="csY593"/>
                </a:cxn>
                <a:cxn ang="0">
                  <a:pos x="csX594" y="csY594"/>
                </a:cxn>
                <a:cxn ang="0">
                  <a:pos x="csX595" y="csY595"/>
                </a:cxn>
                <a:cxn ang="0">
                  <a:pos x="csX596" y="csY596"/>
                </a:cxn>
                <a:cxn ang="0">
                  <a:pos x="csX597" y="csY597"/>
                </a:cxn>
                <a:cxn ang="0">
                  <a:pos x="csX598" y="csY598"/>
                </a:cxn>
                <a:cxn ang="0">
                  <a:pos x="csX599" y="csY599"/>
                </a:cxn>
                <a:cxn ang="0">
                  <a:pos x="csX600" y="csY600"/>
                </a:cxn>
                <a:cxn ang="0">
                  <a:pos x="csX601" y="csY601"/>
                </a:cxn>
                <a:cxn ang="0">
                  <a:pos x="csX602" y="csY602"/>
                </a:cxn>
                <a:cxn ang="0">
                  <a:pos x="csX603" y="csY603"/>
                </a:cxn>
                <a:cxn ang="0">
                  <a:pos x="csX604" y="csY604"/>
                </a:cxn>
                <a:cxn ang="0">
                  <a:pos x="csX605" y="csY605"/>
                </a:cxn>
                <a:cxn ang="0">
                  <a:pos x="csX606" y="csY606"/>
                </a:cxn>
                <a:cxn ang="0">
                  <a:pos x="csX607" y="csY607"/>
                </a:cxn>
                <a:cxn ang="0">
                  <a:pos x="csX608" y="csY608"/>
                </a:cxn>
                <a:cxn ang="0">
                  <a:pos x="csX609" y="csY609"/>
                </a:cxn>
                <a:cxn ang="0">
                  <a:pos x="csX610" y="csY610"/>
                </a:cxn>
                <a:cxn ang="0">
                  <a:pos x="csX611" y="csY611"/>
                </a:cxn>
                <a:cxn ang="0">
                  <a:pos x="csX612" y="csY612"/>
                </a:cxn>
                <a:cxn ang="0">
                  <a:pos x="csX613" y="csY613"/>
                </a:cxn>
                <a:cxn ang="0">
                  <a:pos x="csX614" y="csY614"/>
                </a:cxn>
                <a:cxn ang="0">
                  <a:pos x="csX615" y="csY615"/>
                </a:cxn>
                <a:cxn ang="0">
                  <a:pos x="csX616" y="csY616"/>
                </a:cxn>
                <a:cxn ang="0">
                  <a:pos x="csX617" y="csY617"/>
                </a:cxn>
                <a:cxn ang="0">
                  <a:pos x="csX618" y="csY618"/>
                </a:cxn>
                <a:cxn ang="0">
                  <a:pos x="csX619" y="csY619"/>
                </a:cxn>
                <a:cxn ang="0">
                  <a:pos x="csX620" y="csY620"/>
                </a:cxn>
                <a:cxn ang="0">
                  <a:pos x="csX621" y="csY621"/>
                </a:cxn>
                <a:cxn ang="0">
                  <a:pos x="csX622" y="csY622"/>
                </a:cxn>
                <a:cxn ang="0">
                  <a:pos x="csX623" y="csY623"/>
                </a:cxn>
                <a:cxn ang="0">
                  <a:pos x="csX624" y="csY624"/>
                </a:cxn>
                <a:cxn ang="0">
                  <a:pos x="csX625" y="csY625"/>
                </a:cxn>
                <a:cxn ang="0">
                  <a:pos x="csX626" y="csY626"/>
                </a:cxn>
                <a:cxn ang="0">
                  <a:pos x="csX627" y="csY627"/>
                </a:cxn>
                <a:cxn ang="0">
                  <a:pos x="csX628" y="csY628"/>
                </a:cxn>
                <a:cxn ang="0">
                  <a:pos x="csX629" y="csY629"/>
                </a:cxn>
                <a:cxn ang="0">
                  <a:pos x="csX630" y="csY630"/>
                </a:cxn>
                <a:cxn ang="0">
                  <a:pos x="csX631" y="csY631"/>
                </a:cxn>
                <a:cxn ang="0">
                  <a:pos x="csX632" y="csY632"/>
                </a:cxn>
                <a:cxn ang="0">
                  <a:pos x="csX633" y="csY633"/>
                </a:cxn>
                <a:cxn ang="0">
                  <a:pos x="csX634" y="csY634"/>
                </a:cxn>
                <a:cxn ang="0">
                  <a:pos x="csX635" y="csY635"/>
                </a:cxn>
                <a:cxn ang="0">
                  <a:pos x="csX636" y="csY636"/>
                </a:cxn>
                <a:cxn ang="0">
                  <a:pos x="csX637" y="csY637"/>
                </a:cxn>
                <a:cxn ang="0">
                  <a:pos x="csX638" y="csY638"/>
                </a:cxn>
                <a:cxn ang="0">
                  <a:pos x="csX639" y="csY639"/>
                </a:cxn>
                <a:cxn ang="0">
                  <a:pos x="csX640" y="csY640"/>
                </a:cxn>
                <a:cxn ang="0">
                  <a:pos x="csX641" y="csY641"/>
                </a:cxn>
                <a:cxn ang="0">
                  <a:pos x="csX642" y="csY642"/>
                </a:cxn>
                <a:cxn ang="0">
                  <a:pos x="csX643" y="csY643"/>
                </a:cxn>
                <a:cxn ang="0">
                  <a:pos x="csX644" y="csY644"/>
                </a:cxn>
                <a:cxn ang="0">
                  <a:pos x="csX645" y="csY645"/>
                </a:cxn>
                <a:cxn ang="0">
                  <a:pos x="csX646" y="csY646"/>
                </a:cxn>
                <a:cxn ang="0">
                  <a:pos x="csX647" y="csY647"/>
                </a:cxn>
                <a:cxn ang="0">
                  <a:pos x="csX648" y="csY648"/>
                </a:cxn>
                <a:cxn ang="0">
                  <a:pos x="csX649" y="csY649"/>
                </a:cxn>
                <a:cxn ang="0">
                  <a:pos x="csX650" y="csY650"/>
                </a:cxn>
                <a:cxn ang="0">
                  <a:pos x="csX651" y="csY651"/>
                </a:cxn>
                <a:cxn ang="0">
                  <a:pos x="csX652" y="csY652"/>
                </a:cxn>
                <a:cxn ang="0">
                  <a:pos x="csX653" y="csY653"/>
                </a:cxn>
                <a:cxn ang="0">
                  <a:pos x="csX654" y="csY654"/>
                </a:cxn>
                <a:cxn ang="0">
                  <a:pos x="csX655" y="csY655"/>
                </a:cxn>
                <a:cxn ang="0">
                  <a:pos x="csX656" y="csY656"/>
                </a:cxn>
                <a:cxn ang="0">
                  <a:pos x="csX657" y="csY657"/>
                </a:cxn>
                <a:cxn ang="0">
                  <a:pos x="csX658" y="csY658"/>
                </a:cxn>
                <a:cxn ang="0">
                  <a:pos x="csX659" y="csY659"/>
                </a:cxn>
                <a:cxn ang="0">
                  <a:pos x="csX660" y="csY660"/>
                </a:cxn>
                <a:cxn ang="0">
                  <a:pos x="csX661" y="csY661"/>
                </a:cxn>
                <a:cxn ang="0">
                  <a:pos x="csX662" y="csY662"/>
                </a:cxn>
                <a:cxn ang="0">
                  <a:pos x="csX663" y="csY663"/>
                </a:cxn>
                <a:cxn ang="0">
                  <a:pos x="csX664" y="csY664"/>
                </a:cxn>
                <a:cxn ang="0">
                  <a:pos x="csX665" y="csY665"/>
                </a:cxn>
                <a:cxn ang="0">
                  <a:pos x="csX666" y="csY666"/>
                </a:cxn>
                <a:cxn ang="0">
                  <a:pos x="csX667" y="csY667"/>
                </a:cxn>
                <a:cxn ang="0">
                  <a:pos x="csX668" y="csY668"/>
                </a:cxn>
                <a:cxn ang="0">
                  <a:pos x="csX669" y="csY669"/>
                </a:cxn>
                <a:cxn ang="0">
                  <a:pos x="csX670" y="csY670"/>
                </a:cxn>
                <a:cxn ang="0">
                  <a:pos x="csX671" y="csY671"/>
                </a:cxn>
                <a:cxn ang="0">
                  <a:pos x="csX672" y="csY672"/>
                </a:cxn>
                <a:cxn ang="0">
                  <a:pos x="csX673" y="csY673"/>
                </a:cxn>
                <a:cxn ang="0">
                  <a:pos x="csX674" y="csY674"/>
                </a:cxn>
                <a:cxn ang="0">
                  <a:pos x="csX675" y="csY675"/>
                </a:cxn>
                <a:cxn ang="0">
                  <a:pos x="csX676" y="csY676"/>
                </a:cxn>
                <a:cxn ang="0">
                  <a:pos x="csX677" y="csY677"/>
                </a:cxn>
                <a:cxn ang="0">
                  <a:pos x="csX678" y="csY678"/>
                </a:cxn>
                <a:cxn ang="0">
                  <a:pos x="csX679" y="csY679"/>
                </a:cxn>
                <a:cxn ang="0">
                  <a:pos x="csX680" y="csY680"/>
                </a:cxn>
                <a:cxn ang="0">
                  <a:pos x="csX681" y="csY681"/>
                </a:cxn>
                <a:cxn ang="0">
                  <a:pos x="csX682" y="csY682"/>
                </a:cxn>
                <a:cxn ang="0">
                  <a:pos x="csX683" y="csY683"/>
                </a:cxn>
                <a:cxn ang="0">
                  <a:pos x="csX684" y="csY684"/>
                </a:cxn>
                <a:cxn ang="0">
                  <a:pos x="csX685" y="csY685"/>
                </a:cxn>
                <a:cxn ang="0">
                  <a:pos x="csX686" y="csY686"/>
                </a:cxn>
                <a:cxn ang="0">
                  <a:pos x="csX687" y="csY687"/>
                </a:cxn>
                <a:cxn ang="0">
                  <a:pos x="csX688" y="csY688"/>
                </a:cxn>
                <a:cxn ang="0">
                  <a:pos x="csX689" y="csY689"/>
                </a:cxn>
                <a:cxn ang="0">
                  <a:pos x="csX690" y="csY690"/>
                </a:cxn>
                <a:cxn ang="0">
                  <a:pos x="csX691" y="csY691"/>
                </a:cxn>
                <a:cxn ang="0">
                  <a:pos x="csX692" y="csY692"/>
                </a:cxn>
                <a:cxn ang="0">
                  <a:pos x="csX693" y="csY693"/>
                </a:cxn>
                <a:cxn ang="0">
                  <a:pos x="csX694" y="csY694"/>
                </a:cxn>
                <a:cxn ang="0">
                  <a:pos x="csX695" y="csY695"/>
                </a:cxn>
                <a:cxn ang="0">
                  <a:pos x="csX696" y="csY696"/>
                </a:cxn>
                <a:cxn ang="0">
                  <a:pos x="csX697" y="csY697"/>
                </a:cxn>
                <a:cxn ang="0">
                  <a:pos x="csX698" y="csY698"/>
                </a:cxn>
                <a:cxn ang="0">
                  <a:pos x="csX699" y="csY699"/>
                </a:cxn>
                <a:cxn ang="0">
                  <a:pos x="csX700" y="csY700"/>
                </a:cxn>
                <a:cxn ang="0">
                  <a:pos x="csX701" y="csY701"/>
                </a:cxn>
                <a:cxn ang="0">
                  <a:pos x="csX702" y="csY702"/>
                </a:cxn>
                <a:cxn ang="0">
                  <a:pos x="csX703" y="csY703"/>
                </a:cxn>
                <a:cxn ang="0">
                  <a:pos x="csX704" y="csY704"/>
                </a:cxn>
                <a:cxn ang="0">
                  <a:pos x="csX705" y="csY705"/>
                </a:cxn>
                <a:cxn ang="0">
                  <a:pos x="csX706" y="csY706"/>
                </a:cxn>
                <a:cxn ang="0">
                  <a:pos x="csX707" y="csY707"/>
                </a:cxn>
                <a:cxn ang="0">
                  <a:pos x="csX708" y="csY708"/>
                </a:cxn>
                <a:cxn ang="0">
                  <a:pos x="csX709" y="csY709"/>
                </a:cxn>
                <a:cxn ang="0">
                  <a:pos x="csX710" y="csY710"/>
                </a:cxn>
                <a:cxn ang="0">
                  <a:pos x="csX711" y="csY711"/>
                </a:cxn>
                <a:cxn ang="0">
                  <a:pos x="csX712" y="csY712"/>
                </a:cxn>
                <a:cxn ang="0">
                  <a:pos x="csX713" y="csY713"/>
                </a:cxn>
                <a:cxn ang="0">
                  <a:pos x="csX714" y="csY714"/>
                </a:cxn>
                <a:cxn ang="0">
                  <a:pos x="csX715" y="csY715"/>
                </a:cxn>
                <a:cxn ang="0">
                  <a:pos x="csX716" y="csY716"/>
                </a:cxn>
                <a:cxn ang="0">
                  <a:pos x="csX717" y="csY717"/>
                </a:cxn>
                <a:cxn ang="0">
                  <a:pos x="csX718" y="csY718"/>
                </a:cxn>
                <a:cxn ang="0">
                  <a:pos x="csX719" y="csY719"/>
                </a:cxn>
                <a:cxn ang="0">
                  <a:pos x="csX720" y="csY720"/>
                </a:cxn>
                <a:cxn ang="0">
                  <a:pos x="csX721" y="csY721"/>
                </a:cxn>
                <a:cxn ang="0">
                  <a:pos x="csX722" y="csY722"/>
                </a:cxn>
                <a:cxn ang="0">
                  <a:pos x="csX723" y="csY723"/>
                </a:cxn>
                <a:cxn ang="0">
                  <a:pos x="csX724" y="csY724"/>
                </a:cxn>
                <a:cxn ang="0">
                  <a:pos x="csX725" y="csY725"/>
                </a:cxn>
                <a:cxn ang="0">
                  <a:pos x="csX726" y="csY726"/>
                </a:cxn>
                <a:cxn ang="0">
                  <a:pos x="csX727" y="csY727"/>
                </a:cxn>
                <a:cxn ang="0">
                  <a:pos x="csX728" y="csY728"/>
                </a:cxn>
                <a:cxn ang="0">
                  <a:pos x="csX729" y="csY729"/>
                </a:cxn>
                <a:cxn ang="0">
                  <a:pos x="csX730" y="csY730"/>
                </a:cxn>
                <a:cxn ang="0">
                  <a:pos x="csX731" y="csY731"/>
                </a:cxn>
                <a:cxn ang="0">
                  <a:pos x="csX732" y="csY732"/>
                </a:cxn>
                <a:cxn ang="0">
                  <a:pos x="csX733" y="csY733"/>
                </a:cxn>
                <a:cxn ang="0">
                  <a:pos x="csX734" y="csY734"/>
                </a:cxn>
                <a:cxn ang="0">
                  <a:pos x="csX735" y="csY735"/>
                </a:cxn>
                <a:cxn ang="0">
                  <a:pos x="csX736" y="csY736"/>
                </a:cxn>
                <a:cxn ang="0">
                  <a:pos x="csX737" y="csY737"/>
                </a:cxn>
                <a:cxn ang="0">
                  <a:pos x="csX738" y="csY738"/>
                </a:cxn>
                <a:cxn ang="0">
                  <a:pos x="csX739" y="csY739"/>
                </a:cxn>
                <a:cxn ang="0">
                  <a:pos x="csX740" y="csY740"/>
                </a:cxn>
                <a:cxn ang="0">
                  <a:pos x="csX741" y="csY741"/>
                </a:cxn>
                <a:cxn ang="0">
                  <a:pos x="csX742" y="csY742"/>
                </a:cxn>
                <a:cxn ang="0">
                  <a:pos x="csX743" y="csY743"/>
                </a:cxn>
                <a:cxn ang="0">
                  <a:pos x="csX744" y="csY744"/>
                </a:cxn>
                <a:cxn ang="0">
                  <a:pos x="csX745" y="csY745"/>
                </a:cxn>
                <a:cxn ang="0">
                  <a:pos x="csX746" y="csY746"/>
                </a:cxn>
                <a:cxn ang="0">
                  <a:pos x="csX747" y="csY747"/>
                </a:cxn>
                <a:cxn ang="0">
                  <a:pos x="csX748" y="csY748"/>
                </a:cxn>
                <a:cxn ang="0">
                  <a:pos x="csX749" y="csY749"/>
                </a:cxn>
                <a:cxn ang="0">
                  <a:pos x="csX750" y="csY750"/>
                </a:cxn>
                <a:cxn ang="0">
                  <a:pos x="csX751" y="csY751"/>
                </a:cxn>
                <a:cxn ang="0">
                  <a:pos x="csX752" y="csY752"/>
                </a:cxn>
                <a:cxn ang="0">
                  <a:pos x="csX753" y="csY753"/>
                </a:cxn>
                <a:cxn ang="0">
                  <a:pos x="csX754" y="csY754"/>
                </a:cxn>
                <a:cxn ang="0">
                  <a:pos x="csX755" y="csY755"/>
                </a:cxn>
                <a:cxn ang="0">
                  <a:pos x="csX756" y="csY756"/>
                </a:cxn>
                <a:cxn ang="0">
                  <a:pos x="csX757" y="csY757"/>
                </a:cxn>
                <a:cxn ang="0">
                  <a:pos x="csX758" y="csY758"/>
                </a:cxn>
                <a:cxn ang="0">
                  <a:pos x="csX759" y="csY759"/>
                </a:cxn>
                <a:cxn ang="0">
                  <a:pos x="csX760" y="csY760"/>
                </a:cxn>
                <a:cxn ang="0">
                  <a:pos x="csX761" y="csY761"/>
                </a:cxn>
                <a:cxn ang="0">
                  <a:pos x="csX762" y="csY762"/>
                </a:cxn>
                <a:cxn ang="0">
                  <a:pos x="csX763" y="csY763"/>
                </a:cxn>
                <a:cxn ang="0">
                  <a:pos x="csX764" y="csY764"/>
                </a:cxn>
                <a:cxn ang="0">
                  <a:pos x="csX765" y="csY765"/>
                </a:cxn>
                <a:cxn ang="0">
                  <a:pos x="csX766" y="csY766"/>
                </a:cxn>
                <a:cxn ang="0">
                  <a:pos x="csX767" y="csY767"/>
                </a:cxn>
                <a:cxn ang="0">
                  <a:pos x="csX768" y="csY768"/>
                </a:cxn>
                <a:cxn ang="0">
                  <a:pos x="csX769" y="csY769"/>
                </a:cxn>
                <a:cxn ang="0">
                  <a:pos x="csX770" y="csY770"/>
                </a:cxn>
                <a:cxn ang="0">
                  <a:pos x="csX771" y="csY771"/>
                </a:cxn>
                <a:cxn ang="0">
                  <a:pos x="csX772" y="csY772"/>
                </a:cxn>
                <a:cxn ang="0">
                  <a:pos x="csX773" y="csY773"/>
                </a:cxn>
                <a:cxn ang="0">
                  <a:pos x="csX774" y="csY774"/>
                </a:cxn>
                <a:cxn ang="0">
                  <a:pos x="csX775" y="csY775"/>
                </a:cxn>
                <a:cxn ang="0">
                  <a:pos x="csX776" y="csY776"/>
                </a:cxn>
                <a:cxn ang="0">
                  <a:pos x="csX777" y="csY777"/>
                </a:cxn>
                <a:cxn ang="0">
                  <a:pos x="csX778" y="csY778"/>
                </a:cxn>
                <a:cxn ang="0">
                  <a:pos x="csX779" y="csY779"/>
                </a:cxn>
                <a:cxn ang="0">
                  <a:pos x="csX780" y="csY780"/>
                </a:cxn>
                <a:cxn ang="0">
                  <a:pos x="csX781" y="csY781"/>
                </a:cxn>
                <a:cxn ang="0">
                  <a:pos x="csX782" y="csY782"/>
                </a:cxn>
                <a:cxn ang="0">
                  <a:pos x="csX783" y="csY783"/>
                </a:cxn>
                <a:cxn ang="0">
                  <a:pos x="csX784" y="csY784"/>
                </a:cxn>
                <a:cxn ang="0">
                  <a:pos x="csX785" y="csY785"/>
                </a:cxn>
                <a:cxn ang="0">
                  <a:pos x="csX786" y="csY786"/>
                </a:cxn>
                <a:cxn ang="0">
                  <a:pos x="csX787" y="csY787"/>
                </a:cxn>
                <a:cxn ang="0">
                  <a:pos x="csX788" y="csY788"/>
                </a:cxn>
                <a:cxn ang="0">
                  <a:pos x="csX789" y="csY789"/>
                </a:cxn>
                <a:cxn ang="0">
                  <a:pos x="csX790" y="csY790"/>
                </a:cxn>
                <a:cxn ang="0">
                  <a:pos x="csX791" y="csY791"/>
                </a:cxn>
                <a:cxn ang="0">
                  <a:pos x="csX792" y="csY792"/>
                </a:cxn>
                <a:cxn ang="0">
                  <a:pos x="csX793" y="csY793"/>
                </a:cxn>
                <a:cxn ang="0">
                  <a:pos x="csX794" y="csY794"/>
                </a:cxn>
                <a:cxn ang="0">
                  <a:pos x="csX795" y="csY795"/>
                </a:cxn>
                <a:cxn ang="0">
                  <a:pos x="csX796" y="csY796"/>
                </a:cxn>
                <a:cxn ang="0">
                  <a:pos x="csX797" y="csY797"/>
                </a:cxn>
                <a:cxn ang="0">
                  <a:pos x="csX798" y="csY798"/>
                </a:cxn>
                <a:cxn ang="0">
                  <a:pos x="csX799" y="csY799"/>
                </a:cxn>
                <a:cxn ang="0">
                  <a:pos x="csX800" y="csY800"/>
                </a:cxn>
                <a:cxn ang="0">
                  <a:pos x="csX801" y="csY801"/>
                </a:cxn>
                <a:cxn ang="0">
                  <a:pos x="csX802" y="csY802"/>
                </a:cxn>
                <a:cxn ang="0">
                  <a:pos x="csX803" y="csY803"/>
                </a:cxn>
                <a:cxn ang="0">
                  <a:pos x="csX804" y="csY804"/>
                </a:cxn>
                <a:cxn ang="0">
                  <a:pos x="csX805" y="csY805"/>
                </a:cxn>
                <a:cxn ang="0">
                  <a:pos x="csX806" y="csY806"/>
                </a:cxn>
                <a:cxn ang="0">
                  <a:pos x="csX807" y="csY807"/>
                </a:cxn>
                <a:cxn ang="0">
                  <a:pos x="csX808" y="csY808"/>
                </a:cxn>
                <a:cxn ang="0">
                  <a:pos x="csX809" y="csY809"/>
                </a:cxn>
                <a:cxn ang="0">
                  <a:pos x="csX810" y="csY810"/>
                </a:cxn>
                <a:cxn ang="0">
                  <a:pos x="csX811" y="csY811"/>
                </a:cxn>
                <a:cxn ang="0">
                  <a:pos x="csX812" y="csY812"/>
                </a:cxn>
                <a:cxn ang="0">
                  <a:pos x="csX813" y="csY813"/>
                </a:cxn>
                <a:cxn ang="0">
                  <a:pos x="csX814" y="csY814"/>
                </a:cxn>
                <a:cxn ang="0">
                  <a:pos x="csX815" y="csY815"/>
                </a:cxn>
                <a:cxn ang="0">
                  <a:pos x="csX816" y="csY816"/>
                </a:cxn>
                <a:cxn ang="0">
                  <a:pos x="csX817" y="csY817"/>
                </a:cxn>
                <a:cxn ang="0">
                  <a:pos x="csX818" y="csY818"/>
                </a:cxn>
                <a:cxn ang="0">
                  <a:pos x="csX819" y="csY819"/>
                </a:cxn>
                <a:cxn ang="0">
                  <a:pos x="csX820" y="csY820"/>
                </a:cxn>
                <a:cxn ang="0">
                  <a:pos x="csX821" y="csY821"/>
                </a:cxn>
                <a:cxn ang="0">
                  <a:pos x="csX822" y="csY822"/>
                </a:cxn>
                <a:cxn ang="0">
                  <a:pos x="csX823" y="csY823"/>
                </a:cxn>
                <a:cxn ang="0">
                  <a:pos x="csX824" y="csY824"/>
                </a:cxn>
                <a:cxn ang="0">
                  <a:pos x="csX825" y="csY825"/>
                </a:cxn>
                <a:cxn ang="0">
                  <a:pos x="csX826" y="csY826"/>
                </a:cxn>
                <a:cxn ang="0">
                  <a:pos x="csX827" y="csY827"/>
                </a:cxn>
                <a:cxn ang="0">
                  <a:pos x="csX828" y="csY828"/>
                </a:cxn>
                <a:cxn ang="0">
                  <a:pos x="csX829" y="csY829"/>
                </a:cxn>
                <a:cxn ang="0">
                  <a:pos x="csX830" y="csY830"/>
                </a:cxn>
                <a:cxn ang="0">
                  <a:pos x="csX831" y="csY831"/>
                </a:cxn>
                <a:cxn ang="0">
                  <a:pos x="csX832" y="csY832"/>
                </a:cxn>
                <a:cxn ang="0">
                  <a:pos x="csX833" y="csY833"/>
                </a:cxn>
              </a:cxnLst>
              <a:rect l="l" t="t" r="r" b="b"/>
              <a:pathLst>
                <a:path w="1578711" h="892774">
                  <a:moveTo>
                    <a:pt x="1515467" y="860339"/>
                  </a:moveTo>
                  <a:lnTo>
                    <a:pt x="1534066" y="860339"/>
                  </a:lnTo>
                  <a:lnTo>
                    <a:pt x="1534066" y="887711"/>
                  </a:lnTo>
                  <a:lnTo>
                    <a:pt x="1309618" y="887711"/>
                  </a:lnTo>
                  <a:lnTo>
                    <a:pt x="1309618" y="860339"/>
                  </a:lnTo>
                  <a:lnTo>
                    <a:pt x="1328271" y="860339"/>
                  </a:lnTo>
                  <a:lnTo>
                    <a:pt x="1328271" y="498177"/>
                  </a:lnTo>
                  <a:lnTo>
                    <a:pt x="1283996" y="498177"/>
                  </a:lnTo>
                  <a:cubicBezTo>
                    <a:pt x="1264904" y="526124"/>
                    <a:pt x="1234563" y="549590"/>
                    <a:pt x="1209161" y="572687"/>
                  </a:cubicBezTo>
                  <a:cubicBezTo>
                    <a:pt x="1184088" y="595456"/>
                    <a:pt x="1163843" y="617868"/>
                    <a:pt x="1163843" y="643851"/>
                  </a:cubicBezTo>
                  <a:cubicBezTo>
                    <a:pt x="1163843" y="617868"/>
                    <a:pt x="1143544" y="595451"/>
                    <a:pt x="1118526" y="572687"/>
                  </a:cubicBezTo>
                  <a:cubicBezTo>
                    <a:pt x="1085662" y="542858"/>
                    <a:pt x="1044679" y="512419"/>
                    <a:pt x="1030250" y="472522"/>
                  </a:cubicBezTo>
                  <a:lnTo>
                    <a:pt x="1030250" y="507388"/>
                  </a:lnTo>
                  <a:lnTo>
                    <a:pt x="1049343" y="527523"/>
                  </a:lnTo>
                  <a:lnTo>
                    <a:pt x="1049343" y="537816"/>
                  </a:lnTo>
                  <a:lnTo>
                    <a:pt x="1034364" y="537816"/>
                  </a:lnTo>
                  <a:lnTo>
                    <a:pt x="1034364" y="609896"/>
                  </a:lnTo>
                  <a:lnTo>
                    <a:pt x="1049232" y="609896"/>
                  </a:lnTo>
                  <a:lnTo>
                    <a:pt x="1038096" y="625154"/>
                  </a:lnTo>
                  <a:lnTo>
                    <a:pt x="1027232" y="625154"/>
                  </a:lnTo>
                  <a:cubicBezTo>
                    <a:pt x="1027232" y="625154"/>
                    <a:pt x="1037162" y="632067"/>
                    <a:pt x="1037162" y="647335"/>
                  </a:cubicBezTo>
                  <a:cubicBezTo>
                    <a:pt x="1037162" y="662906"/>
                    <a:pt x="1009676" y="674910"/>
                    <a:pt x="1004189" y="681176"/>
                  </a:cubicBezTo>
                  <a:cubicBezTo>
                    <a:pt x="1004300" y="681378"/>
                    <a:pt x="1004409" y="681620"/>
                    <a:pt x="1004409" y="681894"/>
                  </a:cubicBezTo>
                  <a:lnTo>
                    <a:pt x="1004409" y="713732"/>
                  </a:lnTo>
                  <a:cubicBezTo>
                    <a:pt x="1004409" y="714407"/>
                    <a:pt x="1003860" y="714955"/>
                    <a:pt x="1003202" y="714955"/>
                  </a:cubicBezTo>
                  <a:cubicBezTo>
                    <a:pt x="1002543" y="714955"/>
                    <a:pt x="1001995" y="714407"/>
                    <a:pt x="1001995" y="713732"/>
                  </a:cubicBezTo>
                  <a:lnTo>
                    <a:pt x="1001995" y="681894"/>
                  </a:lnTo>
                  <a:cubicBezTo>
                    <a:pt x="1001995" y="681620"/>
                    <a:pt x="1002105" y="681378"/>
                    <a:pt x="1002214" y="681176"/>
                  </a:cubicBezTo>
                  <a:cubicBezTo>
                    <a:pt x="996728" y="674910"/>
                    <a:pt x="969241" y="662906"/>
                    <a:pt x="969241" y="647335"/>
                  </a:cubicBezTo>
                  <a:cubicBezTo>
                    <a:pt x="969241" y="632067"/>
                    <a:pt x="979171" y="625154"/>
                    <a:pt x="979171" y="625154"/>
                  </a:cubicBezTo>
                  <a:lnTo>
                    <a:pt x="961176" y="625154"/>
                  </a:lnTo>
                  <a:lnTo>
                    <a:pt x="950039" y="609896"/>
                  </a:lnTo>
                  <a:lnTo>
                    <a:pt x="965126" y="609896"/>
                  </a:lnTo>
                  <a:lnTo>
                    <a:pt x="965126" y="537816"/>
                  </a:lnTo>
                  <a:lnTo>
                    <a:pt x="950148" y="537816"/>
                  </a:lnTo>
                  <a:lnTo>
                    <a:pt x="950148" y="527523"/>
                  </a:lnTo>
                  <a:lnTo>
                    <a:pt x="969241" y="507388"/>
                  </a:lnTo>
                  <a:lnTo>
                    <a:pt x="969241" y="465659"/>
                  </a:lnTo>
                  <a:lnTo>
                    <a:pt x="810410" y="465659"/>
                  </a:lnTo>
                  <a:cubicBezTo>
                    <a:pt x="810410" y="465763"/>
                    <a:pt x="810355" y="465862"/>
                    <a:pt x="810300" y="465966"/>
                  </a:cubicBezTo>
                  <a:lnTo>
                    <a:pt x="828241" y="465966"/>
                  </a:lnTo>
                  <a:lnTo>
                    <a:pt x="828241" y="489020"/>
                  </a:lnTo>
                  <a:lnTo>
                    <a:pt x="827472" y="489020"/>
                  </a:lnTo>
                  <a:cubicBezTo>
                    <a:pt x="827472" y="489020"/>
                    <a:pt x="824346" y="491214"/>
                    <a:pt x="824346" y="496053"/>
                  </a:cubicBezTo>
                  <a:cubicBezTo>
                    <a:pt x="824346" y="501545"/>
                    <a:pt x="835099" y="505638"/>
                    <a:pt x="835099" y="507388"/>
                  </a:cubicBezTo>
                  <a:cubicBezTo>
                    <a:pt x="835099" y="505638"/>
                    <a:pt x="845906" y="501545"/>
                    <a:pt x="845906" y="496053"/>
                  </a:cubicBezTo>
                  <a:cubicBezTo>
                    <a:pt x="845906" y="491214"/>
                    <a:pt x="842725" y="489020"/>
                    <a:pt x="842725" y="489020"/>
                  </a:cubicBezTo>
                  <a:lnTo>
                    <a:pt x="841957" y="489020"/>
                  </a:lnTo>
                  <a:lnTo>
                    <a:pt x="841957" y="465966"/>
                  </a:lnTo>
                  <a:lnTo>
                    <a:pt x="863025" y="465966"/>
                  </a:lnTo>
                  <a:lnTo>
                    <a:pt x="863025" y="489020"/>
                  </a:lnTo>
                  <a:lnTo>
                    <a:pt x="862256" y="489020"/>
                  </a:lnTo>
                  <a:cubicBezTo>
                    <a:pt x="862256" y="489020"/>
                    <a:pt x="859074" y="491214"/>
                    <a:pt x="859074" y="496053"/>
                  </a:cubicBezTo>
                  <a:cubicBezTo>
                    <a:pt x="859074" y="501545"/>
                    <a:pt x="869883" y="505638"/>
                    <a:pt x="869883" y="507388"/>
                  </a:cubicBezTo>
                  <a:cubicBezTo>
                    <a:pt x="869883" y="505638"/>
                    <a:pt x="880636" y="501545"/>
                    <a:pt x="880636" y="496053"/>
                  </a:cubicBezTo>
                  <a:cubicBezTo>
                    <a:pt x="880636" y="491214"/>
                    <a:pt x="877508" y="489020"/>
                    <a:pt x="877508" y="489020"/>
                  </a:cubicBezTo>
                  <a:lnTo>
                    <a:pt x="876741" y="489020"/>
                  </a:lnTo>
                  <a:lnTo>
                    <a:pt x="876741" y="465966"/>
                  </a:lnTo>
                  <a:lnTo>
                    <a:pt x="897753" y="465966"/>
                  </a:lnTo>
                  <a:lnTo>
                    <a:pt x="897753" y="489020"/>
                  </a:lnTo>
                  <a:lnTo>
                    <a:pt x="897040" y="489020"/>
                  </a:lnTo>
                  <a:cubicBezTo>
                    <a:pt x="897040" y="489020"/>
                    <a:pt x="893858" y="491214"/>
                    <a:pt x="893858" y="496053"/>
                  </a:cubicBezTo>
                  <a:cubicBezTo>
                    <a:pt x="893858" y="501545"/>
                    <a:pt x="904611" y="505638"/>
                    <a:pt x="904611" y="507388"/>
                  </a:cubicBezTo>
                  <a:cubicBezTo>
                    <a:pt x="904611" y="505638"/>
                    <a:pt x="915420" y="501545"/>
                    <a:pt x="915420" y="496053"/>
                  </a:cubicBezTo>
                  <a:cubicBezTo>
                    <a:pt x="915420" y="491214"/>
                    <a:pt x="912237" y="489020"/>
                    <a:pt x="912237" y="489020"/>
                  </a:cubicBezTo>
                  <a:lnTo>
                    <a:pt x="911524" y="489020"/>
                  </a:lnTo>
                  <a:lnTo>
                    <a:pt x="911524" y="465966"/>
                  </a:lnTo>
                  <a:lnTo>
                    <a:pt x="923649" y="465966"/>
                  </a:lnTo>
                  <a:cubicBezTo>
                    <a:pt x="923649" y="465966"/>
                    <a:pt x="927874" y="470849"/>
                    <a:pt x="932537" y="480159"/>
                  </a:cubicBezTo>
                  <a:lnTo>
                    <a:pt x="932537" y="465966"/>
                  </a:lnTo>
                  <a:lnTo>
                    <a:pt x="946253" y="465966"/>
                  </a:lnTo>
                  <a:lnTo>
                    <a:pt x="946253" y="489020"/>
                  </a:lnTo>
                  <a:lnTo>
                    <a:pt x="947021" y="489020"/>
                  </a:lnTo>
                  <a:cubicBezTo>
                    <a:pt x="947021" y="489020"/>
                    <a:pt x="950148" y="491214"/>
                    <a:pt x="950148" y="496053"/>
                  </a:cubicBezTo>
                  <a:cubicBezTo>
                    <a:pt x="950148" y="500086"/>
                    <a:pt x="944387" y="503367"/>
                    <a:pt x="941315" y="505512"/>
                  </a:cubicBezTo>
                  <a:cubicBezTo>
                    <a:pt x="942961" y="513270"/>
                    <a:pt x="944113" y="522064"/>
                    <a:pt x="944113" y="531962"/>
                  </a:cubicBezTo>
                  <a:cubicBezTo>
                    <a:pt x="944113" y="574311"/>
                    <a:pt x="923265" y="645706"/>
                    <a:pt x="847992" y="679409"/>
                  </a:cubicBezTo>
                  <a:cubicBezTo>
                    <a:pt x="847552" y="679606"/>
                    <a:pt x="847114" y="679826"/>
                    <a:pt x="846675" y="680023"/>
                  </a:cubicBezTo>
                  <a:cubicBezTo>
                    <a:pt x="846235" y="680199"/>
                    <a:pt x="845852" y="680292"/>
                    <a:pt x="845468" y="680539"/>
                  </a:cubicBezTo>
                  <a:cubicBezTo>
                    <a:pt x="792688" y="716190"/>
                    <a:pt x="776832" y="805530"/>
                    <a:pt x="776832" y="805530"/>
                  </a:cubicBezTo>
                  <a:cubicBezTo>
                    <a:pt x="776832" y="805530"/>
                    <a:pt x="761032" y="716190"/>
                    <a:pt x="708252" y="680539"/>
                  </a:cubicBezTo>
                  <a:cubicBezTo>
                    <a:pt x="707869" y="680292"/>
                    <a:pt x="707430" y="680199"/>
                    <a:pt x="707046" y="680023"/>
                  </a:cubicBezTo>
                  <a:cubicBezTo>
                    <a:pt x="706607" y="679826"/>
                    <a:pt x="706168" y="679606"/>
                    <a:pt x="705729" y="679409"/>
                  </a:cubicBezTo>
                  <a:cubicBezTo>
                    <a:pt x="630401" y="645706"/>
                    <a:pt x="609608" y="574311"/>
                    <a:pt x="609608" y="531962"/>
                  </a:cubicBezTo>
                  <a:cubicBezTo>
                    <a:pt x="609608" y="522449"/>
                    <a:pt x="610650" y="513972"/>
                    <a:pt x="612240" y="506439"/>
                  </a:cubicBezTo>
                  <a:cubicBezTo>
                    <a:pt x="613338" y="505441"/>
                    <a:pt x="615752" y="504063"/>
                    <a:pt x="617947" y="502385"/>
                  </a:cubicBezTo>
                  <a:cubicBezTo>
                    <a:pt x="614984" y="504678"/>
                    <a:pt x="611583" y="506406"/>
                    <a:pt x="611583" y="507388"/>
                  </a:cubicBezTo>
                  <a:cubicBezTo>
                    <a:pt x="611583" y="505638"/>
                    <a:pt x="600775" y="501545"/>
                    <a:pt x="600775" y="496053"/>
                  </a:cubicBezTo>
                  <a:cubicBezTo>
                    <a:pt x="600775" y="491214"/>
                    <a:pt x="603956" y="489020"/>
                    <a:pt x="603956" y="489020"/>
                  </a:cubicBezTo>
                  <a:lnTo>
                    <a:pt x="604670" y="489020"/>
                  </a:lnTo>
                  <a:lnTo>
                    <a:pt x="604670" y="465966"/>
                  </a:lnTo>
                  <a:lnTo>
                    <a:pt x="618441" y="465966"/>
                  </a:lnTo>
                  <a:lnTo>
                    <a:pt x="618441" y="486194"/>
                  </a:lnTo>
                  <a:cubicBezTo>
                    <a:pt x="623982" y="472934"/>
                    <a:pt x="630071" y="465966"/>
                    <a:pt x="630071" y="465966"/>
                  </a:cubicBezTo>
                  <a:lnTo>
                    <a:pt x="639454" y="465966"/>
                  </a:lnTo>
                  <a:lnTo>
                    <a:pt x="639454" y="489020"/>
                  </a:lnTo>
                  <a:lnTo>
                    <a:pt x="638686" y="489020"/>
                  </a:lnTo>
                  <a:cubicBezTo>
                    <a:pt x="638686" y="489020"/>
                    <a:pt x="635558" y="491214"/>
                    <a:pt x="635558" y="496053"/>
                  </a:cubicBezTo>
                  <a:cubicBezTo>
                    <a:pt x="635558" y="501545"/>
                    <a:pt x="646312" y="505638"/>
                    <a:pt x="646312" y="507388"/>
                  </a:cubicBezTo>
                  <a:cubicBezTo>
                    <a:pt x="646312" y="505638"/>
                    <a:pt x="657120" y="501545"/>
                    <a:pt x="657120" y="496053"/>
                  </a:cubicBezTo>
                  <a:cubicBezTo>
                    <a:pt x="657120" y="491214"/>
                    <a:pt x="653937" y="489020"/>
                    <a:pt x="653937" y="489020"/>
                  </a:cubicBezTo>
                  <a:lnTo>
                    <a:pt x="653225" y="489020"/>
                  </a:lnTo>
                  <a:lnTo>
                    <a:pt x="653225" y="465966"/>
                  </a:lnTo>
                  <a:lnTo>
                    <a:pt x="674237" y="465966"/>
                  </a:lnTo>
                  <a:lnTo>
                    <a:pt x="674237" y="489020"/>
                  </a:lnTo>
                  <a:lnTo>
                    <a:pt x="673470" y="489020"/>
                  </a:lnTo>
                  <a:cubicBezTo>
                    <a:pt x="673470" y="489020"/>
                    <a:pt x="670287" y="491214"/>
                    <a:pt x="670287" y="496053"/>
                  </a:cubicBezTo>
                  <a:cubicBezTo>
                    <a:pt x="670287" y="501545"/>
                    <a:pt x="681095" y="505638"/>
                    <a:pt x="681095" y="507388"/>
                  </a:cubicBezTo>
                  <a:cubicBezTo>
                    <a:pt x="681095" y="505638"/>
                    <a:pt x="691849" y="501545"/>
                    <a:pt x="691849" y="496053"/>
                  </a:cubicBezTo>
                  <a:cubicBezTo>
                    <a:pt x="691849" y="491214"/>
                    <a:pt x="688721" y="489020"/>
                    <a:pt x="688721" y="489020"/>
                  </a:cubicBezTo>
                  <a:lnTo>
                    <a:pt x="687953" y="489020"/>
                  </a:lnTo>
                  <a:lnTo>
                    <a:pt x="687953" y="465966"/>
                  </a:lnTo>
                  <a:lnTo>
                    <a:pt x="708966" y="465966"/>
                  </a:lnTo>
                  <a:lnTo>
                    <a:pt x="708966" y="489020"/>
                  </a:lnTo>
                  <a:lnTo>
                    <a:pt x="708252" y="489020"/>
                  </a:lnTo>
                  <a:cubicBezTo>
                    <a:pt x="708252" y="489020"/>
                    <a:pt x="705071" y="491214"/>
                    <a:pt x="705071" y="496053"/>
                  </a:cubicBezTo>
                  <a:cubicBezTo>
                    <a:pt x="705071" y="501545"/>
                    <a:pt x="715879" y="505638"/>
                    <a:pt x="715879" y="507388"/>
                  </a:cubicBezTo>
                  <a:cubicBezTo>
                    <a:pt x="715879" y="505638"/>
                    <a:pt x="726632" y="501545"/>
                    <a:pt x="726632" y="496053"/>
                  </a:cubicBezTo>
                  <a:cubicBezTo>
                    <a:pt x="726632" y="491214"/>
                    <a:pt x="723450" y="489020"/>
                    <a:pt x="723450" y="489020"/>
                  </a:cubicBezTo>
                  <a:lnTo>
                    <a:pt x="722737" y="489020"/>
                  </a:lnTo>
                  <a:lnTo>
                    <a:pt x="722737" y="465966"/>
                  </a:lnTo>
                  <a:lnTo>
                    <a:pt x="743421" y="465966"/>
                  </a:lnTo>
                  <a:cubicBezTo>
                    <a:pt x="743365" y="465862"/>
                    <a:pt x="743311" y="465763"/>
                    <a:pt x="743256" y="465659"/>
                  </a:cubicBezTo>
                  <a:lnTo>
                    <a:pt x="584480" y="465659"/>
                  </a:lnTo>
                  <a:lnTo>
                    <a:pt x="584480" y="507388"/>
                  </a:lnTo>
                  <a:lnTo>
                    <a:pt x="584480" y="507388"/>
                  </a:lnTo>
                  <a:lnTo>
                    <a:pt x="603518" y="527523"/>
                  </a:lnTo>
                  <a:lnTo>
                    <a:pt x="603518" y="537816"/>
                  </a:lnTo>
                  <a:lnTo>
                    <a:pt x="588594" y="537816"/>
                  </a:lnTo>
                  <a:lnTo>
                    <a:pt x="588594" y="609896"/>
                  </a:lnTo>
                  <a:lnTo>
                    <a:pt x="603408" y="609896"/>
                  </a:lnTo>
                  <a:lnTo>
                    <a:pt x="592271" y="625154"/>
                  </a:lnTo>
                  <a:lnTo>
                    <a:pt x="581407" y="625154"/>
                  </a:lnTo>
                  <a:cubicBezTo>
                    <a:pt x="581407" y="625154"/>
                    <a:pt x="591392" y="632067"/>
                    <a:pt x="591392" y="647335"/>
                  </a:cubicBezTo>
                  <a:cubicBezTo>
                    <a:pt x="591392" y="662906"/>
                    <a:pt x="563851" y="674910"/>
                    <a:pt x="558364" y="681176"/>
                  </a:cubicBezTo>
                  <a:cubicBezTo>
                    <a:pt x="558529" y="681378"/>
                    <a:pt x="558639" y="681620"/>
                    <a:pt x="558639" y="681894"/>
                  </a:cubicBezTo>
                  <a:lnTo>
                    <a:pt x="558639" y="713732"/>
                  </a:lnTo>
                  <a:cubicBezTo>
                    <a:pt x="558639" y="714407"/>
                    <a:pt x="558090" y="714955"/>
                    <a:pt x="557432" y="714955"/>
                  </a:cubicBezTo>
                  <a:cubicBezTo>
                    <a:pt x="556719" y="714955"/>
                    <a:pt x="556170" y="714407"/>
                    <a:pt x="556170" y="713732"/>
                  </a:cubicBezTo>
                  <a:lnTo>
                    <a:pt x="556170" y="681894"/>
                  </a:lnTo>
                  <a:cubicBezTo>
                    <a:pt x="556170" y="681620"/>
                    <a:pt x="556279" y="681378"/>
                    <a:pt x="556444" y="681176"/>
                  </a:cubicBezTo>
                  <a:cubicBezTo>
                    <a:pt x="550958" y="674910"/>
                    <a:pt x="523417" y="662906"/>
                    <a:pt x="523417" y="647335"/>
                  </a:cubicBezTo>
                  <a:cubicBezTo>
                    <a:pt x="523417" y="632067"/>
                    <a:pt x="533347" y="625154"/>
                    <a:pt x="533347" y="625154"/>
                  </a:cubicBezTo>
                  <a:lnTo>
                    <a:pt x="515406" y="625154"/>
                  </a:lnTo>
                  <a:lnTo>
                    <a:pt x="504269" y="609896"/>
                  </a:lnTo>
                  <a:lnTo>
                    <a:pt x="519356" y="609896"/>
                  </a:lnTo>
                  <a:lnTo>
                    <a:pt x="519356" y="537816"/>
                  </a:lnTo>
                  <a:lnTo>
                    <a:pt x="504378" y="537816"/>
                  </a:lnTo>
                  <a:lnTo>
                    <a:pt x="504378" y="527523"/>
                  </a:lnTo>
                  <a:lnTo>
                    <a:pt x="523417" y="507388"/>
                  </a:lnTo>
                  <a:lnTo>
                    <a:pt x="523417" y="472522"/>
                  </a:lnTo>
                  <a:cubicBezTo>
                    <a:pt x="509041" y="512419"/>
                    <a:pt x="468004" y="542858"/>
                    <a:pt x="435195" y="572687"/>
                  </a:cubicBezTo>
                  <a:cubicBezTo>
                    <a:pt x="410177" y="595451"/>
                    <a:pt x="389877" y="617868"/>
                    <a:pt x="389877" y="643851"/>
                  </a:cubicBezTo>
                  <a:cubicBezTo>
                    <a:pt x="389877" y="617868"/>
                    <a:pt x="369578" y="595456"/>
                    <a:pt x="344560" y="572687"/>
                  </a:cubicBezTo>
                  <a:cubicBezTo>
                    <a:pt x="319157" y="549590"/>
                    <a:pt x="288817" y="526124"/>
                    <a:pt x="269725" y="498177"/>
                  </a:cubicBezTo>
                  <a:lnTo>
                    <a:pt x="225449" y="498177"/>
                  </a:lnTo>
                  <a:lnTo>
                    <a:pt x="225449" y="860339"/>
                  </a:lnTo>
                  <a:lnTo>
                    <a:pt x="244048" y="860339"/>
                  </a:lnTo>
                  <a:lnTo>
                    <a:pt x="244048" y="887711"/>
                  </a:lnTo>
                  <a:lnTo>
                    <a:pt x="169269" y="887711"/>
                  </a:lnTo>
                  <a:lnTo>
                    <a:pt x="94435" y="887711"/>
                  </a:lnTo>
                  <a:lnTo>
                    <a:pt x="19600" y="887711"/>
                  </a:lnTo>
                  <a:lnTo>
                    <a:pt x="19600" y="860339"/>
                  </a:lnTo>
                  <a:lnTo>
                    <a:pt x="38254" y="860339"/>
                  </a:lnTo>
                  <a:lnTo>
                    <a:pt x="38254" y="498177"/>
                  </a:lnTo>
                  <a:lnTo>
                    <a:pt x="-12496" y="498177"/>
                  </a:lnTo>
                  <a:lnTo>
                    <a:pt x="-12496" y="444070"/>
                  </a:lnTo>
                  <a:lnTo>
                    <a:pt x="38254" y="444070"/>
                  </a:lnTo>
                  <a:lnTo>
                    <a:pt x="38254" y="-5064"/>
                  </a:lnTo>
                  <a:lnTo>
                    <a:pt x="100634" y="-5064"/>
                  </a:lnTo>
                  <a:lnTo>
                    <a:pt x="100634" y="444070"/>
                  </a:lnTo>
                  <a:lnTo>
                    <a:pt x="106394" y="444070"/>
                  </a:lnTo>
                  <a:lnTo>
                    <a:pt x="106394" y="-5064"/>
                  </a:lnTo>
                  <a:lnTo>
                    <a:pt x="157309" y="-5064"/>
                  </a:lnTo>
                  <a:lnTo>
                    <a:pt x="157309" y="444070"/>
                  </a:lnTo>
                  <a:lnTo>
                    <a:pt x="163015" y="444070"/>
                  </a:lnTo>
                  <a:lnTo>
                    <a:pt x="163015" y="-5064"/>
                  </a:lnTo>
                  <a:lnTo>
                    <a:pt x="225449" y="-5064"/>
                  </a:lnTo>
                  <a:lnTo>
                    <a:pt x="241196" y="-5064"/>
                  </a:lnTo>
                  <a:lnTo>
                    <a:pt x="270109" y="-5064"/>
                  </a:lnTo>
                  <a:lnTo>
                    <a:pt x="357837" y="-5064"/>
                  </a:lnTo>
                  <a:lnTo>
                    <a:pt x="386749" y="-5064"/>
                  </a:lnTo>
                  <a:lnTo>
                    <a:pt x="478757" y="-5064"/>
                  </a:lnTo>
                  <a:lnTo>
                    <a:pt x="507670" y="-5064"/>
                  </a:lnTo>
                  <a:lnTo>
                    <a:pt x="523417" y="-5064"/>
                  </a:lnTo>
                  <a:lnTo>
                    <a:pt x="584480" y="-5064"/>
                  </a:lnTo>
                  <a:lnTo>
                    <a:pt x="614600" y="-5064"/>
                  </a:lnTo>
                  <a:lnTo>
                    <a:pt x="647628" y="-5064"/>
                  </a:lnTo>
                  <a:lnTo>
                    <a:pt x="653554" y="-5064"/>
                  </a:lnTo>
                  <a:lnTo>
                    <a:pt x="696182" y="-5064"/>
                  </a:lnTo>
                  <a:lnTo>
                    <a:pt x="702437" y="-5064"/>
                  </a:lnTo>
                  <a:lnTo>
                    <a:pt x="735466" y="-5064"/>
                  </a:lnTo>
                  <a:lnTo>
                    <a:pt x="742817" y="-5064"/>
                  </a:lnTo>
                  <a:lnTo>
                    <a:pt x="775626" y="-5064"/>
                  </a:lnTo>
                  <a:lnTo>
                    <a:pt x="778095" y="-5064"/>
                  </a:lnTo>
                  <a:lnTo>
                    <a:pt x="810848" y="-5064"/>
                  </a:lnTo>
                  <a:lnTo>
                    <a:pt x="817871" y="-5064"/>
                  </a:lnTo>
                  <a:lnTo>
                    <a:pt x="850899" y="-5064"/>
                  </a:lnTo>
                  <a:lnTo>
                    <a:pt x="857208" y="-5064"/>
                  </a:lnTo>
                  <a:lnTo>
                    <a:pt x="899838" y="-5064"/>
                  </a:lnTo>
                  <a:lnTo>
                    <a:pt x="906093" y="-5064"/>
                  </a:lnTo>
                  <a:lnTo>
                    <a:pt x="939066" y="-5064"/>
                  </a:lnTo>
                  <a:lnTo>
                    <a:pt x="969241" y="-5064"/>
                  </a:lnTo>
                  <a:lnTo>
                    <a:pt x="1030250" y="-5064"/>
                  </a:lnTo>
                  <a:lnTo>
                    <a:pt x="1046051" y="-5064"/>
                  </a:lnTo>
                  <a:lnTo>
                    <a:pt x="1074964" y="-5064"/>
                  </a:lnTo>
                  <a:lnTo>
                    <a:pt x="1166971" y="-5064"/>
                  </a:lnTo>
                  <a:lnTo>
                    <a:pt x="1195884" y="-5064"/>
                  </a:lnTo>
                  <a:lnTo>
                    <a:pt x="1283557" y="-5064"/>
                  </a:lnTo>
                  <a:lnTo>
                    <a:pt x="1312470" y="-5064"/>
                  </a:lnTo>
                  <a:lnTo>
                    <a:pt x="1328271" y="-5064"/>
                  </a:lnTo>
                  <a:lnTo>
                    <a:pt x="1390651" y="-5064"/>
                  </a:lnTo>
                  <a:lnTo>
                    <a:pt x="1390651" y="444070"/>
                  </a:lnTo>
                  <a:lnTo>
                    <a:pt x="1396412" y="444070"/>
                  </a:lnTo>
                  <a:lnTo>
                    <a:pt x="1396412" y="-5064"/>
                  </a:lnTo>
                  <a:lnTo>
                    <a:pt x="1447326" y="-5064"/>
                  </a:lnTo>
                  <a:lnTo>
                    <a:pt x="1447326" y="444070"/>
                  </a:lnTo>
                  <a:lnTo>
                    <a:pt x="1453031" y="444070"/>
                  </a:lnTo>
                  <a:lnTo>
                    <a:pt x="1453031" y="-5064"/>
                  </a:lnTo>
                  <a:lnTo>
                    <a:pt x="1515467" y="-5064"/>
                  </a:lnTo>
                  <a:lnTo>
                    <a:pt x="1515467" y="444070"/>
                  </a:lnTo>
                  <a:lnTo>
                    <a:pt x="1566216" y="444070"/>
                  </a:lnTo>
                  <a:lnTo>
                    <a:pt x="1566216" y="498177"/>
                  </a:lnTo>
                  <a:lnTo>
                    <a:pt x="1515467" y="498177"/>
                  </a:lnTo>
                  <a:close/>
                  <a:moveTo>
                    <a:pt x="939615" y="506895"/>
                  </a:moveTo>
                  <a:cubicBezTo>
                    <a:pt x="939724" y="506796"/>
                    <a:pt x="939779" y="506697"/>
                    <a:pt x="939889" y="506582"/>
                  </a:cubicBezTo>
                  <a:cubicBezTo>
                    <a:pt x="939779" y="506691"/>
                    <a:pt x="939724" y="506796"/>
                    <a:pt x="939615" y="506895"/>
                  </a:cubicBezTo>
                  <a:close/>
                  <a:moveTo>
                    <a:pt x="940657" y="505951"/>
                  </a:moveTo>
                  <a:cubicBezTo>
                    <a:pt x="940876" y="505825"/>
                    <a:pt x="941041" y="505682"/>
                    <a:pt x="941261" y="505539"/>
                  </a:cubicBezTo>
                  <a:cubicBezTo>
                    <a:pt x="941041" y="505682"/>
                    <a:pt x="940876" y="505825"/>
                    <a:pt x="940657" y="505951"/>
                  </a:cubicBezTo>
                  <a:close/>
                  <a:moveTo>
                    <a:pt x="940053" y="506445"/>
                  </a:moveTo>
                  <a:cubicBezTo>
                    <a:pt x="940218" y="506329"/>
                    <a:pt x="940327" y="506214"/>
                    <a:pt x="940492" y="506088"/>
                  </a:cubicBezTo>
                  <a:cubicBezTo>
                    <a:pt x="940327" y="506214"/>
                    <a:pt x="940218" y="506329"/>
                    <a:pt x="940053" y="506445"/>
                  </a:cubicBezTo>
                  <a:close/>
                  <a:moveTo>
                    <a:pt x="939560" y="507015"/>
                  </a:moveTo>
                  <a:cubicBezTo>
                    <a:pt x="939450" y="507152"/>
                    <a:pt x="939395" y="507273"/>
                    <a:pt x="939395" y="507388"/>
                  </a:cubicBezTo>
                  <a:cubicBezTo>
                    <a:pt x="939395" y="507273"/>
                    <a:pt x="939450" y="507152"/>
                    <a:pt x="939560" y="507015"/>
                  </a:cubicBezTo>
                  <a:close/>
                  <a:moveTo>
                    <a:pt x="617947" y="502374"/>
                  </a:moveTo>
                  <a:cubicBezTo>
                    <a:pt x="618606" y="501875"/>
                    <a:pt x="619264" y="501337"/>
                    <a:pt x="619812" y="500777"/>
                  </a:cubicBezTo>
                  <a:cubicBezTo>
                    <a:pt x="619264" y="501337"/>
                    <a:pt x="618606" y="501875"/>
                    <a:pt x="617947" y="502374"/>
                  </a:cubicBezTo>
                  <a:close/>
                  <a:moveTo>
                    <a:pt x="622226" y="497002"/>
                  </a:moveTo>
                  <a:cubicBezTo>
                    <a:pt x="622281" y="496690"/>
                    <a:pt x="622336" y="496377"/>
                    <a:pt x="622336" y="496053"/>
                  </a:cubicBezTo>
                  <a:cubicBezTo>
                    <a:pt x="622336" y="496377"/>
                    <a:pt x="622281" y="496690"/>
                    <a:pt x="622226" y="497002"/>
                  </a:cubicBezTo>
                  <a:close/>
                  <a:moveTo>
                    <a:pt x="619921" y="500700"/>
                  </a:moveTo>
                  <a:cubicBezTo>
                    <a:pt x="620141" y="500464"/>
                    <a:pt x="620361" y="500223"/>
                    <a:pt x="620580" y="499976"/>
                  </a:cubicBezTo>
                  <a:cubicBezTo>
                    <a:pt x="620361" y="500223"/>
                    <a:pt x="620141" y="500464"/>
                    <a:pt x="619921" y="500700"/>
                  </a:cubicBezTo>
                  <a:close/>
                  <a:moveTo>
                    <a:pt x="620800" y="499735"/>
                  </a:moveTo>
                  <a:cubicBezTo>
                    <a:pt x="620909" y="499532"/>
                    <a:pt x="621074" y="499340"/>
                    <a:pt x="621238" y="499137"/>
                  </a:cubicBezTo>
                  <a:cubicBezTo>
                    <a:pt x="621074" y="499340"/>
                    <a:pt x="620909" y="499532"/>
                    <a:pt x="620800" y="499735"/>
                  </a:cubicBezTo>
                  <a:close/>
                  <a:moveTo>
                    <a:pt x="621403" y="498829"/>
                  </a:moveTo>
                  <a:cubicBezTo>
                    <a:pt x="621567" y="498643"/>
                    <a:pt x="621678" y="498446"/>
                    <a:pt x="621732" y="498248"/>
                  </a:cubicBezTo>
                  <a:cubicBezTo>
                    <a:pt x="621678" y="498446"/>
                    <a:pt x="621567" y="498643"/>
                    <a:pt x="621403" y="498829"/>
                  </a:cubicBezTo>
                  <a:close/>
                  <a:moveTo>
                    <a:pt x="621897" y="497924"/>
                  </a:moveTo>
                  <a:cubicBezTo>
                    <a:pt x="622007" y="497721"/>
                    <a:pt x="622061" y="497513"/>
                    <a:pt x="622116" y="497299"/>
                  </a:cubicBezTo>
                  <a:cubicBezTo>
                    <a:pt x="622061" y="497513"/>
                    <a:pt x="622007" y="497721"/>
                    <a:pt x="621897" y="497924"/>
                  </a:cubicBezTo>
                  <a:close/>
                  <a:moveTo>
                    <a:pt x="106394" y="498177"/>
                  </a:moveTo>
                  <a:lnTo>
                    <a:pt x="100634" y="498177"/>
                  </a:lnTo>
                  <a:lnTo>
                    <a:pt x="100634" y="860339"/>
                  </a:lnTo>
                  <a:lnTo>
                    <a:pt x="106394" y="860339"/>
                  </a:lnTo>
                  <a:close/>
                  <a:moveTo>
                    <a:pt x="147433" y="498177"/>
                  </a:moveTo>
                  <a:lnTo>
                    <a:pt x="116270" y="498177"/>
                  </a:lnTo>
                  <a:lnTo>
                    <a:pt x="116270" y="552695"/>
                  </a:lnTo>
                  <a:lnTo>
                    <a:pt x="147433" y="552695"/>
                  </a:lnTo>
                  <a:close/>
                  <a:moveTo>
                    <a:pt x="163015" y="498177"/>
                  </a:moveTo>
                  <a:lnTo>
                    <a:pt x="157309" y="498177"/>
                  </a:lnTo>
                  <a:lnTo>
                    <a:pt x="157309" y="860339"/>
                  </a:lnTo>
                  <a:lnTo>
                    <a:pt x="163015" y="860339"/>
                  </a:lnTo>
                  <a:close/>
                  <a:moveTo>
                    <a:pt x="216727" y="10216"/>
                  </a:moveTo>
                  <a:lnTo>
                    <a:pt x="180406" y="10216"/>
                  </a:lnTo>
                  <a:lnTo>
                    <a:pt x="180406" y="101806"/>
                  </a:lnTo>
                  <a:lnTo>
                    <a:pt x="216727" y="101806"/>
                  </a:lnTo>
                  <a:close/>
                  <a:moveTo>
                    <a:pt x="1252668" y="410822"/>
                  </a:moveTo>
                  <a:cubicBezTo>
                    <a:pt x="1252668" y="409072"/>
                    <a:pt x="1263422" y="404979"/>
                    <a:pt x="1263422" y="399487"/>
                  </a:cubicBezTo>
                  <a:cubicBezTo>
                    <a:pt x="1263422" y="394648"/>
                    <a:pt x="1260240" y="392454"/>
                    <a:pt x="1260240" y="392454"/>
                  </a:cubicBezTo>
                  <a:lnTo>
                    <a:pt x="1259526" y="392454"/>
                  </a:lnTo>
                  <a:lnTo>
                    <a:pt x="1259526" y="369405"/>
                  </a:lnTo>
                  <a:lnTo>
                    <a:pt x="1245756" y="369405"/>
                  </a:lnTo>
                  <a:lnTo>
                    <a:pt x="1245756" y="392454"/>
                  </a:lnTo>
                  <a:lnTo>
                    <a:pt x="1245042" y="392454"/>
                  </a:lnTo>
                  <a:cubicBezTo>
                    <a:pt x="1245042" y="392454"/>
                    <a:pt x="1241861" y="394648"/>
                    <a:pt x="1241861" y="399487"/>
                  </a:cubicBezTo>
                  <a:cubicBezTo>
                    <a:pt x="1241861" y="404979"/>
                    <a:pt x="1252668" y="409072"/>
                    <a:pt x="1252668" y="410822"/>
                  </a:cubicBezTo>
                  <a:close/>
                  <a:moveTo>
                    <a:pt x="1214703" y="410822"/>
                  </a:moveTo>
                  <a:cubicBezTo>
                    <a:pt x="1214703" y="409072"/>
                    <a:pt x="1225456" y="404979"/>
                    <a:pt x="1225456" y="399487"/>
                  </a:cubicBezTo>
                  <a:cubicBezTo>
                    <a:pt x="1225456" y="394648"/>
                    <a:pt x="1222328" y="392454"/>
                    <a:pt x="1222328" y="392454"/>
                  </a:cubicBezTo>
                  <a:lnTo>
                    <a:pt x="1221561" y="392454"/>
                  </a:lnTo>
                  <a:lnTo>
                    <a:pt x="1221561" y="369405"/>
                  </a:lnTo>
                  <a:lnTo>
                    <a:pt x="1207845" y="369405"/>
                  </a:lnTo>
                  <a:lnTo>
                    <a:pt x="1207845" y="392454"/>
                  </a:lnTo>
                  <a:lnTo>
                    <a:pt x="1207077" y="392454"/>
                  </a:lnTo>
                  <a:cubicBezTo>
                    <a:pt x="1207077" y="392454"/>
                    <a:pt x="1203894" y="394648"/>
                    <a:pt x="1203894" y="399487"/>
                  </a:cubicBezTo>
                  <a:cubicBezTo>
                    <a:pt x="1203894" y="404979"/>
                    <a:pt x="1214703" y="409072"/>
                    <a:pt x="1214703" y="410822"/>
                  </a:cubicBezTo>
                  <a:close/>
                  <a:moveTo>
                    <a:pt x="1176736" y="410822"/>
                  </a:moveTo>
                  <a:cubicBezTo>
                    <a:pt x="1176736" y="409072"/>
                    <a:pt x="1187545" y="404979"/>
                    <a:pt x="1187545" y="399487"/>
                  </a:cubicBezTo>
                  <a:cubicBezTo>
                    <a:pt x="1187545" y="394648"/>
                    <a:pt x="1184363" y="392454"/>
                    <a:pt x="1184363" y="392454"/>
                  </a:cubicBezTo>
                  <a:lnTo>
                    <a:pt x="1183649" y="392454"/>
                  </a:lnTo>
                  <a:lnTo>
                    <a:pt x="1183649" y="369405"/>
                  </a:lnTo>
                  <a:lnTo>
                    <a:pt x="1169878" y="369405"/>
                  </a:lnTo>
                  <a:lnTo>
                    <a:pt x="1169878" y="392454"/>
                  </a:lnTo>
                  <a:lnTo>
                    <a:pt x="1169110" y="392454"/>
                  </a:lnTo>
                  <a:cubicBezTo>
                    <a:pt x="1169110" y="392454"/>
                    <a:pt x="1165983" y="394648"/>
                    <a:pt x="1165983" y="399487"/>
                  </a:cubicBezTo>
                  <a:cubicBezTo>
                    <a:pt x="1165983" y="404979"/>
                    <a:pt x="1176736" y="409072"/>
                    <a:pt x="1176736" y="410822"/>
                  </a:cubicBezTo>
                  <a:close/>
                  <a:moveTo>
                    <a:pt x="1138826" y="410822"/>
                  </a:moveTo>
                  <a:cubicBezTo>
                    <a:pt x="1138826" y="409072"/>
                    <a:pt x="1149579" y="404979"/>
                    <a:pt x="1149579" y="399487"/>
                  </a:cubicBezTo>
                  <a:cubicBezTo>
                    <a:pt x="1149579" y="394648"/>
                    <a:pt x="1146452" y="392454"/>
                    <a:pt x="1146452" y="392454"/>
                  </a:cubicBezTo>
                  <a:lnTo>
                    <a:pt x="1145684" y="392454"/>
                  </a:lnTo>
                  <a:lnTo>
                    <a:pt x="1145684" y="369405"/>
                  </a:lnTo>
                  <a:lnTo>
                    <a:pt x="1131913" y="369405"/>
                  </a:lnTo>
                  <a:lnTo>
                    <a:pt x="1131913" y="392454"/>
                  </a:lnTo>
                  <a:lnTo>
                    <a:pt x="1131199" y="392454"/>
                  </a:lnTo>
                  <a:cubicBezTo>
                    <a:pt x="1131199" y="392454"/>
                    <a:pt x="1128018" y="394648"/>
                    <a:pt x="1128018" y="399487"/>
                  </a:cubicBezTo>
                  <a:cubicBezTo>
                    <a:pt x="1128018" y="404979"/>
                    <a:pt x="1138826" y="409072"/>
                    <a:pt x="1138826" y="410822"/>
                  </a:cubicBezTo>
                  <a:close/>
                  <a:moveTo>
                    <a:pt x="1100860" y="410822"/>
                  </a:moveTo>
                  <a:cubicBezTo>
                    <a:pt x="1100860" y="409072"/>
                    <a:pt x="1111613" y="404979"/>
                    <a:pt x="1111613" y="399487"/>
                  </a:cubicBezTo>
                  <a:cubicBezTo>
                    <a:pt x="1111613" y="394648"/>
                    <a:pt x="1108485" y="392454"/>
                    <a:pt x="1108485" y="392454"/>
                  </a:cubicBezTo>
                  <a:lnTo>
                    <a:pt x="1107718" y="392454"/>
                  </a:lnTo>
                  <a:lnTo>
                    <a:pt x="1107718" y="369405"/>
                  </a:lnTo>
                  <a:lnTo>
                    <a:pt x="1094002" y="369405"/>
                  </a:lnTo>
                  <a:lnTo>
                    <a:pt x="1094002" y="392454"/>
                  </a:lnTo>
                  <a:lnTo>
                    <a:pt x="1093234" y="392454"/>
                  </a:lnTo>
                  <a:cubicBezTo>
                    <a:pt x="1093234" y="392454"/>
                    <a:pt x="1090106" y="394648"/>
                    <a:pt x="1090106" y="399487"/>
                  </a:cubicBezTo>
                  <a:cubicBezTo>
                    <a:pt x="1090106" y="404979"/>
                    <a:pt x="1100860" y="409072"/>
                    <a:pt x="1100860" y="410822"/>
                  </a:cubicBezTo>
                  <a:close/>
                  <a:moveTo>
                    <a:pt x="1062894" y="410822"/>
                  </a:moveTo>
                  <a:cubicBezTo>
                    <a:pt x="1062894" y="409072"/>
                    <a:pt x="1073703" y="404979"/>
                    <a:pt x="1073703" y="399487"/>
                  </a:cubicBezTo>
                  <a:cubicBezTo>
                    <a:pt x="1073703" y="394648"/>
                    <a:pt x="1070520" y="392454"/>
                    <a:pt x="1070520" y="392454"/>
                  </a:cubicBezTo>
                  <a:lnTo>
                    <a:pt x="1069806" y="392454"/>
                  </a:lnTo>
                  <a:lnTo>
                    <a:pt x="1069806" y="369405"/>
                  </a:lnTo>
                  <a:lnTo>
                    <a:pt x="1056036" y="369405"/>
                  </a:lnTo>
                  <a:lnTo>
                    <a:pt x="1056036" y="392454"/>
                  </a:lnTo>
                  <a:lnTo>
                    <a:pt x="1055323" y="392454"/>
                  </a:lnTo>
                  <a:cubicBezTo>
                    <a:pt x="1055323" y="392454"/>
                    <a:pt x="1052141" y="394648"/>
                    <a:pt x="1052141" y="399487"/>
                  </a:cubicBezTo>
                  <a:cubicBezTo>
                    <a:pt x="1052141" y="404979"/>
                    <a:pt x="1062894" y="409072"/>
                    <a:pt x="1062894" y="410822"/>
                  </a:cubicBezTo>
                  <a:close/>
                  <a:moveTo>
                    <a:pt x="1043417" y="367699"/>
                  </a:moveTo>
                  <a:lnTo>
                    <a:pt x="1030250" y="367699"/>
                  </a:lnTo>
                  <a:lnTo>
                    <a:pt x="1030250" y="396278"/>
                  </a:lnTo>
                  <a:cubicBezTo>
                    <a:pt x="1035736" y="375545"/>
                    <a:pt x="1043417" y="367699"/>
                    <a:pt x="1043417" y="367699"/>
                  </a:cubicBezTo>
                  <a:close/>
                  <a:moveTo>
                    <a:pt x="987566" y="583709"/>
                  </a:moveTo>
                  <a:cubicBezTo>
                    <a:pt x="987566" y="590452"/>
                    <a:pt x="992997" y="595917"/>
                    <a:pt x="999745" y="595917"/>
                  </a:cubicBezTo>
                  <a:cubicBezTo>
                    <a:pt x="1006494" y="595917"/>
                    <a:pt x="1011980" y="590452"/>
                    <a:pt x="1011980" y="583709"/>
                  </a:cubicBezTo>
                  <a:lnTo>
                    <a:pt x="1011980" y="537816"/>
                  </a:lnTo>
                  <a:lnTo>
                    <a:pt x="987566" y="537816"/>
                  </a:lnTo>
                  <a:close/>
                  <a:moveTo>
                    <a:pt x="794280" y="492037"/>
                  </a:moveTo>
                  <a:lnTo>
                    <a:pt x="792579" y="492037"/>
                  </a:lnTo>
                  <a:lnTo>
                    <a:pt x="792579" y="484746"/>
                  </a:lnTo>
                  <a:cubicBezTo>
                    <a:pt x="792579" y="484751"/>
                    <a:pt x="792579" y="484757"/>
                    <a:pt x="792579" y="484757"/>
                  </a:cubicBezTo>
                  <a:cubicBezTo>
                    <a:pt x="787805" y="487050"/>
                    <a:pt x="782484" y="488340"/>
                    <a:pt x="776832" y="488340"/>
                  </a:cubicBezTo>
                  <a:cubicBezTo>
                    <a:pt x="771237" y="488340"/>
                    <a:pt x="765860" y="487045"/>
                    <a:pt x="761142" y="484740"/>
                  </a:cubicBezTo>
                  <a:cubicBezTo>
                    <a:pt x="761142" y="484746"/>
                    <a:pt x="761142" y="484746"/>
                    <a:pt x="761142" y="484746"/>
                  </a:cubicBezTo>
                  <a:lnTo>
                    <a:pt x="761142" y="492037"/>
                  </a:lnTo>
                  <a:lnTo>
                    <a:pt x="759441" y="492037"/>
                  </a:lnTo>
                  <a:cubicBezTo>
                    <a:pt x="759441" y="492037"/>
                    <a:pt x="752199" y="497057"/>
                    <a:pt x="752199" y="508123"/>
                  </a:cubicBezTo>
                  <a:cubicBezTo>
                    <a:pt x="752199" y="520676"/>
                    <a:pt x="776832" y="530036"/>
                    <a:pt x="776832" y="534030"/>
                  </a:cubicBezTo>
                  <a:cubicBezTo>
                    <a:pt x="776832" y="530036"/>
                    <a:pt x="801467" y="520676"/>
                    <a:pt x="801467" y="508123"/>
                  </a:cubicBezTo>
                  <a:cubicBezTo>
                    <a:pt x="801467" y="497057"/>
                    <a:pt x="794280" y="492037"/>
                    <a:pt x="794280" y="492037"/>
                  </a:cubicBezTo>
                  <a:close/>
                  <a:moveTo>
                    <a:pt x="800918" y="479144"/>
                  </a:moveTo>
                  <a:cubicBezTo>
                    <a:pt x="800754" y="479270"/>
                    <a:pt x="800644" y="479397"/>
                    <a:pt x="800480" y="479517"/>
                  </a:cubicBezTo>
                  <a:cubicBezTo>
                    <a:pt x="800644" y="479397"/>
                    <a:pt x="800754" y="479270"/>
                    <a:pt x="800918" y="479144"/>
                  </a:cubicBezTo>
                  <a:close/>
                  <a:moveTo>
                    <a:pt x="798504" y="481130"/>
                  </a:moveTo>
                  <a:cubicBezTo>
                    <a:pt x="798340" y="481257"/>
                    <a:pt x="798175" y="481383"/>
                    <a:pt x="797955" y="481509"/>
                  </a:cubicBezTo>
                  <a:cubicBezTo>
                    <a:pt x="798175" y="481383"/>
                    <a:pt x="798340" y="481257"/>
                    <a:pt x="798504" y="481130"/>
                  </a:cubicBezTo>
                  <a:close/>
                  <a:moveTo>
                    <a:pt x="795597" y="483084"/>
                  </a:moveTo>
                  <a:cubicBezTo>
                    <a:pt x="795542" y="483128"/>
                    <a:pt x="795486" y="483171"/>
                    <a:pt x="795432" y="483215"/>
                  </a:cubicBezTo>
                  <a:cubicBezTo>
                    <a:pt x="795486" y="483171"/>
                    <a:pt x="795542" y="483128"/>
                    <a:pt x="795597" y="483084"/>
                  </a:cubicBezTo>
                  <a:close/>
                  <a:moveTo>
                    <a:pt x="758344" y="483226"/>
                  </a:moveTo>
                  <a:cubicBezTo>
                    <a:pt x="758179" y="483144"/>
                    <a:pt x="758069" y="483056"/>
                    <a:pt x="757904" y="482974"/>
                  </a:cubicBezTo>
                  <a:cubicBezTo>
                    <a:pt x="758069" y="483056"/>
                    <a:pt x="758179" y="483144"/>
                    <a:pt x="758344" y="483226"/>
                  </a:cubicBezTo>
                  <a:close/>
                  <a:moveTo>
                    <a:pt x="753241" y="479528"/>
                  </a:moveTo>
                  <a:cubicBezTo>
                    <a:pt x="753077" y="479391"/>
                    <a:pt x="752912" y="479259"/>
                    <a:pt x="752748" y="479117"/>
                  </a:cubicBezTo>
                  <a:cubicBezTo>
                    <a:pt x="752912" y="479259"/>
                    <a:pt x="753077" y="479391"/>
                    <a:pt x="753241" y="479528"/>
                  </a:cubicBezTo>
                  <a:close/>
                  <a:moveTo>
                    <a:pt x="755766" y="481520"/>
                  </a:moveTo>
                  <a:cubicBezTo>
                    <a:pt x="755546" y="481377"/>
                    <a:pt x="755326" y="481229"/>
                    <a:pt x="755161" y="481086"/>
                  </a:cubicBezTo>
                  <a:cubicBezTo>
                    <a:pt x="755326" y="481229"/>
                    <a:pt x="755546" y="481377"/>
                    <a:pt x="755766" y="481520"/>
                  </a:cubicBezTo>
                  <a:close/>
                  <a:moveTo>
                    <a:pt x="808764" y="469176"/>
                  </a:moveTo>
                  <a:cubicBezTo>
                    <a:pt x="808819" y="469066"/>
                    <a:pt x="808873" y="468956"/>
                    <a:pt x="808928" y="468846"/>
                  </a:cubicBezTo>
                  <a:cubicBezTo>
                    <a:pt x="808873" y="468956"/>
                    <a:pt x="808819" y="469066"/>
                    <a:pt x="808764" y="469176"/>
                  </a:cubicBezTo>
                  <a:close/>
                  <a:moveTo>
                    <a:pt x="807118" y="471985"/>
                  </a:moveTo>
                  <a:cubicBezTo>
                    <a:pt x="807173" y="471864"/>
                    <a:pt x="807227" y="471738"/>
                    <a:pt x="807338" y="471617"/>
                  </a:cubicBezTo>
                  <a:cubicBezTo>
                    <a:pt x="807227" y="471738"/>
                    <a:pt x="807173" y="471864"/>
                    <a:pt x="807118" y="471985"/>
                  </a:cubicBezTo>
                  <a:close/>
                  <a:moveTo>
                    <a:pt x="744957" y="469159"/>
                  </a:moveTo>
                  <a:cubicBezTo>
                    <a:pt x="744902" y="469060"/>
                    <a:pt x="744847" y="468956"/>
                    <a:pt x="744793" y="468852"/>
                  </a:cubicBezTo>
                  <a:cubicBezTo>
                    <a:pt x="744847" y="468956"/>
                    <a:pt x="744902" y="469060"/>
                    <a:pt x="744957" y="469159"/>
                  </a:cubicBezTo>
                  <a:close/>
                  <a:moveTo>
                    <a:pt x="746603" y="471968"/>
                  </a:moveTo>
                  <a:cubicBezTo>
                    <a:pt x="746548" y="471853"/>
                    <a:pt x="746439" y="471738"/>
                    <a:pt x="746383" y="471622"/>
                  </a:cubicBezTo>
                  <a:cubicBezTo>
                    <a:pt x="746439" y="471738"/>
                    <a:pt x="746548" y="471853"/>
                    <a:pt x="746603" y="471968"/>
                  </a:cubicBezTo>
                  <a:close/>
                  <a:moveTo>
                    <a:pt x="541740" y="583709"/>
                  </a:moveTo>
                  <a:cubicBezTo>
                    <a:pt x="541740" y="590452"/>
                    <a:pt x="547227" y="595917"/>
                    <a:pt x="553975" y="595917"/>
                  </a:cubicBezTo>
                  <a:cubicBezTo>
                    <a:pt x="560724" y="595917"/>
                    <a:pt x="566155" y="590452"/>
                    <a:pt x="566155" y="583709"/>
                  </a:cubicBezTo>
                  <a:lnTo>
                    <a:pt x="566155" y="537816"/>
                  </a:lnTo>
                  <a:lnTo>
                    <a:pt x="541740" y="537816"/>
                  </a:lnTo>
                  <a:close/>
                  <a:moveTo>
                    <a:pt x="523417" y="396278"/>
                  </a:moveTo>
                  <a:lnTo>
                    <a:pt x="523417" y="367699"/>
                  </a:lnTo>
                  <a:lnTo>
                    <a:pt x="510249" y="367699"/>
                  </a:lnTo>
                  <a:cubicBezTo>
                    <a:pt x="510249" y="367699"/>
                    <a:pt x="517985" y="375545"/>
                    <a:pt x="523417" y="396278"/>
                  </a:cubicBezTo>
                  <a:close/>
                  <a:moveTo>
                    <a:pt x="490772" y="410822"/>
                  </a:moveTo>
                  <a:cubicBezTo>
                    <a:pt x="490772" y="409072"/>
                    <a:pt x="501580" y="404979"/>
                    <a:pt x="501580" y="399487"/>
                  </a:cubicBezTo>
                  <a:cubicBezTo>
                    <a:pt x="501580" y="394648"/>
                    <a:pt x="498398" y="392454"/>
                    <a:pt x="498398" y="392454"/>
                  </a:cubicBezTo>
                  <a:lnTo>
                    <a:pt x="497685" y="392454"/>
                  </a:lnTo>
                  <a:lnTo>
                    <a:pt x="497685" y="369405"/>
                  </a:lnTo>
                  <a:lnTo>
                    <a:pt x="483914" y="369405"/>
                  </a:lnTo>
                  <a:lnTo>
                    <a:pt x="483914" y="392454"/>
                  </a:lnTo>
                  <a:lnTo>
                    <a:pt x="483146" y="392454"/>
                  </a:lnTo>
                  <a:cubicBezTo>
                    <a:pt x="483146" y="392454"/>
                    <a:pt x="480018" y="394648"/>
                    <a:pt x="480018" y="399487"/>
                  </a:cubicBezTo>
                  <a:cubicBezTo>
                    <a:pt x="480018" y="404979"/>
                    <a:pt x="490772" y="409072"/>
                    <a:pt x="490772" y="410822"/>
                  </a:cubicBezTo>
                  <a:close/>
                  <a:moveTo>
                    <a:pt x="452861" y="410822"/>
                  </a:moveTo>
                  <a:cubicBezTo>
                    <a:pt x="452861" y="409072"/>
                    <a:pt x="463615" y="404979"/>
                    <a:pt x="463615" y="399487"/>
                  </a:cubicBezTo>
                  <a:cubicBezTo>
                    <a:pt x="463615" y="394648"/>
                    <a:pt x="460487" y="392454"/>
                    <a:pt x="460487" y="392454"/>
                  </a:cubicBezTo>
                  <a:lnTo>
                    <a:pt x="459719" y="392454"/>
                  </a:lnTo>
                  <a:lnTo>
                    <a:pt x="459719" y="369405"/>
                  </a:lnTo>
                  <a:lnTo>
                    <a:pt x="445948" y="369405"/>
                  </a:lnTo>
                  <a:lnTo>
                    <a:pt x="445948" y="392454"/>
                  </a:lnTo>
                  <a:lnTo>
                    <a:pt x="445235" y="392454"/>
                  </a:lnTo>
                  <a:cubicBezTo>
                    <a:pt x="445235" y="392454"/>
                    <a:pt x="442053" y="394648"/>
                    <a:pt x="442053" y="399487"/>
                  </a:cubicBezTo>
                  <a:cubicBezTo>
                    <a:pt x="442053" y="404979"/>
                    <a:pt x="452861" y="409072"/>
                    <a:pt x="452861" y="410822"/>
                  </a:cubicBezTo>
                  <a:close/>
                  <a:moveTo>
                    <a:pt x="414895" y="410822"/>
                  </a:moveTo>
                  <a:cubicBezTo>
                    <a:pt x="414895" y="409072"/>
                    <a:pt x="425648" y="404979"/>
                    <a:pt x="425648" y="399487"/>
                  </a:cubicBezTo>
                  <a:cubicBezTo>
                    <a:pt x="425648" y="394648"/>
                    <a:pt x="422521" y="392454"/>
                    <a:pt x="422521" y="392454"/>
                  </a:cubicBezTo>
                  <a:lnTo>
                    <a:pt x="421753" y="392454"/>
                  </a:lnTo>
                  <a:lnTo>
                    <a:pt x="421753" y="369405"/>
                  </a:lnTo>
                  <a:lnTo>
                    <a:pt x="408037" y="369405"/>
                  </a:lnTo>
                  <a:lnTo>
                    <a:pt x="408037" y="392454"/>
                  </a:lnTo>
                  <a:lnTo>
                    <a:pt x="407269" y="392454"/>
                  </a:lnTo>
                  <a:cubicBezTo>
                    <a:pt x="407269" y="392454"/>
                    <a:pt x="404142" y="394648"/>
                    <a:pt x="404142" y="399487"/>
                  </a:cubicBezTo>
                  <a:cubicBezTo>
                    <a:pt x="404142" y="404979"/>
                    <a:pt x="414895" y="409072"/>
                    <a:pt x="414895" y="410822"/>
                  </a:cubicBezTo>
                  <a:close/>
                  <a:moveTo>
                    <a:pt x="376984" y="410822"/>
                  </a:moveTo>
                  <a:cubicBezTo>
                    <a:pt x="376984" y="409072"/>
                    <a:pt x="387737" y="404979"/>
                    <a:pt x="387737" y="399487"/>
                  </a:cubicBezTo>
                  <a:cubicBezTo>
                    <a:pt x="387737" y="394648"/>
                    <a:pt x="384555" y="392454"/>
                    <a:pt x="384555" y="392454"/>
                  </a:cubicBezTo>
                  <a:lnTo>
                    <a:pt x="383842" y="392454"/>
                  </a:lnTo>
                  <a:lnTo>
                    <a:pt x="383842" y="369405"/>
                  </a:lnTo>
                  <a:lnTo>
                    <a:pt x="370072" y="369405"/>
                  </a:lnTo>
                  <a:lnTo>
                    <a:pt x="370072" y="392454"/>
                  </a:lnTo>
                  <a:lnTo>
                    <a:pt x="369303" y="392454"/>
                  </a:lnTo>
                  <a:cubicBezTo>
                    <a:pt x="369303" y="392454"/>
                    <a:pt x="366175" y="394648"/>
                    <a:pt x="366175" y="399487"/>
                  </a:cubicBezTo>
                  <a:cubicBezTo>
                    <a:pt x="366175" y="404979"/>
                    <a:pt x="376984" y="409072"/>
                    <a:pt x="376984" y="410822"/>
                  </a:cubicBezTo>
                  <a:close/>
                  <a:moveTo>
                    <a:pt x="339018" y="410822"/>
                  </a:moveTo>
                  <a:cubicBezTo>
                    <a:pt x="339018" y="409072"/>
                    <a:pt x="349772" y="404979"/>
                    <a:pt x="349772" y="399487"/>
                  </a:cubicBezTo>
                  <a:cubicBezTo>
                    <a:pt x="349772" y="394648"/>
                    <a:pt x="346644" y="392454"/>
                    <a:pt x="346644" y="392454"/>
                  </a:cubicBezTo>
                  <a:lnTo>
                    <a:pt x="345876" y="392454"/>
                  </a:lnTo>
                  <a:lnTo>
                    <a:pt x="345876" y="369405"/>
                  </a:lnTo>
                  <a:lnTo>
                    <a:pt x="332160" y="369405"/>
                  </a:lnTo>
                  <a:lnTo>
                    <a:pt x="332160" y="392454"/>
                  </a:lnTo>
                  <a:lnTo>
                    <a:pt x="331393" y="392454"/>
                  </a:lnTo>
                  <a:cubicBezTo>
                    <a:pt x="331393" y="392454"/>
                    <a:pt x="328210" y="394648"/>
                    <a:pt x="328210" y="399487"/>
                  </a:cubicBezTo>
                  <a:cubicBezTo>
                    <a:pt x="328210" y="404979"/>
                    <a:pt x="339018" y="409072"/>
                    <a:pt x="339018" y="410822"/>
                  </a:cubicBezTo>
                  <a:close/>
                  <a:moveTo>
                    <a:pt x="301052" y="410822"/>
                  </a:moveTo>
                  <a:cubicBezTo>
                    <a:pt x="301052" y="409072"/>
                    <a:pt x="311860" y="404979"/>
                    <a:pt x="311860" y="399487"/>
                  </a:cubicBezTo>
                  <a:cubicBezTo>
                    <a:pt x="311860" y="394648"/>
                    <a:pt x="308679" y="392454"/>
                    <a:pt x="308679" y="392454"/>
                  </a:cubicBezTo>
                  <a:lnTo>
                    <a:pt x="307965" y="392454"/>
                  </a:lnTo>
                  <a:lnTo>
                    <a:pt x="307965" y="369405"/>
                  </a:lnTo>
                  <a:lnTo>
                    <a:pt x="294194" y="369405"/>
                  </a:lnTo>
                  <a:lnTo>
                    <a:pt x="294194" y="392454"/>
                  </a:lnTo>
                  <a:lnTo>
                    <a:pt x="293426" y="392454"/>
                  </a:lnTo>
                  <a:cubicBezTo>
                    <a:pt x="293426" y="392454"/>
                    <a:pt x="290299" y="394648"/>
                    <a:pt x="290299" y="399487"/>
                  </a:cubicBezTo>
                  <a:cubicBezTo>
                    <a:pt x="290299" y="404979"/>
                    <a:pt x="301052" y="409072"/>
                    <a:pt x="301052" y="410822"/>
                  </a:cubicBezTo>
                  <a:close/>
                  <a:moveTo>
                    <a:pt x="225449" y="444070"/>
                  </a:moveTo>
                  <a:lnTo>
                    <a:pt x="251017" y="444070"/>
                  </a:lnTo>
                  <a:cubicBezTo>
                    <a:pt x="251017" y="443636"/>
                    <a:pt x="251017" y="443219"/>
                    <a:pt x="251017" y="442786"/>
                  </a:cubicBezTo>
                  <a:cubicBezTo>
                    <a:pt x="251017" y="427007"/>
                    <a:pt x="252443" y="414180"/>
                    <a:pt x="254527" y="403882"/>
                  </a:cubicBezTo>
                  <a:cubicBezTo>
                    <a:pt x="257710" y="407152"/>
                    <a:pt x="263141" y="409577"/>
                    <a:pt x="263141" y="410822"/>
                  </a:cubicBezTo>
                  <a:cubicBezTo>
                    <a:pt x="263141" y="409072"/>
                    <a:pt x="273895" y="404979"/>
                    <a:pt x="273895" y="399487"/>
                  </a:cubicBezTo>
                  <a:cubicBezTo>
                    <a:pt x="273895" y="394648"/>
                    <a:pt x="270768" y="392454"/>
                    <a:pt x="270768" y="392454"/>
                  </a:cubicBezTo>
                  <a:lnTo>
                    <a:pt x="269999" y="392454"/>
                  </a:lnTo>
                  <a:lnTo>
                    <a:pt x="269999" y="369405"/>
                  </a:lnTo>
                  <a:lnTo>
                    <a:pt x="268079" y="369405"/>
                  </a:lnTo>
                  <a:cubicBezTo>
                    <a:pt x="268957" y="368248"/>
                    <a:pt x="269505" y="367699"/>
                    <a:pt x="269505" y="367699"/>
                  </a:cubicBezTo>
                  <a:lnTo>
                    <a:pt x="225449" y="367699"/>
                  </a:lnTo>
                  <a:close/>
                  <a:moveTo>
                    <a:pt x="289091" y="28936"/>
                  </a:moveTo>
                  <a:lnTo>
                    <a:pt x="276363" y="28936"/>
                  </a:lnTo>
                  <a:lnTo>
                    <a:pt x="276363" y="6573"/>
                  </a:lnTo>
                  <a:lnTo>
                    <a:pt x="270109" y="6573"/>
                  </a:lnTo>
                  <a:lnTo>
                    <a:pt x="270109" y="148693"/>
                  </a:lnTo>
                  <a:lnTo>
                    <a:pt x="276363" y="148693"/>
                  </a:lnTo>
                  <a:lnTo>
                    <a:pt x="276363" y="121277"/>
                  </a:lnTo>
                  <a:lnTo>
                    <a:pt x="289091" y="121277"/>
                  </a:lnTo>
                  <a:close/>
                  <a:moveTo>
                    <a:pt x="312739" y="28936"/>
                  </a:moveTo>
                  <a:lnTo>
                    <a:pt x="291506" y="28936"/>
                  </a:lnTo>
                  <a:lnTo>
                    <a:pt x="291506" y="121277"/>
                  </a:lnTo>
                  <a:lnTo>
                    <a:pt x="312739" y="121277"/>
                  </a:lnTo>
                  <a:close/>
                  <a:moveTo>
                    <a:pt x="336440" y="28936"/>
                  </a:moveTo>
                  <a:lnTo>
                    <a:pt x="315208" y="28936"/>
                  </a:lnTo>
                  <a:lnTo>
                    <a:pt x="315208" y="121277"/>
                  </a:lnTo>
                  <a:lnTo>
                    <a:pt x="336440" y="121277"/>
                  </a:lnTo>
                  <a:close/>
                  <a:moveTo>
                    <a:pt x="357837" y="6573"/>
                  </a:moveTo>
                  <a:lnTo>
                    <a:pt x="351636" y="6573"/>
                  </a:lnTo>
                  <a:lnTo>
                    <a:pt x="351636" y="28936"/>
                  </a:lnTo>
                  <a:lnTo>
                    <a:pt x="338908" y="28936"/>
                  </a:lnTo>
                  <a:lnTo>
                    <a:pt x="338908" y="121277"/>
                  </a:lnTo>
                  <a:lnTo>
                    <a:pt x="351636" y="121277"/>
                  </a:lnTo>
                  <a:lnTo>
                    <a:pt x="351636" y="148693"/>
                  </a:lnTo>
                  <a:lnTo>
                    <a:pt x="357837" y="148693"/>
                  </a:lnTo>
                  <a:close/>
                  <a:moveTo>
                    <a:pt x="353447" y="154437"/>
                  </a:moveTo>
                  <a:lnTo>
                    <a:pt x="270109" y="154437"/>
                  </a:lnTo>
                  <a:cubicBezTo>
                    <a:pt x="264622" y="162524"/>
                    <a:pt x="261385" y="172284"/>
                    <a:pt x="261385" y="182813"/>
                  </a:cubicBezTo>
                  <a:cubicBezTo>
                    <a:pt x="261385" y="210656"/>
                    <a:pt x="283935" y="233233"/>
                    <a:pt x="311805" y="233233"/>
                  </a:cubicBezTo>
                  <a:cubicBezTo>
                    <a:pt x="339622" y="233233"/>
                    <a:pt x="362226" y="210656"/>
                    <a:pt x="362226" y="182813"/>
                  </a:cubicBezTo>
                  <a:cubicBezTo>
                    <a:pt x="362226" y="172284"/>
                    <a:pt x="358988" y="162524"/>
                    <a:pt x="353447" y="154437"/>
                  </a:cubicBezTo>
                  <a:close/>
                  <a:moveTo>
                    <a:pt x="406665" y="28936"/>
                  </a:moveTo>
                  <a:lnTo>
                    <a:pt x="392127" y="28936"/>
                  </a:lnTo>
                  <a:lnTo>
                    <a:pt x="392127" y="6573"/>
                  </a:lnTo>
                  <a:lnTo>
                    <a:pt x="387079" y="6573"/>
                  </a:lnTo>
                  <a:lnTo>
                    <a:pt x="387079" y="823"/>
                  </a:lnTo>
                  <a:lnTo>
                    <a:pt x="386749" y="823"/>
                  </a:lnTo>
                  <a:lnTo>
                    <a:pt x="386749" y="154437"/>
                  </a:lnTo>
                  <a:lnTo>
                    <a:pt x="387079" y="154437"/>
                  </a:lnTo>
                  <a:lnTo>
                    <a:pt x="387079" y="148693"/>
                  </a:lnTo>
                  <a:lnTo>
                    <a:pt x="392127" y="148693"/>
                  </a:lnTo>
                  <a:lnTo>
                    <a:pt x="392127" y="121277"/>
                  </a:lnTo>
                  <a:lnTo>
                    <a:pt x="406665" y="121277"/>
                  </a:lnTo>
                  <a:close/>
                  <a:moveTo>
                    <a:pt x="431519" y="28936"/>
                  </a:moveTo>
                  <a:lnTo>
                    <a:pt x="409080" y="28936"/>
                  </a:lnTo>
                  <a:lnTo>
                    <a:pt x="409080" y="121277"/>
                  </a:lnTo>
                  <a:lnTo>
                    <a:pt x="431519" y="121277"/>
                  </a:lnTo>
                  <a:close/>
                  <a:moveTo>
                    <a:pt x="456372" y="28936"/>
                  </a:moveTo>
                  <a:lnTo>
                    <a:pt x="433932" y="28936"/>
                  </a:lnTo>
                  <a:lnTo>
                    <a:pt x="433932" y="121277"/>
                  </a:lnTo>
                  <a:lnTo>
                    <a:pt x="456372" y="121277"/>
                  </a:lnTo>
                  <a:close/>
                  <a:moveTo>
                    <a:pt x="478757" y="6573"/>
                  </a:moveTo>
                  <a:lnTo>
                    <a:pt x="473325" y="6573"/>
                  </a:lnTo>
                  <a:lnTo>
                    <a:pt x="473325" y="28936"/>
                  </a:lnTo>
                  <a:lnTo>
                    <a:pt x="458786" y="28936"/>
                  </a:lnTo>
                  <a:lnTo>
                    <a:pt x="458786" y="121277"/>
                  </a:lnTo>
                  <a:lnTo>
                    <a:pt x="473325" y="121277"/>
                  </a:lnTo>
                  <a:lnTo>
                    <a:pt x="473325" y="148693"/>
                  </a:lnTo>
                  <a:lnTo>
                    <a:pt x="478757" y="148693"/>
                  </a:lnTo>
                  <a:close/>
                  <a:moveTo>
                    <a:pt x="473600" y="154437"/>
                  </a:moveTo>
                  <a:lnTo>
                    <a:pt x="390261" y="154437"/>
                  </a:lnTo>
                  <a:cubicBezTo>
                    <a:pt x="384775" y="162524"/>
                    <a:pt x="381537" y="172284"/>
                    <a:pt x="381537" y="182813"/>
                  </a:cubicBezTo>
                  <a:cubicBezTo>
                    <a:pt x="381537" y="210656"/>
                    <a:pt x="404087" y="233233"/>
                    <a:pt x="431958" y="233233"/>
                  </a:cubicBezTo>
                  <a:cubicBezTo>
                    <a:pt x="459774" y="233233"/>
                    <a:pt x="482378" y="210656"/>
                    <a:pt x="482378" y="182813"/>
                  </a:cubicBezTo>
                  <a:cubicBezTo>
                    <a:pt x="482378" y="172284"/>
                    <a:pt x="479141" y="162524"/>
                    <a:pt x="473600" y="154437"/>
                  </a:cubicBezTo>
                  <a:close/>
                  <a:moveTo>
                    <a:pt x="523417" y="823"/>
                  </a:moveTo>
                  <a:lnTo>
                    <a:pt x="507670" y="823"/>
                  </a:lnTo>
                  <a:lnTo>
                    <a:pt x="507670" y="260210"/>
                  </a:lnTo>
                  <a:lnTo>
                    <a:pt x="241196" y="260210"/>
                  </a:lnTo>
                  <a:lnTo>
                    <a:pt x="241196" y="154437"/>
                  </a:lnTo>
                  <a:lnTo>
                    <a:pt x="241196" y="823"/>
                  </a:lnTo>
                  <a:lnTo>
                    <a:pt x="225449" y="823"/>
                  </a:lnTo>
                  <a:lnTo>
                    <a:pt x="225449" y="320708"/>
                  </a:lnTo>
                  <a:lnTo>
                    <a:pt x="238672" y="320708"/>
                  </a:lnTo>
                  <a:lnTo>
                    <a:pt x="238672" y="345600"/>
                  </a:lnTo>
                  <a:cubicBezTo>
                    <a:pt x="238672" y="351333"/>
                    <a:pt x="243336" y="355975"/>
                    <a:pt x="249041" y="355975"/>
                  </a:cubicBezTo>
                  <a:cubicBezTo>
                    <a:pt x="254801" y="355975"/>
                    <a:pt x="259465" y="351333"/>
                    <a:pt x="259465" y="345600"/>
                  </a:cubicBezTo>
                  <a:lnTo>
                    <a:pt x="259465" y="320708"/>
                  </a:lnTo>
                  <a:lnTo>
                    <a:pt x="273895" y="320708"/>
                  </a:lnTo>
                  <a:lnTo>
                    <a:pt x="273895" y="345600"/>
                  </a:lnTo>
                  <a:cubicBezTo>
                    <a:pt x="273895" y="351333"/>
                    <a:pt x="278558" y="355975"/>
                    <a:pt x="284264" y="355975"/>
                  </a:cubicBezTo>
                  <a:cubicBezTo>
                    <a:pt x="290025" y="355975"/>
                    <a:pt x="294634" y="351333"/>
                    <a:pt x="294634" y="345600"/>
                  </a:cubicBezTo>
                  <a:lnTo>
                    <a:pt x="294634" y="320708"/>
                  </a:lnTo>
                  <a:lnTo>
                    <a:pt x="309117" y="320708"/>
                  </a:lnTo>
                  <a:lnTo>
                    <a:pt x="309117" y="345600"/>
                  </a:lnTo>
                  <a:cubicBezTo>
                    <a:pt x="309117" y="351333"/>
                    <a:pt x="313726" y="355975"/>
                    <a:pt x="319486" y="355975"/>
                  </a:cubicBezTo>
                  <a:cubicBezTo>
                    <a:pt x="325192" y="355975"/>
                    <a:pt x="329856" y="351333"/>
                    <a:pt x="329856" y="345600"/>
                  </a:cubicBezTo>
                  <a:lnTo>
                    <a:pt x="329856" y="320708"/>
                  </a:lnTo>
                  <a:lnTo>
                    <a:pt x="344286" y="320708"/>
                  </a:lnTo>
                  <a:lnTo>
                    <a:pt x="344286" y="345600"/>
                  </a:lnTo>
                  <a:cubicBezTo>
                    <a:pt x="344286" y="351333"/>
                    <a:pt x="348949" y="355975"/>
                    <a:pt x="354654" y="355975"/>
                  </a:cubicBezTo>
                  <a:cubicBezTo>
                    <a:pt x="360415" y="355975"/>
                    <a:pt x="365023" y="351333"/>
                    <a:pt x="365023" y="345600"/>
                  </a:cubicBezTo>
                  <a:lnTo>
                    <a:pt x="365023" y="320708"/>
                  </a:lnTo>
                  <a:lnTo>
                    <a:pt x="379508" y="320708"/>
                  </a:lnTo>
                  <a:lnTo>
                    <a:pt x="379508" y="345600"/>
                  </a:lnTo>
                  <a:cubicBezTo>
                    <a:pt x="379508" y="351333"/>
                    <a:pt x="384171" y="355975"/>
                    <a:pt x="389877" y="355975"/>
                  </a:cubicBezTo>
                  <a:cubicBezTo>
                    <a:pt x="395583" y="355975"/>
                    <a:pt x="400247" y="351333"/>
                    <a:pt x="400247" y="345600"/>
                  </a:cubicBezTo>
                  <a:lnTo>
                    <a:pt x="400247" y="320708"/>
                  </a:lnTo>
                  <a:lnTo>
                    <a:pt x="414730" y="320708"/>
                  </a:lnTo>
                  <a:lnTo>
                    <a:pt x="414730" y="345600"/>
                  </a:lnTo>
                  <a:cubicBezTo>
                    <a:pt x="414730" y="351333"/>
                    <a:pt x="419339" y="355975"/>
                    <a:pt x="425100" y="355975"/>
                  </a:cubicBezTo>
                  <a:cubicBezTo>
                    <a:pt x="430806" y="355975"/>
                    <a:pt x="435469" y="351333"/>
                    <a:pt x="435469" y="345600"/>
                  </a:cubicBezTo>
                  <a:lnTo>
                    <a:pt x="435469" y="320708"/>
                  </a:lnTo>
                  <a:lnTo>
                    <a:pt x="449899" y="320708"/>
                  </a:lnTo>
                  <a:lnTo>
                    <a:pt x="449899" y="345600"/>
                  </a:lnTo>
                  <a:cubicBezTo>
                    <a:pt x="449899" y="351333"/>
                    <a:pt x="454562" y="355975"/>
                    <a:pt x="460267" y="355975"/>
                  </a:cubicBezTo>
                  <a:cubicBezTo>
                    <a:pt x="466028" y="355975"/>
                    <a:pt x="470637" y="351333"/>
                    <a:pt x="470637" y="345600"/>
                  </a:cubicBezTo>
                  <a:lnTo>
                    <a:pt x="470637" y="320708"/>
                  </a:lnTo>
                  <a:lnTo>
                    <a:pt x="485121" y="320708"/>
                  </a:lnTo>
                  <a:lnTo>
                    <a:pt x="485121" y="345600"/>
                  </a:lnTo>
                  <a:cubicBezTo>
                    <a:pt x="485121" y="351333"/>
                    <a:pt x="489730" y="355975"/>
                    <a:pt x="495491" y="355975"/>
                  </a:cubicBezTo>
                  <a:cubicBezTo>
                    <a:pt x="501197" y="355975"/>
                    <a:pt x="505860" y="351333"/>
                    <a:pt x="505860" y="345600"/>
                  </a:cubicBezTo>
                  <a:lnTo>
                    <a:pt x="505860" y="320708"/>
                  </a:lnTo>
                  <a:lnTo>
                    <a:pt x="523417" y="320708"/>
                  </a:lnTo>
                  <a:lnTo>
                    <a:pt x="523417" y="48478"/>
                  </a:lnTo>
                  <a:close/>
                  <a:moveTo>
                    <a:pt x="537022" y="48478"/>
                  </a:moveTo>
                  <a:lnTo>
                    <a:pt x="537022" y="507388"/>
                  </a:lnTo>
                  <a:lnTo>
                    <a:pt x="570929" y="507388"/>
                  </a:lnTo>
                  <a:lnTo>
                    <a:pt x="570929" y="48478"/>
                  </a:lnTo>
                  <a:close/>
                  <a:moveTo>
                    <a:pt x="661180" y="140057"/>
                  </a:moveTo>
                  <a:lnTo>
                    <a:pt x="661180" y="154437"/>
                  </a:lnTo>
                  <a:lnTo>
                    <a:pt x="688557" y="154437"/>
                  </a:lnTo>
                  <a:lnTo>
                    <a:pt x="688557" y="140057"/>
                  </a:lnTo>
                  <a:close/>
                  <a:moveTo>
                    <a:pt x="686417" y="126127"/>
                  </a:moveTo>
                  <a:lnTo>
                    <a:pt x="686417" y="27586"/>
                  </a:lnTo>
                  <a:lnTo>
                    <a:pt x="663374" y="27586"/>
                  </a:lnTo>
                  <a:lnTo>
                    <a:pt x="663374" y="126127"/>
                  </a:lnTo>
                  <a:close/>
                  <a:moveTo>
                    <a:pt x="775626" y="955"/>
                  </a:moveTo>
                  <a:lnTo>
                    <a:pt x="775626" y="125672"/>
                  </a:lnTo>
                  <a:lnTo>
                    <a:pt x="746603" y="125672"/>
                  </a:lnTo>
                  <a:lnTo>
                    <a:pt x="746603" y="140057"/>
                  </a:lnTo>
                  <a:lnTo>
                    <a:pt x="807118" y="140057"/>
                  </a:lnTo>
                  <a:lnTo>
                    <a:pt x="807118" y="125672"/>
                  </a:lnTo>
                  <a:lnTo>
                    <a:pt x="778095" y="125672"/>
                  </a:lnTo>
                  <a:lnTo>
                    <a:pt x="778095" y="955"/>
                  </a:lnTo>
                  <a:close/>
                  <a:moveTo>
                    <a:pt x="807118" y="144254"/>
                  </a:moveTo>
                  <a:lnTo>
                    <a:pt x="746603" y="144254"/>
                  </a:lnTo>
                  <a:lnTo>
                    <a:pt x="746603" y="154437"/>
                  </a:lnTo>
                  <a:lnTo>
                    <a:pt x="807118" y="154437"/>
                  </a:lnTo>
                  <a:close/>
                  <a:moveTo>
                    <a:pt x="863957" y="140057"/>
                  </a:moveTo>
                  <a:lnTo>
                    <a:pt x="863957" y="154437"/>
                  </a:lnTo>
                  <a:lnTo>
                    <a:pt x="893035" y="154437"/>
                  </a:lnTo>
                  <a:lnTo>
                    <a:pt x="893035" y="140057"/>
                  </a:lnTo>
                  <a:close/>
                  <a:moveTo>
                    <a:pt x="890017" y="126127"/>
                  </a:moveTo>
                  <a:lnTo>
                    <a:pt x="890017" y="27586"/>
                  </a:lnTo>
                  <a:lnTo>
                    <a:pt x="866974" y="27586"/>
                  </a:lnTo>
                  <a:lnTo>
                    <a:pt x="866974" y="126127"/>
                  </a:lnTo>
                  <a:close/>
                  <a:moveTo>
                    <a:pt x="899838" y="955"/>
                  </a:moveTo>
                  <a:lnTo>
                    <a:pt x="899838" y="168043"/>
                  </a:lnTo>
                  <a:cubicBezTo>
                    <a:pt x="899838" y="179817"/>
                    <a:pt x="890292" y="189363"/>
                    <a:pt x="878496" y="189363"/>
                  </a:cubicBezTo>
                  <a:cubicBezTo>
                    <a:pt x="866755" y="189363"/>
                    <a:pt x="857208" y="179817"/>
                    <a:pt x="857208" y="168043"/>
                  </a:cubicBezTo>
                  <a:lnTo>
                    <a:pt x="857208" y="955"/>
                  </a:lnTo>
                  <a:lnTo>
                    <a:pt x="850899" y="955"/>
                  </a:lnTo>
                  <a:lnTo>
                    <a:pt x="850899" y="12356"/>
                  </a:lnTo>
                  <a:lnTo>
                    <a:pt x="845523" y="12356"/>
                  </a:lnTo>
                  <a:lnTo>
                    <a:pt x="845523" y="140057"/>
                  </a:lnTo>
                  <a:lnTo>
                    <a:pt x="850899" y="140057"/>
                  </a:lnTo>
                  <a:lnTo>
                    <a:pt x="850899" y="157477"/>
                  </a:lnTo>
                  <a:lnTo>
                    <a:pt x="817871" y="157477"/>
                  </a:lnTo>
                  <a:lnTo>
                    <a:pt x="817871" y="140057"/>
                  </a:lnTo>
                  <a:lnTo>
                    <a:pt x="823248" y="140057"/>
                  </a:lnTo>
                  <a:lnTo>
                    <a:pt x="823248" y="12356"/>
                  </a:lnTo>
                  <a:lnTo>
                    <a:pt x="817871" y="12356"/>
                  </a:lnTo>
                  <a:lnTo>
                    <a:pt x="817871" y="955"/>
                  </a:lnTo>
                  <a:lnTo>
                    <a:pt x="810848" y="955"/>
                  </a:lnTo>
                  <a:lnTo>
                    <a:pt x="810848" y="181496"/>
                  </a:lnTo>
                  <a:cubicBezTo>
                    <a:pt x="810848" y="200282"/>
                    <a:pt x="795651" y="215506"/>
                    <a:pt x="776832" y="215506"/>
                  </a:cubicBezTo>
                  <a:cubicBezTo>
                    <a:pt x="758069" y="215506"/>
                    <a:pt x="742817" y="200282"/>
                    <a:pt x="742817" y="181496"/>
                  </a:cubicBezTo>
                  <a:lnTo>
                    <a:pt x="742817" y="955"/>
                  </a:lnTo>
                  <a:lnTo>
                    <a:pt x="735466" y="955"/>
                  </a:lnTo>
                  <a:lnTo>
                    <a:pt x="735466" y="12356"/>
                  </a:lnTo>
                  <a:lnTo>
                    <a:pt x="730089" y="12356"/>
                  </a:lnTo>
                  <a:lnTo>
                    <a:pt x="730089" y="140057"/>
                  </a:lnTo>
                  <a:lnTo>
                    <a:pt x="735466" y="140057"/>
                  </a:lnTo>
                  <a:lnTo>
                    <a:pt x="735466" y="157477"/>
                  </a:lnTo>
                  <a:lnTo>
                    <a:pt x="702437" y="157477"/>
                  </a:lnTo>
                  <a:lnTo>
                    <a:pt x="702437" y="140057"/>
                  </a:lnTo>
                  <a:lnTo>
                    <a:pt x="707814" y="140057"/>
                  </a:lnTo>
                  <a:lnTo>
                    <a:pt x="707814" y="12356"/>
                  </a:lnTo>
                  <a:lnTo>
                    <a:pt x="702437" y="12356"/>
                  </a:lnTo>
                  <a:lnTo>
                    <a:pt x="702437" y="955"/>
                  </a:lnTo>
                  <a:lnTo>
                    <a:pt x="696182" y="955"/>
                  </a:lnTo>
                  <a:lnTo>
                    <a:pt x="696182" y="168043"/>
                  </a:lnTo>
                  <a:cubicBezTo>
                    <a:pt x="696182" y="179817"/>
                    <a:pt x="686637" y="189363"/>
                    <a:pt x="674896" y="189363"/>
                  </a:cubicBezTo>
                  <a:cubicBezTo>
                    <a:pt x="663100" y="189363"/>
                    <a:pt x="653554" y="179817"/>
                    <a:pt x="653554" y="168043"/>
                  </a:cubicBezTo>
                  <a:lnTo>
                    <a:pt x="653554" y="955"/>
                  </a:lnTo>
                  <a:lnTo>
                    <a:pt x="647628" y="955"/>
                  </a:lnTo>
                  <a:lnTo>
                    <a:pt x="647628" y="12356"/>
                  </a:lnTo>
                  <a:lnTo>
                    <a:pt x="642252" y="12356"/>
                  </a:lnTo>
                  <a:lnTo>
                    <a:pt x="642252" y="140057"/>
                  </a:lnTo>
                  <a:lnTo>
                    <a:pt x="647628" y="140057"/>
                  </a:lnTo>
                  <a:lnTo>
                    <a:pt x="647628" y="157477"/>
                  </a:lnTo>
                  <a:lnTo>
                    <a:pt x="632870" y="157477"/>
                  </a:lnTo>
                  <a:lnTo>
                    <a:pt x="632870" y="192304"/>
                  </a:lnTo>
                  <a:lnTo>
                    <a:pt x="633034" y="192304"/>
                  </a:lnTo>
                  <a:cubicBezTo>
                    <a:pt x="636052" y="269130"/>
                    <a:pt x="699256" y="330485"/>
                    <a:pt x="776832" y="330485"/>
                  </a:cubicBezTo>
                  <a:cubicBezTo>
                    <a:pt x="854410" y="330485"/>
                    <a:pt x="917669" y="269130"/>
                    <a:pt x="920687" y="192304"/>
                  </a:cubicBezTo>
                  <a:lnTo>
                    <a:pt x="920851" y="192304"/>
                  </a:lnTo>
                  <a:lnTo>
                    <a:pt x="920851" y="157477"/>
                  </a:lnTo>
                  <a:lnTo>
                    <a:pt x="906093" y="157477"/>
                  </a:lnTo>
                  <a:lnTo>
                    <a:pt x="906093" y="140057"/>
                  </a:lnTo>
                  <a:lnTo>
                    <a:pt x="911414" y="140057"/>
                  </a:lnTo>
                  <a:lnTo>
                    <a:pt x="911414" y="12356"/>
                  </a:lnTo>
                  <a:lnTo>
                    <a:pt x="906093" y="12356"/>
                  </a:lnTo>
                  <a:lnTo>
                    <a:pt x="906093" y="955"/>
                  </a:lnTo>
                  <a:close/>
                  <a:moveTo>
                    <a:pt x="969241" y="955"/>
                  </a:moveTo>
                  <a:lnTo>
                    <a:pt x="939066" y="955"/>
                  </a:lnTo>
                  <a:lnTo>
                    <a:pt x="939066" y="12356"/>
                  </a:lnTo>
                  <a:lnTo>
                    <a:pt x="933744" y="12356"/>
                  </a:lnTo>
                  <a:lnTo>
                    <a:pt x="933744" y="140057"/>
                  </a:lnTo>
                  <a:lnTo>
                    <a:pt x="939066" y="140057"/>
                  </a:lnTo>
                  <a:lnTo>
                    <a:pt x="939066" y="157477"/>
                  </a:lnTo>
                  <a:lnTo>
                    <a:pt x="939066" y="378046"/>
                  </a:lnTo>
                  <a:lnTo>
                    <a:pt x="614600" y="378046"/>
                  </a:lnTo>
                  <a:lnTo>
                    <a:pt x="614600" y="157477"/>
                  </a:lnTo>
                  <a:lnTo>
                    <a:pt x="614600" y="140057"/>
                  </a:lnTo>
                  <a:lnTo>
                    <a:pt x="619977" y="140057"/>
                  </a:lnTo>
                  <a:lnTo>
                    <a:pt x="619977" y="12356"/>
                  </a:lnTo>
                  <a:lnTo>
                    <a:pt x="614600" y="12356"/>
                  </a:lnTo>
                  <a:lnTo>
                    <a:pt x="614600" y="955"/>
                  </a:lnTo>
                  <a:lnTo>
                    <a:pt x="584480" y="955"/>
                  </a:lnTo>
                  <a:lnTo>
                    <a:pt x="584480" y="48478"/>
                  </a:lnTo>
                  <a:lnTo>
                    <a:pt x="584480" y="399646"/>
                  </a:lnTo>
                  <a:lnTo>
                    <a:pt x="969241" y="399646"/>
                  </a:lnTo>
                  <a:lnTo>
                    <a:pt x="969241" y="48478"/>
                  </a:lnTo>
                  <a:close/>
                  <a:moveTo>
                    <a:pt x="982792" y="48478"/>
                  </a:moveTo>
                  <a:lnTo>
                    <a:pt x="982792" y="507388"/>
                  </a:lnTo>
                  <a:lnTo>
                    <a:pt x="1016699" y="507388"/>
                  </a:lnTo>
                  <a:lnTo>
                    <a:pt x="1016699" y="48478"/>
                  </a:lnTo>
                  <a:close/>
                  <a:moveTo>
                    <a:pt x="1094880" y="28936"/>
                  </a:moveTo>
                  <a:lnTo>
                    <a:pt x="1080395" y="28936"/>
                  </a:lnTo>
                  <a:lnTo>
                    <a:pt x="1080395" y="6573"/>
                  </a:lnTo>
                  <a:lnTo>
                    <a:pt x="1074964" y="6573"/>
                  </a:lnTo>
                  <a:lnTo>
                    <a:pt x="1074964" y="148693"/>
                  </a:lnTo>
                  <a:lnTo>
                    <a:pt x="1080395" y="148693"/>
                  </a:lnTo>
                  <a:lnTo>
                    <a:pt x="1080395" y="121277"/>
                  </a:lnTo>
                  <a:lnTo>
                    <a:pt x="1094880" y="121277"/>
                  </a:lnTo>
                  <a:close/>
                  <a:moveTo>
                    <a:pt x="1119733" y="28936"/>
                  </a:moveTo>
                  <a:lnTo>
                    <a:pt x="1097349" y="28936"/>
                  </a:lnTo>
                  <a:lnTo>
                    <a:pt x="1097349" y="121277"/>
                  </a:lnTo>
                  <a:lnTo>
                    <a:pt x="1119733" y="121277"/>
                  </a:lnTo>
                  <a:close/>
                  <a:moveTo>
                    <a:pt x="1144586" y="28936"/>
                  </a:moveTo>
                  <a:lnTo>
                    <a:pt x="1122201" y="28936"/>
                  </a:lnTo>
                  <a:lnTo>
                    <a:pt x="1122201" y="121277"/>
                  </a:lnTo>
                  <a:lnTo>
                    <a:pt x="1144586" y="121277"/>
                  </a:lnTo>
                  <a:close/>
                  <a:moveTo>
                    <a:pt x="1166971" y="823"/>
                  </a:moveTo>
                  <a:lnTo>
                    <a:pt x="1166641" y="823"/>
                  </a:lnTo>
                  <a:lnTo>
                    <a:pt x="1166641" y="6573"/>
                  </a:lnTo>
                  <a:lnTo>
                    <a:pt x="1161594" y="6573"/>
                  </a:lnTo>
                  <a:lnTo>
                    <a:pt x="1161594" y="28936"/>
                  </a:lnTo>
                  <a:lnTo>
                    <a:pt x="1147055" y="28936"/>
                  </a:lnTo>
                  <a:lnTo>
                    <a:pt x="1147055" y="121277"/>
                  </a:lnTo>
                  <a:lnTo>
                    <a:pt x="1161594" y="121277"/>
                  </a:lnTo>
                  <a:lnTo>
                    <a:pt x="1161594" y="148693"/>
                  </a:lnTo>
                  <a:lnTo>
                    <a:pt x="1166641" y="148693"/>
                  </a:lnTo>
                  <a:lnTo>
                    <a:pt x="1166641" y="154437"/>
                  </a:lnTo>
                  <a:lnTo>
                    <a:pt x="1166971" y="154437"/>
                  </a:lnTo>
                  <a:close/>
                  <a:moveTo>
                    <a:pt x="1163460" y="154437"/>
                  </a:moveTo>
                  <a:lnTo>
                    <a:pt x="1080121" y="154437"/>
                  </a:lnTo>
                  <a:cubicBezTo>
                    <a:pt x="1074580" y="162524"/>
                    <a:pt x="1071343" y="172284"/>
                    <a:pt x="1071343" y="182813"/>
                  </a:cubicBezTo>
                  <a:cubicBezTo>
                    <a:pt x="1071343" y="210656"/>
                    <a:pt x="1093946" y="233233"/>
                    <a:pt x="1121763" y="233233"/>
                  </a:cubicBezTo>
                  <a:cubicBezTo>
                    <a:pt x="1149633" y="233233"/>
                    <a:pt x="1172183" y="210656"/>
                    <a:pt x="1172183" y="182813"/>
                  </a:cubicBezTo>
                  <a:cubicBezTo>
                    <a:pt x="1172183" y="172284"/>
                    <a:pt x="1168946" y="162524"/>
                    <a:pt x="1163460" y="154437"/>
                  </a:cubicBezTo>
                  <a:close/>
                  <a:moveTo>
                    <a:pt x="1214812" y="28936"/>
                  </a:moveTo>
                  <a:lnTo>
                    <a:pt x="1202084" y="28936"/>
                  </a:lnTo>
                  <a:lnTo>
                    <a:pt x="1202084" y="6573"/>
                  </a:lnTo>
                  <a:lnTo>
                    <a:pt x="1195884" y="6573"/>
                  </a:lnTo>
                  <a:lnTo>
                    <a:pt x="1195884" y="148693"/>
                  </a:lnTo>
                  <a:lnTo>
                    <a:pt x="1202084" y="148693"/>
                  </a:lnTo>
                  <a:lnTo>
                    <a:pt x="1202084" y="121277"/>
                  </a:lnTo>
                  <a:lnTo>
                    <a:pt x="1214812" y="121277"/>
                  </a:lnTo>
                  <a:close/>
                  <a:moveTo>
                    <a:pt x="1238513" y="28936"/>
                  </a:moveTo>
                  <a:lnTo>
                    <a:pt x="1217281" y="28936"/>
                  </a:lnTo>
                  <a:lnTo>
                    <a:pt x="1217281" y="121277"/>
                  </a:lnTo>
                  <a:lnTo>
                    <a:pt x="1238513" y="121277"/>
                  </a:lnTo>
                  <a:close/>
                  <a:moveTo>
                    <a:pt x="1262215" y="28936"/>
                  </a:moveTo>
                  <a:lnTo>
                    <a:pt x="1240927" y="28936"/>
                  </a:lnTo>
                  <a:lnTo>
                    <a:pt x="1240927" y="121277"/>
                  </a:lnTo>
                  <a:lnTo>
                    <a:pt x="1262215" y="121277"/>
                  </a:lnTo>
                  <a:close/>
                  <a:moveTo>
                    <a:pt x="1283557" y="6573"/>
                  </a:moveTo>
                  <a:lnTo>
                    <a:pt x="1277357" y="6573"/>
                  </a:lnTo>
                  <a:lnTo>
                    <a:pt x="1277357" y="28936"/>
                  </a:lnTo>
                  <a:lnTo>
                    <a:pt x="1264629" y="28936"/>
                  </a:lnTo>
                  <a:lnTo>
                    <a:pt x="1264629" y="121277"/>
                  </a:lnTo>
                  <a:lnTo>
                    <a:pt x="1277357" y="121277"/>
                  </a:lnTo>
                  <a:lnTo>
                    <a:pt x="1277357" y="148693"/>
                  </a:lnTo>
                  <a:lnTo>
                    <a:pt x="1283557" y="148693"/>
                  </a:lnTo>
                  <a:close/>
                  <a:moveTo>
                    <a:pt x="1283557" y="154437"/>
                  </a:moveTo>
                  <a:lnTo>
                    <a:pt x="1200219" y="154437"/>
                  </a:lnTo>
                  <a:cubicBezTo>
                    <a:pt x="1194732" y="162524"/>
                    <a:pt x="1191495" y="172284"/>
                    <a:pt x="1191495" y="182813"/>
                  </a:cubicBezTo>
                  <a:cubicBezTo>
                    <a:pt x="1191495" y="210656"/>
                    <a:pt x="1214044" y="233233"/>
                    <a:pt x="1241915" y="233233"/>
                  </a:cubicBezTo>
                  <a:cubicBezTo>
                    <a:pt x="1269731" y="233233"/>
                    <a:pt x="1292336" y="210656"/>
                    <a:pt x="1292336" y="182813"/>
                  </a:cubicBezTo>
                  <a:cubicBezTo>
                    <a:pt x="1292336" y="172284"/>
                    <a:pt x="1289098" y="162524"/>
                    <a:pt x="1283557" y="154437"/>
                  </a:cubicBezTo>
                  <a:close/>
                  <a:moveTo>
                    <a:pt x="1328271" y="823"/>
                  </a:moveTo>
                  <a:lnTo>
                    <a:pt x="1312470" y="823"/>
                  </a:lnTo>
                  <a:lnTo>
                    <a:pt x="1312470" y="260210"/>
                  </a:lnTo>
                  <a:lnTo>
                    <a:pt x="1046051" y="260210"/>
                  </a:lnTo>
                  <a:lnTo>
                    <a:pt x="1046051" y="154437"/>
                  </a:lnTo>
                  <a:lnTo>
                    <a:pt x="1046051" y="823"/>
                  </a:lnTo>
                  <a:lnTo>
                    <a:pt x="1030250" y="823"/>
                  </a:lnTo>
                  <a:lnTo>
                    <a:pt x="1030250" y="48478"/>
                  </a:lnTo>
                  <a:lnTo>
                    <a:pt x="1030250" y="320708"/>
                  </a:lnTo>
                  <a:lnTo>
                    <a:pt x="1047861" y="320708"/>
                  </a:lnTo>
                  <a:lnTo>
                    <a:pt x="1047861" y="345600"/>
                  </a:lnTo>
                  <a:cubicBezTo>
                    <a:pt x="1047861" y="351333"/>
                    <a:pt x="1052469" y="355975"/>
                    <a:pt x="1058230" y="355975"/>
                  </a:cubicBezTo>
                  <a:cubicBezTo>
                    <a:pt x="1063936" y="355975"/>
                    <a:pt x="1068600" y="351333"/>
                    <a:pt x="1068600" y="345600"/>
                  </a:cubicBezTo>
                  <a:lnTo>
                    <a:pt x="1068600" y="320708"/>
                  </a:lnTo>
                  <a:lnTo>
                    <a:pt x="1083029" y="320708"/>
                  </a:lnTo>
                  <a:lnTo>
                    <a:pt x="1083029" y="345600"/>
                  </a:lnTo>
                  <a:cubicBezTo>
                    <a:pt x="1083029" y="351333"/>
                    <a:pt x="1087693" y="355975"/>
                    <a:pt x="1093398" y="355975"/>
                  </a:cubicBezTo>
                  <a:cubicBezTo>
                    <a:pt x="1099159" y="355975"/>
                    <a:pt x="1103822" y="351333"/>
                    <a:pt x="1103822" y="345600"/>
                  </a:cubicBezTo>
                  <a:lnTo>
                    <a:pt x="1103822" y="320708"/>
                  </a:lnTo>
                  <a:lnTo>
                    <a:pt x="1118252" y="320708"/>
                  </a:lnTo>
                  <a:lnTo>
                    <a:pt x="1118252" y="345600"/>
                  </a:lnTo>
                  <a:cubicBezTo>
                    <a:pt x="1118252" y="351333"/>
                    <a:pt x="1122915" y="355975"/>
                    <a:pt x="1128621" y="355975"/>
                  </a:cubicBezTo>
                  <a:cubicBezTo>
                    <a:pt x="1134382" y="355975"/>
                    <a:pt x="1138991" y="351333"/>
                    <a:pt x="1138991" y="345600"/>
                  </a:cubicBezTo>
                  <a:lnTo>
                    <a:pt x="1138991" y="320708"/>
                  </a:lnTo>
                  <a:lnTo>
                    <a:pt x="1153474" y="320708"/>
                  </a:lnTo>
                  <a:lnTo>
                    <a:pt x="1153474" y="345600"/>
                  </a:lnTo>
                  <a:cubicBezTo>
                    <a:pt x="1153474" y="351333"/>
                    <a:pt x="1158083" y="355975"/>
                    <a:pt x="1163843" y="355975"/>
                  </a:cubicBezTo>
                  <a:cubicBezTo>
                    <a:pt x="1169549" y="355975"/>
                    <a:pt x="1174213" y="351333"/>
                    <a:pt x="1174213" y="345600"/>
                  </a:cubicBezTo>
                  <a:lnTo>
                    <a:pt x="1174213" y="320708"/>
                  </a:lnTo>
                  <a:lnTo>
                    <a:pt x="1188643" y="320708"/>
                  </a:lnTo>
                  <a:lnTo>
                    <a:pt x="1188643" y="345600"/>
                  </a:lnTo>
                  <a:cubicBezTo>
                    <a:pt x="1188643" y="351333"/>
                    <a:pt x="1193306" y="355975"/>
                    <a:pt x="1199011" y="355975"/>
                  </a:cubicBezTo>
                  <a:cubicBezTo>
                    <a:pt x="1204772" y="355975"/>
                    <a:pt x="1209381" y="351333"/>
                    <a:pt x="1209381" y="345600"/>
                  </a:cubicBezTo>
                  <a:lnTo>
                    <a:pt x="1209381" y="320708"/>
                  </a:lnTo>
                  <a:lnTo>
                    <a:pt x="1223865" y="320708"/>
                  </a:lnTo>
                  <a:lnTo>
                    <a:pt x="1223865" y="345600"/>
                  </a:lnTo>
                  <a:cubicBezTo>
                    <a:pt x="1223865" y="351333"/>
                    <a:pt x="1228528" y="355975"/>
                    <a:pt x="1234234" y="355975"/>
                  </a:cubicBezTo>
                  <a:cubicBezTo>
                    <a:pt x="1239940" y="355975"/>
                    <a:pt x="1244604" y="351333"/>
                    <a:pt x="1244604" y="345600"/>
                  </a:cubicBezTo>
                  <a:lnTo>
                    <a:pt x="1244604" y="320708"/>
                  </a:lnTo>
                  <a:lnTo>
                    <a:pt x="1259087" y="320708"/>
                  </a:lnTo>
                  <a:lnTo>
                    <a:pt x="1259087" y="345600"/>
                  </a:lnTo>
                  <a:cubicBezTo>
                    <a:pt x="1259087" y="351333"/>
                    <a:pt x="1263696" y="355975"/>
                    <a:pt x="1269457" y="355975"/>
                  </a:cubicBezTo>
                  <a:cubicBezTo>
                    <a:pt x="1275163" y="355975"/>
                    <a:pt x="1279826" y="351333"/>
                    <a:pt x="1279826" y="345600"/>
                  </a:cubicBezTo>
                  <a:lnTo>
                    <a:pt x="1279826" y="320708"/>
                  </a:lnTo>
                  <a:lnTo>
                    <a:pt x="1294256" y="320708"/>
                  </a:lnTo>
                  <a:lnTo>
                    <a:pt x="1294256" y="345600"/>
                  </a:lnTo>
                  <a:cubicBezTo>
                    <a:pt x="1294256" y="351333"/>
                    <a:pt x="1298919" y="355975"/>
                    <a:pt x="1304624" y="355975"/>
                  </a:cubicBezTo>
                  <a:cubicBezTo>
                    <a:pt x="1310385" y="355975"/>
                    <a:pt x="1314994" y="351333"/>
                    <a:pt x="1314994" y="345600"/>
                  </a:cubicBezTo>
                  <a:lnTo>
                    <a:pt x="1314994" y="320708"/>
                  </a:lnTo>
                  <a:lnTo>
                    <a:pt x="1328271" y="320708"/>
                  </a:lnTo>
                  <a:close/>
                  <a:moveTo>
                    <a:pt x="1328271" y="367699"/>
                  </a:moveTo>
                  <a:lnTo>
                    <a:pt x="1284215" y="367699"/>
                  </a:lnTo>
                  <a:cubicBezTo>
                    <a:pt x="1284215" y="367699"/>
                    <a:pt x="1284764" y="368248"/>
                    <a:pt x="1285641" y="369405"/>
                  </a:cubicBezTo>
                  <a:lnTo>
                    <a:pt x="1283721" y="369405"/>
                  </a:lnTo>
                  <a:lnTo>
                    <a:pt x="1283721" y="392454"/>
                  </a:lnTo>
                  <a:lnTo>
                    <a:pt x="1282953" y="392454"/>
                  </a:lnTo>
                  <a:cubicBezTo>
                    <a:pt x="1282953" y="392454"/>
                    <a:pt x="1279826" y="394648"/>
                    <a:pt x="1279826" y="399487"/>
                  </a:cubicBezTo>
                  <a:cubicBezTo>
                    <a:pt x="1279826" y="404979"/>
                    <a:pt x="1290579" y="409072"/>
                    <a:pt x="1290579" y="410822"/>
                  </a:cubicBezTo>
                  <a:cubicBezTo>
                    <a:pt x="1290579" y="409577"/>
                    <a:pt x="1296011" y="407152"/>
                    <a:pt x="1299138" y="403882"/>
                  </a:cubicBezTo>
                  <a:cubicBezTo>
                    <a:pt x="1301223" y="414180"/>
                    <a:pt x="1302704" y="427007"/>
                    <a:pt x="1302704" y="442786"/>
                  </a:cubicBezTo>
                  <a:cubicBezTo>
                    <a:pt x="1302704" y="443219"/>
                    <a:pt x="1302649" y="443636"/>
                    <a:pt x="1302649" y="444070"/>
                  </a:cubicBezTo>
                  <a:lnTo>
                    <a:pt x="1328271" y="444070"/>
                  </a:lnTo>
                  <a:close/>
                  <a:moveTo>
                    <a:pt x="1373315" y="10216"/>
                  </a:moveTo>
                  <a:lnTo>
                    <a:pt x="1336994" y="10216"/>
                  </a:lnTo>
                  <a:lnTo>
                    <a:pt x="1336994" y="101806"/>
                  </a:lnTo>
                  <a:lnTo>
                    <a:pt x="1373315" y="101806"/>
                  </a:lnTo>
                  <a:close/>
                  <a:moveTo>
                    <a:pt x="1396412" y="498177"/>
                  </a:moveTo>
                  <a:lnTo>
                    <a:pt x="1390651" y="498177"/>
                  </a:lnTo>
                  <a:lnTo>
                    <a:pt x="1390651" y="860339"/>
                  </a:lnTo>
                  <a:lnTo>
                    <a:pt x="1396412" y="860339"/>
                  </a:lnTo>
                  <a:close/>
                  <a:moveTo>
                    <a:pt x="1437451" y="498177"/>
                  </a:moveTo>
                  <a:lnTo>
                    <a:pt x="1406288" y="498177"/>
                  </a:lnTo>
                  <a:lnTo>
                    <a:pt x="1406288" y="552695"/>
                  </a:lnTo>
                  <a:lnTo>
                    <a:pt x="1437451" y="552695"/>
                  </a:lnTo>
                  <a:close/>
                  <a:moveTo>
                    <a:pt x="1453031" y="498177"/>
                  </a:moveTo>
                  <a:lnTo>
                    <a:pt x="1447326" y="498177"/>
                  </a:lnTo>
                  <a:lnTo>
                    <a:pt x="1447326" y="860339"/>
                  </a:lnTo>
                  <a:lnTo>
                    <a:pt x="1453031" y="860339"/>
                  </a:lnTo>
                  <a:lnTo>
                    <a:pt x="1453031" y="498177"/>
                  </a:lnTo>
                </a:path>
              </a:pathLst>
            </a:custGeom>
            <a:grpFill/>
            <a:ln w="548" cap="flat">
              <a:noFill/>
              <a:prstDash val="solid"/>
              <a:miter/>
            </a:ln>
          </p:spPr>
          <p:txBody>
            <a:bodyPr/>
            <a:lstStyle/>
            <a:p>
              <a:endParaRPr lang="en-US"/>
            </a:p>
          </p:txBody>
        </p:sp>
        <p:sp>
          <p:nvSpPr>
            <p:cNvPr id="154" name="Freeform: Shape 153">
              <a:extLst>
                <a:ext uri="{FF2B5EF4-FFF2-40B4-BE49-F238E27FC236}">
                  <a16:creationId xmlns:a16="http://schemas.microsoft.com/office/drawing/2014/main" id="{7DBB01A7-91FD-435C-864D-7A714AF7F934}"/>
                </a:ext>
              </a:extLst>
            </p:cNvPr>
            <p:cNvSpPr/>
            <p:nvPr/>
          </p:nvSpPr>
          <p:spPr>
            <a:xfrm flipV="1">
              <a:off x="27644231" y="3497504"/>
              <a:ext cx="316674" cy="523566"/>
            </a:xfrm>
            <a:custGeom>
              <a:avLst/>
              <a:gdLst>
                <a:gd name="csX0" fmla="*/ 219877 w 316674"/>
                <a:gd name="csY0" fmla="*/ 166914 h 523566"/>
                <a:gd name="csX1" fmla="*/ 219877 w 316674"/>
                <a:gd name="csY1" fmla="*/ 259557 h 523566"/>
                <a:gd name="csX2" fmla="*/ 229697 w 316674"/>
                <a:gd name="csY2" fmla="*/ 259557 h 523566"/>
                <a:gd name="csX3" fmla="*/ 248076 w 316674"/>
                <a:gd name="csY3" fmla="*/ 273246 h 523566"/>
                <a:gd name="csX4" fmla="*/ 229697 w 316674"/>
                <a:gd name="csY4" fmla="*/ 286929 h 523566"/>
                <a:gd name="csX5" fmla="*/ 219877 w 316674"/>
                <a:gd name="csY5" fmla="*/ 286929 h 523566"/>
                <a:gd name="csX6" fmla="*/ 191292 w 316674"/>
                <a:gd name="csY6" fmla="*/ 373521 h 523566"/>
                <a:gd name="csX7" fmla="*/ 145536 w 316674"/>
                <a:gd name="csY7" fmla="*/ 415700 h 523566"/>
                <a:gd name="csX8" fmla="*/ 146249 w 316674"/>
                <a:gd name="csY8" fmla="*/ 416825 h 523566"/>
                <a:gd name="csX9" fmla="*/ 146249 w 316674"/>
                <a:gd name="csY9" fmla="*/ 515553 h 523566"/>
                <a:gd name="csX10" fmla="*/ 145042 w 316674"/>
                <a:gd name="csY10" fmla="*/ 516776 h 523566"/>
                <a:gd name="csX11" fmla="*/ 143835 w 316674"/>
                <a:gd name="csY11" fmla="*/ 515553 h 523566"/>
                <a:gd name="csX12" fmla="*/ 143835 w 316674"/>
                <a:gd name="csY12" fmla="*/ 416825 h 523566"/>
                <a:gd name="csX13" fmla="*/ 144548 w 316674"/>
                <a:gd name="csY13" fmla="*/ 415700 h 523566"/>
                <a:gd name="csX14" fmla="*/ 98792 w 316674"/>
                <a:gd name="csY14" fmla="*/ 373521 h 523566"/>
                <a:gd name="csX15" fmla="*/ 70208 w 316674"/>
                <a:gd name="csY15" fmla="*/ 286929 h 523566"/>
                <a:gd name="csX16" fmla="*/ 60387 w 316674"/>
                <a:gd name="csY16" fmla="*/ 286929 h 523566"/>
                <a:gd name="csX17" fmla="*/ 41953 w 316674"/>
                <a:gd name="csY17" fmla="*/ 273246 h 523566"/>
                <a:gd name="csX18" fmla="*/ 60387 w 316674"/>
                <a:gd name="csY18" fmla="*/ 259557 h 523566"/>
                <a:gd name="csX19" fmla="*/ 70208 w 316674"/>
                <a:gd name="csY19" fmla="*/ 259557 h 523566"/>
                <a:gd name="csX20" fmla="*/ 70208 w 316674"/>
                <a:gd name="csY20" fmla="*/ 166914 h 523566"/>
                <a:gd name="csX21" fmla="*/ -13295 w 316674"/>
                <a:gd name="csY21" fmla="*/ 166914 h 523566"/>
                <a:gd name="csX22" fmla="*/ -13295 w 316674"/>
                <a:gd name="csY22" fmla="*/ 117432 h 523566"/>
                <a:gd name="csX23" fmla="*/ 62581 w 316674"/>
                <a:gd name="csY23" fmla="*/ -6791 h 523566"/>
                <a:gd name="csX24" fmla="*/ 145042 w 316674"/>
                <a:gd name="csY24" fmla="*/ -6791 h 523566"/>
                <a:gd name="csX25" fmla="*/ 227502 w 316674"/>
                <a:gd name="csY25" fmla="*/ -6791 h 523566"/>
                <a:gd name="csX26" fmla="*/ 303380 w 316674"/>
                <a:gd name="csY26" fmla="*/ 117432 h 523566"/>
                <a:gd name="csX27" fmla="*/ 303380 w 316674"/>
                <a:gd name="csY27" fmla="*/ 166914 h 523566"/>
                <a:gd name="csX28" fmla="*/ 108064 w 316674"/>
                <a:gd name="csY28" fmla="*/ 166914 h 523566"/>
                <a:gd name="csX29" fmla="*/ 82278 w 316674"/>
                <a:gd name="csY29" fmla="*/ 166914 h 523566"/>
                <a:gd name="csX30" fmla="*/ 82278 w 316674"/>
                <a:gd name="csY30" fmla="*/ 221125 h 523566"/>
                <a:gd name="csX31" fmla="*/ 95171 w 316674"/>
                <a:gd name="csY31" fmla="*/ 234013 h 523566"/>
                <a:gd name="csX32" fmla="*/ 108064 w 316674"/>
                <a:gd name="csY32" fmla="*/ 221125 h 523566"/>
                <a:gd name="csX33" fmla="*/ 124414 w 316674"/>
                <a:gd name="csY33" fmla="*/ 166914 h 523566"/>
                <a:gd name="csX34" fmla="*/ 120079 w 316674"/>
                <a:gd name="csY34" fmla="*/ 166914 h 523566"/>
                <a:gd name="csX35" fmla="*/ 120079 w 316674"/>
                <a:gd name="csY35" fmla="*/ 259557 h 523566"/>
                <a:gd name="csX36" fmla="*/ 124414 w 316674"/>
                <a:gd name="csY36" fmla="*/ 259557 h 523566"/>
                <a:gd name="csX37" fmla="*/ 157935 w 316674"/>
                <a:gd name="csY37" fmla="*/ 166914 h 523566"/>
                <a:gd name="csX38" fmla="*/ 132149 w 316674"/>
                <a:gd name="csY38" fmla="*/ 166914 h 523566"/>
                <a:gd name="csX39" fmla="*/ 132149 w 316674"/>
                <a:gd name="csY39" fmla="*/ 221125 h 523566"/>
                <a:gd name="csX40" fmla="*/ 145042 w 316674"/>
                <a:gd name="csY40" fmla="*/ 234013 h 523566"/>
                <a:gd name="csX41" fmla="*/ 157935 w 316674"/>
                <a:gd name="csY41" fmla="*/ 221125 h 523566"/>
                <a:gd name="csX42" fmla="*/ 170005 w 316674"/>
                <a:gd name="csY42" fmla="*/ 166914 h 523566"/>
                <a:gd name="csX43" fmla="*/ 165671 w 316674"/>
                <a:gd name="csY43" fmla="*/ 166914 h 523566"/>
                <a:gd name="csX44" fmla="*/ 165671 w 316674"/>
                <a:gd name="csY44" fmla="*/ 259557 h 523566"/>
                <a:gd name="csX45" fmla="*/ 170005 w 316674"/>
                <a:gd name="csY45" fmla="*/ 259557 h 523566"/>
                <a:gd name="csX46" fmla="*/ 207807 w 316674"/>
                <a:gd name="csY46" fmla="*/ 166914 h 523566"/>
                <a:gd name="csX47" fmla="*/ 182021 w 316674"/>
                <a:gd name="csY47" fmla="*/ 166914 h 523566"/>
                <a:gd name="csX48" fmla="*/ 182021 w 316674"/>
                <a:gd name="csY48" fmla="*/ 221125 h 523566"/>
                <a:gd name="csX49" fmla="*/ 194914 w 316674"/>
                <a:gd name="csY49" fmla="*/ 234013 h 523566"/>
                <a:gd name="csX50" fmla="*/ 207807 w 316674"/>
                <a:gd name="csY50" fmla="*/ 221125 h 523566"/>
                <a:gd name="csX51" fmla="*/ 207807 w 316674"/>
                <a:gd name="csY51" fmla="*/ 166914 h 52356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Lst>
              <a:rect l="l" t="t" r="r" b="b"/>
              <a:pathLst>
                <a:path w="316674" h="523566">
                  <a:moveTo>
                    <a:pt x="219877" y="166914"/>
                  </a:moveTo>
                  <a:lnTo>
                    <a:pt x="219877" y="259557"/>
                  </a:lnTo>
                  <a:lnTo>
                    <a:pt x="229697" y="259557"/>
                  </a:lnTo>
                  <a:lnTo>
                    <a:pt x="248076" y="273246"/>
                  </a:lnTo>
                  <a:lnTo>
                    <a:pt x="229697" y="286929"/>
                  </a:lnTo>
                  <a:lnTo>
                    <a:pt x="219877" y="286929"/>
                  </a:lnTo>
                  <a:cubicBezTo>
                    <a:pt x="244784" y="330228"/>
                    <a:pt x="223662" y="354966"/>
                    <a:pt x="191292" y="373521"/>
                  </a:cubicBezTo>
                  <a:cubicBezTo>
                    <a:pt x="157825" y="392685"/>
                    <a:pt x="147675" y="411075"/>
                    <a:pt x="145536" y="415700"/>
                  </a:cubicBezTo>
                  <a:cubicBezTo>
                    <a:pt x="145975" y="415887"/>
                    <a:pt x="146249" y="416320"/>
                    <a:pt x="146249" y="416825"/>
                  </a:cubicBezTo>
                  <a:lnTo>
                    <a:pt x="146249" y="515553"/>
                  </a:lnTo>
                  <a:cubicBezTo>
                    <a:pt x="146249" y="516227"/>
                    <a:pt x="145700" y="516776"/>
                    <a:pt x="145042" y="516776"/>
                  </a:cubicBezTo>
                  <a:cubicBezTo>
                    <a:pt x="144383" y="516776"/>
                    <a:pt x="143835" y="516227"/>
                    <a:pt x="143835" y="515553"/>
                  </a:cubicBezTo>
                  <a:lnTo>
                    <a:pt x="143835" y="416825"/>
                  </a:lnTo>
                  <a:cubicBezTo>
                    <a:pt x="143835" y="416320"/>
                    <a:pt x="144109" y="415887"/>
                    <a:pt x="144548" y="415700"/>
                  </a:cubicBezTo>
                  <a:cubicBezTo>
                    <a:pt x="142408" y="411075"/>
                    <a:pt x="132259" y="392685"/>
                    <a:pt x="98792" y="373521"/>
                  </a:cubicBezTo>
                  <a:cubicBezTo>
                    <a:pt x="66422" y="354966"/>
                    <a:pt x="45299" y="330228"/>
                    <a:pt x="70208" y="286929"/>
                  </a:cubicBezTo>
                  <a:lnTo>
                    <a:pt x="60387" y="286929"/>
                  </a:lnTo>
                  <a:lnTo>
                    <a:pt x="41953" y="273246"/>
                  </a:lnTo>
                  <a:lnTo>
                    <a:pt x="60387" y="259557"/>
                  </a:lnTo>
                  <a:lnTo>
                    <a:pt x="70208" y="259557"/>
                  </a:lnTo>
                  <a:lnTo>
                    <a:pt x="70208" y="166914"/>
                  </a:lnTo>
                  <a:lnTo>
                    <a:pt x="-13295" y="166914"/>
                  </a:lnTo>
                  <a:lnTo>
                    <a:pt x="-13295" y="117432"/>
                  </a:lnTo>
                  <a:cubicBezTo>
                    <a:pt x="-13295" y="117432"/>
                    <a:pt x="62581" y="79005"/>
                    <a:pt x="62581" y="-6791"/>
                  </a:cubicBezTo>
                  <a:lnTo>
                    <a:pt x="145042" y="-6791"/>
                  </a:lnTo>
                  <a:lnTo>
                    <a:pt x="227502" y="-6791"/>
                  </a:lnTo>
                  <a:cubicBezTo>
                    <a:pt x="227502" y="79005"/>
                    <a:pt x="303380" y="117432"/>
                    <a:pt x="303380" y="117432"/>
                  </a:cubicBezTo>
                  <a:lnTo>
                    <a:pt x="303380" y="166914"/>
                  </a:lnTo>
                  <a:close/>
                  <a:moveTo>
                    <a:pt x="108064" y="166914"/>
                  </a:moveTo>
                  <a:lnTo>
                    <a:pt x="82278" y="166914"/>
                  </a:lnTo>
                  <a:lnTo>
                    <a:pt x="82278" y="221125"/>
                  </a:lnTo>
                  <a:cubicBezTo>
                    <a:pt x="82278" y="228241"/>
                    <a:pt x="88038" y="234013"/>
                    <a:pt x="95171" y="234013"/>
                  </a:cubicBezTo>
                  <a:cubicBezTo>
                    <a:pt x="102303" y="234013"/>
                    <a:pt x="108064" y="228241"/>
                    <a:pt x="108064" y="221125"/>
                  </a:cubicBezTo>
                  <a:close/>
                  <a:moveTo>
                    <a:pt x="124414" y="166914"/>
                  </a:moveTo>
                  <a:lnTo>
                    <a:pt x="120079" y="166914"/>
                  </a:lnTo>
                  <a:lnTo>
                    <a:pt x="120079" y="259557"/>
                  </a:lnTo>
                  <a:lnTo>
                    <a:pt x="124414" y="259557"/>
                  </a:lnTo>
                  <a:close/>
                  <a:moveTo>
                    <a:pt x="157935" y="166914"/>
                  </a:moveTo>
                  <a:lnTo>
                    <a:pt x="132149" y="166914"/>
                  </a:lnTo>
                  <a:lnTo>
                    <a:pt x="132149" y="221125"/>
                  </a:lnTo>
                  <a:cubicBezTo>
                    <a:pt x="132149" y="228241"/>
                    <a:pt x="137910" y="234013"/>
                    <a:pt x="145042" y="234013"/>
                  </a:cubicBezTo>
                  <a:cubicBezTo>
                    <a:pt x="152175" y="234013"/>
                    <a:pt x="157935" y="228241"/>
                    <a:pt x="157935" y="221125"/>
                  </a:cubicBezTo>
                  <a:close/>
                  <a:moveTo>
                    <a:pt x="170005" y="166914"/>
                  </a:moveTo>
                  <a:lnTo>
                    <a:pt x="165671" y="166914"/>
                  </a:lnTo>
                  <a:lnTo>
                    <a:pt x="165671" y="259557"/>
                  </a:lnTo>
                  <a:lnTo>
                    <a:pt x="170005" y="259557"/>
                  </a:lnTo>
                  <a:close/>
                  <a:moveTo>
                    <a:pt x="207807" y="166914"/>
                  </a:moveTo>
                  <a:lnTo>
                    <a:pt x="182021" y="166914"/>
                  </a:lnTo>
                  <a:lnTo>
                    <a:pt x="182021" y="221125"/>
                  </a:lnTo>
                  <a:cubicBezTo>
                    <a:pt x="182021" y="228241"/>
                    <a:pt x="187782" y="234013"/>
                    <a:pt x="194914" y="234013"/>
                  </a:cubicBezTo>
                  <a:cubicBezTo>
                    <a:pt x="202046" y="234013"/>
                    <a:pt x="207807" y="228241"/>
                    <a:pt x="207807" y="221125"/>
                  </a:cubicBezTo>
                  <a:lnTo>
                    <a:pt x="207807" y="166914"/>
                  </a:lnTo>
                </a:path>
              </a:pathLst>
            </a:custGeom>
            <a:grpFill/>
            <a:ln w="548" cap="flat">
              <a:noFill/>
              <a:prstDash val="solid"/>
              <a:miter/>
            </a:ln>
          </p:spPr>
          <p:txBody>
            <a:bodyPr/>
            <a:lstStyle/>
            <a:p>
              <a:endParaRPr lang="en-US"/>
            </a:p>
          </p:txBody>
        </p:sp>
        <p:sp>
          <p:nvSpPr>
            <p:cNvPr id="155" name="Freeform: Shape 154">
              <a:extLst>
                <a:ext uri="{FF2B5EF4-FFF2-40B4-BE49-F238E27FC236}">
                  <a16:creationId xmlns:a16="http://schemas.microsoft.com/office/drawing/2014/main" id="{D32EBFB3-CC4D-31CF-661C-389C51D0D442}"/>
                </a:ext>
              </a:extLst>
            </p:cNvPr>
            <p:cNvSpPr/>
            <p:nvPr/>
          </p:nvSpPr>
          <p:spPr>
            <a:xfrm flipV="1">
              <a:off x="26354213" y="3497504"/>
              <a:ext cx="316674" cy="523566"/>
            </a:xfrm>
            <a:custGeom>
              <a:avLst/>
              <a:gdLst>
                <a:gd name="csX0" fmla="*/ 64181 w 316674"/>
                <a:gd name="csY0" fmla="*/ -6791 h 523566"/>
                <a:gd name="csX1" fmla="*/ 229102 w 316674"/>
                <a:gd name="csY1" fmla="*/ -6791 h 523566"/>
                <a:gd name="csX2" fmla="*/ 304979 w 316674"/>
                <a:gd name="csY2" fmla="*/ 117432 h 523566"/>
                <a:gd name="csX3" fmla="*/ 304979 w 316674"/>
                <a:gd name="csY3" fmla="*/ 166914 h 523566"/>
                <a:gd name="csX4" fmla="*/ 221476 w 316674"/>
                <a:gd name="csY4" fmla="*/ 166914 h 523566"/>
                <a:gd name="csX5" fmla="*/ 221476 w 316674"/>
                <a:gd name="csY5" fmla="*/ 259557 h 523566"/>
                <a:gd name="csX6" fmla="*/ 231297 w 316674"/>
                <a:gd name="csY6" fmla="*/ 259557 h 523566"/>
                <a:gd name="csX7" fmla="*/ 249676 w 316674"/>
                <a:gd name="csY7" fmla="*/ 273246 h 523566"/>
                <a:gd name="csX8" fmla="*/ 231297 w 316674"/>
                <a:gd name="csY8" fmla="*/ 286929 h 523566"/>
                <a:gd name="csX9" fmla="*/ 221476 w 316674"/>
                <a:gd name="csY9" fmla="*/ 286929 h 523566"/>
                <a:gd name="csX10" fmla="*/ 192892 w 316674"/>
                <a:gd name="csY10" fmla="*/ 373521 h 523566"/>
                <a:gd name="csX11" fmla="*/ 147135 w 316674"/>
                <a:gd name="csY11" fmla="*/ 415700 h 523566"/>
                <a:gd name="csX12" fmla="*/ 147849 w 316674"/>
                <a:gd name="csY12" fmla="*/ 416825 h 523566"/>
                <a:gd name="csX13" fmla="*/ 147849 w 316674"/>
                <a:gd name="csY13" fmla="*/ 515553 h 523566"/>
                <a:gd name="csX14" fmla="*/ 146641 w 316674"/>
                <a:gd name="csY14" fmla="*/ 516776 h 523566"/>
                <a:gd name="csX15" fmla="*/ 145435 w 316674"/>
                <a:gd name="csY15" fmla="*/ 515553 h 523566"/>
                <a:gd name="csX16" fmla="*/ 145435 w 316674"/>
                <a:gd name="csY16" fmla="*/ 416825 h 523566"/>
                <a:gd name="csX17" fmla="*/ 146147 w 316674"/>
                <a:gd name="csY17" fmla="*/ 415700 h 523566"/>
                <a:gd name="csX18" fmla="*/ 100392 w 316674"/>
                <a:gd name="csY18" fmla="*/ 373521 h 523566"/>
                <a:gd name="csX19" fmla="*/ 71807 w 316674"/>
                <a:gd name="csY19" fmla="*/ 286929 h 523566"/>
                <a:gd name="csX20" fmla="*/ 61987 w 316674"/>
                <a:gd name="csY20" fmla="*/ 286929 h 523566"/>
                <a:gd name="csX21" fmla="*/ 43552 w 316674"/>
                <a:gd name="csY21" fmla="*/ 273246 h 523566"/>
                <a:gd name="csX22" fmla="*/ 61987 w 316674"/>
                <a:gd name="csY22" fmla="*/ 259557 h 523566"/>
                <a:gd name="csX23" fmla="*/ 71807 w 316674"/>
                <a:gd name="csY23" fmla="*/ 259557 h 523566"/>
                <a:gd name="csX24" fmla="*/ 71807 w 316674"/>
                <a:gd name="csY24" fmla="*/ 166914 h 523566"/>
                <a:gd name="csX25" fmla="*/ -11696 w 316674"/>
                <a:gd name="csY25" fmla="*/ 166914 h 523566"/>
                <a:gd name="csX26" fmla="*/ -11696 w 316674"/>
                <a:gd name="csY26" fmla="*/ 117432 h 523566"/>
                <a:gd name="csX27" fmla="*/ 64181 w 316674"/>
                <a:gd name="csY27" fmla="*/ -6791 h 523566"/>
                <a:gd name="csX28" fmla="*/ 183620 w 316674"/>
                <a:gd name="csY28" fmla="*/ 221125 h 523566"/>
                <a:gd name="csX29" fmla="*/ 196513 w 316674"/>
                <a:gd name="csY29" fmla="*/ 234013 h 523566"/>
                <a:gd name="csX30" fmla="*/ 209406 w 316674"/>
                <a:gd name="csY30" fmla="*/ 221125 h 523566"/>
                <a:gd name="csX31" fmla="*/ 209406 w 316674"/>
                <a:gd name="csY31" fmla="*/ 166914 h 523566"/>
                <a:gd name="csX32" fmla="*/ 199421 w 316674"/>
                <a:gd name="csY32" fmla="*/ 166914 h 523566"/>
                <a:gd name="csX33" fmla="*/ 183620 w 316674"/>
                <a:gd name="csY33" fmla="*/ 166914 h 523566"/>
                <a:gd name="csX34" fmla="*/ 167270 w 316674"/>
                <a:gd name="csY34" fmla="*/ 259557 h 523566"/>
                <a:gd name="csX35" fmla="*/ 171550 w 316674"/>
                <a:gd name="csY35" fmla="*/ 259557 h 523566"/>
                <a:gd name="csX36" fmla="*/ 171550 w 316674"/>
                <a:gd name="csY36" fmla="*/ 166914 h 523566"/>
                <a:gd name="csX37" fmla="*/ 167270 w 316674"/>
                <a:gd name="csY37" fmla="*/ 166914 h 523566"/>
                <a:gd name="csX38" fmla="*/ 133748 w 316674"/>
                <a:gd name="csY38" fmla="*/ 221125 h 523566"/>
                <a:gd name="csX39" fmla="*/ 146641 w 316674"/>
                <a:gd name="csY39" fmla="*/ 234013 h 523566"/>
                <a:gd name="csX40" fmla="*/ 159534 w 316674"/>
                <a:gd name="csY40" fmla="*/ 221125 h 523566"/>
                <a:gd name="csX41" fmla="*/ 159534 w 316674"/>
                <a:gd name="csY41" fmla="*/ 166914 h 523566"/>
                <a:gd name="csX42" fmla="*/ 133748 w 316674"/>
                <a:gd name="csY42" fmla="*/ 166914 h 523566"/>
                <a:gd name="csX43" fmla="*/ 121678 w 316674"/>
                <a:gd name="csY43" fmla="*/ 259557 h 523566"/>
                <a:gd name="csX44" fmla="*/ 126013 w 316674"/>
                <a:gd name="csY44" fmla="*/ 259557 h 523566"/>
                <a:gd name="csX45" fmla="*/ 126013 w 316674"/>
                <a:gd name="csY45" fmla="*/ 166914 h 523566"/>
                <a:gd name="csX46" fmla="*/ 121678 w 316674"/>
                <a:gd name="csY46" fmla="*/ 166914 h 523566"/>
                <a:gd name="csX47" fmla="*/ 83877 w 316674"/>
                <a:gd name="csY47" fmla="*/ 221125 h 523566"/>
                <a:gd name="csX48" fmla="*/ 96770 w 316674"/>
                <a:gd name="csY48" fmla="*/ 234013 h 523566"/>
                <a:gd name="csX49" fmla="*/ 109663 w 316674"/>
                <a:gd name="csY49" fmla="*/ 221125 h 523566"/>
                <a:gd name="csX50" fmla="*/ 109663 w 316674"/>
                <a:gd name="csY50" fmla="*/ 166914 h 523566"/>
                <a:gd name="csX51" fmla="*/ 93862 w 316674"/>
                <a:gd name="csY51" fmla="*/ 166914 h 523566"/>
                <a:gd name="csX52" fmla="*/ 83877 w 316674"/>
                <a:gd name="csY52" fmla="*/ 166914 h 523566"/>
                <a:gd name="csX53" fmla="*/ 83877 w 316674"/>
                <a:gd name="csY53" fmla="*/ 221125 h 52356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Lst>
              <a:rect l="l" t="t" r="r" b="b"/>
              <a:pathLst>
                <a:path w="316674" h="523566">
                  <a:moveTo>
                    <a:pt x="64181" y="-6791"/>
                  </a:moveTo>
                  <a:lnTo>
                    <a:pt x="229102" y="-6791"/>
                  </a:lnTo>
                  <a:cubicBezTo>
                    <a:pt x="229102" y="79005"/>
                    <a:pt x="304979" y="117432"/>
                    <a:pt x="304979" y="117432"/>
                  </a:cubicBezTo>
                  <a:lnTo>
                    <a:pt x="304979" y="166914"/>
                  </a:lnTo>
                  <a:lnTo>
                    <a:pt x="221476" y="166914"/>
                  </a:lnTo>
                  <a:lnTo>
                    <a:pt x="221476" y="259557"/>
                  </a:lnTo>
                  <a:lnTo>
                    <a:pt x="231297" y="259557"/>
                  </a:lnTo>
                  <a:lnTo>
                    <a:pt x="249676" y="273246"/>
                  </a:lnTo>
                  <a:lnTo>
                    <a:pt x="231297" y="286929"/>
                  </a:lnTo>
                  <a:lnTo>
                    <a:pt x="221476" y="286929"/>
                  </a:lnTo>
                  <a:cubicBezTo>
                    <a:pt x="246384" y="330228"/>
                    <a:pt x="225262" y="354966"/>
                    <a:pt x="192892" y="373521"/>
                  </a:cubicBezTo>
                  <a:cubicBezTo>
                    <a:pt x="159425" y="392685"/>
                    <a:pt x="149275" y="411075"/>
                    <a:pt x="147135" y="415700"/>
                  </a:cubicBezTo>
                  <a:cubicBezTo>
                    <a:pt x="147575" y="415887"/>
                    <a:pt x="147849" y="416320"/>
                    <a:pt x="147849" y="416825"/>
                  </a:cubicBezTo>
                  <a:lnTo>
                    <a:pt x="147849" y="515553"/>
                  </a:lnTo>
                  <a:cubicBezTo>
                    <a:pt x="147849" y="516227"/>
                    <a:pt x="147300" y="516776"/>
                    <a:pt x="146641" y="516776"/>
                  </a:cubicBezTo>
                  <a:cubicBezTo>
                    <a:pt x="145983" y="516776"/>
                    <a:pt x="145435" y="516227"/>
                    <a:pt x="145435" y="515553"/>
                  </a:cubicBezTo>
                  <a:lnTo>
                    <a:pt x="145435" y="416825"/>
                  </a:lnTo>
                  <a:cubicBezTo>
                    <a:pt x="145435" y="416320"/>
                    <a:pt x="145709" y="415887"/>
                    <a:pt x="146147" y="415700"/>
                  </a:cubicBezTo>
                  <a:cubicBezTo>
                    <a:pt x="144008" y="411075"/>
                    <a:pt x="133859" y="392685"/>
                    <a:pt x="100392" y="373521"/>
                  </a:cubicBezTo>
                  <a:cubicBezTo>
                    <a:pt x="68022" y="354966"/>
                    <a:pt x="46899" y="330228"/>
                    <a:pt x="71807" y="286929"/>
                  </a:cubicBezTo>
                  <a:lnTo>
                    <a:pt x="61987" y="286929"/>
                  </a:lnTo>
                  <a:lnTo>
                    <a:pt x="43552" y="273246"/>
                  </a:lnTo>
                  <a:lnTo>
                    <a:pt x="61987" y="259557"/>
                  </a:lnTo>
                  <a:lnTo>
                    <a:pt x="71807" y="259557"/>
                  </a:lnTo>
                  <a:lnTo>
                    <a:pt x="71807" y="166914"/>
                  </a:lnTo>
                  <a:lnTo>
                    <a:pt x="-11696" y="166914"/>
                  </a:lnTo>
                  <a:lnTo>
                    <a:pt x="-11696" y="117432"/>
                  </a:lnTo>
                  <a:cubicBezTo>
                    <a:pt x="-11696" y="117432"/>
                    <a:pt x="64181" y="79005"/>
                    <a:pt x="64181" y="-6791"/>
                  </a:cubicBezTo>
                  <a:close/>
                  <a:moveTo>
                    <a:pt x="183620" y="221125"/>
                  </a:moveTo>
                  <a:cubicBezTo>
                    <a:pt x="183620" y="228241"/>
                    <a:pt x="189381" y="234013"/>
                    <a:pt x="196513" y="234013"/>
                  </a:cubicBezTo>
                  <a:cubicBezTo>
                    <a:pt x="203645" y="234013"/>
                    <a:pt x="209406" y="228241"/>
                    <a:pt x="209406" y="221125"/>
                  </a:cubicBezTo>
                  <a:lnTo>
                    <a:pt x="209406" y="166914"/>
                  </a:lnTo>
                  <a:lnTo>
                    <a:pt x="199421" y="166914"/>
                  </a:lnTo>
                  <a:lnTo>
                    <a:pt x="183620" y="166914"/>
                  </a:lnTo>
                  <a:close/>
                  <a:moveTo>
                    <a:pt x="167270" y="259557"/>
                  </a:moveTo>
                  <a:lnTo>
                    <a:pt x="171550" y="259557"/>
                  </a:lnTo>
                  <a:lnTo>
                    <a:pt x="171550" y="166914"/>
                  </a:lnTo>
                  <a:lnTo>
                    <a:pt x="167270" y="166914"/>
                  </a:lnTo>
                  <a:close/>
                  <a:moveTo>
                    <a:pt x="133748" y="221125"/>
                  </a:moveTo>
                  <a:cubicBezTo>
                    <a:pt x="133748" y="228241"/>
                    <a:pt x="139509" y="234013"/>
                    <a:pt x="146641" y="234013"/>
                  </a:cubicBezTo>
                  <a:cubicBezTo>
                    <a:pt x="153774" y="234013"/>
                    <a:pt x="159534" y="228241"/>
                    <a:pt x="159534" y="221125"/>
                  </a:cubicBezTo>
                  <a:lnTo>
                    <a:pt x="159534" y="166914"/>
                  </a:lnTo>
                  <a:lnTo>
                    <a:pt x="133748" y="166914"/>
                  </a:lnTo>
                  <a:close/>
                  <a:moveTo>
                    <a:pt x="121678" y="259557"/>
                  </a:moveTo>
                  <a:lnTo>
                    <a:pt x="126013" y="259557"/>
                  </a:lnTo>
                  <a:lnTo>
                    <a:pt x="126013" y="166914"/>
                  </a:lnTo>
                  <a:lnTo>
                    <a:pt x="121678" y="166914"/>
                  </a:lnTo>
                  <a:close/>
                  <a:moveTo>
                    <a:pt x="83877" y="221125"/>
                  </a:moveTo>
                  <a:cubicBezTo>
                    <a:pt x="83877" y="228241"/>
                    <a:pt x="89637" y="234013"/>
                    <a:pt x="96770" y="234013"/>
                  </a:cubicBezTo>
                  <a:cubicBezTo>
                    <a:pt x="103847" y="234013"/>
                    <a:pt x="109663" y="228241"/>
                    <a:pt x="109663" y="221125"/>
                  </a:cubicBezTo>
                  <a:lnTo>
                    <a:pt x="109663" y="166914"/>
                  </a:lnTo>
                  <a:lnTo>
                    <a:pt x="93862" y="166914"/>
                  </a:lnTo>
                  <a:lnTo>
                    <a:pt x="83877" y="166914"/>
                  </a:lnTo>
                  <a:lnTo>
                    <a:pt x="83877" y="221125"/>
                  </a:lnTo>
                </a:path>
              </a:pathLst>
            </a:custGeom>
            <a:grpFill/>
            <a:ln w="548" cap="flat">
              <a:noFill/>
              <a:prstDash val="solid"/>
              <a:miter/>
            </a:ln>
          </p:spPr>
          <p:txBody>
            <a:bodyPr/>
            <a:lstStyle/>
            <a:p>
              <a:endParaRPr lang="en-US"/>
            </a:p>
          </p:txBody>
        </p:sp>
        <p:sp>
          <p:nvSpPr>
            <p:cNvPr id="156" name="Freeform: Shape 155">
              <a:extLst>
                <a:ext uri="{FF2B5EF4-FFF2-40B4-BE49-F238E27FC236}">
                  <a16:creationId xmlns:a16="http://schemas.microsoft.com/office/drawing/2014/main" id="{C884EB09-10F2-A20E-1F3B-249F39754C9F}"/>
                </a:ext>
              </a:extLst>
            </p:cNvPr>
            <p:cNvSpPr/>
            <p:nvPr/>
          </p:nvSpPr>
          <p:spPr>
            <a:xfrm flipV="1">
              <a:off x="24166182" y="3112139"/>
              <a:ext cx="15800" cy="12256"/>
            </a:xfrm>
            <a:custGeom>
              <a:avLst/>
              <a:gdLst>
                <a:gd name="csX0" fmla="*/ 7003 w 15800"/>
                <a:gd name="csY0" fmla="*/ 3923 h 12256"/>
                <a:gd name="csX1" fmla="*/ -8798 w 15800"/>
                <a:gd name="csY1" fmla="*/ 3923 h 12256"/>
                <a:gd name="csX2" fmla="*/ -8798 w 15800"/>
                <a:gd name="csY2" fmla="*/ -8333 h 12256"/>
                <a:gd name="csX3" fmla="*/ 7003 w 15800"/>
                <a:gd name="csY3" fmla="*/ -8333 h 12256"/>
                <a:gd name="csX4" fmla="*/ 7003 w 15800"/>
                <a:gd name="csY4" fmla="*/ 3923 h 12256"/>
              </a:gdLst>
              <a:ahLst/>
              <a:cxnLst>
                <a:cxn ang="0">
                  <a:pos x="csX0" y="csY0"/>
                </a:cxn>
                <a:cxn ang="0">
                  <a:pos x="csX1" y="csY1"/>
                </a:cxn>
                <a:cxn ang="0">
                  <a:pos x="csX2" y="csY2"/>
                </a:cxn>
                <a:cxn ang="0">
                  <a:pos x="csX3" y="csY3"/>
                </a:cxn>
                <a:cxn ang="0">
                  <a:pos x="csX4" y="csY4"/>
                </a:cxn>
              </a:cxnLst>
              <a:rect l="l" t="t" r="r" b="b"/>
              <a:pathLst>
                <a:path w="15800" h="12256">
                  <a:moveTo>
                    <a:pt x="7003" y="3923"/>
                  </a:moveTo>
                  <a:lnTo>
                    <a:pt x="-8798" y="3923"/>
                  </a:lnTo>
                  <a:lnTo>
                    <a:pt x="-8798" y="-8333"/>
                  </a:lnTo>
                  <a:lnTo>
                    <a:pt x="7003" y="-8333"/>
                  </a:lnTo>
                  <a:lnTo>
                    <a:pt x="7003" y="3923"/>
                  </a:lnTo>
                </a:path>
              </a:pathLst>
            </a:custGeom>
            <a:grpFill/>
            <a:ln w="548" cap="flat">
              <a:noFill/>
              <a:prstDash val="solid"/>
              <a:miter/>
            </a:ln>
          </p:spPr>
          <p:txBody>
            <a:bodyPr/>
            <a:lstStyle/>
            <a:p>
              <a:endParaRPr lang="en-US"/>
            </a:p>
          </p:txBody>
        </p:sp>
        <p:sp>
          <p:nvSpPr>
            <p:cNvPr id="157" name="Freeform: Shape 156">
              <a:extLst>
                <a:ext uri="{FF2B5EF4-FFF2-40B4-BE49-F238E27FC236}">
                  <a16:creationId xmlns:a16="http://schemas.microsoft.com/office/drawing/2014/main" id="{5463C3FE-64A1-CC83-740E-E171BF669C31}"/>
                </a:ext>
              </a:extLst>
            </p:cNvPr>
            <p:cNvSpPr/>
            <p:nvPr/>
          </p:nvSpPr>
          <p:spPr>
            <a:xfrm flipV="1">
              <a:off x="24166182" y="3126798"/>
              <a:ext cx="15800" cy="12262"/>
            </a:xfrm>
            <a:custGeom>
              <a:avLst/>
              <a:gdLst>
                <a:gd name="csX0" fmla="*/ 7003 w 15800"/>
                <a:gd name="csY0" fmla="*/ 3965 h 12262"/>
                <a:gd name="csX1" fmla="*/ -8798 w 15800"/>
                <a:gd name="csY1" fmla="*/ 3965 h 12262"/>
                <a:gd name="csX2" fmla="*/ -8798 w 15800"/>
                <a:gd name="csY2" fmla="*/ -8298 h 12262"/>
                <a:gd name="csX3" fmla="*/ 7003 w 15800"/>
                <a:gd name="csY3" fmla="*/ -8298 h 12262"/>
                <a:gd name="csX4" fmla="*/ 7003 w 15800"/>
                <a:gd name="csY4" fmla="*/ 3965 h 12262"/>
              </a:gdLst>
              <a:ahLst/>
              <a:cxnLst>
                <a:cxn ang="0">
                  <a:pos x="csX0" y="csY0"/>
                </a:cxn>
                <a:cxn ang="0">
                  <a:pos x="csX1" y="csY1"/>
                </a:cxn>
                <a:cxn ang="0">
                  <a:pos x="csX2" y="csY2"/>
                </a:cxn>
                <a:cxn ang="0">
                  <a:pos x="csX3" y="csY3"/>
                </a:cxn>
                <a:cxn ang="0">
                  <a:pos x="csX4" y="csY4"/>
                </a:cxn>
              </a:cxnLst>
              <a:rect l="l" t="t" r="r" b="b"/>
              <a:pathLst>
                <a:path w="15800" h="12262">
                  <a:moveTo>
                    <a:pt x="7003" y="3965"/>
                  </a:moveTo>
                  <a:lnTo>
                    <a:pt x="-8798" y="3965"/>
                  </a:lnTo>
                  <a:lnTo>
                    <a:pt x="-8798" y="-8298"/>
                  </a:lnTo>
                  <a:lnTo>
                    <a:pt x="7003" y="-8298"/>
                  </a:lnTo>
                  <a:lnTo>
                    <a:pt x="7003" y="3965"/>
                  </a:lnTo>
                </a:path>
              </a:pathLst>
            </a:custGeom>
            <a:grpFill/>
            <a:ln w="548" cap="flat">
              <a:noFill/>
              <a:prstDash val="solid"/>
              <a:miter/>
            </a:ln>
          </p:spPr>
          <p:txBody>
            <a:bodyPr/>
            <a:lstStyle/>
            <a:p>
              <a:endParaRPr lang="en-US"/>
            </a:p>
          </p:txBody>
        </p:sp>
        <p:sp>
          <p:nvSpPr>
            <p:cNvPr id="158" name="Freeform: Shape 157">
              <a:extLst>
                <a:ext uri="{FF2B5EF4-FFF2-40B4-BE49-F238E27FC236}">
                  <a16:creationId xmlns:a16="http://schemas.microsoft.com/office/drawing/2014/main" id="{C6CB3637-F166-04BA-685B-B7E33F84A419}"/>
                </a:ext>
              </a:extLst>
            </p:cNvPr>
            <p:cNvSpPr/>
            <p:nvPr/>
          </p:nvSpPr>
          <p:spPr>
            <a:xfrm flipV="1">
              <a:off x="24166182" y="3220928"/>
              <a:ext cx="15800" cy="14374"/>
            </a:xfrm>
            <a:custGeom>
              <a:avLst/>
              <a:gdLst>
                <a:gd name="csX0" fmla="*/ 7003 w 15800"/>
                <a:gd name="csY0" fmla="*/ 6306 h 14374"/>
                <a:gd name="csX1" fmla="*/ -8798 w 15800"/>
                <a:gd name="csY1" fmla="*/ 6306 h 14374"/>
                <a:gd name="csX2" fmla="*/ -8798 w 15800"/>
                <a:gd name="csY2" fmla="*/ -8069 h 14374"/>
                <a:gd name="csX3" fmla="*/ 7003 w 15800"/>
                <a:gd name="csY3" fmla="*/ -8069 h 14374"/>
                <a:gd name="csX4" fmla="*/ 7003 w 15800"/>
                <a:gd name="csY4" fmla="*/ 6306 h 14374"/>
              </a:gdLst>
              <a:ahLst/>
              <a:cxnLst>
                <a:cxn ang="0">
                  <a:pos x="csX0" y="csY0"/>
                </a:cxn>
                <a:cxn ang="0">
                  <a:pos x="csX1" y="csY1"/>
                </a:cxn>
                <a:cxn ang="0">
                  <a:pos x="csX2" y="csY2"/>
                </a:cxn>
                <a:cxn ang="0">
                  <a:pos x="csX3" y="csY3"/>
                </a:cxn>
                <a:cxn ang="0">
                  <a:pos x="csX4" y="csY4"/>
                </a:cxn>
              </a:cxnLst>
              <a:rect l="l" t="t" r="r" b="b"/>
              <a:pathLst>
                <a:path w="15800" h="14374">
                  <a:moveTo>
                    <a:pt x="7003" y="6306"/>
                  </a:moveTo>
                  <a:lnTo>
                    <a:pt x="-8798" y="6306"/>
                  </a:lnTo>
                  <a:lnTo>
                    <a:pt x="-8798" y="-8069"/>
                  </a:lnTo>
                  <a:lnTo>
                    <a:pt x="7003" y="-8069"/>
                  </a:lnTo>
                  <a:lnTo>
                    <a:pt x="7003" y="6306"/>
                  </a:lnTo>
                </a:path>
              </a:pathLst>
            </a:custGeom>
            <a:grpFill/>
            <a:ln w="548" cap="flat">
              <a:noFill/>
              <a:prstDash val="solid"/>
              <a:miter/>
            </a:ln>
          </p:spPr>
          <p:txBody>
            <a:bodyPr/>
            <a:lstStyle/>
            <a:p>
              <a:endParaRPr lang="en-US"/>
            </a:p>
          </p:txBody>
        </p:sp>
        <p:sp>
          <p:nvSpPr>
            <p:cNvPr id="159" name="Freeform: Shape 158">
              <a:extLst>
                <a:ext uri="{FF2B5EF4-FFF2-40B4-BE49-F238E27FC236}">
                  <a16:creationId xmlns:a16="http://schemas.microsoft.com/office/drawing/2014/main" id="{1E96C9C1-38DE-8426-2B29-B313BAC89412}"/>
                </a:ext>
              </a:extLst>
            </p:cNvPr>
            <p:cNvSpPr/>
            <p:nvPr/>
          </p:nvSpPr>
          <p:spPr>
            <a:xfrm flipV="1">
              <a:off x="24166182" y="3254489"/>
              <a:ext cx="15800" cy="14379"/>
            </a:xfrm>
            <a:custGeom>
              <a:avLst/>
              <a:gdLst>
                <a:gd name="csX0" fmla="*/ 7003 w 15800"/>
                <a:gd name="csY0" fmla="*/ 6392 h 14379"/>
                <a:gd name="csX1" fmla="*/ -8798 w 15800"/>
                <a:gd name="csY1" fmla="*/ 6392 h 14379"/>
                <a:gd name="csX2" fmla="*/ -8798 w 15800"/>
                <a:gd name="csY2" fmla="*/ -7988 h 14379"/>
                <a:gd name="csX3" fmla="*/ 7003 w 15800"/>
                <a:gd name="csY3" fmla="*/ -7988 h 14379"/>
                <a:gd name="csX4" fmla="*/ 7003 w 15800"/>
                <a:gd name="csY4" fmla="*/ 6392 h 14379"/>
              </a:gdLst>
              <a:ahLst/>
              <a:cxnLst>
                <a:cxn ang="0">
                  <a:pos x="csX0" y="csY0"/>
                </a:cxn>
                <a:cxn ang="0">
                  <a:pos x="csX1" y="csY1"/>
                </a:cxn>
                <a:cxn ang="0">
                  <a:pos x="csX2" y="csY2"/>
                </a:cxn>
                <a:cxn ang="0">
                  <a:pos x="csX3" y="csY3"/>
                </a:cxn>
                <a:cxn ang="0">
                  <a:pos x="csX4" y="csY4"/>
                </a:cxn>
              </a:cxnLst>
              <a:rect l="l" t="t" r="r" b="b"/>
              <a:pathLst>
                <a:path w="15800" h="14379">
                  <a:moveTo>
                    <a:pt x="7003" y="6392"/>
                  </a:moveTo>
                  <a:lnTo>
                    <a:pt x="-8798" y="6392"/>
                  </a:lnTo>
                  <a:lnTo>
                    <a:pt x="-8798" y="-7988"/>
                  </a:lnTo>
                  <a:lnTo>
                    <a:pt x="7003" y="-7988"/>
                  </a:lnTo>
                  <a:lnTo>
                    <a:pt x="7003" y="6392"/>
                  </a:lnTo>
                </a:path>
              </a:pathLst>
            </a:custGeom>
            <a:grpFill/>
            <a:ln w="548" cap="flat">
              <a:noFill/>
              <a:prstDash val="solid"/>
              <a:miter/>
            </a:ln>
          </p:spPr>
          <p:txBody>
            <a:bodyPr/>
            <a:lstStyle/>
            <a:p>
              <a:endParaRPr lang="en-US"/>
            </a:p>
          </p:txBody>
        </p:sp>
        <p:sp>
          <p:nvSpPr>
            <p:cNvPr id="160" name="Freeform: Shape 159">
              <a:extLst>
                <a:ext uri="{FF2B5EF4-FFF2-40B4-BE49-F238E27FC236}">
                  <a16:creationId xmlns:a16="http://schemas.microsoft.com/office/drawing/2014/main" id="{AFA6DBF9-A35D-B60F-AB9B-92691F63079F}"/>
                </a:ext>
              </a:extLst>
            </p:cNvPr>
            <p:cNvSpPr/>
            <p:nvPr/>
          </p:nvSpPr>
          <p:spPr>
            <a:xfrm flipV="1">
              <a:off x="24166182" y="3237706"/>
              <a:ext cx="15800" cy="14379"/>
            </a:xfrm>
            <a:custGeom>
              <a:avLst/>
              <a:gdLst>
                <a:gd name="csX0" fmla="*/ 7003 w 15800"/>
                <a:gd name="csY0" fmla="*/ 6351 h 14379"/>
                <a:gd name="csX1" fmla="*/ -8798 w 15800"/>
                <a:gd name="csY1" fmla="*/ 6351 h 14379"/>
                <a:gd name="csX2" fmla="*/ -8798 w 15800"/>
                <a:gd name="csY2" fmla="*/ -8028 h 14379"/>
                <a:gd name="csX3" fmla="*/ 7003 w 15800"/>
                <a:gd name="csY3" fmla="*/ -8028 h 14379"/>
                <a:gd name="csX4" fmla="*/ 7003 w 15800"/>
                <a:gd name="csY4" fmla="*/ 6351 h 14379"/>
              </a:gdLst>
              <a:ahLst/>
              <a:cxnLst>
                <a:cxn ang="0">
                  <a:pos x="csX0" y="csY0"/>
                </a:cxn>
                <a:cxn ang="0">
                  <a:pos x="csX1" y="csY1"/>
                </a:cxn>
                <a:cxn ang="0">
                  <a:pos x="csX2" y="csY2"/>
                </a:cxn>
                <a:cxn ang="0">
                  <a:pos x="csX3" y="csY3"/>
                </a:cxn>
                <a:cxn ang="0">
                  <a:pos x="csX4" y="csY4"/>
                </a:cxn>
              </a:cxnLst>
              <a:rect l="l" t="t" r="r" b="b"/>
              <a:pathLst>
                <a:path w="15800" h="14379">
                  <a:moveTo>
                    <a:pt x="7003" y="6351"/>
                  </a:moveTo>
                  <a:lnTo>
                    <a:pt x="-8798" y="6351"/>
                  </a:lnTo>
                  <a:lnTo>
                    <a:pt x="-8798" y="-8028"/>
                  </a:lnTo>
                  <a:lnTo>
                    <a:pt x="7003" y="-8028"/>
                  </a:lnTo>
                  <a:lnTo>
                    <a:pt x="7003" y="6351"/>
                  </a:lnTo>
                </a:path>
              </a:pathLst>
            </a:custGeom>
            <a:grpFill/>
            <a:ln w="548" cap="flat">
              <a:noFill/>
              <a:prstDash val="solid"/>
              <a:miter/>
            </a:ln>
          </p:spPr>
          <p:txBody>
            <a:bodyPr/>
            <a:lstStyle/>
            <a:p>
              <a:endParaRPr lang="en-US"/>
            </a:p>
          </p:txBody>
        </p:sp>
        <p:sp>
          <p:nvSpPr>
            <p:cNvPr id="161" name="Freeform: Shape 160">
              <a:extLst>
                <a:ext uri="{FF2B5EF4-FFF2-40B4-BE49-F238E27FC236}">
                  <a16:creationId xmlns:a16="http://schemas.microsoft.com/office/drawing/2014/main" id="{0615AB93-F8A7-B392-CCB6-BF866BA6F842}"/>
                </a:ext>
              </a:extLst>
            </p:cNvPr>
            <p:cNvSpPr/>
            <p:nvPr/>
          </p:nvSpPr>
          <p:spPr>
            <a:xfrm flipV="1">
              <a:off x="24166182" y="3204146"/>
              <a:ext cx="15800" cy="14374"/>
            </a:xfrm>
            <a:custGeom>
              <a:avLst/>
              <a:gdLst>
                <a:gd name="csX0" fmla="*/ 7003 w 15800"/>
                <a:gd name="csY0" fmla="*/ 6265 h 14374"/>
                <a:gd name="csX1" fmla="*/ -8798 w 15800"/>
                <a:gd name="csY1" fmla="*/ 6265 h 14374"/>
                <a:gd name="csX2" fmla="*/ -8798 w 15800"/>
                <a:gd name="csY2" fmla="*/ -8109 h 14374"/>
                <a:gd name="csX3" fmla="*/ 7003 w 15800"/>
                <a:gd name="csY3" fmla="*/ -8109 h 14374"/>
                <a:gd name="csX4" fmla="*/ 7003 w 15800"/>
                <a:gd name="csY4" fmla="*/ 6265 h 14374"/>
              </a:gdLst>
              <a:ahLst/>
              <a:cxnLst>
                <a:cxn ang="0">
                  <a:pos x="csX0" y="csY0"/>
                </a:cxn>
                <a:cxn ang="0">
                  <a:pos x="csX1" y="csY1"/>
                </a:cxn>
                <a:cxn ang="0">
                  <a:pos x="csX2" y="csY2"/>
                </a:cxn>
                <a:cxn ang="0">
                  <a:pos x="csX3" y="csY3"/>
                </a:cxn>
                <a:cxn ang="0">
                  <a:pos x="csX4" y="csY4"/>
                </a:cxn>
              </a:cxnLst>
              <a:rect l="l" t="t" r="r" b="b"/>
              <a:pathLst>
                <a:path w="15800" h="14374">
                  <a:moveTo>
                    <a:pt x="7003" y="6265"/>
                  </a:moveTo>
                  <a:lnTo>
                    <a:pt x="-8798" y="6265"/>
                  </a:lnTo>
                  <a:lnTo>
                    <a:pt x="-8798" y="-8109"/>
                  </a:lnTo>
                  <a:lnTo>
                    <a:pt x="7003" y="-8109"/>
                  </a:lnTo>
                  <a:lnTo>
                    <a:pt x="7003" y="6265"/>
                  </a:lnTo>
                </a:path>
              </a:pathLst>
            </a:custGeom>
            <a:grpFill/>
            <a:ln w="548" cap="flat">
              <a:noFill/>
              <a:prstDash val="solid"/>
              <a:miter/>
            </a:ln>
          </p:spPr>
          <p:txBody>
            <a:bodyPr/>
            <a:lstStyle/>
            <a:p>
              <a:endParaRPr lang="en-US"/>
            </a:p>
          </p:txBody>
        </p:sp>
        <p:sp>
          <p:nvSpPr>
            <p:cNvPr id="162" name="Freeform: Shape 161">
              <a:extLst>
                <a:ext uri="{FF2B5EF4-FFF2-40B4-BE49-F238E27FC236}">
                  <a16:creationId xmlns:a16="http://schemas.microsoft.com/office/drawing/2014/main" id="{7F9695EF-EB9E-6D30-A8A9-5D2776B9FC66}"/>
                </a:ext>
              </a:extLst>
            </p:cNvPr>
            <p:cNvSpPr/>
            <p:nvPr/>
          </p:nvSpPr>
          <p:spPr>
            <a:xfrm flipV="1">
              <a:off x="24166182" y="3187363"/>
              <a:ext cx="15800" cy="14379"/>
            </a:xfrm>
            <a:custGeom>
              <a:avLst/>
              <a:gdLst>
                <a:gd name="csX0" fmla="*/ 7003 w 15800"/>
                <a:gd name="csY0" fmla="*/ 6230 h 14379"/>
                <a:gd name="csX1" fmla="*/ -8798 w 15800"/>
                <a:gd name="csY1" fmla="*/ 6230 h 14379"/>
                <a:gd name="csX2" fmla="*/ -8798 w 15800"/>
                <a:gd name="csY2" fmla="*/ -8150 h 14379"/>
                <a:gd name="csX3" fmla="*/ 7003 w 15800"/>
                <a:gd name="csY3" fmla="*/ -8150 h 14379"/>
                <a:gd name="csX4" fmla="*/ 7003 w 15800"/>
                <a:gd name="csY4" fmla="*/ 6230 h 14379"/>
              </a:gdLst>
              <a:ahLst/>
              <a:cxnLst>
                <a:cxn ang="0">
                  <a:pos x="csX0" y="csY0"/>
                </a:cxn>
                <a:cxn ang="0">
                  <a:pos x="csX1" y="csY1"/>
                </a:cxn>
                <a:cxn ang="0">
                  <a:pos x="csX2" y="csY2"/>
                </a:cxn>
                <a:cxn ang="0">
                  <a:pos x="csX3" y="csY3"/>
                </a:cxn>
                <a:cxn ang="0">
                  <a:pos x="csX4" y="csY4"/>
                </a:cxn>
              </a:cxnLst>
              <a:rect l="l" t="t" r="r" b="b"/>
              <a:pathLst>
                <a:path w="15800" h="14379">
                  <a:moveTo>
                    <a:pt x="7003" y="6230"/>
                  </a:moveTo>
                  <a:lnTo>
                    <a:pt x="-8798" y="6230"/>
                  </a:lnTo>
                  <a:lnTo>
                    <a:pt x="-8798" y="-8150"/>
                  </a:lnTo>
                  <a:lnTo>
                    <a:pt x="7003" y="-8150"/>
                  </a:lnTo>
                  <a:lnTo>
                    <a:pt x="7003" y="6230"/>
                  </a:lnTo>
                </a:path>
              </a:pathLst>
            </a:custGeom>
            <a:grpFill/>
            <a:ln w="548" cap="flat">
              <a:noFill/>
              <a:prstDash val="solid"/>
              <a:miter/>
            </a:ln>
          </p:spPr>
          <p:txBody>
            <a:bodyPr/>
            <a:lstStyle/>
            <a:p>
              <a:endParaRPr lang="en-US"/>
            </a:p>
          </p:txBody>
        </p:sp>
        <p:sp>
          <p:nvSpPr>
            <p:cNvPr id="163" name="Freeform: Shape 162">
              <a:extLst>
                <a:ext uri="{FF2B5EF4-FFF2-40B4-BE49-F238E27FC236}">
                  <a16:creationId xmlns:a16="http://schemas.microsoft.com/office/drawing/2014/main" id="{F774A4EA-8155-064F-19C3-7AFCE3582E12}"/>
                </a:ext>
              </a:extLst>
            </p:cNvPr>
            <p:cNvSpPr/>
            <p:nvPr/>
          </p:nvSpPr>
          <p:spPr>
            <a:xfrm flipV="1">
              <a:off x="24166182" y="3271271"/>
              <a:ext cx="15800" cy="14379"/>
            </a:xfrm>
            <a:custGeom>
              <a:avLst/>
              <a:gdLst>
                <a:gd name="csX0" fmla="*/ 7003 w 15800"/>
                <a:gd name="csY0" fmla="*/ 6432 h 14379"/>
                <a:gd name="csX1" fmla="*/ -8798 w 15800"/>
                <a:gd name="csY1" fmla="*/ 6432 h 14379"/>
                <a:gd name="csX2" fmla="*/ -8798 w 15800"/>
                <a:gd name="csY2" fmla="*/ -7948 h 14379"/>
                <a:gd name="csX3" fmla="*/ 7003 w 15800"/>
                <a:gd name="csY3" fmla="*/ -7948 h 14379"/>
                <a:gd name="csX4" fmla="*/ 7003 w 15800"/>
                <a:gd name="csY4" fmla="*/ 6432 h 14379"/>
              </a:gdLst>
              <a:ahLst/>
              <a:cxnLst>
                <a:cxn ang="0">
                  <a:pos x="csX0" y="csY0"/>
                </a:cxn>
                <a:cxn ang="0">
                  <a:pos x="csX1" y="csY1"/>
                </a:cxn>
                <a:cxn ang="0">
                  <a:pos x="csX2" y="csY2"/>
                </a:cxn>
                <a:cxn ang="0">
                  <a:pos x="csX3" y="csY3"/>
                </a:cxn>
                <a:cxn ang="0">
                  <a:pos x="csX4" y="csY4"/>
                </a:cxn>
              </a:cxnLst>
              <a:rect l="l" t="t" r="r" b="b"/>
              <a:pathLst>
                <a:path w="15800" h="14379">
                  <a:moveTo>
                    <a:pt x="7003" y="6432"/>
                  </a:moveTo>
                  <a:lnTo>
                    <a:pt x="-8798" y="6432"/>
                  </a:lnTo>
                  <a:lnTo>
                    <a:pt x="-8798" y="-7948"/>
                  </a:lnTo>
                  <a:lnTo>
                    <a:pt x="7003" y="-7948"/>
                  </a:lnTo>
                  <a:lnTo>
                    <a:pt x="7003" y="6432"/>
                  </a:lnTo>
                </a:path>
              </a:pathLst>
            </a:custGeom>
            <a:grpFill/>
            <a:ln w="548" cap="flat">
              <a:noFill/>
              <a:prstDash val="solid"/>
              <a:miter/>
            </a:ln>
          </p:spPr>
          <p:txBody>
            <a:bodyPr/>
            <a:lstStyle/>
            <a:p>
              <a:endParaRPr lang="en-US"/>
            </a:p>
          </p:txBody>
        </p:sp>
        <p:sp>
          <p:nvSpPr>
            <p:cNvPr id="164" name="Freeform: Shape 163">
              <a:extLst>
                <a:ext uri="{FF2B5EF4-FFF2-40B4-BE49-F238E27FC236}">
                  <a16:creationId xmlns:a16="http://schemas.microsoft.com/office/drawing/2014/main" id="{16D57C3D-F253-A55C-D9D4-677FA3FBF15F}"/>
                </a:ext>
              </a:extLst>
            </p:cNvPr>
            <p:cNvSpPr/>
            <p:nvPr/>
          </p:nvSpPr>
          <p:spPr>
            <a:xfrm flipV="1">
              <a:off x="24166182" y="3172697"/>
              <a:ext cx="15800" cy="12261"/>
            </a:xfrm>
            <a:custGeom>
              <a:avLst/>
              <a:gdLst>
                <a:gd name="csX0" fmla="*/ 7003 w 15800"/>
                <a:gd name="csY0" fmla="*/ 4075 h 12261"/>
                <a:gd name="csX1" fmla="*/ -8798 w 15800"/>
                <a:gd name="csY1" fmla="*/ 4075 h 12261"/>
                <a:gd name="csX2" fmla="*/ -8798 w 15800"/>
                <a:gd name="csY2" fmla="*/ -8187 h 12261"/>
                <a:gd name="csX3" fmla="*/ 7003 w 15800"/>
                <a:gd name="csY3" fmla="*/ -8187 h 12261"/>
                <a:gd name="csX4" fmla="*/ 7003 w 15800"/>
                <a:gd name="csY4" fmla="*/ 4075 h 12261"/>
              </a:gdLst>
              <a:ahLst/>
              <a:cxnLst>
                <a:cxn ang="0">
                  <a:pos x="csX0" y="csY0"/>
                </a:cxn>
                <a:cxn ang="0">
                  <a:pos x="csX1" y="csY1"/>
                </a:cxn>
                <a:cxn ang="0">
                  <a:pos x="csX2" y="csY2"/>
                </a:cxn>
                <a:cxn ang="0">
                  <a:pos x="csX3" y="csY3"/>
                </a:cxn>
                <a:cxn ang="0">
                  <a:pos x="csX4" y="csY4"/>
                </a:cxn>
              </a:cxnLst>
              <a:rect l="l" t="t" r="r" b="b"/>
              <a:pathLst>
                <a:path w="15800" h="12261">
                  <a:moveTo>
                    <a:pt x="7003" y="4075"/>
                  </a:moveTo>
                  <a:lnTo>
                    <a:pt x="-8798" y="4075"/>
                  </a:lnTo>
                  <a:lnTo>
                    <a:pt x="-8798" y="-8187"/>
                  </a:lnTo>
                  <a:lnTo>
                    <a:pt x="7003" y="-8187"/>
                  </a:lnTo>
                  <a:lnTo>
                    <a:pt x="7003" y="4075"/>
                  </a:lnTo>
                </a:path>
              </a:pathLst>
            </a:custGeom>
            <a:grpFill/>
            <a:ln w="548" cap="flat">
              <a:noFill/>
              <a:prstDash val="solid"/>
              <a:miter/>
            </a:ln>
          </p:spPr>
          <p:txBody>
            <a:bodyPr/>
            <a:lstStyle/>
            <a:p>
              <a:endParaRPr lang="en-US"/>
            </a:p>
          </p:txBody>
        </p:sp>
        <p:sp>
          <p:nvSpPr>
            <p:cNvPr id="165" name="Freeform: Shape 164">
              <a:extLst>
                <a:ext uri="{FF2B5EF4-FFF2-40B4-BE49-F238E27FC236}">
                  <a16:creationId xmlns:a16="http://schemas.microsoft.com/office/drawing/2014/main" id="{40E98FA4-7560-BEA3-D3A8-07D1A174060D}"/>
                </a:ext>
              </a:extLst>
            </p:cNvPr>
            <p:cNvSpPr/>
            <p:nvPr/>
          </p:nvSpPr>
          <p:spPr>
            <a:xfrm flipV="1">
              <a:off x="24166182" y="3304832"/>
              <a:ext cx="15800" cy="14313"/>
            </a:xfrm>
            <a:custGeom>
              <a:avLst/>
              <a:gdLst>
                <a:gd name="csX0" fmla="*/ 7003 w 15800"/>
                <a:gd name="csY0" fmla="*/ 6447 h 14313"/>
                <a:gd name="csX1" fmla="*/ -8798 w 15800"/>
                <a:gd name="csY1" fmla="*/ 6447 h 14313"/>
                <a:gd name="csX2" fmla="*/ -8798 w 15800"/>
                <a:gd name="csY2" fmla="*/ -7867 h 14313"/>
                <a:gd name="csX3" fmla="*/ 7003 w 15800"/>
                <a:gd name="csY3" fmla="*/ -7867 h 14313"/>
                <a:gd name="csX4" fmla="*/ 7003 w 15800"/>
                <a:gd name="csY4" fmla="*/ 6447 h 14313"/>
              </a:gdLst>
              <a:ahLst/>
              <a:cxnLst>
                <a:cxn ang="0">
                  <a:pos x="csX0" y="csY0"/>
                </a:cxn>
                <a:cxn ang="0">
                  <a:pos x="csX1" y="csY1"/>
                </a:cxn>
                <a:cxn ang="0">
                  <a:pos x="csX2" y="csY2"/>
                </a:cxn>
                <a:cxn ang="0">
                  <a:pos x="csX3" y="csY3"/>
                </a:cxn>
                <a:cxn ang="0">
                  <a:pos x="csX4" y="csY4"/>
                </a:cxn>
              </a:cxnLst>
              <a:rect l="l" t="t" r="r" b="b"/>
              <a:pathLst>
                <a:path w="15800" h="14313">
                  <a:moveTo>
                    <a:pt x="7003" y="6447"/>
                  </a:moveTo>
                  <a:lnTo>
                    <a:pt x="-8798" y="6447"/>
                  </a:lnTo>
                  <a:lnTo>
                    <a:pt x="-8798" y="-7867"/>
                  </a:lnTo>
                  <a:lnTo>
                    <a:pt x="7003" y="-7867"/>
                  </a:lnTo>
                  <a:lnTo>
                    <a:pt x="7003" y="6447"/>
                  </a:lnTo>
                </a:path>
              </a:pathLst>
            </a:custGeom>
            <a:grpFill/>
            <a:ln w="548" cap="flat">
              <a:noFill/>
              <a:prstDash val="solid"/>
              <a:miter/>
            </a:ln>
          </p:spPr>
          <p:txBody>
            <a:bodyPr/>
            <a:lstStyle/>
            <a:p>
              <a:endParaRPr lang="en-US"/>
            </a:p>
          </p:txBody>
        </p:sp>
        <p:sp>
          <p:nvSpPr>
            <p:cNvPr id="166" name="Freeform: Shape 165">
              <a:extLst>
                <a:ext uri="{FF2B5EF4-FFF2-40B4-BE49-F238E27FC236}">
                  <a16:creationId xmlns:a16="http://schemas.microsoft.com/office/drawing/2014/main" id="{B9228229-2836-16E7-F8F9-003B7BCBDB06}"/>
                </a:ext>
              </a:extLst>
            </p:cNvPr>
            <p:cNvSpPr/>
            <p:nvPr/>
          </p:nvSpPr>
          <p:spPr>
            <a:xfrm flipV="1">
              <a:off x="24166182" y="3288054"/>
              <a:ext cx="15800" cy="14379"/>
            </a:xfrm>
            <a:custGeom>
              <a:avLst/>
              <a:gdLst>
                <a:gd name="csX0" fmla="*/ 7003 w 15800"/>
                <a:gd name="csY0" fmla="*/ 6473 h 14379"/>
                <a:gd name="csX1" fmla="*/ -8798 w 15800"/>
                <a:gd name="csY1" fmla="*/ 6473 h 14379"/>
                <a:gd name="csX2" fmla="*/ -8798 w 15800"/>
                <a:gd name="csY2" fmla="*/ -7907 h 14379"/>
                <a:gd name="csX3" fmla="*/ 7003 w 15800"/>
                <a:gd name="csY3" fmla="*/ -7907 h 14379"/>
                <a:gd name="csX4" fmla="*/ 7003 w 15800"/>
                <a:gd name="csY4" fmla="*/ 6473 h 14379"/>
              </a:gdLst>
              <a:ahLst/>
              <a:cxnLst>
                <a:cxn ang="0">
                  <a:pos x="csX0" y="csY0"/>
                </a:cxn>
                <a:cxn ang="0">
                  <a:pos x="csX1" y="csY1"/>
                </a:cxn>
                <a:cxn ang="0">
                  <a:pos x="csX2" y="csY2"/>
                </a:cxn>
                <a:cxn ang="0">
                  <a:pos x="csX3" y="csY3"/>
                </a:cxn>
                <a:cxn ang="0">
                  <a:pos x="csX4" y="csY4"/>
                </a:cxn>
              </a:cxnLst>
              <a:rect l="l" t="t" r="r" b="b"/>
              <a:pathLst>
                <a:path w="15800" h="14379">
                  <a:moveTo>
                    <a:pt x="7003" y="6473"/>
                  </a:moveTo>
                  <a:lnTo>
                    <a:pt x="-8798" y="6473"/>
                  </a:lnTo>
                  <a:lnTo>
                    <a:pt x="-8798" y="-7907"/>
                  </a:lnTo>
                  <a:lnTo>
                    <a:pt x="7003" y="-7907"/>
                  </a:lnTo>
                  <a:lnTo>
                    <a:pt x="7003" y="6473"/>
                  </a:lnTo>
                </a:path>
              </a:pathLst>
            </a:custGeom>
            <a:grpFill/>
            <a:ln w="548" cap="flat">
              <a:noFill/>
              <a:prstDash val="solid"/>
              <a:miter/>
            </a:ln>
          </p:spPr>
          <p:txBody>
            <a:bodyPr/>
            <a:lstStyle/>
            <a:p>
              <a:endParaRPr lang="en-US"/>
            </a:p>
          </p:txBody>
        </p:sp>
        <p:sp>
          <p:nvSpPr>
            <p:cNvPr id="167" name="Freeform: Shape 166">
              <a:extLst>
                <a:ext uri="{FF2B5EF4-FFF2-40B4-BE49-F238E27FC236}">
                  <a16:creationId xmlns:a16="http://schemas.microsoft.com/office/drawing/2014/main" id="{702AB644-4361-DE01-986B-ECDDA93008B3}"/>
                </a:ext>
              </a:extLst>
            </p:cNvPr>
            <p:cNvSpPr/>
            <p:nvPr/>
          </p:nvSpPr>
          <p:spPr>
            <a:xfrm flipV="1">
              <a:off x="24166182" y="3396351"/>
              <a:ext cx="15800" cy="14379"/>
            </a:xfrm>
            <a:custGeom>
              <a:avLst/>
              <a:gdLst>
                <a:gd name="csX0" fmla="*/ 7003 w 15800"/>
                <a:gd name="csY0" fmla="*/ 6733 h 14379"/>
                <a:gd name="csX1" fmla="*/ -8798 w 15800"/>
                <a:gd name="csY1" fmla="*/ 6733 h 14379"/>
                <a:gd name="csX2" fmla="*/ -8798 w 15800"/>
                <a:gd name="csY2" fmla="*/ -7647 h 14379"/>
                <a:gd name="csX3" fmla="*/ 7003 w 15800"/>
                <a:gd name="csY3" fmla="*/ -7647 h 14379"/>
                <a:gd name="csX4" fmla="*/ 7003 w 15800"/>
                <a:gd name="csY4" fmla="*/ 6733 h 14379"/>
              </a:gdLst>
              <a:ahLst/>
              <a:cxnLst>
                <a:cxn ang="0">
                  <a:pos x="csX0" y="csY0"/>
                </a:cxn>
                <a:cxn ang="0">
                  <a:pos x="csX1" y="csY1"/>
                </a:cxn>
                <a:cxn ang="0">
                  <a:pos x="csX2" y="csY2"/>
                </a:cxn>
                <a:cxn ang="0">
                  <a:pos x="csX3" y="csY3"/>
                </a:cxn>
                <a:cxn ang="0">
                  <a:pos x="csX4" y="csY4"/>
                </a:cxn>
              </a:cxnLst>
              <a:rect l="l" t="t" r="r" b="b"/>
              <a:pathLst>
                <a:path w="15800" h="14379">
                  <a:moveTo>
                    <a:pt x="7003" y="6733"/>
                  </a:moveTo>
                  <a:lnTo>
                    <a:pt x="-8798" y="6733"/>
                  </a:lnTo>
                  <a:lnTo>
                    <a:pt x="-8798" y="-7647"/>
                  </a:lnTo>
                  <a:lnTo>
                    <a:pt x="7003" y="-7647"/>
                  </a:lnTo>
                  <a:lnTo>
                    <a:pt x="7003" y="6733"/>
                  </a:lnTo>
                </a:path>
              </a:pathLst>
            </a:custGeom>
            <a:grpFill/>
            <a:ln w="548" cap="flat">
              <a:noFill/>
              <a:prstDash val="solid"/>
              <a:miter/>
            </a:ln>
          </p:spPr>
          <p:txBody>
            <a:bodyPr/>
            <a:lstStyle/>
            <a:p>
              <a:endParaRPr lang="en-US"/>
            </a:p>
          </p:txBody>
        </p:sp>
        <p:sp>
          <p:nvSpPr>
            <p:cNvPr id="168" name="Freeform: Shape 167">
              <a:extLst>
                <a:ext uri="{FF2B5EF4-FFF2-40B4-BE49-F238E27FC236}">
                  <a16:creationId xmlns:a16="http://schemas.microsoft.com/office/drawing/2014/main" id="{62B60D9B-F11A-35B6-EBC1-E45A1E88FE6E}"/>
                </a:ext>
              </a:extLst>
            </p:cNvPr>
            <p:cNvSpPr/>
            <p:nvPr/>
          </p:nvSpPr>
          <p:spPr>
            <a:xfrm flipV="1">
              <a:off x="24166182" y="3379567"/>
              <a:ext cx="15800" cy="14380"/>
            </a:xfrm>
            <a:custGeom>
              <a:avLst/>
              <a:gdLst>
                <a:gd name="csX0" fmla="*/ 7003 w 15800"/>
                <a:gd name="csY0" fmla="*/ 6693 h 14380"/>
                <a:gd name="csX1" fmla="*/ -8798 w 15800"/>
                <a:gd name="csY1" fmla="*/ 6693 h 14380"/>
                <a:gd name="csX2" fmla="*/ -8798 w 15800"/>
                <a:gd name="csY2" fmla="*/ -7687 h 14380"/>
                <a:gd name="csX3" fmla="*/ 7003 w 15800"/>
                <a:gd name="csY3" fmla="*/ -7687 h 14380"/>
                <a:gd name="csX4" fmla="*/ 7003 w 15800"/>
                <a:gd name="csY4" fmla="*/ 6693 h 14380"/>
              </a:gdLst>
              <a:ahLst/>
              <a:cxnLst>
                <a:cxn ang="0">
                  <a:pos x="csX0" y="csY0"/>
                </a:cxn>
                <a:cxn ang="0">
                  <a:pos x="csX1" y="csY1"/>
                </a:cxn>
                <a:cxn ang="0">
                  <a:pos x="csX2" y="csY2"/>
                </a:cxn>
                <a:cxn ang="0">
                  <a:pos x="csX3" y="csY3"/>
                </a:cxn>
                <a:cxn ang="0">
                  <a:pos x="csX4" y="csY4"/>
                </a:cxn>
              </a:cxnLst>
              <a:rect l="l" t="t" r="r" b="b"/>
              <a:pathLst>
                <a:path w="15800" h="14380">
                  <a:moveTo>
                    <a:pt x="7003" y="6693"/>
                  </a:moveTo>
                  <a:lnTo>
                    <a:pt x="-8798" y="6693"/>
                  </a:lnTo>
                  <a:lnTo>
                    <a:pt x="-8798" y="-7687"/>
                  </a:lnTo>
                  <a:lnTo>
                    <a:pt x="7003" y="-7687"/>
                  </a:lnTo>
                  <a:lnTo>
                    <a:pt x="7003" y="6693"/>
                  </a:lnTo>
                </a:path>
              </a:pathLst>
            </a:custGeom>
            <a:grpFill/>
            <a:ln w="548" cap="flat">
              <a:noFill/>
              <a:prstDash val="solid"/>
              <a:miter/>
            </a:ln>
          </p:spPr>
          <p:txBody>
            <a:bodyPr/>
            <a:lstStyle/>
            <a:p>
              <a:endParaRPr lang="en-US"/>
            </a:p>
          </p:txBody>
        </p:sp>
        <p:sp>
          <p:nvSpPr>
            <p:cNvPr id="169" name="Freeform: Shape 168">
              <a:extLst>
                <a:ext uri="{FF2B5EF4-FFF2-40B4-BE49-F238E27FC236}">
                  <a16:creationId xmlns:a16="http://schemas.microsoft.com/office/drawing/2014/main" id="{7A60E04A-D4DD-0790-9F52-0470C350AF29}"/>
                </a:ext>
              </a:extLst>
            </p:cNvPr>
            <p:cNvSpPr/>
            <p:nvPr/>
          </p:nvSpPr>
          <p:spPr>
            <a:xfrm flipV="1">
              <a:off x="24166182" y="3362785"/>
              <a:ext cx="15800" cy="14379"/>
            </a:xfrm>
            <a:custGeom>
              <a:avLst/>
              <a:gdLst>
                <a:gd name="csX0" fmla="*/ 7003 w 15800"/>
                <a:gd name="csY0" fmla="*/ 6652 h 14379"/>
                <a:gd name="csX1" fmla="*/ -8798 w 15800"/>
                <a:gd name="csY1" fmla="*/ 6652 h 14379"/>
                <a:gd name="csX2" fmla="*/ -8798 w 15800"/>
                <a:gd name="csY2" fmla="*/ -7727 h 14379"/>
                <a:gd name="csX3" fmla="*/ 7003 w 15800"/>
                <a:gd name="csY3" fmla="*/ -7727 h 14379"/>
                <a:gd name="csX4" fmla="*/ 7003 w 15800"/>
                <a:gd name="csY4" fmla="*/ 6652 h 14379"/>
              </a:gdLst>
              <a:ahLst/>
              <a:cxnLst>
                <a:cxn ang="0">
                  <a:pos x="csX0" y="csY0"/>
                </a:cxn>
                <a:cxn ang="0">
                  <a:pos x="csX1" y="csY1"/>
                </a:cxn>
                <a:cxn ang="0">
                  <a:pos x="csX2" y="csY2"/>
                </a:cxn>
                <a:cxn ang="0">
                  <a:pos x="csX3" y="csY3"/>
                </a:cxn>
                <a:cxn ang="0">
                  <a:pos x="csX4" y="csY4"/>
                </a:cxn>
              </a:cxnLst>
              <a:rect l="l" t="t" r="r" b="b"/>
              <a:pathLst>
                <a:path w="15800" h="14379">
                  <a:moveTo>
                    <a:pt x="7003" y="6652"/>
                  </a:moveTo>
                  <a:lnTo>
                    <a:pt x="-8798" y="6652"/>
                  </a:lnTo>
                  <a:lnTo>
                    <a:pt x="-8798" y="-7727"/>
                  </a:lnTo>
                  <a:lnTo>
                    <a:pt x="7003" y="-7727"/>
                  </a:lnTo>
                  <a:lnTo>
                    <a:pt x="7003" y="6652"/>
                  </a:lnTo>
                </a:path>
              </a:pathLst>
            </a:custGeom>
            <a:grpFill/>
            <a:ln w="548" cap="flat">
              <a:noFill/>
              <a:prstDash val="solid"/>
              <a:miter/>
            </a:ln>
          </p:spPr>
          <p:txBody>
            <a:bodyPr/>
            <a:lstStyle/>
            <a:p>
              <a:endParaRPr lang="en-US"/>
            </a:p>
          </p:txBody>
        </p:sp>
        <p:sp>
          <p:nvSpPr>
            <p:cNvPr id="170" name="Freeform: Shape 169">
              <a:extLst>
                <a:ext uri="{FF2B5EF4-FFF2-40B4-BE49-F238E27FC236}">
                  <a16:creationId xmlns:a16="http://schemas.microsoft.com/office/drawing/2014/main" id="{FE0E73AB-70BE-9D0C-BB52-87D45253AF30}"/>
                </a:ext>
              </a:extLst>
            </p:cNvPr>
            <p:cNvSpPr/>
            <p:nvPr/>
          </p:nvSpPr>
          <p:spPr>
            <a:xfrm flipV="1">
              <a:off x="24166182" y="3413133"/>
              <a:ext cx="15800" cy="14379"/>
            </a:xfrm>
            <a:custGeom>
              <a:avLst/>
              <a:gdLst>
                <a:gd name="csX0" fmla="*/ 7003 w 15800"/>
                <a:gd name="csY0" fmla="*/ 6773 h 14379"/>
                <a:gd name="csX1" fmla="*/ -8798 w 15800"/>
                <a:gd name="csY1" fmla="*/ 6773 h 14379"/>
                <a:gd name="csX2" fmla="*/ -8798 w 15800"/>
                <a:gd name="csY2" fmla="*/ -7606 h 14379"/>
                <a:gd name="csX3" fmla="*/ 7003 w 15800"/>
                <a:gd name="csY3" fmla="*/ -7606 h 14379"/>
                <a:gd name="csX4" fmla="*/ 7003 w 15800"/>
                <a:gd name="csY4" fmla="*/ 6773 h 14379"/>
              </a:gdLst>
              <a:ahLst/>
              <a:cxnLst>
                <a:cxn ang="0">
                  <a:pos x="csX0" y="csY0"/>
                </a:cxn>
                <a:cxn ang="0">
                  <a:pos x="csX1" y="csY1"/>
                </a:cxn>
                <a:cxn ang="0">
                  <a:pos x="csX2" y="csY2"/>
                </a:cxn>
                <a:cxn ang="0">
                  <a:pos x="csX3" y="csY3"/>
                </a:cxn>
                <a:cxn ang="0">
                  <a:pos x="csX4" y="csY4"/>
                </a:cxn>
              </a:cxnLst>
              <a:rect l="l" t="t" r="r" b="b"/>
              <a:pathLst>
                <a:path w="15800" h="14379">
                  <a:moveTo>
                    <a:pt x="7003" y="6773"/>
                  </a:moveTo>
                  <a:lnTo>
                    <a:pt x="-8798" y="6773"/>
                  </a:lnTo>
                  <a:lnTo>
                    <a:pt x="-8798" y="-7606"/>
                  </a:lnTo>
                  <a:lnTo>
                    <a:pt x="7003" y="-7606"/>
                  </a:lnTo>
                  <a:lnTo>
                    <a:pt x="7003" y="6773"/>
                  </a:lnTo>
                </a:path>
              </a:pathLst>
            </a:custGeom>
            <a:grpFill/>
            <a:ln w="548" cap="flat">
              <a:noFill/>
              <a:prstDash val="solid"/>
              <a:miter/>
            </a:ln>
          </p:spPr>
          <p:txBody>
            <a:bodyPr/>
            <a:lstStyle/>
            <a:p>
              <a:endParaRPr lang="en-US"/>
            </a:p>
          </p:txBody>
        </p:sp>
        <p:sp>
          <p:nvSpPr>
            <p:cNvPr id="171" name="Freeform: Shape 170">
              <a:extLst>
                <a:ext uri="{FF2B5EF4-FFF2-40B4-BE49-F238E27FC236}">
                  <a16:creationId xmlns:a16="http://schemas.microsoft.com/office/drawing/2014/main" id="{36BD3C4D-6549-82EB-6078-83603C1F1FCB}"/>
                </a:ext>
              </a:extLst>
            </p:cNvPr>
            <p:cNvSpPr/>
            <p:nvPr/>
          </p:nvSpPr>
          <p:spPr>
            <a:xfrm flipV="1">
              <a:off x="24166182" y="3446694"/>
              <a:ext cx="15800" cy="14379"/>
            </a:xfrm>
            <a:custGeom>
              <a:avLst/>
              <a:gdLst>
                <a:gd name="csX0" fmla="*/ 7003 w 15800"/>
                <a:gd name="csY0" fmla="*/ 6854 h 14379"/>
                <a:gd name="csX1" fmla="*/ -8798 w 15800"/>
                <a:gd name="csY1" fmla="*/ 6854 h 14379"/>
                <a:gd name="csX2" fmla="*/ -8798 w 15800"/>
                <a:gd name="csY2" fmla="*/ -7526 h 14379"/>
                <a:gd name="csX3" fmla="*/ 7003 w 15800"/>
                <a:gd name="csY3" fmla="*/ -7526 h 14379"/>
                <a:gd name="csX4" fmla="*/ 7003 w 15800"/>
                <a:gd name="csY4" fmla="*/ 6854 h 14379"/>
              </a:gdLst>
              <a:ahLst/>
              <a:cxnLst>
                <a:cxn ang="0">
                  <a:pos x="csX0" y="csY0"/>
                </a:cxn>
                <a:cxn ang="0">
                  <a:pos x="csX1" y="csY1"/>
                </a:cxn>
                <a:cxn ang="0">
                  <a:pos x="csX2" y="csY2"/>
                </a:cxn>
                <a:cxn ang="0">
                  <a:pos x="csX3" y="csY3"/>
                </a:cxn>
                <a:cxn ang="0">
                  <a:pos x="csX4" y="csY4"/>
                </a:cxn>
              </a:cxnLst>
              <a:rect l="l" t="t" r="r" b="b"/>
              <a:pathLst>
                <a:path w="15800" h="14379">
                  <a:moveTo>
                    <a:pt x="7003" y="6854"/>
                  </a:moveTo>
                  <a:lnTo>
                    <a:pt x="-8798" y="6854"/>
                  </a:lnTo>
                  <a:lnTo>
                    <a:pt x="-8798" y="-7526"/>
                  </a:lnTo>
                  <a:lnTo>
                    <a:pt x="7003" y="-7526"/>
                  </a:lnTo>
                  <a:lnTo>
                    <a:pt x="7003" y="6854"/>
                  </a:lnTo>
                </a:path>
              </a:pathLst>
            </a:custGeom>
            <a:grpFill/>
            <a:ln w="548" cap="flat">
              <a:noFill/>
              <a:prstDash val="solid"/>
              <a:miter/>
            </a:ln>
          </p:spPr>
          <p:txBody>
            <a:bodyPr/>
            <a:lstStyle/>
            <a:p>
              <a:endParaRPr lang="en-US"/>
            </a:p>
          </p:txBody>
        </p:sp>
        <p:sp>
          <p:nvSpPr>
            <p:cNvPr id="172" name="Freeform: Shape 171">
              <a:extLst>
                <a:ext uri="{FF2B5EF4-FFF2-40B4-BE49-F238E27FC236}">
                  <a16:creationId xmlns:a16="http://schemas.microsoft.com/office/drawing/2014/main" id="{3856E934-F234-AF0E-188F-1EFE0B8DA37E}"/>
                </a:ext>
              </a:extLst>
            </p:cNvPr>
            <p:cNvSpPr/>
            <p:nvPr/>
          </p:nvSpPr>
          <p:spPr>
            <a:xfrm flipV="1">
              <a:off x="24166182" y="3480259"/>
              <a:ext cx="15800" cy="14313"/>
            </a:xfrm>
            <a:custGeom>
              <a:avLst/>
              <a:gdLst>
                <a:gd name="csX0" fmla="*/ 7003 w 15800"/>
                <a:gd name="csY0" fmla="*/ 6869 h 14313"/>
                <a:gd name="csX1" fmla="*/ -8798 w 15800"/>
                <a:gd name="csY1" fmla="*/ 6869 h 14313"/>
                <a:gd name="csX2" fmla="*/ -8798 w 15800"/>
                <a:gd name="csY2" fmla="*/ -7445 h 14313"/>
                <a:gd name="csX3" fmla="*/ 7003 w 15800"/>
                <a:gd name="csY3" fmla="*/ -7445 h 14313"/>
                <a:gd name="csX4" fmla="*/ 7003 w 15800"/>
                <a:gd name="csY4" fmla="*/ 6869 h 14313"/>
              </a:gdLst>
              <a:ahLst/>
              <a:cxnLst>
                <a:cxn ang="0">
                  <a:pos x="csX0" y="csY0"/>
                </a:cxn>
                <a:cxn ang="0">
                  <a:pos x="csX1" y="csY1"/>
                </a:cxn>
                <a:cxn ang="0">
                  <a:pos x="csX2" y="csY2"/>
                </a:cxn>
                <a:cxn ang="0">
                  <a:pos x="csX3" y="csY3"/>
                </a:cxn>
                <a:cxn ang="0">
                  <a:pos x="csX4" y="csY4"/>
                </a:cxn>
              </a:cxnLst>
              <a:rect l="l" t="t" r="r" b="b"/>
              <a:pathLst>
                <a:path w="15800" h="14313">
                  <a:moveTo>
                    <a:pt x="7003" y="6869"/>
                  </a:moveTo>
                  <a:lnTo>
                    <a:pt x="-8798" y="6869"/>
                  </a:lnTo>
                  <a:lnTo>
                    <a:pt x="-8798" y="-7445"/>
                  </a:lnTo>
                  <a:lnTo>
                    <a:pt x="7003" y="-7445"/>
                  </a:lnTo>
                  <a:lnTo>
                    <a:pt x="7003" y="6869"/>
                  </a:lnTo>
                </a:path>
              </a:pathLst>
            </a:custGeom>
            <a:grpFill/>
            <a:ln w="548" cap="flat">
              <a:noFill/>
              <a:prstDash val="solid"/>
              <a:miter/>
            </a:ln>
          </p:spPr>
          <p:txBody>
            <a:bodyPr/>
            <a:lstStyle/>
            <a:p>
              <a:endParaRPr lang="en-US"/>
            </a:p>
          </p:txBody>
        </p:sp>
        <p:sp>
          <p:nvSpPr>
            <p:cNvPr id="173" name="Freeform: Shape 172">
              <a:extLst>
                <a:ext uri="{FF2B5EF4-FFF2-40B4-BE49-F238E27FC236}">
                  <a16:creationId xmlns:a16="http://schemas.microsoft.com/office/drawing/2014/main" id="{940FDE24-AC42-10C4-0F51-09A18358DF6F}"/>
                </a:ext>
              </a:extLst>
            </p:cNvPr>
            <p:cNvSpPr/>
            <p:nvPr/>
          </p:nvSpPr>
          <p:spPr>
            <a:xfrm flipV="1">
              <a:off x="24166182" y="3348125"/>
              <a:ext cx="15800" cy="12256"/>
            </a:xfrm>
            <a:custGeom>
              <a:avLst/>
              <a:gdLst>
                <a:gd name="csX0" fmla="*/ 7003 w 15800"/>
                <a:gd name="csY0" fmla="*/ 4491 h 12256"/>
                <a:gd name="csX1" fmla="*/ -8798 w 15800"/>
                <a:gd name="csY1" fmla="*/ 4491 h 12256"/>
                <a:gd name="csX2" fmla="*/ -8798 w 15800"/>
                <a:gd name="csY2" fmla="*/ -7765 h 12256"/>
                <a:gd name="csX3" fmla="*/ 7003 w 15800"/>
                <a:gd name="csY3" fmla="*/ -7765 h 12256"/>
                <a:gd name="csX4" fmla="*/ 7003 w 15800"/>
                <a:gd name="csY4" fmla="*/ 4491 h 12256"/>
              </a:gdLst>
              <a:ahLst/>
              <a:cxnLst>
                <a:cxn ang="0">
                  <a:pos x="csX0" y="csY0"/>
                </a:cxn>
                <a:cxn ang="0">
                  <a:pos x="csX1" y="csY1"/>
                </a:cxn>
                <a:cxn ang="0">
                  <a:pos x="csX2" y="csY2"/>
                </a:cxn>
                <a:cxn ang="0">
                  <a:pos x="csX3" y="csY3"/>
                </a:cxn>
                <a:cxn ang="0">
                  <a:pos x="csX4" y="csY4"/>
                </a:cxn>
              </a:cxnLst>
              <a:rect l="l" t="t" r="r" b="b"/>
              <a:pathLst>
                <a:path w="15800" h="12256">
                  <a:moveTo>
                    <a:pt x="7003" y="4491"/>
                  </a:moveTo>
                  <a:lnTo>
                    <a:pt x="-8798" y="4491"/>
                  </a:lnTo>
                  <a:lnTo>
                    <a:pt x="-8798" y="-7765"/>
                  </a:lnTo>
                  <a:lnTo>
                    <a:pt x="7003" y="-7765"/>
                  </a:lnTo>
                  <a:lnTo>
                    <a:pt x="7003" y="4491"/>
                  </a:lnTo>
                </a:path>
              </a:pathLst>
            </a:custGeom>
            <a:grpFill/>
            <a:ln w="548" cap="flat">
              <a:noFill/>
              <a:prstDash val="solid"/>
              <a:miter/>
            </a:ln>
          </p:spPr>
          <p:txBody>
            <a:bodyPr/>
            <a:lstStyle/>
            <a:p>
              <a:endParaRPr lang="en-US"/>
            </a:p>
          </p:txBody>
        </p:sp>
        <p:sp>
          <p:nvSpPr>
            <p:cNvPr id="174" name="Freeform: Shape 173">
              <a:extLst>
                <a:ext uri="{FF2B5EF4-FFF2-40B4-BE49-F238E27FC236}">
                  <a16:creationId xmlns:a16="http://schemas.microsoft.com/office/drawing/2014/main" id="{9835E393-742B-93B8-B067-43999D9B7ACA}"/>
                </a:ext>
              </a:extLst>
            </p:cNvPr>
            <p:cNvSpPr/>
            <p:nvPr/>
          </p:nvSpPr>
          <p:spPr>
            <a:xfrm flipV="1">
              <a:off x="24166182" y="3429916"/>
              <a:ext cx="15800" cy="14379"/>
            </a:xfrm>
            <a:custGeom>
              <a:avLst/>
              <a:gdLst>
                <a:gd name="csX0" fmla="*/ 7003 w 15800"/>
                <a:gd name="csY0" fmla="*/ 6814 h 14379"/>
                <a:gd name="csX1" fmla="*/ -8798 w 15800"/>
                <a:gd name="csY1" fmla="*/ 6814 h 14379"/>
                <a:gd name="csX2" fmla="*/ -8798 w 15800"/>
                <a:gd name="csY2" fmla="*/ -7566 h 14379"/>
                <a:gd name="csX3" fmla="*/ 7003 w 15800"/>
                <a:gd name="csY3" fmla="*/ -7566 h 14379"/>
                <a:gd name="csX4" fmla="*/ 7003 w 15800"/>
                <a:gd name="csY4" fmla="*/ 6814 h 14379"/>
              </a:gdLst>
              <a:ahLst/>
              <a:cxnLst>
                <a:cxn ang="0">
                  <a:pos x="csX0" y="csY0"/>
                </a:cxn>
                <a:cxn ang="0">
                  <a:pos x="csX1" y="csY1"/>
                </a:cxn>
                <a:cxn ang="0">
                  <a:pos x="csX2" y="csY2"/>
                </a:cxn>
                <a:cxn ang="0">
                  <a:pos x="csX3" y="csY3"/>
                </a:cxn>
                <a:cxn ang="0">
                  <a:pos x="csX4" y="csY4"/>
                </a:cxn>
              </a:cxnLst>
              <a:rect l="l" t="t" r="r" b="b"/>
              <a:pathLst>
                <a:path w="15800" h="14379">
                  <a:moveTo>
                    <a:pt x="7003" y="6814"/>
                  </a:moveTo>
                  <a:lnTo>
                    <a:pt x="-8798" y="6814"/>
                  </a:lnTo>
                  <a:lnTo>
                    <a:pt x="-8798" y="-7566"/>
                  </a:lnTo>
                  <a:lnTo>
                    <a:pt x="7003" y="-7566"/>
                  </a:lnTo>
                  <a:lnTo>
                    <a:pt x="7003" y="6814"/>
                  </a:lnTo>
                </a:path>
              </a:pathLst>
            </a:custGeom>
            <a:grpFill/>
            <a:ln w="548" cap="flat">
              <a:noFill/>
              <a:prstDash val="solid"/>
              <a:miter/>
            </a:ln>
          </p:spPr>
          <p:txBody>
            <a:bodyPr/>
            <a:lstStyle/>
            <a:p>
              <a:endParaRPr lang="en-US"/>
            </a:p>
          </p:txBody>
        </p:sp>
        <p:sp>
          <p:nvSpPr>
            <p:cNvPr id="175" name="Freeform: Shape 174">
              <a:extLst>
                <a:ext uri="{FF2B5EF4-FFF2-40B4-BE49-F238E27FC236}">
                  <a16:creationId xmlns:a16="http://schemas.microsoft.com/office/drawing/2014/main" id="{263A5639-1740-0A85-9F12-BBB4297D2F58}"/>
                </a:ext>
              </a:extLst>
            </p:cNvPr>
            <p:cNvSpPr/>
            <p:nvPr/>
          </p:nvSpPr>
          <p:spPr>
            <a:xfrm flipV="1">
              <a:off x="24166182" y="3463477"/>
              <a:ext cx="15800" cy="14379"/>
            </a:xfrm>
            <a:custGeom>
              <a:avLst/>
              <a:gdLst>
                <a:gd name="csX0" fmla="*/ 7003 w 15800"/>
                <a:gd name="csY0" fmla="*/ 6895 h 14379"/>
                <a:gd name="csX1" fmla="*/ -8798 w 15800"/>
                <a:gd name="csY1" fmla="*/ 6895 h 14379"/>
                <a:gd name="csX2" fmla="*/ -8798 w 15800"/>
                <a:gd name="csY2" fmla="*/ -7485 h 14379"/>
                <a:gd name="csX3" fmla="*/ 7003 w 15800"/>
                <a:gd name="csY3" fmla="*/ -7485 h 14379"/>
                <a:gd name="csX4" fmla="*/ 7003 w 15800"/>
                <a:gd name="csY4" fmla="*/ 6895 h 14379"/>
              </a:gdLst>
              <a:ahLst/>
              <a:cxnLst>
                <a:cxn ang="0">
                  <a:pos x="csX0" y="csY0"/>
                </a:cxn>
                <a:cxn ang="0">
                  <a:pos x="csX1" y="csY1"/>
                </a:cxn>
                <a:cxn ang="0">
                  <a:pos x="csX2" y="csY2"/>
                </a:cxn>
                <a:cxn ang="0">
                  <a:pos x="csX3" y="csY3"/>
                </a:cxn>
                <a:cxn ang="0">
                  <a:pos x="csX4" y="csY4"/>
                </a:cxn>
              </a:cxnLst>
              <a:rect l="l" t="t" r="r" b="b"/>
              <a:pathLst>
                <a:path w="15800" h="14379">
                  <a:moveTo>
                    <a:pt x="7003" y="6895"/>
                  </a:moveTo>
                  <a:lnTo>
                    <a:pt x="-8798" y="6895"/>
                  </a:lnTo>
                  <a:lnTo>
                    <a:pt x="-8798" y="-7485"/>
                  </a:lnTo>
                  <a:lnTo>
                    <a:pt x="7003" y="-7485"/>
                  </a:lnTo>
                  <a:lnTo>
                    <a:pt x="7003" y="6895"/>
                  </a:lnTo>
                </a:path>
              </a:pathLst>
            </a:custGeom>
            <a:grpFill/>
            <a:ln w="548" cap="flat">
              <a:noFill/>
              <a:prstDash val="solid"/>
              <a:miter/>
            </a:ln>
          </p:spPr>
          <p:txBody>
            <a:bodyPr/>
            <a:lstStyle/>
            <a:p>
              <a:endParaRPr lang="en-US"/>
            </a:p>
          </p:txBody>
        </p:sp>
        <p:sp>
          <p:nvSpPr>
            <p:cNvPr id="176" name="Freeform: Shape 175">
              <a:extLst>
                <a:ext uri="{FF2B5EF4-FFF2-40B4-BE49-F238E27FC236}">
                  <a16:creationId xmlns:a16="http://schemas.microsoft.com/office/drawing/2014/main" id="{40EEFF80-4DEC-F308-FCA0-8FEC3BF271BF}"/>
                </a:ext>
              </a:extLst>
            </p:cNvPr>
            <p:cNvSpPr/>
            <p:nvPr/>
          </p:nvSpPr>
          <p:spPr>
            <a:xfrm flipV="1">
              <a:off x="24216602" y="3112139"/>
              <a:ext cx="15800" cy="12256"/>
            </a:xfrm>
            <a:custGeom>
              <a:avLst/>
              <a:gdLst>
                <a:gd name="csX0" fmla="*/ 6941 w 15800"/>
                <a:gd name="csY0" fmla="*/ 3923 h 12256"/>
                <a:gd name="csX1" fmla="*/ -8860 w 15800"/>
                <a:gd name="csY1" fmla="*/ 3923 h 12256"/>
                <a:gd name="csX2" fmla="*/ -8860 w 15800"/>
                <a:gd name="csY2" fmla="*/ -8333 h 12256"/>
                <a:gd name="csX3" fmla="*/ 6941 w 15800"/>
                <a:gd name="csY3" fmla="*/ -8333 h 12256"/>
                <a:gd name="csX4" fmla="*/ 6941 w 15800"/>
                <a:gd name="csY4" fmla="*/ 3923 h 12256"/>
              </a:gdLst>
              <a:ahLst/>
              <a:cxnLst>
                <a:cxn ang="0">
                  <a:pos x="csX0" y="csY0"/>
                </a:cxn>
                <a:cxn ang="0">
                  <a:pos x="csX1" y="csY1"/>
                </a:cxn>
                <a:cxn ang="0">
                  <a:pos x="csX2" y="csY2"/>
                </a:cxn>
                <a:cxn ang="0">
                  <a:pos x="csX3" y="csY3"/>
                </a:cxn>
                <a:cxn ang="0">
                  <a:pos x="csX4" y="csY4"/>
                </a:cxn>
              </a:cxnLst>
              <a:rect l="l" t="t" r="r" b="b"/>
              <a:pathLst>
                <a:path w="15800" h="12256">
                  <a:moveTo>
                    <a:pt x="6941" y="3923"/>
                  </a:moveTo>
                  <a:lnTo>
                    <a:pt x="-8860" y="3923"/>
                  </a:lnTo>
                  <a:lnTo>
                    <a:pt x="-8860" y="-8333"/>
                  </a:lnTo>
                  <a:lnTo>
                    <a:pt x="6941" y="-8333"/>
                  </a:lnTo>
                  <a:lnTo>
                    <a:pt x="6941" y="3923"/>
                  </a:lnTo>
                </a:path>
              </a:pathLst>
            </a:custGeom>
            <a:grpFill/>
            <a:ln w="548" cap="flat">
              <a:noFill/>
              <a:prstDash val="solid"/>
              <a:miter/>
            </a:ln>
          </p:spPr>
          <p:txBody>
            <a:bodyPr/>
            <a:lstStyle/>
            <a:p>
              <a:endParaRPr lang="en-US"/>
            </a:p>
          </p:txBody>
        </p:sp>
        <p:sp>
          <p:nvSpPr>
            <p:cNvPr id="177" name="Freeform: Shape 176">
              <a:extLst>
                <a:ext uri="{FF2B5EF4-FFF2-40B4-BE49-F238E27FC236}">
                  <a16:creationId xmlns:a16="http://schemas.microsoft.com/office/drawing/2014/main" id="{929B7F2C-C6E3-069A-DC87-0A6B49F25BF0}"/>
                </a:ext>
              </a:extLst>
            </p:cNvPr>
            <p:cNvSpPr/>
            <p:nvPr/>
          </p:nvSpPr>
          <p:spPr>
            <a:xfrm flipV="1">
              <a:off x="24216602" y="3126798"/>
              <a:ext cx="15800" cy="12262"/>
            </a:xfrm>
            <a:custGeom>
              <a:avLst/>
              <a:gdLst>
                <a:gd name="csX0" fmla="*/ 6941 w 15800"/>
                <a:gd name="csY0" fmla="*/ 3965 h 12262"/>
                <a:gd name="csX1" fmla="*/ -8860 w 15800"/>
                <a:gd name="csY1" fmla="*/ 3965 h 12262"/>
                <a:gd name="csX2" fmla="*/ -8860 w 15800"/>
                <a:gd name="csY2" fmla="*/ -8298 h 12262"/>
                <a:gd name="csX3" fmla="*/ 6941 w 15800"/>
                <a:gd name="csY3" fmla="*/ -8298 h 12262"/>
                <a:gd name="csX4" fmla="*/ 6941 w 15800"/>
                <a:gd name="csY4" fmla="*/ 3965 h 12262"/>
              </a:gdLst>
              <a:ahLst/>
              <a:cxnLst>
                <a:cxn ang="0">
                  <a:pos x="csX0" y="csY0"/>
                </a:cxn>
                <a:cxn ang="0">
                  <a:pos x="csX1" y="csY1"/>
                </a:cxn>
                <a:cxn ang="0">
                  <a:pos x="csX2" y="csY2"/>
                </a:cxn>
                <a:cxn ang="0">
                  <a:pos x="csX3" y="csY3"/>
                </a:cxn>
                <a:cxn ang="0">
                  <a:pos x="csX4" y="csY4"/>
                </a:cxn>
              </a:cxnLst>
              <a:rect l="l" t="t" r="r" b="b"/>
              <a:pathLst>
                <a:path w="15800" h="12262">
                  <a:moveTo>
                    <a:pt x="6941" y="3965"/>
                  </a:moveTo>
                  <a:lnTo>
                    <a:pt x="-8860" y="3965"/>
                  </a:lnTo>
                  <a:lnTo>
                    <a:pt x="-8860" y="-8298"/>
                  </a:lnTo>
                  <a:lnTo>
                    <a:pt x="6941" y="-8298"/>
                  </a:lnTo>
                  <a:lnTo>
                    <a:pt x="6941" y="3965"/>
                  </a:lnTo>
                </a:path>
              </a:pathLst>
            </a:custGeom>
            <a:grpFill/>
            <a:ln w="548" cap="flat">
              <a:noFill/>
              <a:prstDash val="solid"/>
              <a:miter/>
            </a:ln>
          </p:spPr>
          <p:txBody>
            <a:bodyPr/>
            <a:lstStyle/>
            <a:p>
              <a:endParaRPr lang="en-US"/>
            </a:p>
          </p:txBody>
        </p:sp>
        <p:sp>
          <p:nvSpPr>
            <p:cNvPr id="178" name="Freeform: Shape 177">
              <a:extLst>
                <a:ext uri="{FF2B5EF4-FFF2-40B4-BE49-F238E27FC236}">
                  <a16:creationId xmlns:a16="http://schemas.microsoft.com/office/drawing/2014/main" id="{7D991FA2-61A4-D5C1-E412-F6ADAACFC558}"/>
                </a:ext>
              </a:extLst>
            </p:cNvPr>
            <p:cNvSpPr/>
            <p:nvPr/>
          </p:nvSpPr>
          <p:spPr>
            <a:xfrm flipV="1">
              <a:off x="24216602" y="3220928"/>
              <a:ext cx="15800" cy="14374"/>
            </a:xfrm>
            <a:custGeom>
              <a:avLst/>
              <a:gdLst>
                <a:gd name="csX0" fmla="*/ 6941 w 15800"/>
                <a:gd name="csY0" fmla="*/ 6306 h 14374"/>
                <a:gd name="csX1" fmla="*/ -8860 w 15800"/>
                <a:gd name="csY1" fmla="*/ 6306 h 14374"/>
                <a:gd name="csX2" fmla="*/ -8860 w 15800"/>
                <a:gd name="csY2" fmla="*/ -8069 h 14374"/>
                <a:gd name="csX3" fmla="*/ 6941 w 15800"/>
                <a:gd name="csY3" fmla="*/ -8069 h 14374"/>
                <a:gd name="csX4" fmla="*/ 6941 w 15800"/>
                <a:gd name="csY4" fmla="*/ 6306 h 14374"/>
              </a:gdLst>
              <a:ahLst/>
              <a:cxnLst>
                <a:cxn ang="0">
                  <a:pos x="csX0" y="csY0"/>
                </a:cxn>
                <a:cxn ang="0">
                  <a:pos x="csX1" y="csY1"/>
                </a:cxn>
                <a:cxn ang="0">
                  <a:pos x="csX2" y="csY2"/>
                </a:cxn>
                <a:cxn ang="0">
                  <a:pos x="csX3" y="csY3"/>
                </a:cxn>
                <a:cxn ang="0">
                  <a:pos x="csX4" y="csY4"/>
                </a:cxn>
              </a:cxnLst>
              <a:rect l="l" t="t" r="r" b="b"/>
              <a:pathLst>
                <a:path w="15800" h="14374">
                  <a:moveTo>
                    <a:pt x="6941" y="6306"/>
                  </a:moveTo>
                  <a:lnTo>
                    <a:pt x="-8860" y="6306"/>
                  </a:lnTo>
                  <a:lnTo>
                    <a:pt x="-8860" y="-8069"/>
                  </a:lnTo>
                  <a:lnTo>
                    <a:pt x="6941" y="-8069"/>
                  </a:lnTo>
                  <a:lnTo>
                    <a:pt x="6941" y="6306"/>
                  </a:lnTo>
                </a:path>
              </a:pathLst>
            </a:custGeom>
            <a:grpFill/>
            <a:ln w="548" cap="flat">
              <a:noFill/>
              <a:prstDash val="solid"/>
              <a:miter/>
            </a:ln>
          </p:spPr>
          <p:txBody>
            <a:bodyPr/>
            <a:lstStyle/>
            <a:p>
              <a:endParaRPr lang="en-US"/>
            </a:p>
          </p:txBody>
        </p:sp>
        <p:sp>
          <p:nvSpPr>
            <p:cNvPr id="179" name="Freeform: Shape 178">
              <a:extLst>
                <a:ext uri="{FF2B5EF4-FFF2-40B4-BE49-F238E27FC236}">
                  <a16:creationId xmlns:a16="http://schemas.microsoft.com/office/drawing/2014/main" id="{3295421A-76AE-32A5-CCC7-AAE2F0587170}"/>
                </a:ext>
              </a:extLst>
            </p:cNvPr>
            <p:cNvSpPr/>
            <p:nvPr/>
          </p:nvSpPr>
          <p:spPr>
            <a:xfrm flipV="1">
              <a:off x="24216602" y="3254489"/>
              <a:ext cx="15800" cy="14379"/>
            </a:xfrm>
            <a:custGeom>
              <a:avLst/>
              <a:gdLst>
                <a:gd name="csX0" fmla="*/ 6941 w 15800"/>
                <a:gd name="csY0" fmla="*/ 6392 h 14379"/>
                <a:gd name="csX1" fmla="*/ -8860 w 15800"/>
                <a:gd name="csY1" fmla="*/ 6392 h 14379"/>
                <a:gd name="csX2" fmla="*/ -8860 w 15800"/>
                <a:gd name="csY2" fmla="*/ -7988 h 14379"/>
                <a:gd name="csX3" fmla="*/ 6941 w 15800"/>
                <a:gd name="csY3" fmla="*/ -7988 h 14379"/>
                <a:gd name="csX4" fmla="*/ 6941 w 15800"/>
                <a:gd name="csY4" fmla="*/ 6392 h 14379"/>
              </a:gdLst>
              <a:ahLst/>
              <a:cxnLst>
                <a:cxn ang="0">
                  <a:pos x="csX0" y="csY0"/>
                </a:cxn>
                <a:cxn ang="0">
                  <a:pos x="csX1" y="csY1"/>
                </a:cxn>
                <a:cxn ang="0">
                  <a:pos x="csX2" y="csY2"/>
                </a:cxn>
                <a:cxn ang="0">
                  <a:pos x="csX3" y="csY3"/>
                </a:cxn>
                <a:cxn ang="0">
                  <a:pos x="csX4" y="csY4"/>
                </a:cxn>
              </a:cxnLst>
              <a:rect l="l" t="t" r="r" b="b"/>
              <a:pathLst>
                <a:path w="15800" h="14379">
                  <a:moveTo>
                    <a:pt x="6941" y="6392"/>
                  </a:moveTo>
                  <a:lnTo>
                    <a:pt x="-8860" y="6392"/>
                  </a:lnTo>
                  <a:lnTo>
                    <a:pt x="-8860" y="-7988"/>
                  </a:lnTo>
                  <a:lnTo>
                    <a:pt x="6941" y="-7988"/>
                  </a:lnTo>
                  <a:lnTo>
                    <a:pt x="6941" y="6392"/>
                  </a:lnTo>
                </a:path>
              </a:pathLst>
            </a:custGeom>
            <a:grpFill/>
            <a:ln w="548" cap="flat">
              <a:noFill/>
              <a:prstDash val="solid"/>
              <a:miter/>
            </a:ln>
          </p:spPr>
          <p:txBody>
            <a:bodyPr/>
            <a:lstStyle/>
            <a:p>
              <a:endParaRPr lang="en-US"/>
            </a:p>
          </p:txBody>
        </p:sp>
        <p:sp>
          <p:nvSpPr>
            <p:cNvPr id="180" name="Freeform: Shape 179">
              <a:extLst>
                <a:ext uri="{FF2B5EF4-FFF2-40B4-BE49-F238E27FC236}">
                  <a16:creationId xmlns:a16="http://schemas.microsoft.com/office/drawing/2014/main" id="{24F435B9-A2BA-FA37-3C6E-B7D504E981B2}"/>
                </a:ext>
              </a:extLst>
            </p:cNvPr>
            <p:cNvSpPr/>
            <p:nvPr/>
          </p:nvSpPr>
          <p:spPr>
            <a:xfrm flipV="1">
              <a:off x="24216602" y="3237706"/>
              <a:ext cx="15800" cy="14379"/>
            </a:xfrm>
            <a:custGeom>
              <a:avLst/>
              <a:gdLst>
                <a:gd name="csX0" fmla="*/ 6941 w 15800"/>
                <a:gd name="csY0" fmla="*/ 6351 h 14379"/>
                <a:gd name="csX1" fmla="*/ -8860 w 15800"/>
                <a:gd name="csY1" fmla="*/ 6351 h 14379"/>
                <a:gd name="csX2" fmla="*/ -8860 w 15800"/>
                <a:gd name="csY2" fmla="*/ -8028 h 14379"/>
                <a:gd name="csX3" fmla="*/ 6941 w 15800"/>
                <a:gd name="csY3" fmla="*/ -8028 h 14379"/>
                <a:gd name="csX4" fmla="*/ 6941 w 15800"/>
                <a:gd name="csY4" fmla="*/ 6351 h 14379"/>
              </a:gdLst>
              <a:ahLst/>
              <a:cxnLst>
                <a:cxn ang="0">
                  <a:pos x="csX0" y="csY0"/>
                </a:cxn>
                <a:cxn ang="0">
                  <a:pos x="csX1" y="csY1"/>
                </a:cxn>
                <a:cxn ang="0">
                  <a:pos x="csX2" y="csY2"/>
                </a:cxn>
                <a:cxn ang="0">
                  <a:pos x="csX3" y="csY3"/>
                </a:cxn>
                <a:cxn ang="0">
                  <a:pos x="csX4" y="csY4"/>
                </a:cxn>
              </a:cxnLst>
              <a:rect l="l" t="t" r="r" b="b"/>
              <a:pathLst>
                <a:path w="15800" h="14379">
                  <a:moveTo>
                    <a:pt x="6941" y="6351"/>
                  </a:moveTo>
                  <a:lnTo>
                    <a:pt x="-8860" y="6351"/>
                  </a:lnTo>
                  <a:lnTo>
                    <a:pt x="-8860" y="-8028"/>
                  </a:lnTo>
                  <a:lnTo>
                    <a:pt x="6941" y="-8028"/>
                  </a:lnTo>
                  <a:lnTo>
                    <a:pt x="6941" y="6351"/>
                  </a:lnTo>
                </a:path>
              </a:pathLst>
            </a:custGeom>
            <a:grpFill/>
            <a:ln w="548" cap="flat">
              <a:noFill/>
              <a:prstDash val="solid"/>
              <a:miter/>
            </a:ln>
          </p:spPr>
          <p:txBody>
            <a:bodyPr/>
            <a:lstStyle/>
            <a:p>
              <a:endParaRPr lang="en-US"/>
            </a:p>
          </p:txBody>
        </p:sp>
        <p:sp>
          <p:nvSpPr>
            <p:cNvPr id="181" name="Freeform: Shape 180">
              <a:extLst>
                <a:ext uri="{FF2B5EF4-FFF2-40B4-BE49-F238E27FC236}">
                  <a16:creationId xmlns:a16="http://schemas.microsoft.com/office/drawing/2014/main" id="{87F8A6A1-96D2-6DE7-7963-13385C4F1EB3}"/>
                </a:ext>
              </a:extLst>
            </p:cNvPr>
            <p:cNvSpPr/>
            <p:nvPr/>
          </p:nvSpPr>
          <p:spPr>
            <a:xfrm flipV="1">
              <a:off x="24216602" y="3204146"/>
              <a:ext cx="15800" cy="14374"/>
            </a:xfrm>
            <a:custGeom>
              <a:avLst/>
              <a:gdLst>
                <a:gd name="csX0" fmla="*/ 6941 w 15800"/>
                <a:gd name="csY0" fmla="*/ 6265 h 14374"/>
                <a:gd name="csX1" fmla="*/ -8860 w 15800"/>
                <a:gd name="csY1" fmla="*/ 6265 h 14374"/>
                <a:gd name="csX2" fmla="*/ -8860 w 15800"/>
                <a:gd name="csY2" fmla="*/ -8109 h 14374"/>
                <a:gd name="csX3" fmla="*/ 6941 w 15800"/>
                <a:gd name="csY3" fmla="*/ -8109 h 14374"/>
                <a:gd name="csX4" fmla="*/ 6941 w 15800"/>
                <a:gd name="csY4" fmla="*/ 6265 h 14374"/>
              </a:gdLst>
              <a:ahLst/>
              <a:cxnLst>
                <a:cxn ang="0">
                  <a:pos x="csX0" y="csY0"/>
                </a:cxn>
                <a:cxn ang="0">
                  <a:pos x="csX1" y="csY1"/>
                </a:cxn>
                <a:cxn ang="0">
                  <a:pos x="csX2" y="csY2"/>
                </a:cxn>
                <a:cxn ang="0">
                  <a:pos x="csX3" y="csY3"/>
                </a:cxn>
                <a:cxn ang="0">
                  <a:pos x="csX4" y="csY4"/>
                </a:cxn>
              </a:cxnLst>
              <a:rect l="l" t="t" r="r" b="b"/>
              <a:pathLst>
                <a:path w="15800" h="14374">
                  <a:moveTo>
                    <a:pt x="6941" y="6265"/>
                  </a:moveTo>
                  <a:lnTo>
                    <a:pt x="-8860" y="6265"/>
                  </a:lnTo>
                  <a:lnTo>
                    <a:pt x="-8860" y="-8109"/>
                  </a:lnTo>
                  <a:lnTo>
                    <a:pt x="6941" y="-8109"/>
                  </a:lnTo>
                  <a:lnTo>
                    <a:pt x="6941" y="6265"/>
                  </a:lnTo>
                </a:path>
              </a:pathLst>
            </a:custGeom>
            <a:grpFill/>
            <a:ln w="548" cap="flat">
              <a:noFill/>
              <a:prstDash val="solid"/>
              <a:miter/>
            </a:ln>
          </p:spPr>
          <p:txBody>
            <a:bodyPr/>
            <a:lstStyle/>
            <a:p>
              <a:endParaRPr lang="en-US"/>
            </a:p>
          </p:txBody>
        </p:sp>
        <p:sp>
          <p:nvSpPr>
            <p:cNvPr id="182" name="Freeform: Shape 181">
              <a:extLst>
                <a:ext uri="{FF2B5EF4-FFF2-40B4-BE49-F238E27FC236}">
                  <a16:creationId xmlns:a16="http://schemas.microsoft.com/office/drawing/2014/main" id="{6AD8D0F5-2724-7094-4C87-AA787A3FA287}"/>
                </a:ext>
              </a:extLst>
            </p:cNvPr>
            <p:cNvSpPr/>
            <p:nvPr/>
          </p:nvSpPr>
          <p:spPr>
            <a:xfrm flipV="1">
              <a:off x="24216602" y="3187363"/>
              <a:ext cx="15800" cy="14379"/>
            </a:xfrm>
            <a:custGeom>
              <a:avLst/>
              <a:gdLst>
                <a:gd name="csX0" fmla="*/ 6941 w 15800"/>
                <a:gd name="csY0" fmla="*/ 6230 h 14379"/>
                <a:gd name="csX1" fmla="*/ -8860 w 15800"/>
                <a:gd name="csY1" fmla="*/ 6230 h 14379"/>
                <a:gd name="csX2" fmla="*/ -8860 w 15800"/>
                <a:gd name="csY2" fmla="*/ -8150 h 14379"/>
                <a:gd name="csX3" fmla="*/ 6941 w 15800"/>
                <a:gd name="csY3" fmla="*/ -8150 h 14379"/>
                <a:gd name="csX4" fmla="*/ 6941 w 15800"/>
                <a:gd name="csY4" fmla="*/ 6230 h 14379"/>
              </a:gdLst>
              <a:ahLst/>
              <a:cxnLst>
                <a:cxn ang="0">
                  <a:pos x="csX0" y="csY0"/>
                </a:cxn>
                <a:cxn ang="0">
                  <a:pos x="csX1" y="csY1"/>
                </a:cxn>
                <a:cxn ang="0">
                  <a:pos x="csX2" y="csY2"/>
                </a:cxn>
                <a:cxn ang="0">
                  <a:pos x="csX3" y="csY3"/>
                </a:cxn>
                <a:cxn ang="0">
                  <a:pos x="csX4" y="csY4"/>
                </a:cxn>
              </a:cxnLst>
              <a:rect l="l" t="t" r="r" b="b"/>
              <a:pathLst>
                <a:path w="15800" h="14379">
                  <a:moveTo>
                    <a:pt x="6941" y="6230"/>
                  </a:moveTo>
                  <a:lnTo>
                    <a:pt x="-8860" y="6230"/>
                  </a:lnTo>
                  <a:lnTo>
                    <a:pt x="-8860" y="-8150"/>
                  </a:lnTo>
                  <a:lnTo>
                    <a:pt x="6941" y="-8150"/>
                  </a:lnTo>
                  <a:lnTo>
                    <a:pt x="6941" y="6230"/>
                  </a:lnTo>
                </a:path>
              </a:pathLst>
            </a:custGeom>
            <a:grpFill/>
            <a:ln w="548" cap="flat">
              <a:noFill/>
              <a:prstDash val="solid"/>
              <a:miter/>
            </a:ln>
          </p:spPr>
          <p:txBody>
            <a:bodyPr/>
            <a:lstStyle/>
            <a:p>
              <a:endParaRPr lang="en-US"/>
            </a:p>
          </p:txBody>
        </p:sp>
        <p:sp>
          <p:nvSpPr>
            <p:cNvPr id="183" name="Freeform: Shape 182">
              <a:extLst>
                <a:ext uri="{FF2B5EF4-FFF2-40B4-BE49-F238E27FC236}">
                  <a16:creationId xmlns:a16="http://schemas.microsoft.com/office/drawing/2014/main" id="{EAD57934-D5BA-3B00-6D92-BE6BD673C04C}"/>
                </a:ext>
              </a:extLst>
            </p:cNvPr>
            <p:cNvSpPr/>
            <p:nvPr/>
          </p:nvSpPr>
          <p:spPr>
            <a:xfrm flipV="1">
              <a:off x="24216602" y="3271271"/>
              <a:ext cx="15800" cy="14379"/>
            </a:xfrm>
            <a:custGeom>
              <a:avLst/>
              <a:gdLst>
                <a:gd name="csX0" fmla="*/ 6941 w 15800"/>
                <a:gd name="csY0" fmla="*/ 6432 h 14379"/>
                <a:gd name="csX1" fmla="*/ -8860 w 15800"/>
                <a:gd name="csY1" fmla="*/ 6432 h 14379"/>
                <a:gd name="csX2" fmla="*/ -8860 w 15800"/>
                <a:gd name="csY2" fmla="*/ -7948 h 14379"/>
                <a:gd name="csX3" fmla="*/ 6941 w 15800"/>
                <a:gd name="csY3" fmla="*/ -7948 h 14379"/>
                <a:gd name="csX4" fmla="*/ 6941 w 15800"/>
                <a:gd name="csY4" fmla="*/ 6432 h 14379"/>
              </a:gdLst>
              <a:ahLst/>
              <a:cxnLst>
                <a:cxn ang="0">
                  <a:pos x="csX0" y="csY0"/>
                </a:cxn>
                <a:cxn ang="0">
                  <a:pos x="csX1" y="csY1"/>
                </a:cxn>
                <a:cxn ang="0">
                  <a:pos x="csX2" y="csY2"/>
                </a:cxn>
                <a:cxn ang="0">
                  <a:pos x="csX3" y="csY3"/>
                </a:cxn>
                <a:cxn ang="0">
                  <a:pos x="csX4" y="csY4"/>
                </a:cxn>
              </a:cxnLst>
              <a:rect l="l" t="t" r="r" b="b"/>
              <a:pathLst>
                <a:path w="15800" h="14379">
                  <a:moveTo>
                    <a:pt x="6941" y="6432"/>
                  </a:moveTo>
                  <a:lnTo>
                    <a:pt x="-8860" y="6432"/>
                  </a:lnTo>
                  <a:lnTo>
                    <a:pt x="-8860" y="-7948"/>
                  </a:lnTo>
                  <a:lnTo>
                    <a:pt x="6941" y="-7948"/>
                  </a:lnTo>
                  <a:lnTo>
                    <a:pt x="6941" y="6432"/>
                  </a:lnTo>
                </a:path>
              </a:pathLst>
            </a:custGeom>
            <a:grpFill/>
            <a:ln w="548" cap="flat">
              <a:noFill/>
              <a:prstDash val="solid"/>
              <a:miter/>
            </a:ln>
          </p:spPr>
          <p:txBody>
            <a:bodyPr/>
            <a:lstStyle/>
            <a:p>
              <a:endParaRPr lang="en-US"/>
            </a:p>
          </p:txBody>
        </p:sp>
        <p:sp>
          <p:nvSpPr>
            <p:cNvPr id="184" name="Freeform: Shape 183">
              <a:extLst>
                <a:ext uri="{FF2B5EF4-FFF2-40B4-BE49-F238E27FC236}">
                  <a16:creationId xmlns:a16="http://schemas.microsoft.com/office/drawing/2014/main" id="{C57B3B0B-53D3-6EDB-EB4B-3557C996D36E}"/>
                </a:ext>
              </a:extLst>
            </p:cNvPr>
            <p:cNvSpPr/>
            <p:nvPr/>
          </p:nvSpPr>
          <p:spPr>
            <a:xfrm flipV="1">
              <a:off x="24216602" y="3172697"/>
              <a:ext cx="15800" cy="12261"/>
            </a:xfrm>
            <a:custGeom>
              <a:avLst/>
              <a:gdLst>
                <a:gd name="csX0" fmla="*/ 6941 w 15800"/>
                <a:gd name="csY0" fmla="*/ 4075 h 12261"/>
                <a:gd name="csX1" fmla="*/ -8860 w 15800"/>
                <a:gd name="csY1" fmla="*/ 4075 h 12261"/>
                <a:gd name="csX2" fmla="*/ -8860 w 15800"/>
                <a:gd name="csY2" fmla="*/ -8187 h 12261"/>
                <a:gd name="csX3" fmla="*/ 6941 w 15800"/>
                <a:gd name="csY3" fmla="*/ -8187 h 12261"/>
                <a:gd name="csX4" fmla="*/ 6941 w 15800"/>
                <a:gd name="csY4" fmla="*/ 4075 h 12261"/>
              </a:gdLst>
              <a:ahLst/>
              <a:cxnLst>
                <a:cxn ang="0">
                  <a:pos x="csX0" y="csY0"/>
                </a:cxn>
                <a:cxn ang="0">
                  <a:pos x="csX1" y="csY1"/>
                </a:cxn>
                <a:cxn ang="0">
                  <a:pos x="csX2" y="csY2"/>
                </a:cxn>
                <a:cxn ang="0">
                  <a:pos x="csX3" y="csY3"/>
                </a:cxn>
                <a:cxn ang="0">
                  <a:pos x="csX4" y="csY4"/>
                </a:cxn>
              </a:cxnLst>
              <a:rect l="l" t="t" r="r" b="b"/>
              <a:pathLst>
                <a:path w="15800" h="12261">
                  <a:moveTo>
                    <a:pt x="6941" y="4075"/>
                  </a:moveTo>
                  <a:lnTo>
                    <a:pt x="-8860" y="4075"/>
                  </a:lnTo>
                  <a:lnTo>
                    <a:pt x="-8860" y="-8187"/>
                  </a:lnTo>
                  <a:lnTo>
                    <a:pt x="6941" y="-8187"/>
                  </a:lnTo>
                  <a:lnTo>
                    <a:pt x="6941" y="4075"/>
                  </a:lnTo>
                </a:path>
              </a:pathLst>
            </a:custGeom>
            <a:grpFill/>
            <a:ln w="548" cap="flat">
              <a:noFill/>
              <a:prstDash val="solid"/>
              <a:miter/>
            </a:ln>
          </p:spPr>
          <p:txBody>
            <a:bodyPr/>
            <a:lstStyle/>
            <a:p>
              <a:endParaRPr lang="en-US"/>
            </a:p>
          </p:txBody>
        </p:sp>
        <p:sp>
          <p:nvSpPr>
            <p:cNvPr id="185" name="Freeform: Shape 184">
              <a:extLst>
                <a:ext uri="{FF2B5EF4-FFF2-40B4-BE49-F238E27FC236}">
                  <a16:creationId xmlns:a16="http://schemas.microsoft.com/office/drawing/2014/main" id="{F7F17320-75BD-0616-714E-67A636658BE6}"/>
                </a:ext>
              </a:extLst>
            </p:cNvPr>
            <p:cNvSpPr/>
            <p:nvPr/>
          </p:nvSpPr>
          <p:spPr>
            <a:xfrm flipV="1">
              <a:off x="24216602" y="3304832"/>
              <a:ext cx="15800" cy="14313"/>
            </a:xfrm>
            <a:custGeom>
              <a:avLst/>
              <a:gdLst>
                <a:gd name="csX0" fmla="*/ 6941 w 15800"/>
                <a:gd name="csY0" fmla="*/ 6447 h 14313"/>
                <a:gd name="csX1" fmla="*/ -8860 w 15800"/>
                <a:gd name="csY1" fmla="*/ 6447 h 14313"/>
                <a:gd name="csX2" fmla="*/ -8860 w 15800"/>
                <a:gd name="csY2" fmla="*/ -7867 h 14313"/>
                <a:gd name="csX3" fmla="*/ 6941 w 15800"/>
                <a:gd name="csY3" fmla="*/ -7867 h 14313"/>
                <a:gd name="csX4" fmla="*/ 6941 w 15800"/>
                <a:gd name="csY4" fmla="*/ 6447 h 14313"/>
              </a:gdLst>
              <a:ahLst/>
              <a:cxnLst>
                <a:cxn ang="0">
                  <a:pos x="csX0" y="csY0"/>
                </a:cxn>
                <a:cxn ang="0">
                  <a:pos x="csX1" y="csY1"/>
                </a:cxn>
                <a:cxn ang="0">
                  <a:pos x="csX2" y="csY2"/>
                </a:cxn>
                <a:cxn ang="0">
                  <a:pos x="csX3" y="csY3"/>
                </a:cxn>
                <a:cxn ang="0">
                  <a:pos x="csX4" y="csY4"/>
                </a:cxn>
              </a:cxnLst>
              <a:rect l="l" t="t" r="r" b="b"/>
              <a:pathLst>
                <a:path w="15800" h="14313">
                  <a:moveTo>
                    <a:pt x="6941" y="6447"/>
                  </a:moveTo>
                  <a:lnTo>
                    <a:pt x="-8860" y="6447"/>
                  </a:lnTo>
                  <a:lnTo>
                    <a:pt x="-8860" y="-7867"/>
                  </a:lnTo>
                  <a:lnTo>
                    <a:pt x="6941" y="-7867"/>
                  </a:lnTo>
                  <a:lnTo>
                    <a:pt x="6941" y="6447"/>
                  </a:lnTo>
                </a:path>
              </a:pathLst>
            </a:custGeom>
            <a:grpFill/>
            <a:ln w="548" cap="flat">
              <a:noFill/>
              <a:prstDash val="solid"/>
              <a:miter/>
            </a:ln>
          </p:spPr>
          <p:txBody>
            <a:bodyPr/>
            <a:lstStyle/>
            <a:p>
              <a:endParaRPr lang="en-US"/>
            </a:p>
          </p:txBody>
        </p:sp>
        <p:sp>
          <p:nvSpPr>
            <p:cNvPr id="186" name="Freeform: Shape 185">
              <a:extLst>
                <a:ext uri="{FF2B5EF4-FFF2-40B4-BE49-F238E27FC236}">
                  <a16:creationId xmlns:a16="http://schemas.microsoft.com/office/drawing/2014/main" id="{A0A98493-6611-593D-E7E1-B616F1232291}"/>
                </a:ext>
              </a:extLst>
            </p:cNvPr>
            <p:cNvSpPr/>
            <p:nvPr/>
          </p:nvSpPr>
          <p:spPr>
            <a:xfrm flipV="1">
              <a:off x="24216602" y="3288054"/>
              <a:ext cx="15800" cy="14379"/>
            </a:xfrm>
            <a:custGeom>
              <a:avLst/>
              <a:gdLst>
                <a:gd name="csX0" fmla="*/ 6941 w 15800"/>
                <a:gd name="csY0" fmla="*/ 6473 h 14379"/>
                <a:gd name="csX1" fmla="*/ -8860 w 15800"/>
                <a:gd name="csY1" fmla="*/ 6473 h 14379"/>
                <a:gd name="csX2" fmla="*/ -8860 w 15800"/>
                <a:gd name="csY2" fmla="*/ -7907 h 14379"/>
                <a:gd name="csX3" fmla="*/ 6941 w 15800"/>
                <a:gd name="csY3" fmla="*/ -7907 h 14379"/>
                <a:gd name="csX4" fmla="*/ 6941 w 15800"/>
                <a:gd name="csY4" fmla="*/ 6473 h 14379"/>
              </a:gdLst>
              <a:ahLst/>
              <a:cxnLst>
                <a:cxn ang="0">
                  <a:pos x="csX0" y="csY0"/>
                </a:cxn>
                <a:cxn ang="0">
                  <a:pos x="csX1" y="csY1"/>
                </a:cxn>
                <a:cxn ang="0">
                  <a:pos x="csX2" y="csY2"/>
                </a:cxn>
                <a:cxn ang="0">
                  <a:pos x="csX3" y="csY3"/>
                </a:cxn>
                <a:cxn ang="0">
                  <a:pos x="csX4" y="csY4"/>
                </a:cxn>
              </a:cxnLst>
              <a:rect l="l" t="t" r="r" b="b"/>
              <a:pathLst>
                <a:path w="15800" h="14379">
                  <a:moveTo>
                    <a:pt x="6941" y="6473"/>
                  </a:moveTo>
                  <a:lnTo>
                    <a:pt x="-8860" y="6473"/>
                  </a:lnTo>
                  <a:lnTo>
                    <a:pt x="-8860" y="-7907"/>
                  </a:lnTo>
                  <a:lnTo>
                    <a:pt x="6941" y="-7907"/>
                  </a:lnTo>
                  <a:lnTo>
                    <a:pt x="6941" y="6473"/>
                  </a:lnTo>
                </a:path>
              </a:pathLst>
            </a:custGeom>
            <a:grpFill/>
            <a:ln w="548" cap="flat">
              <a:noFill/>
              <a:prstDash val="solid"/>
              <a:miter/>
            </a:ln>
          </p:spPr>
          <p:txBody>
            <a:bodyPr/>
            <a:lstStyle/>
            <a:p>
              <a:endParaRPr lang="en-US"/>
            </a:p>
          </p:txBody>
        </p:sp>
        <p:sp>
          <p:nvSpPr>
            <p:cNvPr id="187" name="Freeform: Shape 186">
              <a:extLst>
                <a:ext uri="{FF2B5EF4-FFF2-40B4-BE49-F238E27FC236}">
                  <a16:creationId xmlns:a16="http://schemas.microsoft.com/office/drawing/2014/main" id="{B1D941D0-68D1-5CAD-3530-0488F2D2FEC3}"/>
                </a:ext>
              </a:extLst>
            </p:cNvPr>
            <p:cNvSpPr/>
            <p:nvPr/>
          </p:nvSpPr>
          <p:spPr>
            <a:xfrm flipV="1">
              <a:off x="24216602" y="3396351"/>
              <a:ext cx="15800" cy="14379"/>
            </a:xfrm>
            <a:custGeom>
              <a:avLst/>
              <a:gdLst>
                <a:gd name="csX0" fmla="*/ 6941 w 15800"/>
                <a:gd name="csY0" fmla="*/ 6733 h 14379"/>
                <a:gd name="csX1" fmla="*/ -8860 w 15800"/>
                <a:gd name="csY1" fmla="*/ 6733 h 14379"/>
                <a:gd name="csX2" fmla="*/ -8860 w 15800"/>
                <a:gd name="csY2" fmla="*/ -7647 h 14379"/>
                <a:gd name="csX3" fmla="*/ 6941 w 15800"/>
                <a:gd name="csY3" fmla="*/ -7647 h 14379"/>
                <a:gd name="csX4" fmla="*/ 6941 w 15800"/>
                <a:gd name="csY4" fmla="*/ 6733 h 14379"/>
              </a:gdLst>
              <a:ahLst/>
              <a:cxnLst>
                <a:cxn ang="0">
                  <a:pos x="csX0" y="csY0"/>
                </a:cxn>
                <a:cxn ang="0">
                  <a:pos x="csX1" y="csY1"/>
                </a:cxn>
                <a:cxn ang="0">
                  <a:pos x="csX2" y="csY2"/>
                </a:cxn>
                <a:cxn ang="0">
                  <a:pos x="csX3" y="csY3"/>
                </a:cxn>
                <a:cxn ang="0">
                  <a:pos x="csX4" y="csY4"/>
                </a:cxn>
              </a:cxnLst>
              <a:rect l="l" t="t" r="r" b="b"/>
              <a:pathLst>
                <a:path w="15800" h="14379">
                  <a:moveTo>
                    <a:pt x="6941" y="6733"/>
                  </a:moveTo>
                  <a:lnTo>
                    <a:pt x="-8860" y="6733"/>
                  </a:lnTo>
                  <a:lnTo>
                    <a:pt x="-8860" y="-7647"/>
                  </a:lnTo>
                  <a:lnTo>
                    <a:pt x="6941" y="-7647"/>
                  </a:lnTo>
                  <a:lnTo>
                    <a:pt x="6941" y="6733"/>
                  </a:lnTo>
                </a:path>
              </a:pathLst>
            </a:custGeom>
            <a:grpFill/>
            <a:ln w="548" cap="flat">
              <a:noFill/>
              <a:prstDash val="solid"/>
              <a:miter/>
            </a:ln>
          </p:spPr>
          <p:txBody>
            <a:bodyPr/>
            <a:lstStyle/>
            <a:p>
              <a:endParaRPr lang="en-US"/>
            </a:p>
          </p:txBody>
        </p:sp>
        <p:sp>
          <p:nvSpPr>
            <p:cNvPr id="188" name="Freeform: Shape 187">
              <a:extLst>
                <a:ext uri="{FF2B5EF4-FFF2-40B4-BE49-F238E27FC236}">
                  <a16:creationId xmlns:a16="http://schemas.microsoft.com/office/drawing/2014/main" id="{014B2024-DE78-ECC1-8E48-A5491A9B7357}"/>
                </a:ext>
              </a:extLst>
            </p:cNvPr>
            <p:cNvSpPr/>
            <p:nvPr/>
          </p:nvSpPr>
          <p:spPr>
            <a:xfrm flipV="1">
              <a:off x="24216602" y="3379567"/>
              <a:ext cx="15800" cy="14380"/>
            </a:xfrm>
            <a:custGeom>
              <a:avLst/>
              <a:gdLst>
                <a:gd name="csX0" fmla="*/ 6941 w 15800"/>
                <a:gd name="csY0" fmla="*/ 6693 h 14380"/>
                <a:gd name="csX1" fmla="*/ -8860 w 15800"/>
                <a:gd name="csY1" fmla="*/ 6693 h 14380"/>
                <a:gd name="csX2" fmla="*/ -8860 w 15800"/>
                <a:gd name="csY2" fmla="*/ -7687 h 14380"/>
                <a:gd name="csX3" fmla="*/ 6941 w 15800"/>
                <a:gd name="csY3" fmla="*/ -7687 h 14380"/>
                <a:gd name="csX4" fmla="*/ 6941 w 15800"/>
                <a:gd name="csY4" fmla="*/ 6693 h 14380"/>
              </a:gdLst>
              <a:ahLst/>
              <a:cxnLst>
                <a:cxn ang="0">
                  <a:pos x="csX0" y="csY0"/>
                </a:cxn>
                <a:cxn ang="0">
                  <a:pos x="csX1" y="csY1"/>
                </a:cxn>
                <a:cxn ang="0">
                  <a:pos x="csX2" y="csY2"/>
                </a:cxn>
                <a:cxn ang="0">
                  <a:pos x="csX3" y="csY3"/>
                </a:cxn>
                <a:cxn ang="0">
                  <a:pos x="csX4" y="csY4"/>
                </a:cxn>
              </a:cxnLst>
              <a:rect l="l" t="t" r="r" b="b"/>
              <a:pathLst>
                <a:path w="15800" h="14380">
                  <a:moveTo>
                    <a:pt x="6941" y="6693"/>
                  </a:moveTo>
                  <a:lnTo>
                    <a:pt x="-8860" y="6693"/>
                  </a:lnTo>
                  <a:lnTo>
                    <a:pt x="-8860" y="-7687"/>
                  </a:lnTo>
                  <a:lnTo>
                    <a:pt x="6941" y="-7687"/>
                  </a:lnTo>
                  <a:lnTo>
                    <a:pt x="6941" y="6693"/>
                  </a:lnTo>
                </a:path>
              </a:pathLst>
            </a:custGeom>
            <a:grpFill/>
            <a:ln w="548" cap="flat">
              <a:noFill/>
              <a:prstDash val="solid"/>
              <a:miter/>
            </a:ln>
          </p:spPr>
          <p:txBody>
            <a:bodyPr/>
            <a:lstStyle/>
            <a:p>
              <a:endParaRPr lang="en-US"/>
            </a:p>
          </p:txBody>
        </p:sp>
        <p:sp>
          <p:nvSpPr>
            <p:cNvPr id="189" name="Freeform: Shape 188">
              <a:extLst>
                <a:ext uri="{FF2B5EF4-FFF2-40B4-BE49-F238E27FC236}">
                  <a16:creationId xmlns:a16="http://schemas.microsoft.com/office/drawing/2014/main" id="{89D80FD3-B2DD-52A7-E564-29CBC53D2AA5}"/>
                </a:ext>
              </a:extLst>
            </p:cNvPr>
            <p:cNvSpPr/>
            <p:nvPr/>
          </p:nvSpPr>
          <p:spPr>
            <a:xfrm flipV="1">
              <a:off x="24216602" y="3362785"/>
              <a:ext cx="15800" cy="14379"/>
            </a:xfrm>
            <a:custGeom>
              <a:avLst/>
              <a:gdLst>
                <a:gd name="csX0" fmla="*/ 6941 w 15800"/>
                <a:gd name="csY0" fmla="*/ 6652 h 14379"/>
                <a:gd name="csX1" fmla="*/ -8860 w 15800"/>
                <a:gd name="csY1" fmla="*/ 6652 h 14379"/>
                <a:gd name="csX2" fmla="*/ -8860 w 15800"/>
                <a:gd name="csY2" fmla="*/ -7727 h 14379"/>
                <a:gd name="csX3" fmla="*/ 6941 w 15800"/>
                <a:gd name="csY3" fmla="*/ -7727 h 14379"/>
                <a:gd name="csX4" fmla="*/ 6941 w 15800"/>
                <a:gd name="csY4" fmla="*/ 6652 h 14379"/>
              </a:gdLst>
              <a:ahLst/>
              <a:cxnLst>
                <a:cxn ang="0">
                  <a:pos x="csX0" y="csY0"/>
                </a:cxn>
                <a:cxn ang="0">
                  <a:pos x="csX1" y="csY1"/>
                </a:cxn>
                <a:cxn ang="0">
                  <a:pos x="csX2" y="csY2"/>
                </a:cxn>
                <a:cxn ang="0">
                  <a:pos x="csX3" y="csY3"/>
                </a:cxn>
                <a:cxn ang="0">
                  <a:pos x="csX4" y="csY4"/>
                </a:cxn>
              </a:cxnLst>
              <a:rect l="l" t="t" r="r" b="b"/>
              <a:pathLst>
                <a:path w="15800" h="14379">
                  <a:moveTo>
                    <a:pt x="6941" y="6652"/>
                  </a:moveTo>
                  <a:lnTo>
                    <a:pt x="-8860" y="6652"/>
                  </a:lnTo>
                  <a:lnTo>
                    <a:pt x="-8860" y="-7727"/>
                  </a:lnTo>
                  <a:lnTo>
                    <a:pt x="6941" y="-7727"/>
                  </a:lnTo>
                  <a:lnTo>
                    <a:pt x="6941" y="6652"/>
                  </a:lnTo>
                </a:path>
              </a:pathLst>
            </a:custGeom>
            <a:grpFill/>
            <a:ln w="548" cap="flat">
              <a:noFill/>
              <a:prstDash val="solid"/>
              <a:miter/>
            </a:ln>
          </p:spPr>
          <p:txBody>
            <a:bodyPr/>
            <a:lstStyle/>
            <a:p>
              <a:endParaRPr lang="en-US"/>
            </a:p>
          </p:txBody>
        </p:sp>
        <p:sp>
          <p:nvSpPr>
            <p:cNvPr id="190" name="Freeform: Shape 189">
              <a:extLst>
                <a:ext uri="{FF2B5EF4-FFF2-40B4-BE49-F238E27FC236}">
                  <a16:creationId xmlns:a16="http://schemas.microsoft.com/office/drawing/2014/main" id="{414C209D-3E48-FF6D-AFD1-C2548A304F43}"/>
                </a:ext>
              </a:extLst>
            </p:cNvPr>
            <p:cNvSpPr/>
            <p:nvPr/>
          </p:nvSpPr>
          <p:spPr>
            <a:xfrm flipV="1">
              <a:off x="24216602" y="3413133"/>
              <a:ext cx="15800" cy="14379"/>
            </a:xfrm>
            <a:custGeom>
              <a:avLst/>
              <a:gdLst>
                <a:gd name="csX0" fmla="*/ 6941 w 15800"/>
                <a:gd name="csY0" fmla="*/ 6773 h 14379"/>
                <a:gd name="csX1" fmla="*/ -8860 w 15800"/>
                <a:gd name="csY1" fmla="*/ 6773 h 14379"/>
                <a:gd name="csX2" fmla="*/ -8860 w 15800"/>
                <a:gd name="csY2" fmla="*/ -7606 h 14379"/>
                <a:gd name="csX3" fmla="*/ 6941 w 15800"/>
                <a:gd name="csY3" fmla="*/ -7606 h 14379"/>
                <a:gd name="csX4" fmla="*/ 6941 w 15800"/>
                <a:gd name="csY4" fmla="*/ 6773 h 14379"/>
              </a:gdLst>
              <a:ahLst/>
              <a:cxnLst>
                <a:cxn ang="0">
                  <a:pos x="csX0" y="csY0"/>
                </a:cxn>
                <a:cxn ang="0">
                  <a:pos x="csX1" y="csY1"/>
                </a:cxn>
                <a:cxn ang="0">
                  <a:pos x="csX2" y="csY2"/>
                </a:cxn>
                <a:cxn ang="0">
                  <a:pos x="csX3" y="csY3"/>
                </a:cxn>
                <a:cxn ang="0">
                  <a:pos x="csX4" y="csY4"/>
                </a:cxn>
              </a:cxnLst>
              <a:rect l="l" t="t" r="r" b="b"/>
              <a:pathLst>
                <a:path w="15800" h="14379">
                  <a:moveTo>
                    <a:pt x="6941" y="6773"/>
                  </a:moveTo>
                  <a:lnTo>
                    <a:pt x="-8860" y="6773"/>
                  </a:lnTo>
                  <a:lnTo>
                    <a:pt x="-8860" y="-7606"/>
                  </a:lnTo>
                  <a:lnTo>
                    <a:pt x="6941" y="-7606"/>
                  </a:lnTo>
                  <a:lnTo>
                    <a:pt x="6941" y="6773"/>
                  </a:lnTo>
                </a:path>
              </a:pathLst>
            </a:custGeom>
            <a:grpFill/>
            <a:ln w="548" cap="flat">
              <a:noFill/>
              <a:prstDash val="solid"/>
              <a:miter/>
            </a:ln>
          </p:spPr>
          <p:txBody>
            <a:bodyPr/>
            <a:lstStyle/>
            <a:p>
              <a:endParaRPr lang="en-US"/>
            </a:p>
          </p:txBody>
        </p:sp>
        <p:sp>
          <p:nvSpPr>
            <p:cNvPr id="191" name="Freeform: Shape 190">
              <a:extLst>
                <a:ext uri="{FF2B5EF4-FFF2-40B4-BE49-F238E27FC236}">
                  <a16:creationId xmlns:a16="http://schemas.microsoft.com/office/drawing/2014/main" id="{85C42128-0389-036C-5718-1A689EEEEEA0}"/>
                </a:ext>
              </a:extLst>
            </p:cNvPr>
            <p:cNvSpPr/>
            <p:nvPr/>
          </p:nvSpPr>
          <p:spPr>
            <a:xfrm flipV="1">
              <a:off x="24216602" y="3446694"/>
              <a:ext cx="15800" cy="14379"/>
            </a:xfrm>
            <a:custGeom>
              <a:avLst/>
              <a:gdLst>
                <a:gd name="csX0" fmla="*/ 6941 w 15800"/>
                <a:gd name="csY0" fmla="*/ 6854 h 14379"/>
                <a:gd name="csX1" fmla="*/ -8860 w 15800"/>
                <a:gd name="csY1" fmla="*/ 6854 h 14379"/>
                <a:gd name="csX2" fmla="*/ -8860 w 15800"/>
                <a:gd name="csY2" fmla="*/ -7526 h 14379"/>
                <a:gd name="csX3" fmla="*/ 6941 w 15800"/>
                <a:gd name="csY3" fmla="*/ -7526 h 14379"/>
                <a:gd name="csX4" fmla="*/ 6941 w 15800"/>
                <a:gd name="csY4" fmla="*/ 6854 h 14379"/>
              </a:gdLst>
              <a:ahLst/>
              <a:cxnLst>
                <a:cxn ang="0">
                  <a:pos x="csX0" y="csY0"/>
                </a:cxn>
                <a:cxn ang="0">
                  <a:pos x="csX1" y="csY1"/>
                </a:cxn>
                <a:cxn ang="0">
                  <a:pos x="csX2" y="csY2"/>
                </a:cxn>
                <a:cxn ang="0">
                  <a:pos x="csX3" y="csY3"/>
                </a:cxn>
                <a:cxn ang="0">
                  <a:pos x="csX4" y="csY4"/>
                </a:cxn>
              </a:cxnLst>
              <a:rect l="l" t="t" r="r" b="b"/>
              <a:pathLst>
                <a:path w="15800" h="14379">
                  <a:moveTo>
                    <a:pt x="6941" y="6854"/>
                  </a:moveTo>
                  <a:lnTo>
                    <a:pt x="-8860" y="6854"/>
                  </a:lnTo>
                  <a:lnTo>
                    <a:pt x="-8860" y="-7526"/>
                  </a:lnTo>
                  <a:lnTo>
                    <a:pt x="6941" y="-7526"/>
                  </a:lnTo>
                  <a:lnTo>
                    <a:pt x="6941" y="6854"/>
                  </a:lnTo>
                </a:path>
              </a:pathLst>
            </a:custGeom>
            <a:grpFill/>
            <a:ln w="548" cap="flat">
              <a:noFill/>
              <a:prstDash val="solid"/>
              <a:miter/>
            </a:ln>
          </p:spPr>
          <p:txBody>
            <a:bodyPr/>
            <a:lstStyle/>
            <a:p>
              <a:endParaRPr lang="en-US"/>
            </a:p>
          </p:txBody>
        </p:sp>
        <p:sp>
          <p:nvSpPr>
            <p:cNvPr id="192" name="Freeform: Shape 191">
              <a:extLst>
                <a:ext uri="{FF2B5EF4-FFF2-40B4-BE49-F238E27FC236}">
                  <a16:creationId xmlns:a16="http://schemas.microsoft.com/office/drawing/2014/main" id="{A275AB4B-F73E-E00B-125C-EE4EB02032D1}"/>
                </a:ext>
              </a:extLst>
            </p:cNvPr>
            <p:cNvSpPr/>
            <p:nvPr/>
          </p:nvSpPr>
          <p:spPr>
            <a:xfrm flipV="1">
              <a:off x="24216602" y="3480259"/>
              <a:ext cx="15800" cy="14313"/>
            </a:xfrm>
            <a:custGeom>
              <a:avLst/>
              <a:gdLst>
                <a:gd name="csX0" fmla="*/ 6941 w 15800"/>
                <a:gd name="csY0" fmla="*/ 6869 h 14313"/>
                <a:gd name="csX1" fmla="*/ -8860 w 15800"/>
                <a:gd name="csY1" fmla="*/ 6869 h 14313"/>
                <a:gd name="csX2" fmla="*/ -8860 w 15800"/>
                <a:gd name="csY2" fmla="*/ -7445 h 14313"/>
                <a:gd name="csX3" fmla="*/ 6941 w 15800"/>
                <a:gd name="csY3" fmla="*/ -7445 h 14313"/>
                <a:gd name="csX4" fmla="*/ 6941 w 15800"/>
                <a:gd name="csY4" fmla="*/ 6869 h 14313"/>
              </a:gdLst>
              <a:ahLst/>
              <a:cxnLst>
                <a:cxn ang="0">
                  <a:pos x="csX0" y="csY0"/>
                </a:cxn>
                <a:cxn ang="0">
                  <a:pos x="csX1" y="csY1"/>
                </a:cxn>
                <a:cxn ang="0">
                  <a:pos x="csX2" y="csY2"/>
                </a:cxn>
                <a:cxn ang="0">
                  <a:pos x="csX3" y="csY3"/>
                </a:cxn>
                <a:cxn ang="0">
                  <a:pos x="csX4" y="csY4"/>
                </a:cxn>
              </a:cxnLst>
              <a:rect l="l" t="t" r="r" b="b"/>
              <a:pathLst>
                <a:path w="15800" h="14313">
                  <a:moveTo>
                    <a:pt x="6941" y="6869"/>
                  </a:moveTo>
                  <a:lnTo>
                    <a:pt x="-8860" y="6869"/>
                  </a:lnTo>
                  <a:lnTo>
                    <a:pt x="-8860" y="-7445"/>
                  </a:lnTo>
                  <a:lnTo>
                    <a:pt x="6941" y="-7445"/>
                  </a:lnTo>
                  <a:lnTo>
                    <a:pt x="6941" y="6869"/>
                  </a:lnTo>
                </a:path>
              </a:pathLst>
            </a:custGeom>
            <a:grpFill/>
            <a:ln w="548" cap="flat">
              <a:noFill/>
              <a:prstDash val="solid"/>
              <a:miter/>
            </a:ln>
          </p:spPr>
          <p:txBody>
            <a:bodyPr/>
            <a:lstStyle/>
            <a:p>
              <a:endParaRPr lang="en-US"/>
            </a:p>
          </p:txBody>
        </p:sp>
        <p:sp>
          <p:nvSpPr>
            <p:cNvPr id="193" name="Freeform: Shape 192">
              <a:extLst>
                <a:ext uri="{FF2B5EF4-FFF2-40B4-BE49-F238E27FC236}">
                  <a16:creationId xmlns:a16="http://schemas.microsoft.com/office/drawing/2014/main" id="{F7CFE360-5543-D531-4D65-B45EA8CE06E8}"/>
                </a:ext>
              </a:extLst>
            </p:cNvPr>
            <p:cNvSpPr/>
            <p:nvPr/>
          </p:nvSpPr>
          <p:spPr>
            <a:xfrm flipV="1">
              <a:off x="24216602" y="3348125"/>
              <a:ext cx="15800" cy="12256"/>
            </a:xfrm>
            <a:custGeom>
              <a:avLst/>
              <a:gdLst>
                <a:gd name="csX0" fmla="*/ 6941 w 15800"/>
                <a:gd name="csY0" fmla="*/ 4491 h 12256"/>
                <a:gd name="csX1" fmla="*/ -8860 w 15800"/>
                <a:gd name="csY1" fmla="*/ 4491 h 12256"/>
                <a:gd name="csX2" fmla="*/ -8860 w 15800"/>
                <a:gd name="csY2" fmla="*/ -7765 h 12256"/>
                <a:gd name="csX3" fmla="*/ 6941 w 15800"/>
                <a:gd name="csY3" fmla="*/ -7765 h 12256"/>
                <a:gd name="csX4" fmla="*/ 6941 w 15800"/>
                <a:gd name="csY4" fmla="*/ 4491 h 12256"/>
              </a:gdLst>
              <a:ahLst/>
              <a:cxnLst>
                <a:cxn ang="0">
                  <a:pos x="csX0" y="csY0"/>
                </a:cxn>
                <a:cxn ang="0">
                  <a:pos x="csX1" y="csY1"/>
                </a:cxn>
                <a:cxn ang="0">
                  <a:pos x="csX2" y="csY2"/>
                </a:cxn>
                <a:cxn ang="0">
                  <a:pos x="csX3" y="csY3"/>
                </a:cxn>
                <a:cxn ang="0">
                  <a:pos x="csX4" y="csY4"/>
                </a:cxn>
              </a:cxnLst>
              <a:rect l="l" t="t" r="r" b="b"/>
              <a:pathLst>
                <a:path w="15800" h="12256">
                  <a:moveTo>
                    <a:pt x="6941" y="4491"/>
                  </a:moveTo>
                  <a:lnTo>
                    <a:pt x="-8860" y="4491"/>
                  </a:lnTo>
                  <a:lnTo>
                    <a:pt x="-8860" y="-7765"/>
                  </a:lnTo>
                  <a:lnTo>
                    <a:pt x="6941" y="-7765"/>
                  </a:lnTo>
                  <a:lnTo>
                    <a:pt x="6941" y="4491"/>
                  </a:lnTo>
                </a:path>
              </a:pathLst>
            </a:custGeom>
            <a:grpFill/>
            <a:ln w="548" cap="flat">
              <a:noFill/>
              <a:prstDash val="solid"/>
              <a:miter/>
            </a:ln>
          </p:spPr>
          <p:txBody>
            <a:bodyPr/>
            <a:lstStyle/>
            <a:p>
              <a:endParaRPr lang="en-US"/>
            </a:p>
          </p:txBody>
        </p:sp>
        <p:sp>
          <p:nvSpPr>
            <p:cNvPr id="194" name="Freeform: Shape 193">
              <a:extLst>
                <a:ext uri="{FF2B5EF4-FFF2-40B4-BE49-F238E27FC236}">
                  <a16:creationId xmlns:a16="http://schemas.microsoft.com/office/drawing/2014/main" id="{B773B6FC-ECA9-0127-A0A8-14509498487B}"/>
                </a:ext>
              </a:extLst>
            </p:cNvPr>
            <p:cNvSpPr/>
            <p:nvPr/>
          </p:nvSpPr>
          <p:spPr>
            <a:xfrm flipV="1">
              <a:off x="24216602" y="3429916"/>
              <a:ext cx="15800" cy="14379"/>
            </a:xfrm>
            <a:custGeom>
              <a:avLst/>
              <a:gdLst>
                <a:gd name="csX0" fmla="*/ 6941 w 15800"/>
                <a:gd name="csY0" fmla="*/ 6814 h 14379"/>
                <a:gd name="csX1" fmla="*/ -8860 w 15800"/>
                <a:gd name="csY1" fmla="*/ 6814 h 14379"/>
                <a:gd name="csX2" fmla="*/ -8860 w 15800"/>
                <a:gd name="csY2" fmla="*/ -7566 h 14379"/>
                <a:gd name="csX3" fmla="*/ 6941 w 15800"/>
                <a:gd name="csY3" fmla="*/ -7566 h 14379"/>
                <a:gd name="csX4" fmla="*/ 6941 w 15800"/>
                <a:gd name="csY4" fmla="*/ 6814 h 14379"/>
              </a:gdLst>
              <a:ahLst/>
              <a:cxnLst>
                <a:cxn ang="0">
                  <a:pos x="csX0" y="csY0"/>
                </a:cxn>
                <a:cxn ang="0">
                  <a:pos x="csX1" y="csY1"/>
                </a:cxn>
                <a:cxn ang="0">
                  <a:pos x="csX2" y="csY2"/>
                </a:cxn>
                <a:cxn ang="0">
                  <a:pos x="csX3" y="csY3"/>
                </a:cxn>
                <a:cxn ang="0">
                  <a:pos x="csX4" y="csY4"/>
                </a:cxn>
              </a:cxnLst>
              <a:rect l="l" t="t" r="r" b="b"/>
              <a:pathLst>
                <a:path w="15800" h="14379">
                  <a:moveTo>
                    <a:pt x="6941" y="6814"/>
                  </a:moveTo>
                  <a:lnTo>
                    <a:pt x="-8860" y="6814"/>
                  </a:lnTo>
                  <a:lnTo>
                    <a:pt x="-8860" y="-7566"/>
                  </a:lnTo>
                  <a:lnTo>
                    <a:pt x="6941" y="-7566"/>
                  </a:lnTo>
                  <a:lnTo>
                    <a:pt x="6941" y="6814"/>
                  </a:lnTo>
                </a:path>
              </a:pathLst>
            </a:custGeom>
            <a:grpFill/>
            <a:ln w="548" cap="flat">
              <a:noFill/>
              <a:prstDash val="solid"/>
              <a:miter/>
            </a:ln>
          </p:spPr>
          <p:txBody>
            <a:bodyPr/>
            <a:lstStyle/>
            <a:p>
              <a:endParaRPr lang="en-US"/>
            </a:p>
          </p:txBody>
        </p:sp>
        <p:sp>
          <p:nvSpPr>
            <p:cNvPr id="195" name="Freeform: Shape 194">
              <a:extLst>
                <a:ext uri="{FF2B5EF4-FFF2-40B4-BE49-F238E27FC236}">
                  <a16:creationId xmlns:a16="http://schemas.microsoft.com/office/drawing/2014/main" id="{2499AA44-E7E7-B0AE-6A0D-C6305ABEAFAE}"/>
                </a:ext>
              </a:extLst>
            </p:cNvPr>
            <p:cNvSpPr/>
            <p:nvPr/>
          </p:nvSpPr>
          <p:spPr>
            <a:xfrm flipV="1">
              <a:off x="24216602" y="3463477"/>
              <a:ext cx="15800" cy="14379"/>
            </a:xfrm>
            <a:custGeom>
              <a:avLst/>
              <a:gdLst>
                <a:gd name="csX0" fmla="*/ 6941 w 15800"/>
                <a:gd name="csY0" fmla="*/ 6895 h 14379"/>
                <a:gd name="csX1" fmla="*/ -8860 w 15800"/>
                <a:gd name="csY1" fmla="*/ 6895 h 14379"/>
                <a:gd name="csX2" fmla="*/ -8860 w 15800"/>
                <a:gd name="csY2" fmla="*/ -7485 h 14379"/>
                <a:gd name="csX3" fmla="*/ 6941 w 15800"/>
                <a:gd name="csY3" fmla="*/ -7485 h 14379"/>
                <a:gd name="csX4" fmla="*/ 6941 w 15800"/>
                <a:gd name="csY4" fmla="*/ 6895 h 14379"/>
              </a:gdLst>
              <a:ahLst/>
              <a:cxnLst>
                <a:cxn ang="0">
                  <a:pos x="csX0" y="csY0"/>
                </a:cxn>
                <a:cxn ang="0">
                  <a:pos x="csX1" y="csY1"/>
                </a:cxn>
                <a:cxn ang="0">
                  <a:pos x="csX2" y="csY2"/>
                </a:cxn>
                <a:cxn ang="0">
                  <a:pos x="csX3" y="csY3"/>
                </a:cxn>
                <a:cxn ang="0">
                  <a:pos x="csX4" y="csY4"/>
                </a:cxn>
              </a:cxnLst>
              <a:rect l="l" t="t" r="r" b="b"/>
              <a:pathLst>
                <a:path w="15800" h="14379">
                  <a:moveTo>
                    <a:pt x="6941" y="6895"/>
                  </a:moveTo>
                  <a:lnTo>
                    <a:pt x="-8860" y="6895"/>
                  </a:lnTo>
                  <a:lnTo>
                    <a:pt x="-8860" y="-7485"/>
                  </a:lnTo>
                  <a:lnTo>
                    <a:pt x="6941" y="-7485"/>
                  </a:lnTo>
                  <a:lnTo>
                    <a:pt x="6941" y="6895"/>
                  </a:lnTo>
                </a:path>
              </a:pathLst>
            </a:custGeom>
            <a:grpFill/>
            <a:ln w="548" cap="flat">
              <a:noFill/>
              <a:prstDash val="solid"/>
              <a:miter/>
            </a:ln>
          </p:spPr>
          <p:txBody>
            <a:bodyPr/>
            <a:lstStyle/>
            <a:p>
              <a:endParaRPr lang="en-US"/>
            </a:p>
          </p:txBody>
        </p:sp>
        <p:sp>
          <p:nvSpPr>
            <p:cNvPr id="196" name="Freeform: Shape 195">
              <a:extLst>
                <a:ext uri="{FF2B5EF4-FFF2-40B4-BE49-F238E27FC236}">
                  <a16:creationId xmlns:a16="http://schemas.microsoft.com/office/drawing/2014/main" id="{483FB0DF-7B53-5086-B293-EA240C111AF6}"/>
                </a:ext>
              </a:extLst>
            </p:cNvPr>
            <p:cNvSpPr/>
            <p:nvPr/>
          </p:nvSpPr>
          <p:spPr>
            <a:xfrm flipV="1">
              <a:off x="24266967" y="3112139"/>
              <a:ext cx="15855" cy="12256"/>
            </a:xfrm>
            <a:custGeom>
              <a:avLst/>
              <a:gdLst>
                <a:gd name="csX0" fmla="*/ 6933 w 15855"/>
                <a:gd name="csY0" fmla="*/ 3923 h 12256"/>
                <a:gd name="csX1" fmla="*/ -8923 w 15855"/>
                <a:gd name="csY1" fmla="*/ 3923 h 12256"/>
                <a:gd name="csX2" fmla="*/ -8923 w 15855"/>
                <a:gd name="csY2" fmla="*/ -8333 h 12256"/>
                <a:gd name="csX3" fmla="*/ 6933 w 15855"/>
                <a:gd name="csY3" fmla="*/ -8333 h 12256"/>
                <a:gd name="csX4" fmla="*/ 6933 w 15855"/>
                <a:gd name="csY4" fmla="*/ 3923 h 12256"/>
              </a:gdLst>
              <a:ahLst/>
              <a:cxnLst>
                <a:cxn ang="0">
                  <a:pos x="csX0" y="csY0"/>
                </a:cxn>
                <a:cxn ang="0">
                  <a:pos x="csX1" y="csY1"/>
                </a:cxn>
                <a:cxn ang="0">
                  <a:pos x="csX2" y="csY2"/>
                </a:cxn>
                <a:cxn ang="0">
                  <a:pos x="csX3" y="csY3"/>
                </a:cxn>
                <a:cxn ang="0">
                  <a:pos x="csX4" y="csY4"/>
                </a:cxn>
              </a:cxnLst>
              <a:rect l="l" t="t" r="r" b="b"/>
              <a:pathLst>
                <a:path w="15855" h="12256">
                  <a:moveTo>
                    <a:pt x="6933" y="3923"/>
                  </a:moveTo>
                  <a:lnTo>
                    <a:pt x="-8923" y="3923"/>
                  </a:lnTo>
                  <a:lnTo>
                    <a:pt x="-8923" y="-8333"/>
                  </a:lnTo>
                  <a:lnTo>
                    <a:pt x="6933" y="-8333"/>
                  </a:lnTo>
                  <a:lnTo>
                    <a:pt x="6933" y="3923"/>
                  </a:lnTo>
                </a:path>
              </a:pathLst>
            </a:custGeom>
            <a:grpFill/>
            <a:ln w="548" cap="flat">
              <a:noFill/>
              <a:prstDash val="solid"/>
              <a:miter/>
            </a:ln>
          </p:spPr>
          <p:txBody>
            <a:bodyPr/>
            <a:lstStyle/>
            <a:p>
              <a:endParaRPr lang="en-US"/>
            </a:p>
          </p:txBody>
        </p:sp>
        <p:sp>
          <p:nvSpPr>
            <p:cNvPr id="197" name="Freeform: Shape 196">
              <a:extLst>
                <a:ext uri="{FF2B5EF4-FFF2-40B4-BE49-F238E27FC236}">
                  <a16:creationId xmlns:a16="http://schemas.microsoft.com/office/drawing/2014/main" id="{C01DFE3B-0DA1-2162-A22A-BC6174A7A494}"/>
                </a:ext>
              </a:extLst>
            </p:cNvPr>
            <p:cNvSpPr/>
            <p:nvPr/>
          </p:nvSpPr>
          <p:spPr>
            <a:xfrm flipV="1">
              <a:off x="24266967" y="3126798"/>
              <a:ext cx="15855" cy="12262"/>
            </a:xfrm>
            <a:custGeom>
              <a:avLst/>
              <a:gdLst>
                <a:gd name="csX0" fmla="*/ 6933 w 15855"/>
                <a:gd name="csY0" fmla="*/ 3965 h 12262"/>
                <a:gd name="csX1" fmla="*/ -8923 w 15855"/>
                <a:gd name="csY1" fmla="*/ 3965 h 12262"/>
                <a:gd name="csX2" fmla="*/ -8923 w 15855"/>
                <a:gd name="csY2" fmla="*/ -8298 h 12262"/>
                <a:gd name="csX3" fmla="*/ 6933 w 15855"/>
                <a:gd name="csY3" fmla="*/ -8298 h 12262"/>
                <a:gd name="csX4" fmla="*/ 6933 w 15855"/>
                <a:gd name="csY4" fmla="*/ 3965 h 12262"/>
              </a:gdLst>
              <a:ahLst/>
              <a:cxnLst>
                <a:cxn ang="0">
                  <a:pos x="csX0" y="csY0"/>
                </a:cxn>
                <a:cxn ang="0">
                  <a:pos x="csX1" y="csY1"/>
                </a:cxn>
                <a:cxn ang="0">
                  <a:pos x="csX2" y="csY2"/>
                </a:cxn>
                <a:cxn ang="0">
                  <a:pos x="csX3" y="csY3"/>
                </a:cxn>
                <a:cxn ang="0">
                  <a:pos x="csX4" y="csY4"/>
                </a:cxn>
              </a:cxnLst>
              <a:rect l="l" t="t" r="r" b="b"/>
              <a:pathLst>
                <a:path w="15855" h="12262">
                  <a:moveTo>
                    <a:pt x="6933" y="3965"/>
                  </a:moveTo>
                  <a:lnTo>
                    <a:pt x="-8923" y="3965"/>
                  </a:lnTo>
                  <a:lnTo>
                    <a:pt x="-8923" y="-8298"/>
                  </a:lnTo>
                  <a:lnTo>
                    <a:pt x="6933" y="-8298"/>
                  </a:lnTo>
                  <a:lnTo>
                    <a:pt x="6933" y="3965"/>
                  </a:lnTo>
                </a:path>
              </a:pathLst>
            </a:custGeom>
            <a:grpFill/>
            <a:ln w="548" cap="flat">
              <a:noFill/>
              <a:prstDash val="solid"/>
              <a:miter/>
            </a:ln>
          </p:spPr>
          <p:txBody>
            <a:bodyPr/>
            <a:lstStyle/>
            <a:p>
              <a:endParaRPr lang="en-US"/>
            </a:p>
          </p:txBody>
        </p:sp>
        <p:sp>
          <p:nvSpPr>
            <p:cNvPr id="198" name="Freeform: Shape 197">
              <a:extLst>
                <a:ext uri="{FF2B5EF4-FFF2-40B4-BE49-F238E27FC236}">
                  <a16:creationId xmlns:a16="http://schemas.microsoft.com/office/drawing/2014/main" id="{1396CDE0-645F-1B39-4F8D-131CE6BC5CEE}"/>
                </a:ext>
              </a:extLst>
            </p:cNvPr>
            <p:cNvSpPr/>
            <p:nvPr/>
          </p:nvSpPr>
          <p:spPr>
            <a:xfrm flipV="1">
              <a:off x="24266967" y="3220928"/>
              <a:ext cx="15855" cy="14374"/>
            </a:xfrm>
            <a:custGeom>
              <a:avLst/>
              <a:gdLst>
                <a:gd name="csX0" fmla="*/ 6933 w 15855"/>
                <a:gd name="csY0" fmla="*/ 6306 h 14374"/>
                <a:gd name="csX1" fmla="*/ -8923 w 15855"/>
                <a:gd name="csY1" fmla="*/ 6306 h 14374"/>
                <a:gd name="csX2" fmla="*/ -8923 w 15855"/>
                <a:gd name="csY2" fmla="*/ -8069 h 14374"/>
                <a:gd name="csX3" fmla="*/ 6933 w 15855"/>
                <a:gd name="csY3" fmla="*/ -8069 h 14374"/>
                <a:gd name="csX4" fmla="*/ 6933 w 15855"/>
                <a:gd name="csY4" fmla="*/ 6306 h 14374"/>
              </a:gdLst>
              <a:ahLst/>
              <a:cxnLst>
                <a:cxn ang="0">
                  <a:pos x="csX0" y="csY0"/>
                </a:cxn>
                <a:cxn ang="0">
                  <a:pos x="csX1" y="csY1"/>
                </a:cxn>
                <a:cxn ang="0">
                  <a:pos x="csX2" y="csY2"/>
                </a:cxn>
                <a:cxn ang="0">
                  <a:pos x="csX3" y="csY3"/>
                </a:cxn>
                <a:cxn ang="0">
                  <a:pos x="csX4" y="csY4"/>
                </a:cxn>
              </a:cxnLst>
              <a:rect l="l" t="t" r="r" b="b"/>
              <a:pathLst>
                <a:path w="15855" h="14374">
                  <a:moveTo>
                    <a:pt x="6933" y="6306"/>
                  </a:moveTo>
                  <a:lnTo>
                    <a:pt x="-8923" y="6306"/>
                  </a:lnTo>
                  <a:lnTo>
                    <a:pt x="-8923" y="-8069"/>
                  </a:lnTo>
                  <a:lnTo>
                    <a:pt x="6933" y="-8069"/>
                  </a:lnTo>
                  <a:lnTo>
                    <a:pt x="6933" y="6306"/>
                  </a:lnTo>
                </a:path>
              </a:pathLst>
            </a:custGeom>
            <a:grpFill/>
            <a:ln w="548" cap="flat">
              <a:noFill/>
              <a:prstDash val="solid"/>
              <a:miter/>
            </a:ln>
          </p:spPr>
          <p:txBody>
            <a:bodyPr/>
            <a:lstStyle/>
            <a:p>
              <a:endParaRPr lang="en-US"/>
            </a:p>
          </p:txBody>
        </p:sp>
        <p:sp>
          <p:nvSpPr>
            <p:cNvPr id="199" name="Freeform: Shape 198">
              <a:extLst>
                <a:ext uri="{FF2B5EF4-FFF2-40B4-BE49-F238E27FC236}">
                  <a16:creationId xmlns:a16="http://schemas.microsoft.com/office/drawing/2014/main" id="{9278C50D-600F-14BA-D871-A938655D1E44}"/>
                </a:ext>
              </a:extLst>
            </p:cNvPr>
            <p:cNvSpPr/>
            <p:nvPr/>
          </p:nvSpPr>
          <p:spPr>
            <a:xfrm flipV="1">
              <a:off x="24266967" y="3254489"/>
              <a:ext cx="15855" cy="14379"/>
            </a:xfrm>
            <a:custGeom>
              <a:avLst/>
              <a:gdLst>
                <a:gd name="csX0" fmla="*/ 6933 w 15855"/>
                <a:gd name="csY0" fmla="*/ 6392 h 14379"/>
                <a:gd name="csX1" fmla="*/ -8923 w 15855"/>
                <a:gd name="csY1" fmla="*/ 6392 h 14379"/>
                <a:gd name="csX2" fmla="*/ -8923 w 15855"/>
                <a:gd name="csY2" fmla="*/ -7988 h 14379"/>
                <a:gd name="csX3" fmla="*/ 6933 w 15855"/>
                <a:gd name="csY3" fmla="*/ -7988 h 14379"/>
                <a:gd name="csX4" fmla="*/ 6933 w 15855"/>
                <a:gd name="csY4" fmla="*/ 6392 h 14379"/>
              </a:gdLst>
              <a:ahLst/>
              <a:cxnLst>
                <a:cxn ang="0">
                  <a:pos x="csX0" y="csY0"/>
                </a:cxn>
                <a:cxn ang="0">
                  <a:pos x="csX1" y="csY1"/>
                </a:cxn>
                <a:cxn ang="0">
                  <a:pos x="csX2" y="csY2"/>
                </a:cxn>
                <a:cxn ang="0">
                  <a:pos x="csX3" y="csY3"/>
                </a:cxn>
                <a:cxn ang="0">
                  <a:pos x="csX4" y="csY4"/>
                </a:cxn>
              </a:cxnLst>
              <a:rect l="l" t="t" r="r" b="b"/>
              <a:pathLst>
                <a:path w="15855" h="14379">
                  <a:moveTo>
                    <a:pt x="6933" y="6392"/>
                  </a:moveTo>
                  <a:lnTo>
                    <a:pt x="-8923" y="6392"/>
                  </a:lnTo>
                  <a:lnTo>
                    <a:pt x="-8923" y="-7988"/>
                  </a:lnTo>
                  <a:lnTo>
                    <a:pt x="6933" y="-7988"/>
                  </a:lnTo>
                  <a:lnTo>
                    <a:pt x="6933" y="6392"/>
                  </a:lnTo>
                </a:path>
              </a:pathLst>
            </a:custGeom>
            <a:grpFill/>
            <a:ln w="548" cap="flat">
              <a:noFill/>
              <a:prstDash val="solid"/>
              <a:miter/>
            </a:ln>
          </p:spPr>
          <p:txBody>
            <a:bodyPr/>
            <a:lstStyle/>
            <a:p>
              <a:endParaRPr lang="en-US"/>
            </a:p>
          </p:txBody>
        </p:sp>
        <p:sp>
          <p:nvSpPr>
            <p:cNvPr id="200" name="Freeform: Shape 199">
              <a:extLst>
                <a:ext uri="{FF2B5EF4-FFF2-40B4-BE49-F238E27FC236}">
                  <a16:creationId xmlns:a16="http://schemas.microsoft.com/office/drawing/2014/main" id="{F348BB2A-52D5-9E54-7B68-C27C948E8F31}"/>
                </a:ext>
              </a:extLst>
            </p:cNvPr>
            <p:cNvSpPr/>
            <p:nvPr/>
          </p:nvSpPr>
          <p:spPr>
            <a:xfrm flipV="1">
              <a:off x="24266967" y="3237706"/>
              <a:ext cx="15855" cy="14379"/>
            </a:xfrm>
            <a:custGeom>
              <a:avLst/>
              <a:gdLst>
                <a:gd name="csX0" fmla="*/ 6933 w 15855"/>
                <a:gd name="csY0" fmla="*/ 6351 h 14379"/>
                <a:gd name="csX1" fmla="*/ -8923 w 15855"/>
                <a:gd name="csY1" fmla="*/ 6351 h 14379"/>
                <a:gd name="csX2" fmla="*/ -8923 w 15855"/>
                <a:gd name="csY2" fmla="*/ -8028 h 14379"/>
                <a:gd name="csX3" fmla="*/ 6933 w 15855"/>
                <a:gd name="csY3" fmla="*/ -8028 h 14379"/>
                <a:gd name="csX4" fmla="*/ 6933 w 15855"/>
                <a:gd name="csY4" fmla="*/ 6351 h 14379"/>
              </a:gdLst>
              <a:ahLst/>
              <a:cxnLst>
                <a:cxn ang="0">
                  <a:pos x="csX0" y="csY0"/>
                </a:cxn>
                <a:cxn ang="0">
                  <a:pos x="csX1" y="csY1"/>
                </a:cxn>
                <a:cxn ang="0">
                  <a:pos x="csX2" y="csY2"/>
                </a:cxn>
                <a:cxn ang="0">
                  <a:pos x="csX3" y="csY3"/>
                </a:cxn>
                <a:cxn ang="0">
                  <a:pos x="csX4" y="csY4"/>
                </a:cxn>
              </a:cxnLst>
              <a:rect l="l" t="t" r="r" b="b"/>
              <a:pathLst>
                <a:path w="15855" h="14379">
                  <a:moveTo>
                    <a:pt x="6933" y="6351"/>
                  </a:moveTo>
                  <a:lnTo>
                    <a:pt x="-8923" y="6351"/>
                  </a:lnTo>
                  <a:lnTo>
                    <a:pt x="-8923" y="-8028"/>
                  </a:lnTo>
                  <a:lnTo>
                    <a:pt x="6933" y="-8028"/>
                  </a:lnTo>
                  <a:lnTo>
                    <a:pt x="6933" y="6351"/>
                  </a:lnTo>
                </a:path>
              </a:pathLst>
            </a:custGeom>
            <a:grpFill/>
            <a:ln w="548" cap="flat">
              <a:noFill/>
              <a:prstDash val="solid"/>
              <a:miter/>
            </a:ln>
          </p:spPr>
          <p:txBody>
            <a:bodyPr/>
            <a:lstStyle/>
            <a:p>
              <a:endParaRPr lang="en-US"/>
            </a:p>
          </p:txBody>
        </p:sp>
        <p:sp>
          <p:nvSpPr>
            <p:cNvPr id="201" name="Freeform: Shape 200">
              <a:extLst>
                <a:ext uri="{FF2B5EF4-FFF2-40B4-BE49-F238E27FC236}">
                  <a16:creationId xmlns:a16="http://schemas.microsoft.com/office/drawing/2014/main" id="{9E536EC2-A687-CF9C-0016-70E576244D23}"/>
                </a:ext>
              </a:extLst>
            </p:cNvPr>
            <p:cNvSpPr/>
            <p:nvPr/>
          </p:nvSpPr>
          <p:spPr>
            <a:xfrm flipV="1">
              <a:off x="24266967" y="3204146"/>
              <a:ext cx="15855" cy="14374"/>
            </a:xfrm>
            <a:custGeom>
              <a:avLst/>
              <a:gdLst>
                <a:gd name="csX0" fmla="*/ 6933 w 15855"/>
                <a:gd name="csY0" fmla="*/ 6265 h 14374"/>
                <a:gd name="csX1" fmla="*/ -8923 w 15855"/>
                <a:gd name="csY1" fmla="*/ 6265 h 14374"/>
                <a:gd name="csX2" fmla="*/ -8923 w 15855"/>
                <a:gd name="csY2" fmla="*/ -8109 h 14374"/>
                <a:gd name="csX3" fmla="*/ 6933 w 15855"/>
                <a:gd name="csY3" fmla="*/ -8109 h 14374"/>
                <a:gd name="csX4" fmla="*/ 6933 w 15855"/>
                <a:gd name="csY4" fmla="*/ 6265 h 14374"/>
              </a:gdLst>
              <a:ahLst/>
              <a:cxnLst>
                <a:cxn ang="0">
                  <a:pos x="csX0" y="csY0"/>
                </a:cxn>
                <a:cxn ang="0">
                  <a:pos x="csX1" y="csY1"/>
                </a:cxn>
                <a:cxn ang="0">
                  <a:pos x="csX2" y="csY2"/>
                </a:cxn>
                <a:cxn ang="0">
                  <a:pos x="csX3" y="csY3"/>
                </a:cxn>
                <a:cxn ang="0">
                  <a:pos x="csX4" y="csY4"/>
                </a:cxn>
              </a:cxnLst>
              <a:rect l="l" t="t" r="r" b="b"/>
              <a:pathLst>
                <a:path w="15855" h="14374">
                  <a:moveTo>
                    <a:pt x="6933" y="6265"/>
                  </a:moveTo>
                  <a:lnTo>
                    <a:pt x="-8923" y="6265"/>
                  </a:lnTo>
                  <a:lnTo>
                    <a:pt x="-8923" y="-8109"/>
                  </a:lnTo>
                  <a:lnTo>
                    <a:pt x="6933" y="-8109"/>
                  </a:lnTo>
                  <a:lnTo>
                    <a:pt x="6933" y="6265"/>
                  </a:lnTo>
                </a:path>
              </a:pathLst>
            </a:custGeom>
            <a:grpFill/>
            <a:ln w="548" cap="flat">
              <a:noFill/>
              <a:prstDash val="solid"/>
              <a:miter/>
            </a:ln>
          </p:spPr>
          <p:txBody>
            <a:bodyPr/>
            <a:lstStyle/>
            <a:p>
              <a:endParaRPr lang="en-US"/>
            </a:p>
          </p:txBody>
        </p:sp>
        <p:sp>
          <p:nvSpPr>
            <p:cNvPr id="202" name="Freeform: Shape 201">
              <a:extLst>
                <a:ext uri="{FF2B5EF4-FFF2-40B4-BE49-F238E27FC236}">
                  <a16:creationId xmlns:a16="http://schemas.microsoft.com/office/drawing/2014/main" id="{8F4F7DCD-17A7-7ADB-E868-14C5A1F22AF0}"/>
                </a:ext>
              </a:extLst>
            </p:cNvPr>
            <p:cNvSpPr/>
            <p:nvPr/>
          </p:nvSpPr>
          <p:spPr>
            <a:xfrm flipV="1">
              <a:off x="24266967" y="3187363"/>
              <a:ext cx="15855" cy="14379"/>
            </a:xfrm>
            <a:custGeom>
              <a:avLst/>
              <a:gdLst>
                <a:gd name="csX0" fmla="*/ 6933 w 15855"/>
                <a:gd name="csY0" fmla="*/ 6230 h 14379"/>
                <a:gd name="csX1" fmla="*/ -8923 w 15855"/>
                <a:gd name="csY1" fmla="*/ 6230 h 14379"/>
                <a:gd name="csX2" fmla="*/ -8923 w 15855"/>
                <a:gd name="csY2" fmla="*/ -8150 h 14379"/>
                <a:gd name="csX3" fmla="*/ 6933 w 15855"/>
                <a:gd name="csY3" fmla="*/ -8150 h 14379"/>
                <a:gd name="csX4" fmla="*/ 6933 w 15855"/>
                <a:gd name="csY4" fmla="*/ 6230 h 14379"/>
              </a:gdLst>
              <a:ahLst/>
              <a:cxnLst>
                <a:cxn ang="0">
                  <a:pos x="csX0" y="csY0"/>
                </a:cxn>
                <a:cxn ang="0">
                  <a:pos x="csX1" y="csY1"/>
                </a:cxn>
                <a:cxn ang="0">
                  <a:pos x="csX2" y="csY2"/>
                </a:cxn>
                <a:cxn ang="0">
                  <a:pos x="csX3" y="csY3"/>
                </a:cxn>
                <a:cxn ang="0">
                  <a:pos x="csX4" y="csY4"/>
                </a:cxn>
              </a:cxnLst>
              <a:rect l="l" t="t" r="r" b="b"/>
              <a:pathLst>
                <a:path w="15855" h="14379">
                  <a:moveTo>
                    <a:pt x="6933" y="6230"/>
                  </a:moveTo>
                  <a:lnTo>
                    <a:pt x="-8923" y="6230"/>
                  </a:lnTo>
                  <a:lnTo>
                    <a:pt x="-8923" y="-8150"/>
                  </a:lnTo>
                  <a:lnTo>
                    <a:pt x="6933" y="-8150"/>
                  </a:lnTo>
                  <a:lnTo>
                    <a:pt x="6933" y="6230"/>
                  </a:lnTo>
                </a:path>
              </a:pathLst>
            </a:custGeom>
            <a:grpFill/>
            <a:ln w="548" cap="flat">
              <a:noFill/>
              <a:prstDash val="solid"/>
              <a:miter/>
            </a:ln>
          </p:spPr>
          <p:txBody>
            <a:bodyPr/>
            <a:lstStyle/>
            <a:p>
              <a:endParaRPr lang="en-US"/>
            </a:p>
          </p:txBody>
        </p:sp>
        <p:sp>
          <p:nvSpPr>
            <p:cNvPr id="203" name="Freeform: Shape 202">
              <a:extLst>
                <a:ext uri="{FF2B5EF4-FFF2-40B4-BE49-F238E27FC236}">
                  <a16:creationId xmlns:a16="http://schemas.microsoft.com/office/drawing/2014/main" id="{7772622C-09D6-F05F-8336-DC26C890031B}"/>
                </a:ext>
              </a:extLst>
            </p:cNvPr>
            <p:cNvSpPr/>
            <p:nvPr/>
          </p:nvSpPr>
          <p:spPr>
            <a:xfrm flipV="1">
              <a:off x="24266967" y="3271271"/>
              <a:ext cx="15855" cy="14379"/>
            </a:xfrm>
            <a:custGeom>
              <a:avLst/>
              <a:gdLst>
                <a:gd name="csX0" fmla="*/ 6933 w 15855"/>
                <a:gd name="csY0" fmla="*/ 6432 h 14379"/>
                <a:gd name="csX1" fmla="*/ -8923 w 15855"/>
                <a:gd name="csY1" fmla="*/ 6432 h 14379"/>
                <a:gd name="csX2" fmla="*/ -8923 w 15855"/>
                <a:gd name="csY2" fmla="*/ -7948 h 14379"/>
                <a:gd name="csX3" fmla="*/ 6933 w 15855"/>
                <a:gd name="csY3" fmla="*/ -7948 h 14379"/>
                <a:gd name="csX4" fmla="*/ 6933 w 15855"/>
                <a:gd name="csY4" fmla="*/ 6432 h 14379"/>
              </a:gdLst>
              <a:ahLst/>
              <a:cxnLst>
                <a:cxn ang="0">
                  <a:pos x="csX0" y="csY0"/>
                </a:cxn>
                <a:cxn ang="0">
                  <a:pos x="csX1" y="csY1"/>
                </a:cxn>
                <a:cxn ang="0">
                  <a:pos x="csX2" y="csY2"/>
                </a:cxn>
                <a:cxn ang="0">
                  <a:pos x="csX3" y="csY3"/>
                </a:cxn>
                <a:cxn ang="0">
                  <a:pos x="csX4" y="csY4"/>
                </a:cxn>
              </a:cxnLst>
              <a:rect l="l" t="t" r="r" b="b"/>
              <a:pathLst>
                <a:path w="15855" h="14379">
                  <a:moveTo>
                    <a:pt x="6933" y="6432"/>
                  </a:moveTo>
                  <a:lnTo>
                    <a:pt x="-8923" y="6432"/>
                  </a:lnTo>
                  <a:lnTo>
                    <a:pt x="-8923" y="-7948"/>
                  </a:lnTo>
                  <a:lnTo>
                    <a:pt x="6933" y="-7948"/>
                  </a:lnTo>
                  <a:lnTo>
                    <a:pt x="6933" y="6432"/>
                  </a:lnTo>
                </a:path>
              </a:pathLst>
            </a:custGeom>
            <a:grpFill/>
            <a:ln w="548" cap="flat">
              <a:noFill/>
              <a:prstDash val="solid"/>
              <a:miter/>
            </a:ln>
          </p:spPr>
          <p:txBody>
            <a:bodyPr/>
            <a:lstStyle/>
            <a:p>
              <a:endParaRPr lang="en-US"/>
            </a:p>
          </p:txBody>
        </p:sp>
        <p:sp>
          <p:nvSpPr>
            <p:cNvPr id="204" name="Freeform: Shape 203">
              <a:extLst>
                <a:ext uri="{FF2B5EF4-FFF2-40B4-BE49-F238E27FC236}">
                  <a16:creationId xmlns:a16="http://schemas.microsoft.com/office/drawing/2014/main" id="{5E76B59C-B294-004F-EBD1-08794D5B42E3}"/>
                </a:ext>
              </a:extLst>
            </p:cNvPr>
            <p:cNvSpPr/>
            <p:nvPr/>
          </p:nvSpPr>
          <p:spPr>
            <a:xfrm flipV="1">
              <a:off x="24266967" y="3172697"/>
              <a:ext cx="15855" cy="12261"/>
            </a:xfrm>
            <a:custGeom>
              <a:avLst/>
              <a:gdLst>
                <a:gd name="csX0" fmla="*/ 6933 w 15855"/>
                <a:gd name="csY0" fmla="*/ 4075 h 12261"/>
                <a:gd name="csX1" fmla="*/ -8923 w 15855"/>
                <a:gd name="csY1" fmla="*/ 4075 h 12261"/>
                <a:gd name="csX2" fmla="*/ -8923 w 15855"/>
                <a:gd name="csY2" fmla="*/ -8187 h 12261"/>
                <a:gd name="csX3" fmla="*/ 6933 w 15855"/>
                <a:gd name="csY3" fmla="*/ -8187 h 12261"/>
                <a:gd name="csX4" fmla="*/ 6933 w 15855"/>
                <a:gd name="csY4" fmla="*/ 4075 h 12261"/>
              </a:gdLst>
              <a:ahLst/>
              <a:cxnLst>
                <a:cxn ang="0">
                  <a:pos x="csX0" y="csY0"/>
                </a:cxn>
                <a:cxn ang="0">
                  <a:pos x="csX1" y="csY1"/>
                </a:cxn>
                <a:cxn ang="0">
                  <a:pos x="csX2" y="csY2"/>
                </a:cxn>
                <a:cxn ang="0">
                  <a:pos x="csX3" y="csY3"/>
                </a:cxn>
                <a:cxn ang="0">
                  <a:pos x="csX4" y="csY4"/>
                </a:cxn>
              </a:cxnLst>
              <a:rect l="l" t="t" r="r" b="b"/>
              <a:pathLst>
                <a:path w="15855" h="12261">
                  <a:moveTo>
                    <a:pt x="6933" y="4075"/>
                  </a:moveTo>
                  <a:lnTo>
                    <a:pt x="-8923" y="4075"/>
                  </a:lnTo>
                  <a:lnTo>
                    <a:pt x="-8923" y="-8187"/>
                  </a:lnTo>
                  <a:lnTo>
                    <a:pt x="6933" y="-8187"/>
                  </a:lnTo>
                  <a:lnTo>
                    <a:pt x="6933" y="4075"/>
                  </a:lnTo>
                </a:path>
              </a:pathLst>
            </a:custGeom>
            <a:grpFill/>
            <a:ln w="548" cap="flat">
              <a:noFill/>
              <a:prstDash val="solid"/>
              <a:miter/>
            </a:ln>
          </p:spPr>
          <p:txBody>
            <a:bodyPr/>
            <a:lstStyle/>
            <a:p>
              <a:endParaRPr lang="en-US"/>
            </a:p>
          </p:txBody>
        </p:sp>
        <p:sp>
          <p:nvSpPr>
            <p:cNvPr id="205" name="Freeform: Shape 204">
              <a:extLst>
                <a:ext uri="{FF2B5EF4-FFF2-40B4-BE49-F238E27FC236}">
                  <a16:creationId xmlns:a16="http://schemas.microsoft.com/office/drawing/2014/main" id="{EAF3971E-8AA3-6D1D-2716-9E93D5AA2526}"/>
                </a:ext>
              </a:extLst>
            </p:cNvPr>
            <p:cNvSpPr/>
            <p:nvPr/>
          </p:nvSpPr>
          <p:spPr>
            <a:xfrm flipV="1">
              <a:off x="24266967" y="3304832"/>
              <a:ext cx="15855" cy="14313"/>
            </a:xfrm>
            <a:custGeom>
              <a:avLst/>
              <a:gdLst>
                <a:gd name="csX0" fmla="*/ 6933 w 15855"/>
                <a:gd name="csY0" fmla="*/ 6447 h 14313"/>
                <a:gd name="csX1" fmla="*/ -8923 w 15855"/>
                <a:gd name="csY1" fmla="*/ 6447 h 14313"/>
                <a:gd name="csX2" fmla="*/ -8923 w 15855"/>
                <a:gd name="csY2" fmla="*/ -7867 h 14313"/>
                <a:gd name="csX3" fmla="*/ 6933 w 15855"/>
                <a:gd name="csY3" fmla="*/ -7867 h 14313"/>
                <a:gd name="csX4" fmla="*/ 6933 w 15855"/>
                <a:gd name="csY4" fmla="*/ 6447 h 14313"/>
              </a:gdLst>
              <a:ahLst/>
              <a:cxnLst>
                <a:cxn ang="0">
                  <a:pos x="csX0" y="csY0"/>
                </a:cxn>
                <a:cxn ang="0">
                  <a:pos x="csX1" y="csY1"/>
                </a:cxn>
                <a:cxn ang="0">
                  <a:pos x="csX2" y="csY2"/>
                </a:cxn>
                <a:cxn ang="0">
                  <a:pos x="csX3" y="csY3"/>
                </a:cxn>
                <a:cxn ang="0">
                  <a:pos x="csX4" y="csY4"/>
                </a:cxn>
              </a:cxnLst>
              <a:rect l="l" t="t" r="r" b="b"/>
              <a:pathLst>
                <a:path w="15855" h="14313">
                  <a:moveTo>
                    <a:pt x="6933" y="6447"/>
                  </a:moveTo>
                  <a:lnTo>
                    <a:pt x="-8923" y="6447"/>
                  </a:lnTo>
                  <a:lnTo>
                    <a:pt x="-8923" y="-7867"/>
                  </a:lnTo>
                  <a:lnTo>
                    <a:pt x="6933" y="-7867"/>
                  </a:lnTo>
                  <a:lnTo>
                    <a:pt x="6933" y="6447"/>
                  </a:lnTo>
                </a:path>
              </a:pathLst>
            </a:custGeom>
            <a:grpFill/>
            <a:ln w="548" cap="flat">
              <a:noFill/>
              <a:prstDash val="solid"/>
              <a:miter/>
            </a:ln>
          </p:spPr>
          <p:txBody>
            <a:bodyPr/>
            <a:lstStyle/>
            <a:p>
              <a:endParaRPr lang="en-US"/>
            </a:p>
          </p:txBody>
        </p:sp>
        <p:sp>
          <p:nvSpPr>
            <p:cNvPr id="206" name="Freeform: Shape 205">
              <a:extLst>
                <a:ext uri="{FF2B5EF4-FFF2-40B4-BE49-F238E27FC236}">
                  <a16:creationId xmlns:a16="http://schemas.microsoft.com/office/drawing/2014/main" id="{AA27911F-318F-D3CD-CC3B-C51D64860262}"/>
                </a:ext>
              </a:extLst>
            </p:cNvPr>
            <p:cNvSpPr/>
            <p:nvPr/>
          </p:nvSpPr>
          <p:spPr>
            <a:xfrm flipV="1">
              <a:off x="24266967" y="3288054"/>
              <a:ext cx="15855" cy="14379"/>
            </a:xfrm>
            <a:custGeom>
              <a:avLst/>
              <a:gdLst>
                <a:gd name="csX0" fmla="*/ 6933 w 15855"/>
                <a:gd name="csY0" fmla="*/ 6473 h 14379"/>
                <a:gd name="csX1" fmla="*/ -8923 w 15855"/>
                <a:gd name="csY1" fmla="*/ 6473 h 14379"/>
                <a:gd name="csX2" fmla="*/ -8923 w 15855"/>
                <a:gd name="csY2" fmla="*/ -7907 h 14379"/>
                <a:gd name="csX3" fmla="*/ 6933 w 15855"/>
                <a:gd name="csY3" fmla="*/ -7907 h 14379"/>
                <a:gd name="csX4" fmla="*/ 6933 w 15855"/>
                <a:gd name="csY4" fmla="*/ 6473 h 14379"/>
              </a:gdLst>
              <a:ahLst/>
              <a:cxnLst>
                <a:cxn ang="0">
                  <a:pos x="csX0" y="csY0"/>
                </a:cxn>
                <a:cxn ang="0">
                  <a:pos x="csX1" y="csY1"/>
                </a:cxn>
                <a:cxn ang="0">
                  <a:pos x="csX2" y="csY2"/>
                </a:cxn>
                <a:cxn ang="0">
                  <a:pos x="csX3" y="csY3"/>
                </a:cxn>
                <a:cxn ang="0">
                  <a:pos x="csX4" y="csY4"/>
                </a:cxn>
              </a:cxnLst>
              <a:rect l="l" t="t" r="r" b="b"/>
              <a:pathLst>
                <a:path w="15855" h="14379">
                  <a:moveTo>
                    <a:pt x="6933" y="6473"/>
                  </a:moveTo>
                  <a:lnTo>
                    <a:pt x="-8923" y="6473"/>
                  </a:lnTo>
                  <a:lnTo>
                    <a:pt x="-8923" y="-7907"/>
                  </a:lnTo>
                  <a:lnTo>
                    <a:pt x="6933" y="-7907"/>
                  </a:lnTo>
                  <a:lnTo>
                    <a:pt x="6933" y="6473"/>
                  </a:lnTo>
                </a:path>
              </a:pathLst>
            </a:custGeom>
            <a:grpFill/>
            <a:ln w="548" cap="flat">
              <a:noFill/>
              <a:prstDash val="solid"/>
              <a:miter/>
            </a:ln>
          </p:spPr>
          <p:txBody>
            <a:bodyPr/>
            <a:lstStyle/>
            <a:p>
              <a:endParaRPr lang="en-US"/>
            </a:p>
          </p:txBody>
        </p:sp>
        <p:sp>
          <p:nvSpPr>
            <p:cNvPr id="207" name="Freeform: Shape 206">
              <a:extLst>
                <a:ext uri="{FF2B5EF4-FFF2-40B4-BE49-F238E27FC236}">
                  <a16:creationId xmlns:a16="http://schemas.microsoft.com/office/drawing/2014/main" id="{B017ADF3-326C-957D-DD8F-971B40CE8EFD}"/>
                </a:ext>
              </a:extLst>
            </p:cNvPr>
            <p:cNvSpPr/>
            <p:nvPr/>
          </p:nvSpPr>
          <p:spPr>
            <a:xfrm flipV="1">
              <a:off x="24266967" y="3396351"/>
              <a:ext cx="15855" cy="14379"/>
            </a:xfrm>
            <a:custGeom>
              <a:avLst/>
              <a:gdLst>
                <a:gd name="csX0" fmla="*/ 6933 w 15855"/>
                <a:gd name="csY0" fmla="*/ 6733 h 14379"/>
                <a:gd name="csX1" fmla="*/ -8923 w 15855"/>
                <a:gd name="csY1" fmla="*/ 6733 h 14379"/>
                <a:gd name="csX2" fmla="*/ -8923 w 15855"/>
                <a:gd name="csY2" fmla="*/ -7647 h 14379"/>
                <a:gd name="csX3" fmla="*/ 6933 w 15855"/>
                <a:gd name="csY3" fmla="*/ -7647 h 14379"/>
                <a:gd name="csX4" fmla="*/ 6933 w 15855"/>
                <a:gd name="csY4" fmla="*/ 6733 h 14379"/>
              </a:gdLst>
              <a:ahLst/>
              <a:cxnLst>
                <a:cxn ang="0">
                  <a:pos x="csX0" y="csY0"/>
                </a:cxn>
                <a:cxn ang="0">
                  <a:pos x="csX1" y="csY1"/>
                </a:cxn>
                <a:cxn ang="0">
                  <a:pos x="csX2" y="csY2"/>
                </a:cxn>
                <a:cxn ang="0">
                  <a:pos x="csX3" y="csY3"/>
                </a:cxn>
                <a:cxn ang="0">
                  <a:pos x="csX4" y="csY4"/>
                </a:cxn>
              </a:cxnLst>
              <a:rect l="l" t="t" r="r" b="b"/>
              <a:pathLst>
                <a:path w="15855" h="14379">
                  <a:moveTo>
                    <a:pt x="6933" y="6733"/>
                  </a:moveTo>
                  <a:lnTo>
                    <a:pt x="-8923" y="6733"/>
                  </a:lnTo>
                  <a:lnTo>
                    <a:pt x="-8923" y="-7647"/>
                  </a:lnTo>
                  <a:lnTo>
                    <a:pt x="6933" y="-7647"/>
                  </a:lnTo>
                  <a:lnTo>
                    <a:pt x="6933" y="6733"/>
                  </a:lnTo>
                </a:path>
              </a:pathLst>
            </a:custGeom>
            <a:grpFill/>
            <a:ln w="548" cap="flat">
              <a:noFill/>
              <a:prstDash val="solid"/>
              <a:miter/>
            </a:ln>
          </p:spPr>
          <p:txBody>
            <a:bodyPr/>
            <a:lstStyle/>
            <a:p>
              <a:endParaRPr lang="en-US"/>
            </a:p>
          </p:txBody>
        </p:sp>
        <p:sp>
          <p:nvSpPr>
            <p:cNvPr id="208" name="Freeform: Shape 207">
              <a:extLst>
                <a:ext uri="{FF2B5EF4-FFF2-40B4-BE49-F238E27FC236}">
                  <a16:creationId xmlns:a16="http://schemas.microsoft.com/office/drawing/2014/main" id="{A6709CDF-4D6C-C8B6-9A27-D260259C3B23}"/>
                </a:ext>
              </a:extLst>
            </p:cNvPr>
            <p:cNvSpPr/>
            <p:nvPr/>
          </p:nvSpPr>
          <p:spPr>
            <a:xfrm flipV="1">
              <a:off x="24266967" y="3379567"/>
              <a:ext cx="15855" cy="14380"/>
            </a:xfrm>
            <a:custGeom>
              <a:avLst/>
              <a:gdLst>
                <a:gd name="csX0" fmla="*/ 6933 w 15855"/>
                <a:gd name="csY0" fmla="*/ 6693 h 14380"/>
                <a:gd name="csX1" fmla="*/ -8923 w 15855"/>
                <a:gd name="csY1" fmla="*/ 6693 h 14380"/>
                <a:gd name="csX2" fmla="*/ -8923 w 15855"/>
                <a:gd name="csY2" fmla="*/ -7687 h 14380"/>
                <a:gd name="csX3" fmla="*/ 6933 w 15855"/>
                <a:gd name="csY3" fmla="*/ -7687 h 14380"/>
                <a:gd name="csX4" fmla="*/ 6933 w 15855"/>
                <a:gd name="csY4" fmla="*/ 6693 h 14380"/>
              </a:gdLst>
              <a:ahLst/>
              <a:cxnLst>
                <a:cxn ang="0">
                  <a:pos x="csX0" y="csY0"/>
                </a:cxn>
                <a:cxn ang="0">
                  <a:pos x="csX1" y="csY1"/>
                </a:cxn>
                <a:cxn ang="0">
                  <a:pos x="csX2" y="csY2"/>
                </a:cxn>
                <a:cxn ang="0">
                  <a:pos x="csX3" y="csY3"/>
                </a:cxn>
                <a:cxn ang="0">
                  <a:pos x="csX4" y="csY4"/>
                </a:cxn>
              </a:cxnLst>
              <a:rect l="l" t="t" r="r" b="b"/>
              <a:pathLst>
                <a:path w="15855" h="14380">
                  <a:moveTo>
                    <a:pt x="6933" y="6693"/>
                  </a:moveTo>
                  <a:lnTo>
                    <a:pt x="-8923" y="6693"/>
                  </a:lnTo>
                  <a:lnTo>
                    <a:pt x="-8923" y="-7687"/>
                  </a:lnTo>
                  <a:lnTo>
                    <a:pt x="6933" y="-7687"/>
                  </a:lnTo>
                  <a:lnTo>
                    <a:pt x="6933" y="6693"/>
                  </a:lnTo>
                </a:path>
              </a:pathLst>
            </a:custGeom>
            <a:grpFill/>
            <a:ln w="548" cap="flat">
              <a:noFill/>
              <a:prstDash val="solid"/>
              <a:miter/>
            </a:ln>
          </p:spPr>
          <p:txBody>
            <a:bodyPr/>
            <a:lstStyle/>
            <a:p>
              <a:endParaRPr lang="en-US"/>
            </a:p>
          </p:txBody>
        </p:sp>
        <p:sp>
          <p:nvSpPr>
            <p:cNvPr id="209" name="Freeform: Shape 208">
              <a:extLst>
                <a:ext uri="{FF2B5EF4-FFF2-40B4-BE49-F238E27FC236}">
                  <a16:creationId xmlns:a16="http://schemas.microsoft.com/office/drawing/2014/main" id="{86BB4FCC-CE36-9209-B4FD-A08E08BE4FDD}"/>
                </a:ext>
              </a:extLst>
            </p:cNvPr>
            <p:cNvSpPr/>
            <p:nvPr/>
          </p:nvSpPr>
          <p:spPr>
            <a:xfrm flipV="1">
              <a:off x="24266967" y="3362785"/>
              <a:ext cx="15855" cy="14379"/>
            </a:xfrm>
            <a:custGeom>
              <a:avLst/>
              <a:gdLst>
                <a:gd name="csX0" fmla="*/ 6933 w 15855"/>
                <a:gd name="csY0" fmla="*/ 6652 h 14379"/>
                <a:gd name="csX1" fmla="*/ -8923 w 15855"/>
                <a:gd name="csY1" fmla="*/ 6652 h 14379"/>
                <a:gd name="csX2" fmla="*/ -8923 w 15855"/>
                <a:gd name="csY2" fmla="*/ -7727 h 14379"/>
                <a:gd name="csX3" fmla="*/ 6933 w 15855"/>
                <a:gd name="csY3" fmla="*/ -7727 h 14379"/>
                <a:gd name="csX4" fmla="*/ 6933 w 15855"/>
                <a:gd name="csY4" fmla="*/ 6652 h 14379"/>
              </a:gdLst>
              <a:ahLst/>
              <a:cxnLst>
                <a:cxn ang="0">
                  <a:pos x="csX0" y="csY0"/>
                </a:cxn>
                <a:cxn ang="0">
                  <a:pos x="csX1" y="csY1"/>
                </a:cxn>
                <a:cxn ang="0">
                  <a:pos x="csX2" y="csY2"/>
                </a:cxn>
                <a:cxn ang="0">
                  <a:pos x="csX3" y="csY3"/>
                </a:cxn>
                <a:cxn ang="0">
                  <a:pos x="csX4" y="csY4"/>
                </a:cxn>
              </a:cxnLst>
              <a:rect l="l" t="t" r="r" b="b"/>
              <a:pathLst>
                <a:path w="15855" h="14379">
                  <a:moveTo>
                    <a:pt x="6933" y="6652"/>
                  </a:moveTo>
                  <a:lnTo>
                    <a:pt x="-8923" y="6652"/>
                  </a:lnTo>
                  <a:lnTo>
                    <a:pt x="-8923" y="-7727"/>
                  </a:lnTo>
                  <a:lnTo>
                    <a:pt x="6933" y="-7727"/>
                  </a:lnTo>
                  <a:lnTo>
                    <a:pt x="6933" y="6652"/>
                  </a:lnTo>
                </a:path>
              </a:pathLst>
            </a:custGeom>
            <a:grpFill/>
            <a:ln w="548" cap="flat">
              <a:noFill/>
              <a:prstDash val="solid"/>
              <a:miter/>
            </a:ln>
          </p:spPr>
          <p:txBody>
            <a:bodyPr/>
            <a:lstStyle/>
            <a:p>
              <a:endParaRPr lang="en-US"/>
            </a:p>
          </p:txBody>
        </p:sp>
        <p:sp>
          <p:nvSpPr>
            <p:cNvPr id="210" name="Freeform: Shape 209">
              <a:extLst>
                <a:ext uri="{FF2B5EF4-FFF2-40B4-BE49-F238E27FC236}">
                  <a16:creationId xmlns:a16="http://schemas.microsoft.com/office/drawing/2014/main" id="{27E0049C-3430-5A4F-6A44-92987ABECB21}"/>
                </a:ext>
              </a:extLst>
            </p:cNvPr>
            <p:cNvSpPr/>
            <p:nvPr/>
          </p:nvSpPr>
          <p:spPr>
            <a:xfrm flipV="1">
              <a:off x="24266967" y="3413133"/>
              <a:ext cx="15855" cy="14379"/>
            </a:xfrm>
            <a:custGeom>
              <a:avLst/>
              <a:gdLst>
                <a:gd name="csX0" fmla="*/ 6933 w 15855"/>
                <a:gd name="csY0" fmla="*/ 6773 h 14379"/>
                <a:gd name="csX1" fmla="*/ -8923 w 15855"/>
                <a:gd name="csY1" fmla="*/ 6773 h 14379"/>
                <a:gd name="csX2" fmla="*/ -8923 w 15855"/>
                <a:gd name="csY2" fmla="*/ -7606 h 14379"/>
                <a:gd name="csX3" fmla="*/ 6933 w 15855"/>
                <a:gd name="csY3" fmla="*/ -7606 h 14379"/>
                <a:gd name="csX4" fmla="*/ 6933 w 15855"/>
                <a:gd name="csY4" fmla="*/ 6773 h 14379"/>
              </a:gdLst>
              <a:ahLst/>
              <a:cxnLst>
                <a:cxn ang="0">
                  <a:pos x="csX0" y="csY0"/>
                </a:cxn>
                <a:cxn ang="0">
                  <a:pos x="csX1" y="csY1"/>
                </a:cxn>
                <a:cxn ang="0">
                  <a:pos x="csX2" y="csY2"/>
                </a:cxn>
                <a:cxn ang="0">
                  <a:pos x="csX3" y="csY3"/>
                </a:cxn>
                <a:cxn ang="0">
                  <a:pos x="csX4" y="csY4"/>
                </a:cxn>
              </a:cxnLst>
              <a:rect l="l" t="t" r="r" b="b"/>
              <a:pathLst>
                <a:path w="15855" h="14379">
                  <a:moveTo>
                    <a:pt x="6933" y="6773"/>
                  </a:moveTo>
                  <a:lnTo>
                    <a:pt x="-8923" y="6773"/>
                  </a:lnTo>
                  <a:lnTo>
                    <a:pt x="-8923" y="-7606"/>
                  </a:lnTo>
                  <a:lnTo>
                    <a:pt x="6933" y="-7606"/>
                  </a:lnTo>
                  <a:lnTo>
                    <a:pt x="6933" y="6773"/>
                  </a:lnTo>
                </a:path>
              </a:pathLst>
            </a:custGeom>
            <a:grpFill/>
            <a:ln w="548" cap="flat">
              <a:noFill/>
              <a:prstDash val="solid"/>
              <a:miter/>
            </a:ln>
          </p:spPr>
          <p:txBody>
            <a:bodyPr/>
            <a:lstStyle/>
            <a:p>
              <a:endParaRPr lang="en-US"/>
            </a:p>
          </p:txBody>
        </p:sp>
        <p:sp>
          <p:nvSpPr>
            <p:cNvPr id="211" name="Freeform: Shape 210">
              <a:extLst>
                <a:ext uri="{FF2B5EF4-FFF2-40B4-BE49-F238E27FC236}">
                  <a16:creationId xmlns:a16="http://schemas.microsoft.com/office/drawing/2014/main" id="{835CD359-AFC2-201C-965E-FFFCC866492F}"/>
                </a:ext>
              </a:extLst>
            </p:cNvPr>
            <p:cNvSpPr/>
            <p:nvPr/>
          </p:nvSpPr>
          <p:spPr>
            <a:xfrm flipV="1">
              <a:off x="24266967" y="3446694"/>
              <a:ext cx="15855" cy="14379"/>
            </a:xfrm>
            <a:custGeom>
              <a:avLst/>
              <a:gdLst>
                <a:gd name="csX0" fmla="*/ 6933 w 15855"/>
                <a:gd name="csY0" fmla="*/ 6854 h 14379"/>
                <a:gd name="csX1" fmla="*/ -8923 w 15855"/>
                <a:gd name="csY1" fmla="*/ 6854 h 14379"/>
                <a:gd name="csX2" fmla="*/ -8923 w 15855"/>
                <a:gd name="csY2" fmla="*/ -7526 h 14379"/>
                <a:gd name="csX3" fmla="*/ 6933 w 15855"/>
                <a:gd name="csY3" fmla="*/ -7526 h 14379"/>
                <a:gd name="csX4" fmla="*/ 6933 w 15855"/>
                <a:gd name="csY4" fmla="*/ 6854 h 14379"/>
              </a:gdLst>
              <a:ahLst/>
              <a:cxnLst>
                <a:cxn ang="0">
                  <a:pos x="csX0" y="csY0"/>
                </a:cxn>
                <a:cxn ang="0">
                  <a:pos x="csX1" y="csY1"/>
                </a:cxn>
                <a:cxn ang="0">
                  <a:pos x="csX2" y="csY2"/>
                </a:cxn>
                <a:cxn ang="0">
                  <a:pos x="csX3" y="csY3"/>
                </a:cxn>
                <a:cxn ang="0">
                  <a:pos x="csX4" y="csY4"/>
                </a:cxn>
              </a:cxnLst>
              <a:rect l="l" t="t" r="r" b="b"/>
              <a:pathLst>
                <a:path w="15855" h="14379">
                  <a:moveTo>
                    <a:pt x="6933" y="6854"/>
                  </a:moveTo>
                  <a:lnTo>
                    <a:pt x="-8923" y="6854"/>
                  </a:lnTo>
                  <a:lnTo>
                    <a:pt x="-8923" y="-7526"/>
                  </a:lnTo>
                  <a:lnTo>
                    <a:pt x="6933" y="-7526"/>
                  </a:lnTo>
                  <a:lnTo>
                    <a:pt x="6933" y="6854"/>
                  </a:lnTo>
                </a:path>
              </a:pathLst>
            </a:custGeom>
            <a:grpFill/>
            <a:ln w="548" cap="flat">
              <a:noFill/>
              <a:prstDash val="solid"/>
              <a:miter/>
            </a:ln>
          </p:spPr>
          <p:txBody>
            <a:bodyPr/>
            <a:lstStyle/>
            <a:p>
              <a:endParaRPr lang="en-US"/>
            </a:p>
          </p:txBody>
        </p:sp>
        <p:sp>
          <p:nvSpPr>
            <p:cNvPr id="212" name="Freeform: Shape 211">
              <a:extLst>
                <a:ext uri="{FF2B5EF4-FFF2-40B4-BE49-F238E27FC236}">
                  <a16:creationId xmlns:a16="http://schemas.microsoft.com/office/drawing/2014/main" id="{E6D0912C-7042-B947-392C-110BEB6B6D7D}"/>
                </a:ext>
              </a:extLst>
            </p:cNvPr>
            <p:cNvSpPr/>
            <p:nvPr/>
          </p:nvSpPr>
          <p:spPr>
            <a:xfrm flipV="1">
              <a:off x="24266967" y="3480259"/>
              <a:ext cx="15855" cy="14313"/>
            </a:xfrm>
            <a:custGeom>
              <a:avLst/>
              <a:gdLst>
                <a:gd name="csX0" fmla="*/ 6933 w 15855"/>
                <a:gd name="csY0" fmla="*/ 6869 h 14313"/>
                <a:gd name="csX1" fmla="*/ -8923 w 15855"/>
                <a:gd name="csY1" fmla="*/ 6869 h 14313"/>
                <a:gd name="csX2" fmla="*/ -8923 w 15855"/>
                <a:gd name="csY2" fmla="*/ -7445 h 14313"/>
                <a:gd name="csX3" fmla="*/ 6933 w 15855"/>
                <a:gd name="csY3" fmla="*/ -7445 h 14313"/>
                <a:gd name="csX4" fmla="*/ 6933 w 15855"/>
                <a:gd name="csY4" fmla="*/ 6869 h 14313"/>
              </a:gdLst>
              <a:ahLst/>
              <a:cxnLst>
                <a:cxn ang="0">
                  <a:pos x="csX0" y="csY0"/>
                </a:cxn>
                <a:cxn ang="0">
                  <a:pos x="csX1" y="csY1"/>
                </a:cxn>
                <a:cxn ang="0">
                  <a:pos x="csX2" y="csY2"/>
                </a:cxn>
                <a:cxn ang="0">
                  <a:pos x="csX3" y="csY3"/>
                </a:cxn>
                <a:cxn ang="0">
                  <a:pos x="csX4" y="csY4"/>
                </a:cxn>
              </a:cxnLst>
              <a:rect l="l" t="t" r="r" b="b"/>
              <a:pathLst>
                <a:path w="15855" h="14313">
                  <a:moveTo>
                    <a:pt x="6933" y="6869"/>
                  </a:moveTo>
                  <a:lnTo>
                    <a:pt x="-8923" y="6869"/>
                  </a:lnTo>
                  <a:lnTo>
                    <a:pt x="-8923" y="-7445"/>
                  </a:lnTo>
                  <a:lnTo>
                    <a:pt x="6933" y="-7445"/>
                  </a:lnTo>
                  <a:lnTo>
                    <a:pt x="6933" y="6869"/>
                  </a:lnTo>
                </a:path>
              </a:pathLst>
            </a:custGeom>
            <a:grpFill/>
            <a:ln w="548" cap="flat">
              <a:noFill/>
              <a:prstDash val="solid"/>
              <a:miter/>
            </a:ln>
          </p:spPr>
          <p:txBody>
            <a:bodyPr/>
            <a:lstStyle/>
            <a:p>
              <a:endParaRPr lang="en-US"/>
            </a:p>
          </p:txBody>
        </p:sp>
        <p:sp>
          <p:nvSpPr>
            <p:cNvPr id="213" name="Freeform: Shape 212">
              <a:extLst>
                <a:ext uri="{FF2B5EF4-FFF2-40B4-BE49-F238E27FC236}">
                  <a16:creationId xmlns:a16="http://schemas.microsoft.com/office/drawing/2014/main" id="{3311D68A-E98E-9378-8424-53318BC44061}"/>
                </a:ext>
              </a:extLst>
            </p:cNvPr>
            <p:cNvSpPr/>
            <p:nvPr/>
          </p:nvSpPr>
          <p:spPr>
            <a:xfrm flipV="1">
              <a:off x="24266967" y="3348125"/>
              <a:ext cx="15855" cy="12256"/>
            </a:xfrm>
            <a:custGeom>
              <a:avLst/>
              <a:gdLst>
                <a:gd name="csX0" fmla="*/ 6933 w 15855"/>
                <a:gd name="csY0" fmla="*/ 4491 h 12256"/>
                <a:gd name="csX1" fmla="*/ -8923 w 15855"/>
                <a:gd name="csY1" fmla="*/ 4491 h 12256"/>
                <a:gd name="csX2" fmla="*/ -8923 w 15855"/>
                <a:gd name="csY2" fmla="*/ -7765 h 12256"/>
                <a:gd name="csX3" fmla="*/ 6933 w 15855"/>
                <a:gd name="csY3" fmla="*/ -7765 h 12256"/>
                <a:gd name="csX4" fmla="*/ 6933 w 15855"/>
                <a:gd name="csY4" fmla="*/ 4491 h 12256"/>
              </a:gdLst>
              <a:ahLst/>
              <a:cxnLst>
                <a:cxn ang="0">
                  <a:pos x="csX0" y="csY0"/>
                </a:cxn>
                <a:cxn ang="0">
                  <a:pos x="csX1" y="csY1"/>
                </a:cxn>
                <a:cxn ang="0">
                  <a:pos x="csX2" y="csY2"/>
                </a:cxn>
                <a:cxn ang="0">
                  <a:pos x="csX3" y="csY3"/>
                </a:cxn>
                <a:cxn ang="0">
                  <a:pos x="csX4" y="csY4"/>
                </a:cxn>
              </a:cxnLst>
              <a:rect l="l" t="t" r="r" b="b"/>
              <a:pathLst>
                <a:path w="15855" h="12256">
                  <a:moveTo>
                    <a:pt x="6933" y="4491"/>
                  </a:moveTo>
                  <a:lnTo>
                    <a:pt x="-8923" y="4491"/>
                  </a:lnTo>
                  <a:lnTo>
                    <a:pt x="-8923" y="-7765"/>
                  </a:lnTo>
                  <a:lnTo>
                    <a:pt x="6933" y="-7765"/>
                  </a:lnTo>
                  <a:lnTo>
                    <a:pt x="6933" y="4491"/>
                  </a:lnTo>
                </a:path>
              </a:pathLst>
            </a:custGeom>
            <a:grpFill/>
            <a:ln w="548" cap="flat">
              <a:noFill/>
              <a:prstDash val="solid"/>
              <a:miter/>
            </a:ln>
          </p:spPr>
          <p:txBody>
            <a:bodyPr/>
            <a:lstStyle/>
            <a:p>
              <a:endParaRPr lang="en-US"/>
            </a:p>
          </p:txBody>
        </p:sp>
        <p:sp>
          <p:nvSpPr>
            <p:cNvPr id="214" name="Freeform: Shape 213">
              <a:extLst>
                <a:ext uri="{FF2B5EF4-FFF2-40B4-BE49-F238E27FC236}">
                  <a16:creationId xmlns:a16="http://schemas.microsoft.com/office/drawing/2014/main" id="{AF22B4EC-1FAD-551D-CA36-E936784E4196}"/>
                </a:ext>
              </a:extLst>
            </p:cNvPr>
            <p:cNvSpPr/>
            <p:nvPr/>
          </p:nvSpPr>
          <p:spPr>
            <a:xfrm flipV="1">
              <a:off x="24266967" y="3429916"/>
              <a:ext cx="15855" cy="14379"/>
            </a:xfrm>
            <a:custGeom>
              <a:avLst/>
              <a:gdLst>
                <a:gd name="csX0" fmla="*/ 6933 w 15855"/>
                <a:gd name="csY0" fmla="*/ 6814 h 14379"/>
                <a:gd name="csX1" fmla="*/ -8923 w 15855"/>
                <a:gd name="csY1" fmla="*/ 6814 h 14379"/>
                <a:gd name="csX2" fmla="*/ -8923 w 15855"/>
                <a:gd name="csY2" fmla="*/ -7566 h 14379"/>
                <a:gd name="csX3" fmla="*/ 6933 w 15855"/>
                <a:gd name="csY3" fmla="*/ -7566 h 14379"/>
                <a:gd name="csX4" fmla="*/ 6933 w 15855"/>
                <a:gd name="csY4" fmla="*/ 6814 h 14379"/>
              </a:gdLst>
              <a:ahLst/>
              <a:cxnLst>
                <a:cxn ang="0">
                  <a:pos x="csX0" y="csY0"/>
                </a:cxn>
                <a:cxn ang="0">
                  <a:pos x="csX1" y="csY1"/>
                </a:cxn>
                <a:cxn ang="0">
                  <a:pos x="csX2" y="csY2"/>
                </a:cxn>
                <a:cxn ang="0">
                  <a:pos x="csX3" y="csY3"/>
                </a:cxn>
                <a:cxn ang="0">
                  <a:pos x="csX4" y="csY4"/>
                </a:cxn>
              </a:cxnLst>
              <a:rect l="l" t="t" r="r" b="b"/>
              <a:pathLst>
                <a:path w="15855" h="14379">
                  <a:moveTo>
                    <a:pt x="6933" y="6814"/>
                  </a:moveTo>
                  <a:lnTo>
                    <a:pt x="-8923" y="6814"/>
                  </a:lnTo>
                  <a:lnTo>
                    <a:pt x="-8923" y="-7566"/>
                  </a:lnTo>
                  <a:lnTo>
                    <a:pt x="6933" y="-7566"/>
                  </a:lnTo>
                  <a:lnTo>
                    <a:pt x="6933" y="6814"/>
                  </a:lnTo>
                </a:path>
              </a:pathLst>
            </a:custGeom>
            <a:grpFill/>
            <a:ln w="548" cap="flat">
              <a:noFill/>
              <a:prstDash val="solid"/>
              <a:miter/>
            </a:ln>
          </p:spPr>
          <p:txBody>
            <a:bodyPr/>
            <a:lstStyle/>
            <a:p>
              <a:endParaRPr lang="en-US"/>
            </a:p>
          </p:txBody>
        </p:sp>
        <p:sp>
          <p:nvSpPr>
            <p:cNvPr id="215" name="Freeform: Shape 214">
              <a:extLst>
                <a:ext uri="{FF2B5EF4-FFF2-40B4-BE49-F238E27FC236}">
                  <a16:creationId xmlns:a16="http://schemas.microsoft.com/office/drawing/2014/main" id="{C00C74B3-8821-A92C-44ED-689AB6293A4F}"/>
                </a:ext>
              </a:extLst>
            </p:cNvPr>
            <p:cNvSpPr/>
            <p:nvPr/>
          </p:nvSpPr>
          <p:spPr>
            <a:xfrm flipV="1">
              <a:off x="24266967" y="3463477"/>
              <a:ext cx="15855" cy="14379"/>
            </a:xfrm>
            <a:custGeom>
              <a:avLst/>
              <a:gdLst>
                <a:gd name="csX0" fmla="*/ 6933 w 15855"/>
                <a:gd name="csY0" fmla="*/ 6895 h 14379"/>
                <a:gd name="csX1" fmla="*/ -8923 w 15855"/>
                <a:gd name="csY1" fmla="*/ 6895 h 14379"/>
                <a:gd name="csX2" fmla="*/ -8923 w 15855"/>
                <a:gd name="csY2" fmla="*/ -7485 h 14379"/>
                <a:gd name="csX3" fmla="*/ 6933 w 15855"/>
                <a:gd name="csY3" fmla="*/ -7485 h 14379"/>
                <a:gd name="csX4" fmla="*/ 6933 w 15855"/>
                <a:gd name="csY4" fmla="*/ 6895 h 14379"/>
              </a:gdLst>
              <a:ahLst/>
              <a:cxnLst>
                <a:cxn ang="0">
                  <a:pos x="csX0" y="csY0"/>
                </a:cxn>
                <a:cxn ang="0">
                  <a:pos x="csX1" y="csY1"/>
                </a:cxn>
                <a:cxn ang="0">
                  <a:pos x="csX2" y="csY2"/>
                </a:cxn>
                <a:cxn ang="0">
                  <a:pos x="csX3" y="csY3"/>
                </a:cxn>
                <a:cxn ang="0">
                  <a:pos x="csX4" y="csY4"/>
                </a:cxn>
              </a:cxnLst>
              <a:rect l="l" t="t" r="r" b="b"/>
              <a:pathLst>
                <a:path w="15855" h="14379">
                  <a:moveTo>
                    <a:pt x="6933" y="6895"/>
                  </a:moveTo>
                  <a:lnTo>
                    <a:pt x="-8923" y="6895"/>
                  </a:lnTo>
                  <a:lnTo>
                    <a:pt x="-8923" y="-7485"/>
                  </a:lnTo>
                  <a:lnTo>
                    <a:pt x="6933" y="-7485"/>
                  </a:lnTo>
                  <a:lnTo>
                    <a:pt x="6933" y="6895"/>
                  </a:lnTo>
                </a:path>
              </a:pathLst>
            </a:custGeom>
            <a:grpFill/>
            <a:ln w="548" cap="flat">
              <a:noFill/>
              <a:prstDash val="solid"/>
              <a:miter/>
            </a:ln>
          </p:spPr>
          <p:txBody>
            <a:bodyPr/>
            <a:lstStyle/>
            <a:p>
              <a:endParaRPr lang="en-US"/>
            </a:p>
          </p:txBody>
        </p:sp>
        <p:sp>
          <p:nvSpPr>
            <p:cNvPr id="216" name="Freeform: Shape 215">
              <a:extLst>
                <a:ext uri="{FF2B5EF4-FFF2-40B4-BE49-F238E27FC236}">
                  <a16:creationId xmlns:a16="http://schemas.microsoft.com/office/drawing/2014/main" id="{3CF69FB8-45CA-CDB3-DCC7-FD2211FD45FE}"/>
                </a:ext>
              </a:extLst>
            </p:cNvPr>
            <p:cNvSpPr/>
            <p:nvPr/>
          </p:nvSpPr>
          <p:spPr>
            <a:xfrm flipV="1">
              <a:off x="24266967" y="3575136"/>
              <a:ext cx="15855" cy="14379"/>
            </a:xfrm>
            <a:custGeom>
              <a:avLst/>
              <a:gdLst>
                <a:gd name="csX0" fmla="*/ 6933 w 15855"/>
                <a:gd name="csY0" fmla="*/ 7163 h 14379"/>
                <a:gd name="csX1" fmla="*/ -8923 w 15855"/>
                <a:gd name="csY1" fmla="*/ 7163 h 14379"/>
                <a:gd name="csX2" fmla="*/ -8923 w 15855"/>
                <a:gd name="csY2" fmla="*/ -7217 h 14379"/>
                <a:gd name="csX3" fmla="*/ 6933 w 15855"/>
                <a:gd name="csY3" fmla="*/ -7217 h 14379"/>
                <a:gd name="csX4" fmla="*/ 6933 w 15855"/>
                <a:gd name="csY4" fmla="*/ 7163 h 14379"/>
              </a:gdLst>
              <a:ahLst/>
              <a:cxnLst>
                <a:cxn ang="0">
                  <a:pos x="csX0" y="csY0"/>
                </a:cxn>
                <a:cxn ang="0">
                  <a:pos x="csX1" y="csY1"/>
                </a:cxn>
                <a:cxn ang="0">
                  <a:pos x="csX2" y="csY2"/>
                </a:cxn>
                <a:cxn ang="0">
                  <a:pos x="csX3" y="csY3"/>
                </a:cxn>
                <a:cxn ang="0">
                  <a:pos x="csX4" y="csY4"/>
                </a:cxn>
              </a:cxnLst>
              <a:rect l="l" t="t" r="r" b="b"/>
              <a:pathLst>
                <a:path w="15855" h="14379">
                  <a:moveTo>
                    <a:pt x="6933" y="7163"/>
                  </a:moveTo>
                  <a:lnTo>
                    <a:pt x="-8923" y="7163"/>
                  </a:lnTo>
                  <a:lnTo>
                    <a:pt x="-8923" y="-7217"/>
                  </a:lnTo>
                  <a:lnTo>
                    <a:pt x="6933" y="-7217"/>
                  </a:lnTo>
                  <a:lnTo>
                    <a:pt x="6933" y="7163"/>
                  </a:lnTo>
                </a:path>
              </a:pathLst>
            </a:custGeom>
            <a:grpFill/>
            <a:ln w="548" cap="flat">
              <a:noFill/>
              <a:prstDash val="solid"/>
              <a:miter/>
            </a:ln>
          </p:spPr>
          <p:txBody>
            <a:bodyPr/>
            <a:lstStyle/>
            <a:p>
              <a:endParaRPr lang="en-US"/>
            </a:p>
          </p:txBody>
        </p:sp>
        <p:sp>
          <p:nvSpPr>
            <p:cNvPr id="217" name="Freeform: Shape 216">
              <a:extLst>
                <a:ext uri="{FF2B5EF4-FFF2-40B4-BE49-F238E27FC236}">
                  <a16:creationId xmlns:a16="http://schemas.microsoft.com/office/drawing/2014/main" id="{6DF74925-A00F-2140-9061-5A7267D827E0}"/>
                </a:ext>
              </a:extLst>
            </p:cNvPr>
            <p:cNvSpPr/>
            <p:nvPr/>
          </p:nvSpPr>
          <p:spPr>
            <a:xfrm flipV="1">
              <a:off x="24266967" y="3558353"/>
              <a:ext cx="15855" cy="14379"/>
            </a:xfrm>
            <a:custGeom>
              <a:avLst/>
              <a:gdLst>
                <a:gd name="csX0" fmla="*/ 6933 w 15855"/>
                <a:gd name="csY0" fmla="*/ 7123 h 14379"/>
                <a:gd name="csX1" fmla="*/ -8923 w 15855"/>
                <a:gd name="csY1" fmla="*/ 7123 h 14379"/>
                <a:gd name="csX2" fmla="*/ -8923 w 15855"/>
                <a:gd name="csY2" fmla="*/ -7257 h 14379"/>
                <a:gd name="csX3" fmla="*/ 6933 w 15855"/>
                <a:gd name="csY3" fmla="*/ -7257 h 14379"/>
                <a:gd name="csX4" fmla="*/ 6933 w 15855"/>
                <a:gd name="csY4" fmla="*/ 7123 h 14379"/>
              </a:gdLst>
              <a:ahLst/>
              <a:cxnLst>
                <a:cxn ang="0">
                  <a:pos x="csX0" y="csY0"/>
                </a:cxn>
                <a:cxn ang="0">
                  <a:pos x="csX1" y="csY1"/>
                </a:cxn>
                <a:cxn ang="0">
                  <a:pos x="csX2" y="csY2"/>
                </a:cxn>
                <a:cxn ang="0">
                  <a:pos x="csX3" y="csY3"/>
                </a:cxn>
                <a:cxn ang="0">
                  <a:pos x="csX4" y="csY4"/>
                </a:cxn>
              </a:cxnLst>
              <a:rect l="l" t="t" r="r" b="b"/>
              <a:pathLst>
                <a:path w="15855" h="14379">
                  <a:moveTo>
                    <a:pt x="6933" y="7123"/>
                  </a:moveTo>
                  <a:lnTo>
                    <a:pt x="-8923" y="7123"/>
                  </a:lnTo>
                  <a:lnTo>
                    <a:pt x="-8923" y="-7257"/>
                  </a:lnTo>
                  <a:lnTo>
                    <a:pt x="6933" y="-7257"/>
                  </a:lnTo>
                  <a:lnTo>
                    <a:pt x="6933" y="7123"/>
                  </a:lnTo>
                </a:path>
              </a:pathLst>
            </a:custGeom>
            <a:grpFill/>
            <a:ln w="548" cap="flat">
              <a:noFill/>
              <a:prstDash val="solid"/>
              <a:miter/>
            </a:ln>
          </p:spPr>
          <p:txBody>
            <a:bodyPr/>
            <a:lstStyle/>
            <a:p>
              <a:endParaRPr lang="en-US"/>
            </a:p>
          </p:txBody>
        </p:sp>
        <p:sp>
          <p:nvSpPr>
            <p:cNvPr id="218" name="Freeform: Shape 217">
              <a:extLst>
                <a:ext uri="{FF2B5EF4-FFF2-40B4-BE49-F238E27FC236}">
                  <a16:creationId xmlns:a16="http://schemas.microsoft.com/office/drawing/2014/main" id="{44A63FB8-6F23-18CE-0174-356A77910E6D}"/>
                </a:ext>
              </a:extLst>
            </p:cNvPr>
            <p:cNvSpPr/>
            <p:nvPr/>
          </p:nvSpPr>
          <p:spPr>
            <a:xfrm flipV="1">
              <a:off x="24266967" y="3541575"/>
              <a:ext cx="15855" cy="14379"/>
            </a:xfrm>
            <a:custGeom>
              <a:avLst/>
              <a:gdLst>
                <a:gd name="csX0" fmla="*/ 6933 w 15855"/>
                <a:gd name="csY0" fmla="*/ 7083 h 14379"/>
                <a:gd name="csX1" fmla="*/ -8923 w 15855"/>
                <a:gd name="csY1" fmla="*/ 7083 h 14379"/>
                <a:gd name="csX2" fmla="*/ -8923 w 15855"/>
                <a:gd name="csY2" fmla="*/ -7297 h 14379"/>
                <a:gd name="csX3" fmla="*/ 6933 w 15855"/>
                <a:gd name="csY3" fmla="*/ -7297 h 14379"/>
                <a:gd name="csX4" fmla="*/ 6933 w 15855"/>
                <a:gd name="csY4" fmla="*/ 7083 h 14379"/>
              </a:gdLst>
              <a:ahLst/>
              <a:cxnLst>
                <a:cxn ang="0">
                  <a:pos x="csX0" y="csY0"/>
                </a:cxn>
                <a:cxn ang="0">
                  <a:pos x="csX1" y="csY1"/>
                </a:cxn>
                <a:cxn ang="0">
                  <a:pos x="csX2" y="csY2"/>
                </a:cxn>
                <a:cxn ang="0">
                  <a:pos x="csX3" y="csY3"/>
                </a:cxn>
                <a:cxn ang="0">
                  <a:pos x="csX4" y="csY4"/>
                </a:cxn>
              </a:cxnLst>
              <a:rect l="l" t="t" r="r" b="b"/>
              <a:pathLst>
                <a:path w="15855" h="14379">
                  <a:moveTo>
                    <a:pt x="6933" y="7083"/>
                  </a:moveTo>
                  <a:lnTo>
                    <a:pt x="-8923" y="7083"/>
                  </a:lnTo>
                  <a:lnTo>
                    <a:pt x="-8923" y="-7297"/>
                  </a:lnTo>
                  <a:lnTo>
                    <a:pt x="6933" y="-7297"/>
                  </a:lnTo>
                  <a:lnTo>
                    <a:pt x="6933" y="7083"/>
                  </a:lnTo>
                </a:path>
              </a:pathLst>
            </a:custGeom>
            <a:grpFill/>
            <a:ln w="548" cap="flat">
              <a:noFill/>
              <a:prstDash val="solid"/>
              <a:miter/>
            </a:ln>
          </p:spPr>
          <p:txBody>
            <a:bodyPr/>
            <a:lstStyle/>
            <a:p>
              <a:endParaRPr lang="en-US"/>
            </a:p>
          </p:txBody>
        </p:sp>
        <p:sp>
          <p:nvSpPr>
            <p:cNvPr id="219" name="Freeform: Shape 218">
              <a:extLst>
                <a:ext uri="{FF2B5EF4-FFF2-40B4-BE49-F238E27FC236}">
                  <a16:creationId xmlns:a16="http://schemas.microsoft.com/office/drawing/2014/main" id="{DD7584EE-9866-2F09-4CDE-6E62A8F21DD0}"/>
                </a:ext>
              </a:extLst>
            </p:cNvPr>
            <p:cNvSpPr/>
            <p:nvPr/>
          </p:nvSpPr>
          <p:spPr>
            <a:xfrm flipV="1">
              <a:off x="24266967" y="3591919"/>
              <a:ext cx="15855" cy="14379"/>
            </a:xfrm>
            <a:custGeom>
              <a:avLst/>
              <a:gdLst>
                <a:gd name="csX0" fmla="*/ 6933 w 15855"/>
                <a:gd name="csY0" fmla="*/ 7204 h 14379"/>
                <a:gd name="csX1" fmla="*/ -8923 w 15855"/>
                <a:gd name="csY1" fmla="*/ 7204 h 14379"/>
                <a:gd name="csX2" fmla="*/ -8923 w 15855"/>
                <a:gd name="csY2" fmla="*/ -7176 h 14379"/>
                <a:gd name="csX3" fmla="*/ 6933 w 15855"/>
                <a:gd name="csY3" fmla="*/ -7176 h 14379"/>
                <a:gd name="csX4" fmla="*/ 6933 w 15855"/>
                <a:gd name="csY4" fmla="*/ 7204 h 14379"/>
              </a:gdLst>
              <a:ahLst/>
              <a:cxnLst>
                <a:cxn ang="0">
                  <a:pos x="csX0" y="csY0"/>
                </a:cxn>
                <a:cxn ang="0">
                  <a:pos x="csX1" y="csY1"/>
                </a:cxn>
                <a:cxn ang="0">
                  <a:pos x="csX2" y="csY2"/>
                </a:cxn>
                <a:cxn ang="0">
                  <a:pos x="csX3" y="csY3"/>
                </a:cxn>
                <a:cxn ang="0">
                  <a:pos x="csX4" y="csY4"/>
                </a:cxn>
              </a:cxnLst>
              <a:rect l="l" t="t" r="r" b="b"/>
              <a:pathLst>
                <a:path w="15855" h="14379">
                  <a:moveTo>
                    <a:pt x="6933" y="7204"/>
                  </a:moveTo>
                  <a:lnTo>
                    <a:pt x="-8923" y="7204"/>
                  </a:lnTo>
                  <a:lnTo>
                    <a:pt x="-8923" y="-7176"/>
                  </a:lnTo>
                  <a:lnTo>
                    <a:pt x="6933" y="-7176"/>
                  </a:lnTo>
                  <a:lnTo>
                    <a:pt x="6933" y="7204"/>
                  </a:lnTo>
                </a:path>
              </a:pathLst>
            </a:custGeom>
            <a:grpFill/>
            <a:ln w="548" cap="flat">
              <a:noFill/>
              <a:prstDash val="solid"/>
              <a:miter/>
            </a:ln>
          </p:spPr>
          <p:txBody>
            <a:bodyPr/>
            <a:lstStyle/>
            <a:p>
              <a:endParaRPr lang="en-US"/>
            </a:p>
          </p:txBody>
        </p:sp>
        <p:sp>
          <p:nvSpPr>
            <p:cNvPr id="220" name="Freeform: Shape 219">
              <a:extLst>
                <a:ext uri="{FF2B5EF4-FFF2-40B4-BE49-F238E27FC236}">
                  <a16:creationId xmlns:a16="http://schemas.microsoft.com/office/drawing/2014/main" id="{5074BBD0-CC79-83D8-B908-4C2E9A0D3E70}"/>
                </a:ext>
              </a:extLst>
            </p:cNvPr>
            <p:cNvSpPr/>
            <p:nvPr/>
          </p:nvSpPr>
          <p:spPr>
            <a:xfrm flipV="1">
              <a:off x="24266967" y="3625485"/>
              <a:ext cx="15855" cy="14374"/>
            </a:xfrm>
            <a:custGeom>
              <a:avLst/>
              <a:gdLst>
                <a:gd name="csX0" fmla="*/ 6933 w 15855"/>
                <a:gd name="csY0" fmla="*/ 7279 h 14374"/>
                <a:gd name="csX1" fmla="*/ -8923 w 15855"/>
                <a:gd name="csY1" fmla="*/ 7279 h 14374"/>
                <a:gd name="csX2" fmla="*/ -8923 w 15855"/>
                <a:gd name="csY2" fmla="*/ -7095 h 14374"/>
                <a:gd name="csX3" fmla="*/ 6933 w 15855"/>
                <a:gd name="csY3" fmla="*/ -7095 h 14374"/>
                <a:gd name="csX4" fmla="*/ 6933 w 15855"/>
                <a:gd name="csY4" fmla="*/ 7279 h 14374"/>
              </a:gdLst>
              <a:ahLst/>
              <a:cxnLst>
                <a:cxn ang="0">
                  <a:pos x="csX0" y="csY0"/>
                </a:cxn>
                <a:cxn ang="0">
                  <a:pos x="csX1" y="csY1"/>
                </a:cxn>
                <a:cxn ang="0">
                  <a:pos x="csX2" y="csY2"/>
                </a:cxn>
                <a:cxn ang="0">
                  <a:pos x="csX3" y="csY3"/>
                </a:cxn>
                <a:cxn ang="0">
                  <a:pos x="csX4" y="csY4"/>
                </a:cxn>
              </a:cxnLst>
              <a:rect l="l" t="t" r="r" b="b"/>
              <a:pathLst>
                <a:path w="15855" h="14374">
                  <a:moveTo>
                    <a:pt x="6933" y="7279"/>
                  </a:moveTo>
                  <a:lnTo>
                    <a:pt x="-8923" y="7279"/>
                  </a:lnTo>
                  <a:lnTo>
                    <a:pt x="-8923" y="-7095"/>
                  </a:lnTo>
                  <a:lnTo>
                    <a:pt x="6933" y="-7095"/>
                  </a:lnTo>
                  <a:lnTo>
                    <a:pt x="6933" y="7279"/>
                  </a:lnTo>
                </a:path>
              </a:pathLst>
            </a:custGeom>
            <a:grpFill/>
            <a:ln w="548" cap="flat">
              <a:noFill/>
              <a:prstDash val="solid"/>
              <a:miter/>
            </a:ln>
          </p:spPr>
          <p:txBody>
            <a:bodyPr/>
            <a:lstStyle/>
            <a:p>
              <a:endParaRPr lang="en-US"/>
            </a:p>
          </p:txBody>
        </p:sp>
        <p:sp>
          <p:nvSpPr>
            <p:cNvPr id="221" name="Freeform: Shape 220">
              <a:extLst>
                <a:ext uri="{FF2B5EF4-FFF2-40B4-BE49-F238E27FC236}">
                  <a16:creationId xmlns:a16="http://schemas.microsoft.com/office/drawing/2014/main" id="{55773863-9E3E-7BD9-8C0B-3DB809EBE02F}"/>
                </a:ext>
              </a:extLst>
            </p:cNvPr>
            <p:cNvSpPr/>
            <p:nvPr/>
          </p:nvSpPr>
          <p:spPr>
            <a:xfrm flipV="1">
              <a:off x="24266967" y="3659045"/>
              <a:ext cx="15855" cy="14313"/>
            </a:xfrm>
            <a:custGeom>
              <a:avLst/>
              <a:gdLst>
                <a:gd name="csX0" fmla="*/ 6933 w 15855"/>
                <a:gd name="csY0" fmla="*/ 7299 h 14313"/>
                <a:gd name="csX1" fmla="*/ -8923 w 15855"/>
                <a:gd name="csY1" fmla="*/ 7299 h 14313"/>
                <a:gd name="csX2" fmla="*/ -8923 w 15855"/>
                <a:gd name="csY2" fmla="*/ -7015 h 14313"/>
                <a:gd name="csX3" fmla="*/ 6933 w 15855"/>
                <a:gd name="csY3" fmla="*/ -7015 h 14313"/>
                <a:gd name="csX4" fmla="*/ 6933 w 15855"/>
                <a:gd name="csY4" fmla="*/ 7299 h 14313"/>
              </a:gdLst>
              <a:ahLst/>
              <a:cxnLst>
                <a:cxn ang="0">
                  <a:pos x="csX0" y="csY0"/>
                </a:cxn>
                <a:cxn ang="0">
                  <a:pos x="csX1" y="csY1"/>
                </a:cxn>
                <a:cxn ang="0">
                  <a:pos x="csX2" y="csY2"/>
                </a:cxn>
                <a:cxn ang="0">
                  <a:pos x="csX3" y="csY3"/>
                </a:cxn>
                <a:cxn ang="0">
                  <a:pos x="csX4" y="csY4"/>
                </a:cxn>
              </a:cxnLst>
              <a:rect l="l" t="t" r="r" b="b"/>
              <a:pathLst>
                <a:path w="15855" h="14313">
                  <a:moveTo>
                    <a:pt x="6933" y="7299"/>
                  </a:moveTo>
                  <a:lnTo>
                    <a:pt x="-8923" y="7299"/>
                  </a:lnTo>
                  <a:lnTo>
                    <a:pt x="-8923" y="-7015"/>
                  </a:lnTo>
                  <a:lnTo>
                    <a:pt x="6933" y="-7015"/>
                  </a:lnTo>
                  <a:lnTo>
                    <a:pt x="6933" y="7299"/>
                  </a:lnTo>
                </a:path>
              </a:pathLst>
            </a:custGeom>
            <a:grpFill/>
            <a:ln w="548" cap="flat">
              <a:noFill/>
              <a:prstDash val="solid"/>
              <a:miter/>
            </a:ln>
          </p:spPr>
          <p:txBody>
            <a:bodyPr/>
            <a:lstStyle/>
            <a:p>
              <a:endParaRPr lang="en-US"/>
            </a:p>
          </p:txBody>
        </p:sp>
        <p:sp>
          <p:nvSpPr>
            <p:cNvPr id="222" name="Freeform: Shape 221">
              <a:extLst>
                <a:ext uri="{FF2B5EF4-FFF2-40B4-BE49-F238E27FC236}">
                  <a16:creationId xmlns:a16="http://schemas.microsoft.com/office/drawing/2014/main" id="{E65B81D8-A3B4-D017-B78B-BD2BED4B4E05}"/>
                </a:ext>
              </a:extLst>
            </p:cNvPr>
            <p:cNvSpPr/>
            <p:nvPr/>
          </p:nvSpPr>
          <p:spPr>
            <a:xfrm flipV="1">
              <a:off x="24266967" y="3526916"/>
              <a:ext cx="15855" cy="12256"/>
            </a:xfrm>
            <a:custGeom>
              <a:avLst/>
              <a:gdLst>
                <a:gd name="csX0" fmla="*/ 6933 w 15855"/>
                <a:gd name="csY0" fmla="*/ 4921 h 12256"/>
                <a:gd name="csX1" fmla="*/ -8923 w 15855"/>
                <a:gd name="csY1" fmla="*/ 4921 h 12256"/>
                <a:gd name="csX2" fmla="*/ -8923 w 15855"/>
                <a:gd name="csY2" fmla="*/ -7335 h 12256"/>
                <a:gd name="csX3" fmla="*/ 6933 w 15855"/>
                <a:gd name="csY3" fmla="*/ -7335 h 12256"/>
                <a:gd name="csX4" fmla="*/ 6933 w 15855"/>
                <a:gd name="csY4" fmla="*/ 4921 h 12256"/>
              </a:gdLst>
              <a:ahLst/>
              <a:cxnLst>
                <a:cxn ang="0">
                  <a:pos x="csX0" y="csY0"/>
                </a:cxn>
                <a:cxn ang="0">
                  <a:pos x="csX1" y="csY1"/>
                </a:cxn>
                <a:cxn ang="0">
                  <a:pos x="csX2" y="csY2"/>
                </a:cxn>
                <a:cxn ang="0">
                  <a:pos x="csX3" y="csY3"/>
                </a:cxn>
                <a:cxn ang="0">
                  <a:pos x="csX4" y="csY4"/>
                </a:cxn>
              </a:cxnLst>
              <a:rect l="l" t="t" r="r" b="b"/>
              <a:pathLst>
                <a:path w="15855" h="12256">
                  <a:moveTo>
                    <a:pt x="6933" y="4921"/>
                  </a:moveTo>
                  <a:lnTo>
                    <a:pt x="-8923" y="4921"/>
                  </a:lnTo>
                  <a:lnTo>
                    <a:pt x="-8923" y="-7335"/>
                  </a:lnTo>
                  <a:lnTo>
                    <a:pt x="6933" y="-7335"/>
                  </a:lnTo>
                  <a:lnTo>
                    <a:pt x="6933" y="4921"/>
                  </a:lnTo>
                </a:path>
              </a:pathLst>
            </a:custGeom>
            <a:grpFill/>
            <a:ln w="548" cap="flat">
              <a:noFill/>
              <a:prstDash val="solid"/>
              <a:miter/>
            </a:ln>
          </p:spPr>
          <p:txBody>
            <a:bodyPr/>
            <a:lstStyle/>
            <a:p>
              <a:endParaRPr lang="en-US"/>
            </a:p>
          </p:txBody>
        </p:sp>
        <p:sp>
          <p:nvSpPr>
            <p:cNvPr id="223" name="Freeform: Shape 222">
              <a:extLst>
                <a:ext uri="{FF2B5EF4-FFF2-40B4-BE49-F238E27FC236}">
                  <a16:creationId xmlns:a16="http://schemas.microsoft.com/office/drawing/2014/main" id="{0D966315-35B3-DFF5-4396-272305DBB967}"/>
                </a:ext>
              </a:extLst>
            </p:cNvPr>
            <p:cNvSpPr/>
            <p:nvPr/>
          </p:nvSpPr>
          <p:spPr>
            <a:xfrm flipV="1">
              <a:off x="24266967" y="3608702"/>
              <a:ext cx="15855" cy="14379"/>
            </a:xfrm>
            <a:custGeom>
              <a:avLst/>
              <a:gdLst>
                <a:gd name="csX0" fmla="*/ 6933 w 15855"/>
                <a:gd name="csY0" fmla="*/ 7244 h 14379"/>
                <a:gd name="csX1" fmla="*/ -8923 w 15855"/>
                <a:gd name="csY1" fmla="*/ 7244 h 14379"/>
                <a:gd name="csX2" fmla="*/ -8923 w 15855"/>
                <a:gd name="csY2" fmla="*/ -7136 h 14379"/>
                <a:gd name="csX3" fmla="*/ 6933 w 15855"/>
                <a:gd name="csY3" fmla="*/ -7136 h 14379"/>
                <a:gd name="csX4" fmla="*/ 6933 w 15855"/>
                <a:gd name="csY4" fmla="*/ 7244 h 14379"/>
              </a:gdLst>
              <a:ahLst/>
              <a:cxnLst>
                <a:cxn ang="0">
                  <a:pos x="csX0" y="csY0"/>
                </a:cxn>
                <a:cxn ang="0">
                  <a:pos x="csX1" y="csY1"/>
                </a:cxn>
                <a:cxn ang="0">
                  <a:pos x="csX2" y="csY2"/>
                </a:cxn>
                <a:cxn ang="0">
                  <a:pos x="csX3" y="csY3"/>
                </a:cxn>
                <a:cxn ang="0">
                  <a:pos x="csX4" y="csY4"/>
                </a:cxn>
              </a:cxnLst>
              <a:rect l="l" t="t" r="r" b="b"/>
              <a:pathLst>
                <a:path w="15855" h="14379">
                  <a:moveTo>
                    <a:pt x="6933" y="7244"/>
                  </a:moveTo>
                  <a:lnTo>
                    <a:pt x="-8923" y="7244"/>
                  </a:lnTo>
                  <a:lnTo>
                    <a:pt x="-8923" y="-7136"/>
                  </a:lnTo>
                  <a:lnTo>
                    <a:pt x="6933" y="-7136"/>
                  </a:lnTo>
                  <a:lnTo>
                    <a:pt x="6933" y="7244"/>
                  </a:lnTo>
                </a:path>
              </a:pathLst>
            </a:custGeom>
            <a:grpFill/>
            <a:ln w="548" cap="flat">
              <a:noFill/>
              <a:prstDash val="solid"/>
              <a:miter/>
            </a:ln>
          </p:spPr>
          <p:txBody>
            <a:bodyPr/>
            <a:lstStyle/>
            <a:p>
              <a:endParaRPr lang="en-US"/>
            </a:p>
          </p:txBody>
        </p:sp>
        <p:sp>
          <p:nvSpPr>
            <p:cNvPr id="224" name="Freeform: Shape 223">
              <a:extLst>
                <a:ext uri="{FF2B5EF4-FFF2-40B4-BE49-F238E27FC236}">
                  <a16:creationId xmlns:a16="http://schemas.microsoft.com/office/drawing/2014/main" id="{BD9A5ED0-AA6A-F35A-C75D-B8859466D4E1}"/>
                </a:ext>
              </a:extLst>
            </p:cNvPr>
            <p:cNvSpPr/>
            <p:nvPr/>
          </p:nvSpPr>
          <p:spPr>
            <a:xfrm flipV="1">
              <a:off x="24266967" y="3642267"/>
              <a:ext cx="15855" cy="14374"/>
            </a:xfrm>
            <a:custGeom>
              <a:avLst/>
              <a:gdLst>
                <a:gd name="csX0" fmla="*/ 6933 w 15855"/>
                <a:gd name="csY0" fmla="*/ 7319 h 14374"/>
                <a:gd name="csX1" fmla="*/ -8923 w 15855"/>
                <a:gd name="csY1" fmla="*/ 7319 h 14374"/>
                <a:gd name="csX2" fmla="*/ -8923 w 15855"/>
                <a:gd name="csY2" fmla="*/ -7055 h 14374"/>
                <a:gd name="csX3" fmla="*/ 6933 w 15855"/>
                <a:gd name="csY3" fmla="*/ -7055 h 14374"/>
                <a:gd name="csX4" fmla="*/ 6933 w 15855"/>
                <a:gd name="csY4" fmla="*/ 7319 h 14374"/>
              </a:gdLst>
              <a:ahLst/>
              <a:cxnLst>
                <a:cxn ang="0">
                  <a:pos x="csX0" y="csY0"/>
                </a:cxn>
                <a:cxn ang="0">
                  <a:pos x="csX1" y="csY1"/>
                </a:cxn>
                <a:cxn ang="0">
                  <a:pos x="csX2" y="csY2"/>
                </a:cxn>
                <a:cxn ang="0">
                  <a:pos x="csX3" y="csY3"/>
                </a:cxn>
                <a:cxn ang="0">
                  <a:pos x="csX4" y="csY4"/>
                </a:cxn>
              </a:cxnLst>
              <a:rect l="l" t="t" r="r" b="b"/>
              <a:pathLst>
                <a:path w="15855" h="14374">
                  <a:moveTo>
                    <a:pt x="6933" y="7319"/>
                  </a:moveTo>
                  <a:lnTo>
                    <a:pt x="-8923" y="7319"/>
                  </a:lnTo>
                  <a:lnTo>
                    <a:pt x="-8923" y="-7055"/>
                  </a:lnTo>
                  <a:lnTo>
                    <a:pt x="6933" y="-7055"/>
                  </a:lnTo>
                  <a:lnTo>
                    <a:pt x="6933" y="7319"/>
                  </a:lnTo>
                </a:path>
              </a:pathLst>
            </a:custGeom>
            <a:grpFill/>
            <a:ln w="548" cap="flat">
              <a:noFill/>
              <a:prstDash val="solid"/>
              <a:miter/>
            </a:ln>
          </p:spPr>
          <p:txBody>
            <a:bodyPr/>
            <a:lstStyle/>
            <a:p>
              <a:endParaRPr lang="en-US"/>
            </a:p>
          </p:txBody>
        </p:sp>
        <p:sp>
          <p:nvSpPr>
            <p:cNvPr id="225" name="Freeform: Shape 224">
              <a:extLst>
                <a:ext uri="{FF2B5EF4-FFF2-40B4-BE49-F238E27FC236}">
                  <a16:creationId xmlns:a16="http://schemas.microsoft.com/office/drawing/2014/main" id="{2AA26627-2FCF-5DEA-45DB-E7CE3AEB88FC}"/>
                </a:ext>
              </a:extLst>
            </p:cNvPr>
            <p:cNvSpPr/>
            <p:nvPr/>
          </p:nvSpPr>
          <p:spPr>
            <a:xfrm flipV="1">
              <a:off x="24317387" y="3112139"/>
              <a:ext cx="15855" cy="12256"/>
            </a:xfrm>
            <a:custGeom>
              <a:avLst/>
              <a:gdLst>
                <a:gd name="csX0" fmla="*/ -8985 w 15855"/>
                <a:gd name="csY0" fmla="*/ -8333 h 12256"/>
                <a:gd name="csX1" fmla="*/ 6871 w 15855"/>
                <a:gd name="csY1" fmla="*/ -8333 h 12256"/>
                <a:gd name="csX2" fmla="*/ 6871 w 15855"/>
                <a:gd name="csY2" fmla="*/ 3923 h 12256"/>
                <a:gd name="csX3" fmla="*/ -8985 w 15855"/>
                <a:gd name="csY3" fmla="*/ 3923 h 12256"/>
                <a:gd name="csX4" fmla="*/ -8985 w 15855"/>
                <a:gd name="csY4" fmla="*/ -8333 h 12256"/>
              </a:gdLst>
              <a:ahLst/>
              <a:cxnLst>
                <a:cxn ang="0">
                  <a:pos x="csX0" y="csY0"/>
                </a:cxn>
                <a:cxn ang="0">
                  <a:pos x="csX1" y="csY1"/>
                </a:cxn>
                <a:cxn ang="0">
                  <a:pos x="csX2" y="csY2"/>
                </a:cxn>
                <a:cxn ang="0">
                  <a:pos x="csX3" y="csY3"/>
                </a:cxn>
                <a:cxn ang="0">
                  <a:pos x="csX4" y="csY4"/>
                </a:cxn>
              </a:cxnLst>
              <a:rect l="l" t="t" r="r" b="b"/>
              <a:pathLst>
                <a:path w="15855" h="12256">
                  <a:moveTo>
                    <a:pt x="-8985" y="-8333"/>
                  </a:moveTo>
                  <a:lnTo>
                    <a:pt x="6871" y="-8333"/>
                  </a:lnTo>
                  <a:lnTo>
                    <a:pt x="6871" y="3923"/>
                  </a:lnTo>
                  <a:lnTo>
                    <a:pt x="-8985" y="3923"/>
                  </a:lnTo>
                  <a:lnTo>
                    <a:pt x="-8985" y="-8333"/>
                  </a:lnTo>
                </a:path>
              </a:pathLst>
            </a:custGeom>
            <a:grpFill/>
            <a:ln w="548" cap="flat">
              <a:noFill/>
              <a:prstDash val="solid"/>
              <a:miter/>
            </a:ln>
          </p:spPr>
          <p:txBody>
            <a:bodyPr/>
            <a:lstStyle/>
            <a:p>
              <a:endParaRPr lang="en-US"/>
            </a:p>
          </p:txBody>
        </p:sp>
        <p:sp>
          <p:nvSpPr>
            <p:cNvPr id="226" name="Freeform: Shape 225">
              <a:extLst>
                <a:ext uri="{FF2B5EF4-FFF2-40B4-BE49-F238E27FC236}">
                  <a16:creationId xmlns:a16="http://schemas.microsoft.com/office/drawing/2014/main" id="{F85D28B1-5607-741B-DFA0-800E7596707A}"/>
                </a:ext>
              </a:extLst>
            </p:cNvPr>
            <p:cNvSpPr/>
            <p:nvPr/>
          </p:nvSpPr>
          <p:spPr>
            <a:xfrm flipV="1">
              <a:off x="24317387" y="3126798"/>
              <a:ext cx="15855" cy="12262"/>
            </a:xfrm>
            <a:custGeom>
              <a:avLst/>
              <a:gdLst>
                <a:gd name="csX0" fmla="*/ -8985 w 15855"/>
                <a:gd name="csY0" fmla="*/ -8298 h 12262"/>
                <a:gd name="csX1" fmla="*/ 6871 w 15855"/>
                <a:gd name="csY1" fmla="*/ -8298 h 12262"/>
                <a:gd name="csX2" fmla="*/ 6871 w 15855"/>
                <a:gd name="csY2" fmla="*/ 3965 h 12262"/>
                <a:gd name="csX3" fmla="*/ -8985 w 15855"/>
                <a:gd name="csY3" fmla="*/ 3965 h 12262"/>
                <a:gd name="csX4" fmla="*/ -8985 w 15855"/>
                <a:gd name="csY4" fmla="*/ -8298 h 12262"/>
              </a:gdLst>
              <a:ahLst/>
              <a:cxnLst>
                <a:cxn ang="0">
                  <a:pos x="csX0" y="csY0"/>
                </a:cxn>
                <a:cxn ang="0">
                  <a:pos x="csX1" y="csY1"/>
                </a:cxn>
                <a:cxn ang="0">
                  <a:pos x="csX2" y="csY2"/>
                </a:cxn>
                <a:cxn ang="0">
                  <a:pos x="csX3" y="csY3"/>
                </a:cxn>
                <a:cxn ang="0">
                  <a:pos x="csX4" y="csY4"/>
                </a:cxn>
              </a:cxnLst>
              <a:rect l="l" t="t" r="r" b="b"/>
              <a:pathLst>
                <a:path w="15855" h="12262">
                  <a:moveTo>
                    <a:pt x="-8985" y="-8298"/>
                  </a:moveTo>
                  <a:lnTo>
                    <a:pt x="6871" y="-8298"/>
                  </a:lnTo>
                  <a:lnTo>
                    <a:pt x="6871" y="3965"/>
                  </a:lnTo>
                  <a:lnTo>
                    <a:pt x="-8985" y="3965"/>
                  </a:lnTo>
                  <a:lnTo>
                    <a:pt x="-8985" y="-8298"/>
                  </a:lnTo>
                </a:path>
              </a:pathLst>
            </a:custGeom>
            <a:grpFill/>
            <a:ln w="548" cap="flat">
              <a:noFill/>
              <a:prstDash val="solid"/>
              <a:miter/>
            </a:ln>
          </p:spPr>
          <p:txBody>
            <a:bodyPr/>
            <a:lstStyle/>
            <a:p>
              <a:endParaRPr lang="en-US"/>
            </a:p>
          </p:txBody>
        </p:sp>
        <p:sp>
          <p:nvSpPr>
            <p:cNvPr id="227" name="Freeform: Shape 226">
              <a:extLst>
                <a:ext uri="{FF2B5EF4-FFF2-40B4-BE49-F238E27FC236}">
                  <a16:creationId xmlns:a16="http://schemas.microsoft.com/office/drawing/2014/main" id="{1BF7DB06-F457-4C37-3626-5EEFCE5C8E0D}"/>
                </a:ext>
              </a:extLst>
            </p:cNvPr>
            <p:cNvSpPr/>
            <p:nvPr/>
          </p:nvSpPr>
          <p:spPr>
            <a:xfrm flipV="1">
              <a:off x="24317387" y="3220928"/>
              <a:ext cx="15855" cy="14374"/>
            </a:xfrm>
            <a:custGeom>
              <a:avLst/>
              <a:gdLst>
                <a:gd name="csX0" fmla="*/ -8985 w 15855"/>
                <a:gd name="csY0" fmla="*/ -8069 h 14374"/>
                <a:gd name="csX1" fmla="*/ 6871 w 15855"/>
                <a:gd name="csY1" fmla="*/ -8069 h 14374"/>
                <a:gd name="csX2" fmla="*/ 6871 w 15855"/>
                <a:gd name="csY2" fmla="*/ 6306 h 14374"/>
                <a:gd name="csX3" fmla="*/ -8985 w 15855"/>
                <a:gd name="csY3" fmla="*/ 6306 h 14374"/>
                <a:gd name="csX4" fmla="*/ -8985 w 15855"/>
                <a:gd name="csY4" fmla="*/ -8069 h 14374"/>
              </a:gdLst>
              <a:ahLst/>
              <a:cxnLst>
                <a:cxn ang="0">
                  <a:pos x="csX0" y="csY0"/>
                </a:cxn>
                <a:cxn ang="0">
                  <a:pos x="csX1" y="csY1"/>
                </a:cxn>
                <a:cxn ang="0">
                  <a:pos x="csX2" y="csY2"/>
                </a:cxn>
                <a:cxn ang="0">
                  <a:pos x="csX3" y="csY3"/>
                </a:cxn>
                <a:cxn ang="0">
                  <a:pos x="csX4" y="csY4"/>
                </a:cxn>
              </a:cxnLst>
              <a:rect l="l" t="t" r="r" b="b"/>
              <a:pathLst>
                <a:path w="15855" h="14374">
                  <a:moveTo>
                    <a:pt x="-8985" y="-8069"/>
                  </a:moveTo>
                  <a:lnTo>
                    <a:pt x="6871" y="-8069"/>
                  </a:lnTo>
                  <a:lnTo>
                    <a:pt x="6871" y="6306"/>
                  </a:lnTo>
                  <a:lnTo>
                    <a:pt x="-8985" y="6306"/>
                  </a:lnTo>
                  <a:lnTo>
                    <a:pt x="-8985" y="-8069"/>
                  </a:lnTo>
                </a:path>
              </a:pathLst>
            </a:custGeom>
            <a:grpFill/>
            <a:ln w="548" cap="flat">
              <a:noFill/>
              <a:prstDash val="solid"/>
              <a:miter/>
            </a:ln>
          </p:spPr>
          <p:txBody>
            <a:bodyPr/>
            <a:lstStyle/>
            <a:p>
              <a:endParaRPr lang="en-US"/>
            </a:p>
          </p:txBody>
        </p:sp>
        <p:sp>
          <p:nvSpPr>
            <p:cNvPr id="228" name="Freeform: Shape 227">
              <a:extLst>
                <a:ext uri="{FF2B5EF4-FFF2-40B4-BE49-F238E27FC236}">
                  <a16:creationId xmlns:a16="http://schemas.microsoft.com/office/drawing/2014/main" id="{7F33BCFE-BE06-08D3-80EA-BF297277733D}"/>
                </a:ext>
              </a:extLst>
            </p:cNvPr>
            <p:cNvSpPr/>
            <p:nvPr/>
          </p:nvSpPr>
          <p:spPr>
            <a:xfrm flipV="1">
              <a:off x="24317387" y="3254489"/>
              <a:ext cx="15855" cy="14379"/>
            </a:xfrm>
            <a:custGeom>
              <a:avLst/>
              <a:gdLst>
                <a:gd name="csX0" fmla="*/ -8985 w 15855"/>
                <a:gd name="csY0" fmla="*/ -7988 h 14379"/>
                <a:gd name="csX1" fmla="*/ 6871 w 15855"/>
                <a:gd name="csY1" fmla="*/ -7988 h 14379"/>
                <a:gd name="csX2" fmla="*/ 6871 w 15855"/>
                <a:gd name="csY2" fmla="*/ 6392 h 14379"/>
                <a:gd name="csX3" fmla="*/ -8985 w 15855"/>
                <a:gd name="csY3" fmla="*/ 6392 h 14379"/>
                <a:gd name="csX4" fmla="*/ -8985 w 15855"/>
                <a:gd name="csY4" fmla="*/ -7988 h 14379"/>
              </a:gdLst>
              <a:ahLst/>
              <a:cxnLst>
                <a:cxn ang="0">
                  <a:pos x="csX0" y="csY0"/>
                </a:cxn>
                <a:cxn ang="0">
                  <a:pos x="csX1" y="csY1"/>
                </a:cxn>
                <a:cxn ang="0">
                  <a:pos x="csX2" y="csY2"/>
                </a:cxn>
                <a:cxn ang="0">
                  <a:pos x="csX3" y="csY3"/>
                </a:cxn>
                <a:cxn ang="0">
                  <a:pos x="csX4" y="csY4"/>
                </a:cxn>
              </a:cxnLst>
              <a:rect l="l" t="t" r="r" b="b"/>
              <a:pathLst>
                <a:path w="15855" h="14379">
                  <a:moveTo>
                    <a:pt x="-8985" y="-7988"/>
                  </a:moveTo>
                  <a:lnTo>
                    <a:pt x="6871" y="-7988"/>
                  </a:lnTo>
                  <a:lnTo>
                    <a:pt x="6871" y="6392"/>
                  </a:lnTo>
                  <a:lnTo>
                    <a:pt x="-8985" y="6392"/>
                  </a:lnTo>
                  <a:lnTo>
                    <a:pt x="-8985" y="-7988"/>
                  </a:lnTo>
                </a:path>
              </a:pathLst>
            </a:custGeom>
            <a:grpFill/>
            <a:ln w="548" cap="flat">
              <a:noFill/>
              <a:prstDash val="solid"/>
              <a:miter/>
            </a:ln>
          </p:spPr>
          <p:txBody>
            <a:bodyPr/>
            <a:lstStyle/>
            <a:p>
              <a:endParaRPr lang="en-US"/>
            </a:p>
          </p:txBody>
        </p:sp>
        <p:sp>
          <p:nvSpPr>
            <p:cNvPr id="229" name="Freeform: Shape 228">
              <a:extLst>
                <a:ext uri="{FF2B5EF4-FFF2-40B4-BE49-F238E27FC236}">
                  <a16:creationId xmlns:a16="http://schemas.microsoft.com/office/drawing/2014/main" id="{773F00CE-BE0A-B28A-1F4C-9FB8636F2656}"/>
                </a:ext>
              </a:extLst>
            </p:cNvPr>
            <p:cNvSpPr/>
            <p:nvPr/>
          </p:nvSpPr>
          <p:spPr>
            <a:xfrm flipV="1">
              <a:off x="24317387" y="3237706"/>
              <a:ext cx="15855" cy="14379"/>
            </a:xfrm>
            <a:custGeom>
              <a:avLst/>
              <a:gdLst>
                <a:gd name="csX0" fmla="*/ -8985 w 15855"/>
                <a:gd name="csY0" fmla="*/ -8028 h 14379"/>
                <a:gd name="csX1" fmla="*/ 6871 w 15855"/>
                <a:gd name="csY1" fmla="*/ -8028 h 14379"/>
                <a:gd name="csX2" fmla="*/ 6871 w 15855"/>
                <a:gd name="csY2" fmla="*/ 6351 h 14379"/>
                <a:gd name="csX3" fmla="*/ -8985 w 15855"/>
                <a:gd name="csY3" fmla="*/ 6351 h 14379"/>
                <a:gd name="csX4" fmla="*/ -8985 w 15855"/>
                <a:gd name="csY4" fmla="*/ -8028 h 14379"/>
              </a:gdLst>
              <a:ahLst/>
              <a:cxnLst>
                <a:cxn ang="0">
                  <a:pos x="csX0" y="csY0"/>
                </a:cxn>
                <a:cxn ang="0">
                  <a:pos x="csX1" y="csY1"/>
                </a:cxn>
                <a:cxn ang="0">
                  <a:pos x="csX2" y="csY2"/>
                </a:cxn>
                <a:cxn ang="0">
                  <a:pos x="csX3" y="csY3"/>
                </a:cxn>
                <a:cxn ang="0">
                  <a:pos x="csX4" y="csY4"/>
                </a:cxn>
              </a:cxnLst>
              <a:rect l="l" t="t" r="r" b="b"/>
              <a:pathLst>
                <a:path w="15855" h="14379">
                  <a:moveTo>
                    <a:pt x="-8985" y="-8028"/>
                  </a:moveTo>
                  <a:lnTo>
                    <a:pt x="6871" y="-8028"/>
                  </a:lnTo>
                  <a:lnTo>
                    <a:pt x="6871" y="6351"/>
                  </a:lnTo>
                  <a:lnTo>
                    <a:pt x="-8985" y="6351"/>
                  </a:lnTo>
                  <a:lnTo>
                    <a:pt x="-8985" y="-8028"/>
                  </a:lnTo>
                </a:path>
              </a:pathLst>
            </a:custGeom>
            <a:grpFill/>
            <a:ln w="548" cap="flat">
              <a:noFill/>
              <a:prstDash val="solid"/>
              <a:miter/>
            </a:ln>
          </p:spPr>
          <p:txBody>
            <a:bodyPr/>
            <a:lstStyle/>
            <a:p>
              <a:endParaRPr lang="en-US"/>
            </a:p>
          </p:txBody>
        </p:sp>
        <p:sp>
          <p:nvSpPr>
            <p:cNvPr id="230" name="Freeform: Shape 229">
              <a:extLst>
                <a:ext uri="{FF2B5EF4-FFF2-40B4-BE49-F238E27FC236}">
                  <a16:creationId xmlns:a16="http://schemas.microsoft.com/office/drawing/2014/main" id="{59C03046-E7AF-EC26-B0D3-3A2C6A3ADFA1}"/>
                </a:ext>
              </a:extLst>
            </p:cNvPr>
            <p:cNvSpPr/>
            <p:nvPr/>
          </p:nvSpPr>
          <p:spPr>
            <a:xfrm flipV="1">
              <a:off x="24317387" y="3204146"/>
              <a:ext cx="15855" cy="14374"/>
            </a:xfrm>
            <a:custGeom>
              <a:avLst/>
              <a:gdLst>
                <a:gd name="csX0" fmla="*/ -8985 w 15855"/>
                <a:gd name="csY0" fmla="*/ -8109 h 14374"/>
                <a:gd name="csX1" fmla="*/ 6871 w 15855"/>
                <a:gd name="csY1" fmla="*/ -8109 h 14374"/>
                <a:gd name="csX2" fmla="*/ 6871 w 15855"/>
                <a:gd name="csY2" fmla="*/ 6265 h 14374"/>
                <a:gd name="csX3" fmla="*/ -8985 w 15855"/>
                <a:gd name="csY3" fmla="*/ 6265 h 14374"/>
                <a:gd name="csX4" fmla="*/ -8985 w 15855"/>
                <a:gd name="csY4" fmla="*/ -8109 h 14374"/>
              </a:gdLst>
              <a:ahLst/>
              <a:cxnLst>
                <a:cxn ang="0">
                  <a:pos x="csX0" y="csY0"/>
                </a:cxn>
                <a:cxn ang="0">
                  <a:pos x="csX1" y="csY1"/>
                </a:cxn>
                <a:cxn ang="0">
                  <a:pos x="csX2" y="csY2"/>
                </a:cxn>
                <a:cxn ang="0">
                  <a:pos x="csX3" y="csY3"/>
                </a:cxn>
                <a:cxn ang="0">
                  <a:pos x="csX4" y="csY4"/>
                </a:cxn>
              </a:cxnLst>
              <a:rect l="l" t="t" r="r" b="b"/>
              <a:pathLst>
                <a:path w="15855" h="14374">
                  <a:moveTo>
                    <a:pt x="-8985" y="-8109"/>
                  </a:moveTo>
                  <a:lnTo>
                    <a:pt x="6871" y="-8109"/>
                  </a:lnTo>
                  <a:lnTo>
                    <a:pt x="6871" y="6265"/>
                  </a:lnTo>
                  <a:lnTo>
                    <a:pt x="-8985" y="6265"/>
                  </a:lnTo>
                  <a:lnTo>
                    <a:pt x="-8985" y="-8109"/>
                  </a:lnTo>
                </a:path>
              </a:pathLst>
            </a:custGeom>
            <a:grpFill/>
            <a:ln w="548" cap="flat">
              <a:noFill/>
              <a:prstDash val="solid"/>
              <a:miter/>
            </a:ln>
          </p:spPr>
          <p:txBody>
            <a:bodyPr/>
            <a:lstStyle/>
            <a:p>
              <a:endParaRPr lang="en-US"/>
            </a:p>
          </p:txBody>
        </p:sp>
        <p:sp>
          <p:nvSpPr>
            <p:cNvPr id="231" name="Freeform: Shape 230">
              <a:extLst>
                <a:ext uri="{FF2B5EF4-FFF2-40B4-BE49-F238E27FC236}">
                  <a16:creationId xmlns:a16="http://schemas.microsoft.com/office/drawing/2014/main" id="{79EFEA8E-9213-59AF-A048-6B836B1963BC}"/>
                </a:ext>
              </a:extLst>
            </p:cNvPr>
            <p:cNvSpPr/>
            <p:nvPr/>
          </p:nvSpPr>
          <p:spPr>
            <a:xfrm flipV="1">
              <a:off x="24317387" y="3187363"/>
              <a:ext cx="15855" cy="14379"/>
            </a:xfrm>
            <a:custGeom>
              <a:avLst/>
              <a:gdLst>
                <a:gd name="csX0" fmla="*/ -8985 w 15855"/>
                <a:gd name="csY0" fmla="*/ -8150 h 14379"/>
                <a:gd name="csX1" fmla="*/ 6871 w 15855"/>
                <a:gd name="csY1" fmla="*/ -8150 h 14379"/>
                <a:gd name="csX2" fmla="*/ 6871 w 15855"/>
                <a:gd name="csY2" fmla="*/ 6230 h 14379"/>
                <a:gd name="csX3" fmla="*/ -8985 w 15855"/>
                <a:gd name="csY3" fmla="*/ 6230 h 14379"/>
                <a:gd name="csX4" fmla="*/ -8985 w 15855"/>
                <a:gd name="csY4" fmla="*/ -8150 h 14379"/>
              </a:gdLst>
              <a:ahLst/>
              <a:cxnLst>
                <a:cxn ang="0">
                  <a:pos x="csX0" y="csY0"/>
                </a:cxn>
                <a:cxn ang="0">
                  <a:pos x="csX1" y="csY1"/>
                </a:cxn>
                <a:cxn ang="0">
                  <a:pos x="csX2" y="csY2"/>
                </a:cxn>
                <a:cxn ang="0">
                  <a:pos x="csX3" y="csY3"/>
                </a:cxn>
                <a:cxn ang="0">
                  <a:pos x="csX4" y="csY4"/>
                </a:cxn>
              </a:cxnLst>
              <a:rect l="l" t="t" r="r" b="b"/>
              <a:pathLst>
                <a:path w="15855" h="14379">
                  <a:moveTo>
                    <a:pt x="-8985" y="-8150"/>
                  </a:moveTo>
                  <a:lnTo>
                    <a:pt x="6871" y="-8150"/>
                  </a:lnTo>
                  <a:lnTo>
                    <a:pt x="6871" y="6230"/>
                  </a:lnTo>
                  <a:lnTo>
                    <a:pt x="-8985" y="6230"/>
                  </a:lnTo>
                  <a:lnTo>
                    <a:pt x="-8985" y="-8150"/>
                  </a:lnTo>
                </a:path>
              </a:pathLst>
            </a:custGeom>
            <a:grpFill/>
            <a:ln w="548" cap="flat">
              <a:noFill/>
              <a:prstDash val="solid"/>
              <a:miter/>
            </a:ln>
          </p:spPr>
          <p:txBody>
            <a:bodyPr/>
            <a:lstStyle/>
            <a:p>
              <a:endParaRPr lang="en-US"/>
            </a:p>
          </p:txBody>
        </p:sp>
        <p:sp>
          <p:nvSpPr>
            <p:cNvPr id="232" name="Freeform: Shape 231">
              <a:extLst>
                <a:ext uri="{FF2B5EF4-FFF2-40B4-BE49-F238E27FC236}">
                  <a16:creationId xmlns:a16="http://schemas.microsoft.com/office/drawing/2014/main" id="{B81B1B61-8FC8-6A84-2F27-50A750092C47}"/>
                </a:ext>
              </a:extLst>
            </p:cNvPr>
            <p:cNvSpPr/>
            <p:nvPr/>
          </p:nvSpPr>
          <p:spPr>
            <a:xfrm flipV="1">
              <a:off x="24317387" y="3271271"/>
              <a:ext cx="15855" cy="14379"/>
            </a:xfrm>
            <a:custGeom>
              <a:avLst/>
              <a:gdLst>
                <a:gd name="csX0" fmla="*/ -8985 w 15855"/>
                <a:gd name="csY0" fmla="*/ -7948 h 14379"/>
                <a:gd name="csX1" fmla="*/ 6871 w 15855"/>
                <a:gd name="csY1" fmla="*/ -7948 h 14379"/>
                <a:gd name="csX2" fmla="*/ 6871 w 15855"/>
                <a:gd name="csY2" fmla="*/ 6432 h 14379"/>
                <a:gd name="csX3" fmla="*/ -8985 w 15855"/>
                <a:gd name="csY3" fmla="*/ 6432 h 14379"/>
                <a:gd name="csX4" fmla="*/ -8985 w 15855"/>
                <a:gd name="csY4" fmla="*/ -7948 h 14379"/>
              </a:gdLst>
              <a:ahLst/>
              <a:cxnLst>
                <a:cxn ang="0">
                  <a:pos x="csX0" y="csY0"/>
                </a:cxn>
                <a:cxn ang="0">
                  <a:pos x="csX1" y="csY1"/>
                </a:cxn>
                <a:cxn ang="0">
                  <a:pos x="csX2" y="csY2"/>
                </a:cxn>
                <a:cxn ang="0">
                  <a:pos x="csX3" y="csY3"/>
                </a:cxn>
                <a:cxn ang="0">
                  <a:pos x="csX4" y="csY4"/>
                </a:cxn>
              </a:cxnLst>
              <a:rect l="l" t="t" r="r" b="b"/>
              <a:pathLst>
                <a:path w="15855" h="14379">
                  <a:moveTo>
                    <a:pt x="-8985" y="-7948"/>
                  </a:moveTo>
                  <a:lnTo>
                    <a:pt x="6871" y="-7948"/>
                  </a:lnTo>
                  <a:lnTo>
                    <a:pt x="6871" y="6432"/>
                  </a:lnTo>
                  <a:lnTo>
                    <a:pt x="-8985" y="6432"/>
                  </a:lnTo>
                  <a:lnTo>
                    <a:pt x="-8985" y="-7948"/>
                  </a:lnTo>
                </a:path>
              </a:pathLst>
            </a:custGeom>
            <a:grpFill/>
            <a:ln w="548" cap="flat">
              <a:noFill/>
              <a:prstDash val="solid"/>
              <a:miter/>
            </a:ln>
          </p:spPr>
          <p:txBody>
            <a:bodyPr/>
            <a:lstStyle/>
            <a:p>
              <a:endParaRPr lang="en-US"/>
            </a:p>
          </p:txBody>
        </p:sp>
        <p:sp>
          <p:nvSpPr>
            <p:cNvPr id="233" name="Freeform: Shape 232">
              <a:extLst>
                <a:ext uri="{FF2B5EF4-FFF2-40B4-BE49-F238E27FC236}">
                  <a16:creationId xmlns:a16="http://schemas.microsoft.com/office/drawing/2014/main" id="{01FF930D-B172-70A0-EE4E-B7A53BB8F04F}"/>
                </a:ext>
              </a:extLst>
            </p:cNvPr>
            <p:cNvSpPr/>
            <p:nvPr/>
          </p:nvSpPr>
          <p:spPr>
            <a:xfrm flipV="1">
              <a:off x="24317387" y="3172697"/>
              <a:ext cx="15855" cy="12261"/>
            </a:xfrm>
            <a:custGeom>
              <a:avLst/>
              <a:gdLst>
                <a:gd name="csX0" fmla="*/ -8985 w 15855"/>
                <a:gd name="csY0" fmla="*/ -8187 h 12261"/>
                <a:gd name="csX1" fmla="*/ 6871 w 15855"/>
                <a:gd name="csY1" fmla="*/ -8187 h 12261"/>
                <a:gd name="csX2" fmla="*/ 6871 w 15855"/>
                <a:gd name="csY2" fmla="*/ 4075 h 12261"/>
                <a:gd name="csX3" fmla="*/ -8985 w 15855"/>
                <a:gd name="csY3" fmla="*/ 4075 h 12261"/>
                <a:gd name="csX4" fmla="*/ -8985 w 15855"/>
                <a:gd name="csY4" fmla="*/ -8187 h 12261"/>
              </a:gdLst>
              <a:ahLst/>
              <a:cxnLst>
                <a:cxn ang="0">
                  <a:pos x="csX0" y="csY0"/>
                </a:cxn>
                <a:cxn ang="0">
                  <a:pos x="csX1" y="csY1"/>
                </a:cxn>
                <a:cxn ang="0">
                  <a:pos x="csX2" y="csY2"/>
                </a:cxn>
                <a:cxn ang="0">
                  <a:pos x="csX3" y="csY3"/>
                </a:cxn>
                <a:cxn ang="0">
                  <a:pos x="csX4" y="csY4"/>
                </a:cxn>
              </a:cxnLst>
              <a:rect l="l" t="t" r="r" b="b"/>
              <a:pathLst>
                <a:path w="15855" h="12261">
                  <a:moveTo>
                    <a:pt x="-8985" y="-8187"/>
                  </a:moveTo>
                  <a:lnTo>
                    <a:pt x="6871" y="-8187"/>
                  </a:lnTo>
                  <a:lnTo>
                    <a:pt x="6871" y="4075"/>
                  </a:lnTo>
                  <a:lnTo>
                    <a:pt x="-8985" y="4075"/>
                  </a:lnTo>
                  <a:lnTo>
                    <a:pt x="-8985" y="-8187"/>
                  </a:lnTo>
                </a:path>
              </a:pathLst>
            </a:custGeom>
            <a:grpFill/>
            <a:ln w="548" cap="flat">
              <a:noFill/>
              <a:prstDash val="solid"/>
              <a:miter/>
            </a:ln>
          </p:spPr>
          <p:txBody>
            <a:bodyPr/>
            <a:lstStyle/>
            <a:p>
              <a:endParaRPr lang="en-US"/>
            </a:p>
          </p:txBody>
        </p:sp>
        <p:sp>
          <p:nvSpPr>
            <p:cNvPr id="234" name="Freeform: Shape 233">
              <a:extLst>
                <a:ext uri="{FF2B5EF4-FFF2-40B4-BE49-F238E27FC236}">
                  <a16:creationId xmlns:a16="http://schemas.microsoft.com/office/drawing/2014/main" id="{5249E7FE-E75A-468E-551D-EB8124DE7CC1}"/>
                </a:ext>
              </a:extLst>
            </p:cNvPr>
            <p:cNvSpPr/>
            <p:nvPr/>
          </p:nvSpPr>
          <p:spPr>
            <a:xfrm flipV="1">
              <a:off x="24317387" y="3304832"/>
              <a:ext cx="15855" cy="14313"/>
            </a:xfrm>
            <a:custGeom>
              <a:avLst/>
              <a:gdLst>
                <a:gd name="csX0" fmla="*/ -8985 w 15855"/>
                <a:gd name="csY0" fmla="*/ -7867 h 14313"/>
                <a:gd name="csX1" fmla="*/ 6871 w 15855"/>
                <a:gd name="csY1" fmla="*/ -7867 h 14313"/>
                <a:gd name="csX2" fmla="*/ 6871 w 15855"/>
                <a:gd name="csY2" fmla="*/ 6447 h 14313"/>
                <a:gd name="csX3" fmla="*/ -8985 w 15855"/>
                <a:gd name="csY3" fmla="*/ 6447 h 14313"/>
                <a:gd name="csX4" fmla="*/ -8985 w 15855"/>
                <a:gd name="csY4" fmla="*/ -7867 h 14313"/>
              </a:gdLst>
              <a:ahLst/>
              <a:cxnLst>
                <a:cxn ang="0">
                  <a:pos x="csX0" y="csY0"/>
                </a:cxn>
                <a:cxn ang="0">
                  <a:pos x="csX1" y="csY1"/>
                </a:cxn>
                <a:cxn ang="0">
                  <a:pos x="csX2" y="csY2"/>
                </a:cxn>
                <a:cxn ang="0">
                  <a:pos x="csX3" y="csY3"/>
                </a:cxn>
                <a:cxn ang="0">
                  <a:pos x="csX4" y="csY4"/>
                </a:cxn>
              </a:cxnLst>
              <a:rect l="l" t="t" r="r" b="b"/>
              <a:pathLst>
                <a:path w="15855" h="14313">
                  <a:moveTo>
                    <a:pt x="-8985" y="-7867"/>
                  </a:moveTo>
                  <a:lnTo>
                    <a:pt x="6871" y="-7867"/>
                  </a:lnTo>
                  <a:lnTo>
                    <a:pt x="6871" y="6447"/>
                  </a:lnTo>
                  <a:lnTo>
                    <a:pt x="-8985" y="6447"/>
                  </a:lnTo>
                  <a:lnTo>
                    <a:pt x="-8985" y="-7867"/>
                  </a:lnTo>
                </a:path>
              </a:pathLst>
            </a:custGeom>
            <a:grpFill/>
            <a:ln w="548" cap="flat">
              <a:noFill/>
              <a:prstDash val="solid"/>
              <a:miter/>
            </a:ln>
          </p:spPr>
          <p:txBody>
            <a:bodyPr/>
            <a:lstStyle/>
            <a:p>
              <a:endParaRPr lang="en-US"/>
            </a:p>
          </p:txBody>
        </p:sp>
        <p:sp>
          <p:nvSpPr>
            <p:cNvPr id="235" name="Freeform: Shape 234">
              <a:extLst>
                <a:ext uri="{FF2B5EF4-FFF2-40B4-BE49-F238E27FC236}">
                  <a16:creationId xmlns:a16="http://schemas.microsoft.com/office/drawing/2014/main" id="{95EC18C6-9617-1EC9-82F1-8AA0B1000375}"/>
                </a:ext>
              </a:extLst>
            </p:cNvPr>
            <p:cNvSpPr/>
            <p:nvPr/>
          </p:nvSpPr>
          <p:spPr>
            <a:xfrm flipV="1">
              <a:off x="24317387" y="3288054"/>
              <a:ext cx="15855" cy="14379"/>
            </a:xfrm>
            <a:custGeom>
              <a:avLst/>
              <a:gdLst>
                <a:gd name="csX0" fmla="*/ -8985 w 15855"/>
                <a:gd name="csY0" fmla="*/ -7907 h 14379"/>
                <a:gd name="csX1" fmla="*/ 6871 w 15855"/>
                <a:gd name="csY1" fmla="*/ -7907 h 14379"/>
                <a:gd name="csX2" fmla="*/ 6871 w 15855"/>
                <a:gd name="csY2" fmla="*/ 6473 h 14379"/>
                <a:gd name="csX3" fmla="*/ -8985 w 15855"/>
                <a:gd name="csY3" fmla="*/ 6473 h 14379"/>
                <a:gd name="csX4" fmla="*/ -8985 w 15855"/>
                <a:gd name="csY4" fmla="*/ -7907 h 14379"/>
              </a:gdLst>
              <a:ahLst/>
              <a:cxnLst>
                <a:cxn ang="0">
                  <a:pos x="csX0" y="csY0"/>
                </a:cxn>
                <a:cxn ang="0">
                  <a:pos x="csX1" y="csY1"/>
                </a:cxn>
                <a:cxn ang="0">
                  <a:pos x="csX2" y="csY2"/>
                </a:cxn>
                <a:cxn ang="0">
                  <a:pos x="csX3" y="csY3"/>
                </a:cxn>
                <a:cxn ang="0">
                  <a:pos x="csX4" y="csY4"/>
                </a:cxn>
              </a:cxnLst>
              <a:rect l="l" t="t" r="r" b="b"/>
              <a:pathLst>
                <a:path w="15855" h="14379">
                  <a:moveTo>
                    <a:pt x="-8985" y="-7907"/>
                  </a:moveTo>
                  <a:lnTo>
                    <a:pt x="6871" y="-7907"/>
                  </a:lnTo>
                  <a:lnTo>
                    <a:pt x="6871" y="6473"/>
                  </a:lnTo>
                  <a:lnTo>
                    <a:pt x="-8985" y="6473"/>
                  </a:lnTo>
                  <a:lnTo>
                    <a:pt x="-8985" y="-7907"/>
                  </a:lnTo>
                </a:path>
              </a:pathLst>
            </a:custGeom>
            <a:grpFill/>
            <a:ln w="548" cap="flat">
              <a:noFill/>
              <a:prstDash val="solid"/>
              <a:miter/>
            </a:ln>
          </p:spPr>
          <p:txBody>
            <a:bodyPr/>
            <a:lstStyle/>
            <a:p>
              <a:endParaRPr lang="en-US"/>
            </a:p>
          </p:txBody>
        </p:sp>
        <p:sp>
          <p:nvSpPr>
            <p:cNvPr id="236" name="Freeform: Shape 235">
              <a:extLst>
                <a:ext uri="{FF2B5EF4-FFF2-40B4-BE49-F238E27FC236}">
                  <a16:creationId xmlns:a16="http://schemas.microsoft.com/office/drawing/2014/main" id="{EFDA593E-5FE8-EBB8-043B-A5666CF5FB79}"/>
                </a:ext>
              </a:extLst>
            </p:cNvPr>
            <p:cNvSpPr/>
            <p:nvPr/>
          </p:nvSpPr>
          <p:spPr>
            <a:xfrm flipV="1">
              <a:off x="24317387" y="3396351"/>
              <a:ext cx="15855" cy="14379"/>
            </a:xfrm>
            <a:custGeom>
              <a:avLst/>
              <a:gdLst>
                <a:gd name="csX0" fmla="*/ -8985 w 15855"/>
                <a:gd name="csY0" fmla="*/ -7647 h 14379"/>
                <a:gd name="csX1" fmla="*/ 6871 w 15855"/>
                <a:gd name="csY1" fmla="*/ -7647 h 14379"/>
                <a:gd name="csX2" fmla="*/ 6871 w 15855"/>
                <a:gd name="csY2" fmla="*/ 6733 h 14379"/>
                <a:gd name="csX3" fmla="*/ -8985 w 15855"/>
                <a:gd name="csY3" fmla="*/ 6733 h 14379"/>
                <a:gd name="csX4" fmla="*/ -8985 w 15855"/>
                <a:gd name="csY4" fmla="*/ -7647 h 14379"/>
              </a:gdLst>
              <a:ahLst/>
              <a:cxnLst>
                <a:cxn ang="0">
                  <a:pos x="csX0" y="csY0"/>
                </a:cxn>
                <a:cxn ang="0">
                  <a:pos x="csX1" y="csY1"/>
                </a:cxn>
                <a:cxn ang="0">
                  <a:pos x="csX2" y="csY2"/>
                </a:cxn>
                <a:cxn ang="0">
                  <a:pos x="csX3" y="csY3"/>
                </a:cxn>
                <a:cxn ang="0">
                  <a:pos x="csX4" y="csY4"/>
                </a:cxn>
              </a:cxnLst>
              <a:rect l="l" t="t" r="r" b="b"/>
              <a:pathLst>
                <a:path w="15855" h="14379">
                  <a:moveTo>
                    <a:pt x="-8985" y="-7647"/>
                  </a:moveTo>
                  <a:lnTo>
                    <a:pt x="6871" y="-7647"/>
                  </a:lnTo>
                  <a:lnTo>
                    <a:pt x="6871" y="6733"/>
                  </a:lnTo>
                  <a:lnTo>
                    <a:pt x="-8985" y="6733"/>
                  </a:lnTo>
                  <a:lnTo>
                    <a:pt x="-8985" y="-7647"/>
                  </a:lnTo>
                </a:path>
              </a:pathLst>
            </a:custGeom>
            <a:grpFill/>
            <a:ln w="548" cap="flat">
              <a:noFill/>
              <a:prstDash val="solid"/>
              <a:miter/>
            </a:ln>
          </p:spPr>
          <p:txBody>
            <a:bodyPr/>
            <a:lstStyle/>
            <a:p>
              <a:endParaRPr lang="en-US"/>
            </a:p>
          </p:txBody>
        </p:sp>
        <p:sp>
          <p:nvSpPr>
            <p:cNvPr id="237" name="Freeform: Shape 236">
              <a:extLst>
                <a:ext uri="{FF2B5EF4-FFF2-40B4-BE49-F238E27FC236}">
                  <a16:creationId xmlns:a16="http://schemas.microsoft.com/office/drawing/2014/main" id="{D842D955-2E5E-7667-7A23-150A2E7FF14B}"/>
                </a:ext>
              </a:extLst>
            </p:cNvPr>
            <p:cNvSpPr/>
            <p:nvPr/>
          </p:nvSpPr>
          <p:spPr>
            <a:xfrm flipV="1">
              <a:off x="24317387" y="3379567"/>
              <a:ext cx="15855" cy="14380"/>
            </a:xfrm>
            <a:custGeom>
              <a:avLst/>
              <a:gdLst>
                <a:gd name="csX0" fmla="*/ -8985 w 15855"/>
                <a:gd name="csY0" fmla="*/ -7687 h 14380"/>
                <a:gd name="csX1" fmla="*/ 6871 w 15855"/>
                <a:gd name="csY1" fmla="*/ -7687 h 14380"/>
                <a:gd name="csX2" fmla="*/ 6871 w 15855"/>
                <a:gd name="csY2" fmla="*/ 6693 h 14380"/>
                <a:gd name="csX3" fmla="*/ -8985 w 15855"/>
                <a:gd name="csY3" fmla="*/ 6693 h 14380"/>
                <a:gd name="csX4" fmla="*/ -8985 w 15855"/>
                <a:gd name="csY4" fmla="*/ -7687 h 14380"/>
              </a:gdLst>
              <a:ahLst/>
              <a:cxnLst>
                <a:cxn ang="0">
                  <a:pos x="csX0" y="csY0"/>
                </a:cxn>
                <a:cxn ang="0">
                  <a:pos x="csX1" y="csY1"/>
                </a:cxn>
                <a:cxn ang="0">
                  <a:pos x="csX2" y="csY2"/>
                </a:cxn>
                <a:cxn ang="0">
                  <a:pos x="csX3" y="csY3"/>
                </a:cxn>
                <a:cxn ang="0">
                  <a:pos x="csX4" y="csY4"/>
                </a:cxn>
              </a:cxnLst>
              <a:rect l="l" t="t" r="r" b="b"/>
              <a:pathLst>
                <a:path w="15855" h="14380">
                  <a:moveTo>
                    <a:pt x="-8985" y="-7687"/>
                  </a:moveTo>
                  <a:lnTo>
                    <a:pt x="6871" y="-7687"/>
                  </a:lnTo>
                  <a:lnTo>
                    <a:pt x="6871" y="6693"/>
                  </a:lnTo>
                  <a:lnTo>
                    <a:pt x="-8985" y="6693"/>
                  </a:lnTo>
                  <a:lnTo>
                    <a:pt x="-8985" y="-7687"/>
                  </a:lnTo>
                </a:path>
              </a:pathLst>
            </a:custGeom>
            <a:grpFill/>
            <a:ln w="548" cap="flat">
              <a:noFill/>
              <a:prstDash val="solid"/>
              <a:miter/>
            </a:ln>
          </p:spPr>
          <p:txBody>
            <a:bodyPr/>
            <a:lstStyle/>
            <a:p>
              <a:endParaRPr lang="en-US"/>
            </a:p>
          </p:txBody>
        </p:sp>
        <p:sp>
          <p:nvSpPr>
            <p:cNvPr id="238" name="Freeform: Shape 237">
              <a:extLst>
                <a:ext uri="{FF2B5EF4-FFF2-40B4-BE49-F238E27FC236}">
                  <a16:creationId xmlns:a16="http://schemas.microsoft.com/office/drawing/2014/main" id="{1AB81923-819B-97A1-853E-13E3F8DB7D41}"/>
                </a:ext>
              </a:extLst>
            </p:cNvPr>
            <p:cNvSpPr/>
            <p:nvPr/>
          </p:nvSpPr>
          <p:spPr>
            <a:xfrm flipV="1">
              <a:off x="24317387" y="3362785"/>
              <a:ext cx="15855" cy="14379"/>
            </a:xfrm>
            <a:custGeom>
              <a:avLst/>
              <a:gdLst>
                <a:gd name="csX0" fmla="*/ -8985 w 15855"/>
                <a:gd name="csY0" fmla="*/ -7727 h 14379"/>
                <a:gd name="csX1" fmla="*/ 6871 w 15855"/>
                <a:gd name="csY1" fmla="*/ -7727 h 14379"/>
                <a:gd name="csX2" fmla="*/ 6871 w 15855"/>
                <a:gd name="csY2" fmla="*/ 6652 h 14379"/>
                <a:gd name="csX3" fmla="*/ -8985 w 15855"/>
                <a:gd name="csY3" fmla="*/ 6652 h 14379"/>
                <a:gd name="csX4" fmla="*/ -8985 w 15855"/>
                <a:gd name="csY4" fmla="*/ -7727 h 14379"/>
              </a:gdLst>
              <a:ahLst/>
              <a:cxnLst>
                <a:cxn ang="0">
                  <a:pos x="csX0" y="csY0"/>
                </a:cxn>
                <a:cxn ang="0">
                  <a:pos x="csX1" y="csY1"/>
                </a:cxn>
                <a:cxn ang="0">
                  <a:pos x="csX2" y="csY2"/>
                </a:cxn>
                <a:cxn ang="0">
                  <a:pos x="csX3" y="csY3"/>
                </a:cxn>
                <a:cxn ang="0">
                  <a:pos x="csX4" y="csY4"/>
                </a:cxn>
              </a:cxnLst>
              <a:rect l="l" t="t" r="r" b="b"/>
              <a:pathLst>
                <a:path w="15855" h="14379">
                  <a:moveTo>
                    <a:pt x="-8985" y="-7727"/>
                  </a:moveTo>
                  <a:lnTo>
                    <a:pt x="6871" y="-7727"/>
                  </a:lnTo>
                  <a:lnTo>
                    <a:pt x="6871" y="6652"/>
                  </a:lnTo>
                  <a:lnTo>
                    <a:pt x="-8985" y="6652"/>
                  </a:lnTo>
                  <a:lnTo>
                    <a:pt x="-8985" y="-7727"/>
                  </a:lnTo>
                </a:path>
              </a:pathLst>
            </a:custGeom>
            <a:grpFill/>
            <a:ln w="548" cap="flat">
              <a:noFill/>
              <a:prstDash val="solid"/>
              <a:miter/>
            </a:ln>
          </p:spPr>
          <p:txBody>
            <a:bodyPr/>
            <a:lstStyle/>
            <a:p>
              <a:endParaRPr lang="en-US"/>
            </a:p>
          </p:txBody>
        </p:sp>
        <p:sp>
          <p:nvSpPr>
            <p:cNvPr id="239" name="Freeform: Shape 238">
              <a:extLst>
                <a:ext uri="{FF2B5EF4-FFF2-40B4-BE49-F238E27FC236}">
                  <a16:creationId xmlns:a16="http://schemas.microsoft.com/office/drawing/2014/main" id="{447304D8-C1F0-5DCC-FB78-BA1553A6ED47}"/>
                </a:ext>
              </a:extLst>
            </p:cNvPr>
            <p:cNvSpPr/>
            <p:nvPr/>
          </p:nvSpPr>
          <p:spPr>
            <a:xfrm flipV="1">
              <a:off x="24317387" y="3413133"/>
              <a:ext cx="15855" cy="14379"/>
            </a:xfrm>
            <a:custGeom>
              <a:avLst/>
              <a:gdLst>
                <a:gd name="csX0" fmla="*/ -8985 w 15855"/>
                <a:gd name="csY0" fmla="*/ -7606 h 14379"/>
                <a:gd name="csX1" fmla="*/ 6871 w 15855"/>
                <a:gd name="csY1" fmla="*/ -7606 h 14379"/>
                <a:gd name="csX2" fmla="*/ 6871 w 15855"/>
                <a:gd name="csY2" fmla="*/ 6773 h 14379"/>
                <a:gd name="csX3" fmla="*/ -8985 w 15855"/>
                <a:gd name="csY3" fmla="*/ 6773 h 14379"/>
                <a:gd name="csX4" fmla="*/ -8985 w 15855"/>
                <a:gd name="csY4" fmla="*/ -7606 h 14379"/>
              </a:gdLst>
              <a:ahLst/>
              <a:cxnLst>
                <a:cxn ang="0">
                  <a:pos x="csX0" y="csY0"/>
                </a:cxn>
                <a:cxn ang="0">
                  <a:pos x="csX1" y="csY1"/>
                </a:cxn>
                <a:cxn ang="0">
                  <a:pos x="csX2" y="csY2"/>
                </a:cxn>
                <a:cxn ang="0">
                  <a:pos x="csX3" y="csY3"/>
                </a:cxn>
                <a:cxn ang="0">
                  <a:pos x="csX4" y="csY4"/>
                </a:cxn>
              </a:cxnLst>
              <a:rect l="l" t="t" r="r" b="b"/>
              <a:pathLst>
                <a:path w="15855" h="14379">
                  <a:moveTo>
                    <a:pt x="-8985" y="-7606"/>
                  </a:moveTo>
                  <a:lnTo>
                    <a:pt x="6871" y="-7606"/>
                  </a:lnTo>
                  <a:lnTo>
                    <a:pt x="6871" y="6773"/>
                  </a:lnTo>
                  <a:lnTo>
                    <a:pt x="-8985" y="6773"/>
                  </a:lnTo>
                  <a:lnTo>
                    <a:pt x="-8985" y="-7606"/>
                  </a:lnTo>
                </a:path>
              </a:pathLst>
            </a:custGeom>
            <a:grpFill/>
            <a:ln w="548" cap="flat">
              <a:noFill/>
              <a:prstDash val="solid"/>
              <a:miter/>
            </a:ln>
          </p:spPr>
          <p:txBody>
            <a:bodyPr/>
            <a:lstStyle/>
            <a:p>
              <a:endParaRPr lang="en-US"/>
            </a:p>
          </p:txBody>
        </p:sp>
        <p:sp>
          <p:nvSpPr>
            <p:cNvPr id="240" name="Freeform: Shape 239">
              <a:extLst>
                <a:ext uri="{FF2B5EF4-FFF2-40B4-BE49-F238E27FC236}">
                  <a16:creationId xmlns:a16="http://schemas.microsoft.com/office/drawing/2014/main" id="{AD056746-78CA-F990-340E-48C7C0EFCD44}"/>
                </a:ext>
              </a:extLst>
            </p:cNvPr>
            <p:cNvSpPr/>
            <p:nvPr/>
          </p:nvSpPr>
          <p:spPr>
            <a:xfrm flipV="1">
              <a:off x="24317387" y="3446694"/>
              <a:ext cx="15855" cy="14379"/>
            </a:xfrm>
            <a:custGeom>
              <a:avLst/>
              <a:gdLst>
                <a:gd name="csX0" fmla="*/ -8985 w 15855"/>
                <a:gd name="csY0" fmla="*/ -7526 h 14379"/>
                <a:gd name="csX1" fmla="*/ 6871 w 15855"/>
                <a:gd name="csY1" fmla="*/ -7526 h 14379"/>
                <a:gd name="csX2" fmla="*/ 6871 w 15855"/>
                <a:gd name="csY2" fmla="*/ 6854 h 14379"/>
                <a:gd name="csX3" fmla="*/ -8985 w 15855"/>
                <a:gd name="csY3" fmla="*/ 6854 h 14379"/>
                <a:gd name="csX4" fmla="*/ -8985 w 15855"/>
                <a:gd name="csY4" fmla="*/ -7526 h 14379"/>
              </a:gdLst>
              <a:ahLst/>
              <a:cxnLst>
                <a:cxn ang="0">
                  <a:pos x="csX0" y="csY0"/>
                </a:cxn>
                <a:cxn ang="0">
                  <a:pos x="csX1" y="csY1"/>
                </a:cxn>
                <a:cxn ang="0">
                  <a:pos x="csX2" y="csY2"/>
                </a:cxn>
                <a:cxn ang="0">
                  <a:pos x="csX3" y="csY3"/>
                </a:cxn>
                <a:cxn ang="0">
                  <a:pos x="csX4" y="csY4"/>
                </a:cxn>
              </a:cxnLst>
              <a:rect l="l" t="t" r="r" b="b"/>
              <a:pathLst>
                <a:path w="15855" h="14379">
                  <a:moveTo>
                    <a:pt x="-8985" y="-7526"/>
                  </a:moveTo>
                  <a:lnTo>
                    <a:pt x="6871" y="-7526"/>
                  </a:lnTo>
                  <a:lnTo>
                    <a:pt x="6871" y="6854"/>
                  </a:lnTo>
                  <a:lnTo>
                    <a:pt x="-8985" y="6854"/>
                  </a:lnTo>
                  <a:lnTo>
                    <a:pt x="-8985" y="-7526"/>
                  </a:lnTo>
                </a:path>
              </a:pathLst>
            </a:custGeom>
            <a:grpFill/>
            <a:ln w="548" cap="flat">
              <a:noFill/>
              <a:prstDash val="solid"/>
              <a:miter/>
            </a:ln>
          </p:spPr>
          <p:txBody>
            <a:bodyPr/>
            <a:lstStyle/>
            <a:p>
              <a:endParaRPr lang="en-US"/>
            </a:p>
          </p:txBody>
        </p:sp>
        <p:sp>
          <p:nvSpPr>
            <p:cNvPr id="241" name="Freeform: Shape 240">
              <a:extLst>
                <a:ext uri="{FF2B5EF4-FFF2-40B4-BE49-F238E27FC236}">
                  <a16:creationId xmlns:a16="http://schemas.microsoft.com/office/drawing/2014/main" id="{9E07BEB4-B077-0435-1560-1B33C2723B75}"/>
                </a:ext>
              </a:extLst>
            </p:cNvPr>
            <p:cNvSpPr/>
            <p:nvPr/>
          </p:nvSpPr>
          <p:spPr>
            <a:xfrm flipV="1">
              <a:off x="24317387" y="3480259"/>
              <a:ext cx="15855" cy="14313"/>
            </a:xfrm>
            <a:custGeom>
              <a:avLst/>
              <a:gdLst>
                <a:gd name="csX0" fmla="*/ -8985 w 15855"/>
                <a:gd name="csY0" fmla="*/ -7445 h 14313"/>
                <a:gd name="csX1" fmla="*/ 6871 w 15855"/>
                <a:gd name="csY1" fmla="*/ -7445 h 14313"/>
                <a:gd name="csX2" fmla="*/ 6871 w 15855"/>
                <a:gd name="csY2" fmla="*/ 6869 h 14313"/>
                <a:gd name="csX3" fmla="*/ -8985 w 15855"/>
                <a:gd name="csY3" fmla="*/ 6869 h 14313"/>
                <a:gd name="csX4" fmla="*/ -8985 w 15855"/>
                <a:gd name="csY4" fmla="*/ -7445 h 14313"/>
              </a:gdLst>
              <a:ahLst/>
              <a:cxnLst>
                <a:cxn ang="0">
                  <a:pos x="csX0" y="csY0"/>
                </a:cxn>
                <a:cxn ang="0">
                  <a:pos x="csX1" y="csY1"/>
                </a:cxn>
                <a:cxn ang="0">
                  <a:pos x="csX2" y="csY2"/>
                </a:cxn>
                <a:cxn ang="0">
                  <a:pos x="csX3" y="csY3"/>
                </a:cxn>
                <a:cxn ang="0">
                  <a:pos x="csX4" y="csY4"/>
                </a:cxn>
              </a:cxnLst>
              <a:rect l="l" t="t" r="r" b="b"/>
              <a:pathLst>
                <a:path w="15855" h="14313">
                  <a:moveTo>
                    <a:pt x="-8985" y="-7445"/>
                  </a:moveTo>
                  <a:lnTo>
                    <a:pt x="6871" y="-7445"/>
                  </a:lnTo>
                  <a:lnTo>
                    <a:pt x="6871" y="6869"/>
                  </a:lnTo>
                  <a:lnTo>
                    <a:pt x="-8985" y="6869"/>
                  </a:lnTo>
                  <a:lnTo>
                    <a:pt x="-8985" y="-7445"/>
                  </a:lnTo>
                </a:path>
              </a:pathLst>
            </a:custGeom>
            <a:grpFill/>
            <a:ln w="548" cap="flat">
              <a:noFill/>
              <a:prstDash val="solid"/>
              <a:miter/>
            </a:ln>
          </p:spPr>
          <p:txBody>
            <a:bodyPr/>
            <a:lstStyle/>
            <a:p>
              <a:endParaRPr lang="en-US"/>
            </a:p>
          </p:txBody>
        </p:sp>
        <p:sp>
          <p:nvSpPr>
            <p:cNvPr id="242" name="Freeform: Shape 241">
              <a:extLst>
                <a:ext uri="{FF2B5EF4-FFF2-40B4-BE49-F238E27FC236}">
                  <a16:creationId xmlns:a16="http://schemas.microsoft.com/office/drawing/2014/main" id="{98BADC59-BD01-2CBA-272D-665AEC9F97AD}"/>
                </a:ext>
              </a:extLst>
            </p:cNvPr>
            <p:cNvSpPr/>
            <p:nvPr/>
          </p:nvSpPr>
          <p:spPr>
            <a:xfrm flipV="1">
              <a:off x="24317387" y="3348125"/>
              <a:ext cx="15855" cy="12256"/>
            </a:xfrm>
            <a:custGeom>
              <a:avLst/>
              <a:gdLst>
                <a:gd name="csX0" fmla="*/ -8985 w 15855"/>
                <a:gd name="csY0" fmla="*/ -7765 h 12256"/>
                <a:gd name="csX1" fmla="*/ 6871 w 15855"/>
                <a:gd name="csY1" fmla="*/ -7765 h 12256"/>
                <a:gd name="csX2" fmla="*/ 6871 w 15855"/>
                <a:gd name="csY2" fmla="*/ 4491 h 12256"/>
                <a:gd name="csX3" fmla="*/ -8985 w 15855"/>
                <a:gd name="csY3" fmla="*/ 4491 h 12256"/>
                <a:gd name="csX4" fmla="*/ -8985 w 15855"/>
                <a:gd name="csY4" fmla="*/ -7765 h 12256"/>
              </a:gdLst>
              <a:ahLst/>
              <a:cxnLst>
                <a:cxn ang="0">
                  <a:pos x="csX0" y="csY0"/>
                </a:cxn>
                <a:cxn ang="0">
                  <a:pos x="csX1" y="csY1"/>
                </a:cxn>
                <a:cxn ang="0">
                  <a:pos x="csX2" y="csY2"/>
                </a:cxn>
                <a:cxn ang="0">
                  <a:pos x="csX3" y="csY3"/>
                </a:cxn>
                <a:cxn ang="0">
                  <a:pos x="csX4" y="csY4"/>
                </a:cxn>
              </a:cxnLst>
              <a:rect l="l" t="t" r="r" b="b"/>
              <a:pathLst>
                <a:path w="15855" h="12256">
                  <a:moveTo>
                    <a:pt x="-8985" y="-7765"/>
                  </a:moveTo>
                  <a:lnTo>
                    <a:pt x="6871" y="-7765"/>
                  </a:lnTo>
                  <a:lnTo>
                    <a:pt x="6871" y="4491"/>
                  </a:lnTo>
                  <a:lnTo>
                    <a:pt x="-8985" y="4491"/>
                  </a:lnTo>
                  <a:lnTo>
                    <a:pt x="-8985" y="-7765"/>
                  </a:lnTo>
                </a:path>
              </a:pathLst>
            </a:custGeom>
            <a:grpFill/>
            <a:ln w="548" cap="flat">
              <a:noFill/>
              <a:prstDash val="solid"/>
              <a:miter/>
            </a:ln>
          </p:spPr>
          <p:txBody>
            <a:bodyPr/>
            <a:lstStyle/>
            <a:p>
              <a:endParaRPr lang="en-US"/>
            </a:p>
          </p:txBody>
        </p:sp>
        <p:sp>
          <p:nvSpPr>
            <p:cNvPr id="243" name="Freeform: Shape 242">
              <a:extLst>
                <a:ext uri="{FF2B5EF4-FFF2-40B4-BE49-F238E27FC236}">
                  <a16:creationId xmlns:a16="http://schemas.microsoft.com/office/drawing/2014/main" id="{28CDE4A2-FC93-E032-D266-8688777A46FB}"/>
                </a:ext>
              </a:extLst>
            </p:cNvPr>
            <p:cNvSpPr/>
            <p:nvPr/>
          </p:nvSpPr>
          <p:spPr>
            <a:xfrm flipV="1">
              <a:off x="24317387" y="3429916"/>
              <a:ext cx="15855" cy="14379"/>
            </a:xfrm>
            <a:custGeom>
              <a:avLst/>
              <a:gdLst>
                <a:gd name="csX0" fmla="*/ -8985 w 15855"/>
                <a:gd name="csY0" fmla="*/ -7566 h 14379"/>
                <a:gd name="csX1" fmla="*/ 6871 w 15855"/>
                <a:gd name="csY1" fmla="*/ -7566 h 14379"/>
                <a:gd name="csX2" fmla="*/ 6871 w 15855"/>
                <a:gd name="csY2" fmla="*/ 6814 h 14379"/>
                <a:gd name="csX3" fmla="*/ -8985 w 15855"/>
                <a:gd name="csY3" fmla="*/ 6814 h 14379"/>
                <a:gd name="csX4" fmla="*/ -8985 w 15855"/>
                <a:gd name="csY4" fmla="*/ -7566 h 14379"/>
              </a:gdLst>
              <a:ahLst/>
              <a:cxnLst>
                <a:cxn ang="0">
                  <a:pos x="csX0" y="csY0"/>
                </a:cxn>
                <a:cxn ang="0">
                  <a:pos x="csX1" y="csY1"/>
                </a:cxn>
                <a:cxn ang="0">
                  <a:pos x="csX2" y="csY2"/>
                </a:cxn>
                <a:cxn ang="0">
                  <a:pos x="csX3" y="csY3"/>
                </a:cxn>
                <a:cxn ang="0">
                  <a:pos x="csX4" y="csY4"/>
                </a:cxn>
              </a:cxnLst>
              <a:rect l="l" t="t" r="r" b="b"/>
              <a:pathLst>
                <a:path w="15855" h="14379">
                  <a:moveTo>
                    <a:pt x="-8985" y="-7566"/>
                  </a:moveTo>
                  <a:lnTo>
                    <a:pt x="6871" y="-7566"/>
                  </a:lnTo>
                  <a:lnTo>
                    <a:pt x="6871" y="6814"/>
                  </a:lnTo>
                  <a:lnTo>
                    <a:pt x="-8985" y="6814"/>
                  </a:lnTo>
                  <a:lnTo>
                    <a:pt x="-8985" y="-7566"/>
                  </a:lnTo>
                </a:path>
              </a:pathLst>
            </a:custGeom>
            <a:grpFill/>
            <a:ln w="548" cap="flat">
              <a:noFill/>
              <a:prstDash val="solid"/>
              <a:miter/>
            </a:ln>
          </p:spPr>
          <p:txBody>
            <a:bodyPr/>
            <a:lstStyle/>
            <a:p>
              <a:endParaRPr lang="en-US"/>
            </a:p>
          </p:txBody>
        </p:sp>
        <p:sp>
          <p:nvSpPr>
            <p:cNvPr id="244" name="Freeform: Shape 243">
              <a:extLst>
                <a:ext uri="{FF2B5EF4-FFF2-40B4-BE49-F238E27FC236}">
                  <a16:creationId xmlns:a16="http://schemas.microsoft.com/office/drawing/2014/main" id="{D62C011A-FB1A-737F-A8FE-A619DDDB9F8E}"/>
                </a:ext>
              </a:extLst>
            </p:cNvPr>
            <p:cNvSpPr/>
            <p:nvPr/>
          </p:nvSpPr>
          <p:spPr>
            <a:xfrm flipV="1">
              <a:off x="24317387" y="3463477"/>
              <a:ext cx="15855" cy="14379"/>
            </a:xfrm>
            <a:custGeom>
              <a:avLst/>
              <a:gdLst>
                <a:gd name="csX0" fmla="*/ -8985 w 15855"/>
                <a:gd name="csY0" fmla="*/ -7485 h 14379"/>
                <a:gd name="csX1" fmla="*/ 6871 w 15855"/>
                <a:gd name="csY1" fmla="*/ -7485 h 14379"/>
                <a:gd name="csX2" fmla="*/ 6871 w 15855"/>
                <a:gd name="csY2" fmla="*/ 6895 h 14379"/>
                <a:gd name="csX3" fmla="*/ -8985 w 15855"/>
                <a:gd name="csY3" fmla="*/ 6895 h 14379"/>
                <a:gd name="csX4" fmla="*/ -8985 w 15855"/>
                <a:gd name="csY4" fmla="*/ -7485 h 14379"/>
              </a:gdLst>
              <a:ahLst/>
              <a:cxnLst>
                <a:cxn ang="0">
                  <a:pos x="csX0" y="csY0"/>
                </a:cxn>
                <a:cxn ang="0">
                  <a:pos x="csX1" y="csY1"/>
                </a:cxn>
                <a:cxn ang="0">
                  <a:pos x="csX2" y="csY2"/>
                </a:cxn>
                <a:cxn ang="0">
                  <a:pos x="csX3" y="csY3"/>
                </a:cxn>
                <a:cxn ang="0">
                  <a:pos x="csX4" y="csY4"/>
                </a:cxn>
              </a:cxnLst>
              <a:rect l="l" t="t" r="r" b="b"/>
              <a:pathLst>
                <a:path w="15855" h="14379">
                  <a:moveTo>
                    <a:pt x="-8985" y="-7485"/>
                  </a:moveTo>
                  <a:lnTo>
                    <a:pt x="6871" y="-7485"/>
                  </a:lnTo>
                  <a:lnTo>
                    <a:pt x="6871" y="6895"/>
                  </a:lnTo>
                  <a:lnTo>
                    <a:pt x="-8985" y="6895"/>
                  </a:lnTo>
                  <a:lnTo>
                    <a:pt x="-8985" y="-7485"/>
                  </a:lnTo>
                </a:path>
              </a:pathLst>
            </a:custGeom>
            <a:grpFill/>
            <a:ln w="548" cap="flat">
              <a:noFill/>
              <a:prstDash val="solid"/>
              <a:miter/>
            </a:ln>
          </p:spPr>
          <p:txBody>
            <a:bodyPr/>
            <a:lstStyle/>
            <a:p>
              <a:endParaRPr lang="en-US"/>
            </a:p>
          </p:txBody>
        </p:sp>
        <p:sp>
          <p:nvSpPr>
            <p:cNvPr id="245" name="Freeform: Shape 244">
              <a:extLst>
                <a:ext uri="{FF2B5EF4-FFF2-40B4-BE49-F238E27FC236}">
                  <a16:creationId xmlns:a16="http://schemas.microsoft.com/office/drawing/2014/main" id="{75FF404B-F678-CC34-80AC-CFD0AACA6B3F}"/>
                </a:ext>
              </a:extLst>
            </p:cNvPr>
            <p:cNvSpPr/>
            <p:nvPr/>
          </p:nvSpPr>
          <p:spPr>
            <a:xfrm flipV="1">
              <a:off x="24367807" y="3112139"/>
              <a:ext cx="15855" cy="12256"/>
            </a:xfrm>
            <a:custGeom>
              <a:avLst/>
              <a:gdLst>
                <a:gd name="csX0" fmla="*/ -9048 w 15855"/>
                <a:gd name="csY0" fmla="*/ -8333 h 12256"/>
                <a:gd name="csX1" fmla="*/ 6808 w 15855"/>
                <a:gd name="csY1" fmla="*/ -8333 h 12256"/>
                <a:gd name="csX2" fmla="*/ 6808 w 15855"/>
                <a:gd name="csY2" fmla="*/ 3923 h 12256"/>
                <a:gd name="csX3" fmla="*/ -9048 w 15855"/>
                <a:gd name="csY3" fmla="*/ 3923 h 12256"/>
                <a:gd name="csX4" fmla="*/ -9048 w 15855"/>
                <a:gd name="csY4" fmla="*/ -8333 h 12256"/>
              </a:gdLst>
              <a:ahLst/>
              <a:cxnLst>
                <a:cxn ang="0">
                  <a:pos x="csX0" y="csY0"/>
                </a:cxn>
                <a:cxn ang="0">
                  <a:pos x="csX1" y="csY1"/>
                </a:cxn>
                <a:cxn ang="0">
                  <a:pos x="csX2" y="csY2"/>
                </a:cxn>
                <a:cxn ang="0">
                  <a:pos x="csX3" y="csY3"/>
                </a:cxn>
                <a:cxn ang="0">
                  <a:pos x="csX4" y="csY4"/>
                </a:cxn>
              </a:cxnLst>
              <a:rect l="l" t="t" r="r" b="b"/>
              <a:pathLst>
                <a:path w="15855" h="12256">
                  <a:moveTo>
                    <a:pt x="-9048" y="-8333"/>
                  </a:moveTo>
                  <a:lnTo>
                    <a:pt x="6808" y="-8333"/>
                  </a:lnTo>
                  <a:lnTo>
                    <a:pt x="6808" y="3923"/>
                  </a:lnTo>
                  <a:lnTo>
                    <a:pt x="-9048" y="3923"/>
                  </a:lnTo>
                  <a:lnTo>
                    <a:pt x="-9048" y="-8333"/>
                  </a:lnTo>
                </a:path>
              </a:pathLst>
            </a:custGeom>
            <a:grpFill/>
            <a:ln w="548" cap="flat">
              <a:noFill/>
              <a:prstDash val="solid"/>
              <a:miter/>
            </a:ln>
          </p:spPr>
          <p:txBody>
            <a:bodyPr/>
            <a:lstStyle/>
            <a:p>
              <a:endParaRPr lang="en-US"/>
            </a:p>
          </p:txBody>
        </p:sp>
        <p:sp>
          <p:nvSpPr>
            <p:cNvPr id="246" name="Freeform: Shape 245">
              <a:extLst>
                <a:ext uri="{FF2B5EF4-FFF2-40B4-BE49-F238E27FC236}">
                  <a16:creationId xmlns:a16="http://schemas.microsoft.com/office/drawing/2014/main" id="{4ECF12A1-8BD1-2580-4298-40F3425B8193}"/>
                </a:ext>
              </a:extLst>
            </p:cNvPr>
            <p:cNvSpPr/>
            <p:nvPr/>
          </p:nvSpPr>
          <p:spPr>
            <a:xfrm flipV="1">
              <a:off x="24367807" y="3126798"/>
              <a:ext cx="15855" cy="12262"/>
            </a:xfrm>
            <a:custGeom>
              <a:avLst/>
              <a:gdLst>
                <a:gd name="csX0" fmla="*/ -9048 w 15855"/>
                <a:gd name="csY0" fmla="*/ -8298 h 12262"/>
                <a:gd name="csX1" fmla="*/ 6808 w 15855"/>
                <a:gd name="csY1" fmla="*/ -8298 h 12262"/>
                <a:gd name="csX2" fmla="*/ 6808 w 15855"/>
                <a:gd name="csY2" fmla="*/ 3965 h 12262"/>
                <a:gd name="csX3" fmla="*/ -9048 w 15855"/>
                <a:gd name="csY3" fmla="*/ 3965 h 12262"/>
                <a:gd name="csX4" fmla="*/ -9048 w 15855"/>
                <a:gd name="csY4" fmla="*/ -8298 h 12262"/>
              </a:gdLst>
              <a:ahLst/>
              <a:cxnLst>
                <a:cxn ang="0">
                  <a:pos x="csX0" y="csY0"/>
                </a:cxn>
                <a:cxn ang="0">
                  <a:pos x="csX1" y="csY1"/>
                </a:cxn>
                <a:cxn ang="0">
                  <a:pos x="csX2" y="csY2"/>
                </a:cxn>
                <a:cxn ang="0">
                  <a:pos x="csX3" y="csY3"/>
                </a:cxn>
                <a:cxn ang="0">
                  <a:pos x="csX4" y="csY4"/>
                </a:cxn>
              </a:cxnLst>
              <a:rect l="l" t="t" r="r" b="b"/>
              <a:pathLst>
                <a:path w="15855" h="12262">
                  <a:moveTo>
                    <a:pt x="-9048" y="-8298"/>
                  </a:moveTo>
                  <a:lnTo>
                    <a:pt x="6808" y="-8298"/>
                  </a:lnTo>
                  <a:lnTo>
                    <a:pt x="6808" y="3965"/>
                  </a:lnTo>
                  <a:lnTo>
                    <a:pt x="-9048" y="3965"/>
                  </a:lnTo>
                  <a:lnTo>
                    <a:pt x="-9048" y="-8298"/>
                  </a:lnTo>
                </a:path>
              </a:pathLst>
            </a:custGeom>
            <a:grpFill/>
            <a:ln w="548" cap="flat">
              <a:noFill/>
              <a:prstDash val="solid"/>
              <a:miter/>
            </a:ln>
          </p:spPr>
          <p:txBody>
            <a:bodyPr/>
            <a:lstStyle/>
            <a:p>
              <a:endParaRPr lang="en-US"/>
            </a:p>
          </p:txBody>
        </p:sp>
        <p:sp>
          <p:nvSpPr>
            <p:cNvPr id="247" name="Freeform: Shape 246">
              <a:extLst>
                <a:ext uri="{FF2B5EF4-FFF2-40B4-BE49-F238E27FC236}">
                  <a16:creationId xmlns:a16="http://schemas.microsoft.com/office/drawing/2014/main" id="{F6CBC028-B4AE-DA89-92B0-E9D8A1AE50F6}"/>
                </a:ext>
              </a:extLst>
            </p:cNvPr>
            <p:cNvSpPr/>
            <p:nvPr/>
          </p:nvSpPr>
          <p:spPr>
            <a:xfrm flipV="1">
              <a:off x="24367807" y="3220928"/>
              <a:ext cx="15855" cy="14374"/>
            </a:xfrm>
            <a:custGeom>
              <a:avLst/>
              <a:gdLst>
                <a:gd name="csX0" fmla="*/ -9048 w 15855"/>
                <a:gd name="csY0" fmla="*/ -8069 h 14374"/>
                <a:gd name="csX1" fmla="*/ 6808 w 15855"/>
                <a:gd name="csY1" fmla="*/ -8069 h 14374"/>
                <a:gd name="csX2" fmla="*/ 6808 w 15855"/>
                <a:gd name="csY2" fmla="*/ 6306 h 14374"/>
                <a:gd name="csX3" fmla="*/ -9048 w 15855"/>
                <a:gd name="csY3" fmla="*/ 6306 h 14374"/>
                <a:gd name="csX4" fmla="*/ -9048 w 15855"/>
                <a:gd name="csY4" fmla="*/ -8069 h 14374"/>
              </a:gdLst>
              <a:ahLst/>
              <a:cxnLst>
                <a:cxn ang="0">
                  <a:pos x="csX0" y="csY0"/>
                </a:cxn>
                <a:cxn ang="0">
                  <a:pos x="csX1" y="csY1"/>
                </a:cxn>
                <a:cxn ang="0">
                  <a:pos x="csX2" y="csY2"/>
                </a:cxn>
                <a:cxn ang="0">
                  <a:pos x="csX3" y="csY3"/>
                </a:cxn>
                <a:cxn ang="0">
                  <a:pos x="csX4" y="csY4"/>
                </a:cxn>
              </a:cxnLst>
              <a:rect l="l" t="t" r="r" b="b"/>
              <a:pathLst>
                <a:path w="15855" h="14374">
                  <a:moveTo>
                    <a:pt x="-9048" y="-8069"/>
                  </a:moveTo>
                  <a:lnTo>
                    <a:pt x="6808" y="-8069"/>
                  </a:lnTo>
                  <a:lnTo>
                    <a:pt x="6808" y="6306"/>
                  </a:lnTo>
                  <a:lnTo>
                    <a:pt x="-9048" y="6306"/>
                  </a:lnTo>
                  <a:lnTo>
                    <a:pt x="-9048" y="-8069"/>
                  </a:lnTo>
                </a:path>
              </a:pathLst>
            </a:custGeom>
            <a:grpFill/>
            <a:ln w="548" cap="flat">
              <a:noFill/>
              <a:prstDash val="solid"/>
              <a:miter/>
            </a:ln>
          </p:spPr>
          <p:txBody>
            <a:bodyPr/>
            <a:lstStyle/>
            <a:p>
              <a:endParaRPr lang="en-US"/>
            </a:p>
          </p:txBody>
        </p:sp>
        <p:sp>
          <p:nvSpPr>
            <p:cNvPr id="248" name="Freeform: Shape 247">
              <a:extLst>
                <a:ext uri="{FF2B5EF4-FFF2-40B4-BE49-F238E27FC236}">
                  <a16:creationId xmlns:a16="http://schemas.microsoft.com/office/drawing/2014/main" id="{2D1BE32D-658A-BF2E-02FB-091DAE4AFD93}"/>
                </a:ext>
              </a:extLst>
            </p:cNvPr>
            <p:cNvSpPr/>
            <p:nvPr/>
          </p:nvSpPr>
          <p:spPr>
            <a:xfrm flipV="1">
              <a:off x="24367807" y="3254489"/>
              <a:ext cx="15855" cy="14379"/>
            </a:xfrm>
            <a:custGeom>
              <a:avLst/>
              <a:gdLst>
                <a:gd name="csX0" fmla="*/ -9048 w 15855"/>
                <a:gd name="csY0" fmla="*/ -7988 h 14379"/>
                <a:gd name="csX1" fmla="*/ 6808 w 15855"/>
                <a:gd name="csY1" fmla="*/ -7988 h 14379"/>
                <a:gd name="csX2" fmla="*/ 6808 w 15855"/>
                <a:gd name="csY2" fmla="*/ 6392 h 14379"/>
                <a:gd name="csX3" fmla="*/ -9048 w 15855"/>
                <a:gd name="csY3" fmla="*/ 6392 h 14379"/>
                <a:gd name="csX4" fmla="*/ -9048 w 15855"/>
                <a:gd name="csY4" fmla="*/ -7988 h 14379"/>
              </a:gdLst>
              <a:ahLst/>
              <a:cxnLst>
                <a:cxn ang="0">
                  <a:pos x="csX0" y="csY0"/>
                </a:cxn>
                <a:cxn ang="0">
                  <a:pos x="csX1" y="csY1"/>
                </a:cxn>
                <a:cxn ang="0">
                  <a:pos x="csX2" y="csY2"/>
                </a:cxn>
                <a:cxn ang="0">
                  <a:pos x="csX3" y="csY3"/>
                </a:cxn>
                <a:cxn ang="0">
                  <a:pos x="csX4" y="csY4"/>
                </a:cxn>
              </a:cxnLst>
              <a:rect l="l" t="t" r="r" b="b"/>
              <a:pathLst>
                <a:path w="15855" h="14379">
                  <a:moveTo>
                    <a:pt x="-9048" y="-7988"/>
                  </a:moveTo>
                  <a:lnTo>
                    <a:pt x="6808" y="-7988"/>
                  </a:lnTo>
                  <a:lnTo>
                    <a:pt x="6808" y="6392"/>
                  </a:lnTo>
                  <a:lnTo>
                    <a:pt x="-9048" y="6392"/>
                  </a:lnTo>
                  <a:lnTo>
                    <a:pt x="-9048" y="-7988"/>
                  </a:lnTo>
                </a:path>
              </a:pathLst>
            </a:custGeom>
            <a:grpFill/>
            <a:ln w="548" cap="flat">
              <a:noFill/>
              <a:prstDash val="solid"/>
              <a:miter/>
            </a:ln>
          </p:spPr>
          <p:txBody>
            <a:bodyPr/>
            <a:lstStyle/>
            <a:p>
              <a:endParaRPr lang="en-US"/>
            </a:p>
          </p:txBody>
        </p:sp>
        <p:sp>
          <p:nvSpPr>
            <p:cNvPr id="249" name="Freeform: Shape 248">
              <a:extLst>
                <a:ext uri="{FF2B5EF4-FFF2-40B4-BE49-F238E27FC236}">
                  <a16:creationId xmlns:a16="http://schemas.microsoft.com/office/drawing/2014/main" id="{5ADBE712-5881-9264-4C15-2FF4C3CEBB99}"/>
                </a:ext>
              </a:extLst>
            </p:cNvPr>
            <p:cNvSpPr/>
            <p:nvPr/>
          </p:nvSpPr>
          <p:spPr>
            <a:xfrm flipV="1">
              <a:off x="24367807" y="3237706"/>
              <a:ext cx="15855" cy="14379"/>
            </a:xfrm>
            <a:custGeom>
              <a:avLst/>
              <a:gdLst>
                <a:gd name="csX0" fmla="*/ -9048 w 15855"/>
                <a:gd name="csY0" fmla="*/ -8028 h 14379"/>
                <a:gd name="csX1" fmla="*/ 6808 w 15855"/>
                <a:gd name="csY1" fmla="*/ -8028 h 14379"/>
                <a:gd name="csX2" fmla="*/ 6808 w 15855"/>
                <a:gd name="csY2" fmla="*/ 6351 h 14379"/>
                <a:gd name="csX3" fmla="*/ -9048 w 15855"/>
                <a:gd name="csY3" fmla="*/ 6351 h 14379"/>
                <a:gd name="csX4" fmla="*/ -9048 w 15855"/>
                <a:gd name="csY4" fmla="*/ -8028 h 14379"/>
              </a:gdLst>
              <a:ahLst/>
              <a:cxnLst>
                <a:cxn ang="0">
                  <a:pos x="csX0" y="csY0"/>
                </a:cxn>
                <a:cxn ang="0">
                  <a:pos x="csX1" y="csY1"/>
                </a:cxn>
                <a:cxn ang="0">
                  <a:pos x="csX2" y="csY2"/>
                </a:cxn>
                <a:cxn ang="0">
                  <a:pos x="csX3" y="csY3"/>
                </a:cxn>
                <a:cxn ang="0">
                  <a:pos x="csX4" y="csY4"/>
                </a:cxn>
              </a:cxnLst>
              <a:rect l="l" t="t" r="r" b="b"/>
              <a:pathLst>
                <a:path w="15855" h="14379">
                  <a:moveTo>
                    <a:pt x="-9048" y="-8028"/>
                  </a:moveTo>
                  <a:lnTo>
                    <a:pt x="6808" y="-8028"/>
                  </a:lnTo>
                  <a:lnTo>
                    <a:pt x="6808" y="6351"/>
                  </a:lnTo>
                  <a:lnTo>
                    <a:pt x="-9048" y="6351"/>
                  </a:lnTo>
                  <a:lnTo>
                    <a:pt x="-9048" y="-8028"/>
                  </a:lnTo>
                </a:path>
              </a:pathLst>
            </a:custGeom>
            <a:grpFill/>
            <a:ln w="548" cap="flat">
              <a:noFill/>
              <a:prstDash val="solid"/>
              <a:miter/>
            </a:ln>
          </p:spPr>
          <p:txBody>
            <a:bodyPr/>
            <a:lstStyle/>
            <a:p>
              <a:endParaRPr lang="en-US"/>
            </a:p>
          </p:txBody>
        </p:sp>
        <p:sp>
          <p:nvSpPr>
            <p:cNvPr id="250" name="Freeform: Shape 249">
              <a:extLst>
                <a:ext uri="{FF2B5EF4-FFF2-40B4-BE49-F238E27FC236}">
                  <a16:creationId xmlns:a16="http://schemas.microsoft.com/office/drawing/2014/main" id="{83BFAEB8-EFA9-ED1B-7143-0980698D0343}"/>
                </a:ext>
              </a:extLst>
            </p:cNvPr>
            <p:cNvSpPr/>
            <p:nvPr/>
          </p:nvSpPr>
          <p:spPr>
            <a:xfrm flipV="1">
              <a:off x="24367807" y="3204146"/>
              <a:ext cx="15855" cy="14374"/>
            </a:xfrm>
            <a:custGeom>
              <a:avLst/>
              <a:gdLst>
                <a:gd name="csX0" fmla="*/ -9048 w 15855"/>
                <a:gd name="csY0" fmla="*/ -8109 h 14374"/>
                <a:gd name="csX1" fmla="*/ 6808 w 15855"/>
                <a:gd name="csY1" fmla="*/ -8109 h 14374"/>
                <a:gd name="csX2" fmla="*/ 6808 w 15855"/>
                <a:gd name="csY2" fmla="*/ 6265 h 14374"/>
                <a:gd name="csX3" fmla="*/ -9048 w 15855"/>
                <a:gd name="csY3" fmla="*/ 6265 h 14374"/>
                <a:gd name="csX4" fmla="*/ -9048 w 15855"/>
                <a:gd name="csY4" fmla="*/ -8109 h 14374"/>
              </a:gdLst>
              <a:ahLst/>
              <a:cxnLst>
                <a:cxn ang="0">
                  <a:pos x="csX0" y="csY0"/>
                </a:cxn>
                <a:cxn ang="0">
                  <a:pos x="csX1" y="csY1"/>
                </a:cxn>
                <a:cxn ang="0">
                  <a:pos x="csX2" y="csY2"/>
                </a:cxn>
                <a:cxn ang="0">
                  <a:pos x="csX3" y="csY3"/>
                </a:cxn>
                <a:cxn ang="0">
                  <a:pos x="csX4" y="csY4"/>
                </a:cxn>
              </a:cxnLst>
              <a:rect l="l" t="t" r="r" b="b"/>
              <a:pathLst>
                <a:path w="15855" h="14374">
                  <a:moveTo>
                    <a:pt x="-9048" y="-8109"/>
                  </a:moveTo>
                  <a:lnTo>
                    <a:pt x="6808" y="-8109"/>
                  </a:lnTo>
                  <a:lnTo>
                    <a:pt x="6808" y="6265"/>
                  </a:lnTo>
                  <a:lnTo>
                    <a:pt x="-9048" y="6265"/>
                  </a:lnTo>
                  <a:lnTo>
                    <a:pt x="-9048" y="-8109"/>
                  </a:lnTo>
                </a:path>
              </a:pathLst>
            </a:custGeom>
            <a:grpFill/>
            <a:ln w="548" cap="flat">
              <a:noFill/>
              <a:prstDash val="solid"/>
              <a:miter/>
            </a:ln>
          </p:spPr>
          <p:txBody>
            <a:bodyPr/>
            <a:lstStyle/>
            <a:p>
              <a:endParaRPr lang="en-US"/>
            </a:p>
          </p:txBody>
        </p:sp>
        <p:sp>
          <p:nvSpPr>
            <p:cNvPr id="251" name="Freeform: Shape 250">
              <a:extLst>
                <a:ext uri="{FF2B5EF4-FFF2-40B4-BE49-F238E27FC236}">
                  <a16:creationId xmlns:a16="http://schemas.microsoft.com/office/drawing/2014/main" id="{07764FD4-5F4D-315B-7034-CB4E5B4CC4E6}"/>
                </a:ext>
              </a:extLst>
            </p:cNvPr>
            <p:cNvSpPr/>
            <p:nvPr/>
          </p:nvSpPr>
          <p:spPr>
            <a:xfrm flipV="1">
              <a:off x="24367807" y="3187363"/>
              <a:ext cx="15855" cy="14379"/>
            </a:xfrm>
            <a:custGeom>
              <a:avLst/>
              <a:gdLst>
                <a:gd name="csX0" fmla="*/ -9048 w 15855"/>
                <a:gd name="csY0" fmla="*/ -8150 h 14379"/>
                <a:gd name="csX1" fmla="*/ 6808 w 15855"/>
                <a:gd name="csY1" fmla="*/ -8150 h 14379"/>
                <a:gd name="csX2" fmla="*/ 6808 w 15855"/>
                <a:gd name="csY2" fmla="*/ 6230 h 14379"/>
                <a:gd name="csX3" fmla="*/ -9048 w 15855"/>
                <a:gd name="csY3" fmla="*/ 6230 h 14379"/>
                <a:gd name="csX4" fmla="*/ -9048 w 15855"/>
                <a:gd name="csY4" fmla="*/ -8150 h 14379"/>
              </a:gdLst>
              <a:ahLst/>
              <a:cxnLst>
                <a:cxn ang="0">
                  <a:pos x="csX0" y="csY0"/>
                </a:cxn>
                <a:cxn ang="0">
                  <a:pos x="csX1" y="csY1"/>
                </a:cxn>
                <a:cxn ang="0">
                  <a:pos x="csX2" y="csY2"/>
                </a:cxn>
                <a:cxn ang="0">
                  <a:pos x="csX3" y="csY3"/>
                </a:cxn>
                <a:cxn ang="0">
                  <a:pos x="csX4" y="csY4"/>
                </a:cxn>
              </a:cxnLst>
              <a:rect l="l" t="t" r="r" b="b"/>
              <a:pathLst>
                <a:path w="15855" h="14379">
                  <a:moveTo>
                    <a:pt x="-9048" y="-8150"/>
                  </a:moveTo>
                  <a:lnTo>
                    <a:pt x="6808" y="-8150"/>
                  </a:lnTo>
                  <a:lnTo>
                    <a:pt x="6808" y="6230"/>
                  </a:lnTo>
                  <a:lnTo>
                    <a:pt x="-9048" y="6230"/>
                  </a:lnTo>
                  <a:lnTo>
                    <a:pt x="-9048" y="-8150"/>
                  </a:lnTo>
                </a:path>
              </a:pathLst>
            </a:custGeom>
            <a:grpFill/>
            <a:ln w="548" cap="flat">
              <a:noFill/>
              <a:prstDash val="solid"/>
              <a:miter/>
            </a:ln>
          </p:spPr>
          <p:txBody>
            <a:bodyPr/>
            <a:lstStyle/>
            <a:p>
              <a:endParaRPr lang="en-US"/>
            </a:p>
          </p:txBody>
        </p:sp>
        <p:sp>
          <p:nvSpPr>
            <p:cNvPr id="252" name="Freeform: Shape 251">
              <a:extLst>
                <a:ext uri="{FF2B5EF4-FFF2-40B4-BE49-F238E27FC236}">
                  <a16:creationId xmlns:a16="http://schemas.microsoft.com/office/drawing/2014/main" id="{938E6193-7CE9-B3E4-895E-181B78E30E40}"/>
                </a:ext>
              </a:extLst>
            </p:cNvPr>
            <p:cNvSpPr/>
            <p:nvPr/>
          </p:nvSpPr>
          <p:spPr>
            <a:xfrm flipV="1">
              <a:off x="24367807" y="3271271"/>
              <a:ext cx="15855" cy="14379"/>
            </a:xfrm>
            <a:custGeom>
              <a:avLst/>
              <a:gdLst>
                <a:gd name="csX0" fmla="*/ -9048 w 15855"/>
                <a:gd name="csY0" fmla="*/ -7948 h 14379"/>
                <a:gd name="csX1" fmla="*/ 6808 w 15855"/>
                <a:gd name="csY1" fmla="*/ -7948 h 14379"/>
                <a:gd name="csX2" fmla="*/ 6808 w 15855"/>
                <a:gd name="csY2" fmla="*/ 6432 h 14379"/>
                <a:gd name="csX3" fmla="*/ -9048 w 15855"/>
                <a:gd name="csY3" fmla="*/ 6432 h 14379"/>
                <a:gd name="csX4" fmla="*/ -9048 w 15855"/>
                <a:gd name="csY4" fmla="*/ -7948 h 14379"/>
              </a:gdLst>
              <a:ahLst/>
              <a:cxnLst>
                <a:cxn ang="0">
                  <a:pos x="csX0" y="csY0"/>
                </a:cxn>
                <a:cxn ang="0">
                  <a:pos x="csX1" y="csY1"/>
                </a:cxn>
                <a:cxn ang="0">
                  <a:pos x="csX2" y="csY2"/>
                </a:cxn>
                <a:cxn ang="0">
                  <a:pos x="csX3" y="csY3"/>
                </a:cxn>
                <a:cxn ang="0">
                  <a:pos x="csX4" y="csY4"/>
                </a:cxn>
              </a:cxnLst>
              <a:rect l="l" t="t" r="r" b="b"/>
              <a:pathLst>
                <a:path w="15855" h="14379">
                  <a:moveTo>
                    <a:pt x="-9048" y="-7948"/>
                  </a:moveTo>
                  <a:lnTo>
                    <a:pt x="6808" y="-7948"/>
                  </a:lnTo>
                  <a:lnTo>
                    <a:pt x="6808" y="6432"/>
                  </a:lnTo>
                  <a:lnTo>
                    <a:pt x="-9048" y="6432"/>
                  </a:lnTo>
                  <a:lnTo>
                    <a:pt x="-9048" y="-7948"/>
                  </a:lnTo>
                </a:path>
              </a:pathLst>
            </a:custGeom>
            <a:grpFill/>
            <a:ln w="548" cap="flat">
              <a:noFill/>
              <a:prstDash val="solid"/>
              <a:miter/>
            </a:ln>
          </p:spPr>
          <p:txBody>
            <a:bodyPr/>
            <a:lstStyle/>
            <a:p>
              <a:endParaRPr lang="en-US"/>
            </a:p>
          </p:txBody>
        </p:sp>
        <p:sp>
          <p:nvSpPr>
            <p:cNvPr id="253" name="Freeform: Shape 252">
              <a:extLst>
                <a:ext uri="{FF2B5EF4-FFF2-40B4-BE49-F238E27FC236}">
                  <a16:creationId xmlns:a16="http://schemas.microsoft.com/office/drawing/2014/main" id="{C7D6B65F-AEEA-C4B9-E3CA-7846010954ED}"/>
                </a:ext>
              </a:extLst>
            </p:cNvPr>
            <p:cNvSpPr/>
            <p:nvPr/>
          </p:nvSpPr>
          <p:spPr>
            <a:xfrm flipV="1">
              <a:off x="24367807" y="3172697"/>
              <a:ext cx="15855" cy="12261"/>
            </a:xfrm>
            <a:custGeom>
              <a:avLst/>
              <a:gdLst>
                <a:gd name="csX0" fmla="*/ -9048 w 15855"/>
                <a:gd name="csY0" fmla="*/ -8187 h 12261"/>
                <a:gd name="csX1" fmla="*/ 6808 w 15855"/>
                <a:gd name="csY1" fmla="*/ -8187 h 12261"/>
                <a:gd name="csX2" fmla="*/ 6808 w 15855"/>
                <a:gd name="csY2" fmla="*/ 4075 h 12261"/>
                <a:gd name="csX3" fmla="*/ -9048 w 15855"/>
                <a:gd name="csY3" fmla="*/ 4075 h 12261"/>
                <a:gd name="csX4" fmla="*/ -9048 w 15855"/>
                <a:gd name="csY4" fmla="*/ -8187 h 12261"/>
              </a:gdLst>
              <a:ahLst/>
              <a:cxnLst>
                <a:cxn ang="0">
                  <a:pos x="csX0" y="csY0"/>
                </a:cxn>
                <a:cxn ang="0">
                  <a:pos x="csX1" y="csY1"/>
                </a:cxn>
                <a:cxn ang="0">
                  <a:pos x="csX2" y="csY2"/>
                </a:cxn>
                <a:cxn ang="0">
                  <a:pos x="csX3" y="csY3"/>
                </a:cxn>
                <a:cxn ang="0">
                  <a:pos x="csX4" y="csY4"/>
                </a:cxn>
              </a:cxnLst>
              <a:rect l="l" t="t" r="r" b="b"/>
              <a:pathLst>
                <a:path w="15855" h="12261">
                  <a:moveTo>
                    <a:pt x="-9048" y="-8187"/>
                  </a:moveTo>
                  <a:lnTo>
                    <a:pt x="6808" y="-8187"/>
                  </a:lnTo>
                  <a:lnTo>
                    <a:pt x="6808" y="4075"/>
                  </a:lnTo>
                  <a:lnTo>
                    <a:pt x="-9048" y="4075"/>
                  </a:lnTo>
                  <a:lnTo>
                    <a:pt x="-9048" y="-8187"/>
                  </a:lnTo>
                </a:path>
              </a:pathLst>
            </a:custGeom>
            <a:grpFill/>
            <a:ln w="548" cap="flat">
              <a:noFill/>
              <a:prstDash val="solid"/>
              <a:miter/>
            </a:ln>
          </p:spPr>
          <p:txBody>
            <a:bodyPr/>
            <a:lstStyle/>
            <a:p>
              <a:endParaRPr lang="en-US"/>
            </a:p>
          </p:txBody>
        </p:sp>
        <p:sp>
          <p:nvSpPr>
            <p:cNvPr id="254" name="Freeform: Shape 253">
              <a:extLst>
                <a:ext uri="{FF2B5EF4-FFF2-40B4-BE49-F238E27FC236}">
                  <a16:creationId xmlns:a16="http://schemas.microsoft.com/office/drawing/2014/main" id="{9D2005DD-7559-5267-9CC5-2C1B33842B8C}"/>
                </a:ext>
              </a:extLst>
            </p:cNvPr>
            <p:cNvSpPr/>
            <p:nvPr/>
          </p:nvSpPr>
          <p:spPr>
            <a:xfrm flipV="1">
              <a:off x="24367807" y="3304832"/>
              <a:ext cx="15855" cy="14313"/>
            </a:xfrm>
            <a:custGeom>
              <a:avLst/>
              <a:gdLst>
                <a:gd name="csX0" fmla="*/ -9048 w 15855"/>
                <a:gd name="csY0" fmla="*/ -7867 h 14313"/>
                <a:gd name="csX1" fmla="*/ 6808 w 15855"/>
                <a:gd name="csY1" fmla="*/ -7867 h 14313"/>
                <a:gd name="csX2" fmla="*/ 6808 w 15855"/>
                <a:gd name="csY2" fmla="*/ 6447 h 14313"/>
                <a:gd name="csX3" fmla="*/ -9048 w 15855"/>
                <a:gd name="csY3" fmla="*/ 6447 h 14313"/>
                <a:gd name="csX4" fmla="*/ -9048 w 15855"/>
                <a:gd name="csY4" fmla="*/ -7867 h 14313"/>
              </a:gdLst>
              <a:ahLst/>
              <a:cxnLst>
                <a:cxn ang="0">
                  <a:pos x="csX0" y="csY0"/>
                </a:cxn>
                <a:cxn ang="0">
                  <a:pos x="csX1" y="csY1"/>
                </a:cxn>
                <a:cxn ang="0">
                  <a:pos x="csX2" y="csY2"/>
                </a:cxn>
                <a:cxn ang="0">
                  <a:pos x="csX3" y="csY3"/>
                </a:cxn>
                <a:cxn ang="0">
                  <a:pos x="csX4" y="csY4"/>
                </a:cxn>
              </a:cxnLst>
              <a:rect l="l" t="t" r="r" b="b"/>
              <a:pathLst>
                <a:path w="15855" h="14313">
                  <a:moveTo>
                    <a:pt x="-9048" y="-7867"/>
                  </a:moveTo>
                  <a:lnTo>
                    <a:pt x="6808" y="-7867"/>
                  </a:lnTo>
                  <a:lnTo>
                    <a:pt x="6808" y="6447"/>
                  </a:lnTo>
                  <a:lnTo>
                    <a:pt x="-9048" y="6447"/>
                  </a:lnTo>
                  <a:lnTo>
                    <a:pt x="-9048" y="-7867"/>
                  </a:lnTo>
                </a:path>
              </a:pathLst>
            </a:custGeom>
            <a:grpFill/>
            <a:ln w="548" cap="flat">
              <a:noFill/>
              <a:prstDash val="solid"/>
              <a:miter/>
            </a:ln>
          </p:spPr>
          <p:txBody>
            <a:bodyPr/>
            <a:lstStyle/>
            <a:p>
              <a:endParaRPr lang="en-US"/>
            </a:p>
          </p:txBody>
        </p:sp>
        <p:sp>
          <p:nvSpPr>
            <p:cNvPr id="255" name="Freeform: Shape 254">
              <a:extLst>
                <a:ext uri="{FF2B5EF4-FFF2-40B4-BE49-F238E27FC236}">
                  <a16:creationId xmlns:a16="http://schemas.microsoft.com/office/drawing/2014/main" id="{D3656EBC-5988-0A8A-07A6-69A71AD1D250}"/>
                </a:ext>
              </a:extLst>
            </p:cNvPr>
            <p:cNvSpPr/>
            <p:nvPr/>
          </p:nvSpPr>
          <p:spPr>
            <a:xfrm flipV="1">
              <a:off x="24367807" y="3288054"/>
              <a:ext cx="15855" cy="14379"/>
            </a:xfrm>
            <a:custGeom>
              <a:avLst/>
              <a:gdLst>
                <a:gd name="csX0" fmla="*/ -9048 w 15855"/>
                <a:gd name="csY0" fmla="*/ -7907 h 14379"/>
                <a:gd name="csX1" fmla="*/ 6808 w 15855"/>
                <a:gd name="csY1" fmla="*/ -7907 h 14379"/>
                <a:gd name="csX2" fmla="*/ 6808 w 15855"/>
                <a:gd name="csY2" fmla="*/ 6473 h 14379"/>
                <a:gd name="csX3" fmla="*/ -9048 w 15855"/>
                <a:gd name="csY3" fmla="*/ 6473 h 14379"/>
                <a:gd name="csX4" fmla="*/ -9048 w 15855"/>
                <a:gd name="csY4" fmla="*/ -7907 h 14379"/>
              </a:gdLst>
              <a:ahLst/>
              <a:cxnLst>
                <a:cxn ang="0">
                  <a:pos x="csX0" y="csY0"/>
                </a:cxn>
                <a:cxn ang="0">
                  <a:pos x="csX1" y="csY1"/>
                </a:cxn>
                <a:cxn ang="0">
                  <a:pos x="csX2" y="csY2"/>
                </a:cxn>
                <a:cxn ang="0">
                  <a:pos x="csX3" y="csY3"/>
                </a:cxn>
                <a:cxn ang="0">
                  <a:pos x="csX4" y="csY4"/>
                </a:cxn>
              </a:cxnLst>
              <a:rect l="l" t="t" r="r" b="b"/>
              <a:pathLst>
                <a:path w="15855" h="14379">
                  <a:moveTo>
                    <a:pt x="-9048" y="-7907"/>
                  </a:moveTo>
                  <a:lnTo>
                    <a:pt x="6808" y="-7907"/>
                  </a:lnTo>
                  <a:lnTo>
                    <a:pt x="6808" y="6473"/>
                  </a:lnTo>
                  <a:lnTo>
                    <a:pt x="-9048" y="6473"/>
                  </a:lnTo>
                  <a:lnTo>
                    <a:pt x="-9048" y="-7907"/>
                  </a:lnTo>
                </a:path>
              </a:pathLst>
            </a:custGeom>
            <a:grpFill/>
            <a:ln w="548" cap="flat">
              <a:noFill/>
              <a:prstDash val="solid"/>
              <a:miter/>
            </a:ln>
          </p:spPr>
          <p:txBody>
            <a:bodyPr/>
            <a:lstStyle/>
            <a:p>
              <a:endParaRPr lang="en-US"/>
            </a:p>
          </p:txBody>
        </p:sp>
        <p:sp>
          <p:nvSpPr>
            <p:cNvPr id="256" name="Freeform: Shape 255">
              <a:extLst>
                <a:ext uri="{FF2B5EF4-FFF2-40B4-BE49-F238E27FC236}">
                  <a16:creationId xmlns:a16="http://schemas.microsoft.com/office/drawing/2014/main" id="{A5EE2C57-2F5A-90F2-4343-34BC37B763F6}"/>
                </a:ext>
              </a:extLst>
            </p:cNvPr>
            <p:cNvSpPr/>
            <p:nvPr/>
          </p:nvSpPr>
          <p:spPr>
            <a:xfrm flipV="1">
              <a:off x="24367807" y="3396351"/>
              <a:ext cx="15855" cy="14379"/>
            </a:xfrm>
            <a:custGeom>
              <a:avLst/>
              <a:gdLst>
                <a:gd name="csX0" fmla="*/ -9048 w 15855"/>
                <a:gd name="csY0" fmla="*/ -7647 h 14379"/>
                <a:gd name="csX1" fmla="*/ 6808 w 15855"/>
                <a:gd name="csY1" fmla="*/ -7647 h 14379"/>
                <a:gd name="csX2" fmla="*/ 6808 w 15855"/>
                <a:gd name="csY2" fmla="*/ 6733 h 14379"/>
                <a:gd name="csX3" fmla="*/ -9048 w 15855"/>
                <a:gd name="csY3" fmla="*/ 6733 h 14379"/>
                <a:gd name="csX4" fmla="*/ -9048 w 15855"/>
                <a:gd name="csY4" fmla="*/ -7647 h 14379"/>
              </a:gdLst>
              <a:ahLst/>
              <a:cxnLst>
                <a:cxn ang="0">
                  <a:pos x="csX0" y="csY0"/>
                </a:cxn>
                <a:cxn ang="0">
                  <a:pos x="csX1" y="csY1"/>
                </a:cxn>
                <a:cxn ang="0">
                  <a:pos x="csX2" y="csY2"/>
                </a:cxn>
                <a:cxn ang="0">
                  <a:pos x="csX3" y="csY3"/>
                </a:cxn>
                <a:cxn ang="0">
                  <a:pos x="csX4" y="csY4"/>
                </a:cxn>
              </a:cxnLst>
              <a:rect l="l" t="t" r="r" b="b"/>
              <a:pathLst>
                <a:path w="15855" h="14379">
                  <a:moveTo>
                    <a:pt x="-9048" y="-7647"/>
                  </a:moveTo>
                  <a:lnTo>
                    <a:pt x="6808" y="-7647"/>
                  </a:lnTo>
                  <a:lnTo>
                    <a:pt x="6808" y="6733"/>
                  </a:lnTo>
                  <a:lnTo>
                    <a:pt x="-9048" y="6733"/>
                  </a:lnTo>
                  <a:lnTo>
                    <a:pt x="-9048" y="-7647"/>
                  </a:lnTo>
                </a:path>
              </a:pathLst>
            </a:custGeom>
            <a:grpFill/>
            <a:ln w="548" cap="flat">
              <a:noFill/>
              <a:prstDash val="solid"/>
              <a:miter/>
            </a:ln>
          </p:spPr>
          <p:txBody>
            <a:bodyPr/>
            <a:lstStyle/>
            <a:p>
              <a:endParaRPr lang="en-US"/>
            </a:p>
          </p:txBody>
        </p:sp>
        <p:sp>
          <p:nvSpPr>
            <p:cNvPr id="257" name="Freeform: Shape 256">
              <a:extLst>
                <a:ext uri="{FF2B5EF4-FFF2-40B4-BE49-F238E27FC236}">
                  <a16:creationId xmlns:a16="http://schemas.microsoft.com/office/drawing/2014/main" id="{49890F1B-8123-5586-7D54-69ADDA7D93C5}"/>
                </a:ext>
              </a:extLst>
            </p:cNvPr>
            <p:cNvSpPr/>
            <p:nvPr/>
          </p:nvSpPr>
          <p:spPr>
            <a:xfrm flipV="1">
              <a:off x="24367807" y="3379567"/>
              <a:ext cx="15855" cy="14380"/>
            </a:xfrm>
            <a:custGeom>
              <a:avLst/>
              <a:gdLst>
                <a:gd name="csX0" fmla="*/ -9048 w 15855"/>
                <a:gd name="csY0" fmla="*/ -7687 h 14380"/>
                <a:gd name="csX1" fmla="*/ 6808 w 15855"/>
                <a:gd name="csY1" fmla="*/ -7687 h 14380"/>
                <a:gd name="csX2" fmla="*/ 6808 w 15855"/>
                <a:gd name="csY2" fmla="*/ 6693 h 14380"/>
                <a:gd name="csX3" fmla="*/ -9048 w 15855"/>
                <a:gd name="csY3" fmla="*/ 6693 h 14380"/>
                <a:gd name="csX4" fmla="*/ -9048 w 15855"/>
                <a:gd name="csY4" fmla="*/ -7687 h 14380"/>
              </a:gdLst>
              <a:ahLst/>
              <a:cxnLst>
                <a:cxn ang="0">
                  <a:pos x="csX0" y="csY0"/>
                </a:cxn>
                <a:cxn ang="0">
                  <a:pos x="csX1" y="csY1"/>
                </a:cxn>
                <a:cxn ang="0">
                  <a:pos x="csX2" y="csY2"/>
                </a:cxn>
                <a:cxn ang="0">
                  <a:pos x="csX3" y="csY3"/>
                </a:cxn>
                <a:cxn ang="0">
                  <a:pos x="csX4" y="csY4"/>
                </a:cxn>
              </a:cxnLst>
              <a:rect l="l" t="t" r="r" b="b"/>
              <a:pathLst>
                <a:path w="15855" h="14380">
                  <a:moveTo>
                    <a:pt x="-9048" y="-7687"/>
                  </a:moveTo>
                  <a:lnTo>
                    <a:pt x="6808" y="-7687"/>
                  </a:lnTo>
                  <a:lnTo>
                    <a:pt x="6808" y="6693"/>
                  </a:lnTo>
                  <a:lnTo>
                    <a:pt x="-9048" y="6693"/>
                  </a:lnTo>
                  <a:lnTo>
                    <a:pt x="-9048" y="-7687"/>
                  </a:lnTo>
                </a:path>
              </a:pathLst>
            </a:custGeom>
            <a:grpFill/>
            <a:ln w="548" cap="flat">
              <a:noFill/>
              <a:prstDash val="solid"/>
              <a:miter/>
            </a:ln>
          </p:spPr>
          <p:txBody>
            <a:bodyPr/>
            <a:lstStyle/>
            <a:p>
              <a:endParaRPr lang="en-US"/>
            </a:p>
          </p:txBody>
        </p:sp>
        <p:sp>
          <p:nvSpPr>
            <p:cNvPr id="258" name="Freeform: Shape 257">
              <a:extLst>
                <a:ext uri="{FF2B5EF4-FFF2-40B4-BE49-F238E27FC236}">
                  <a16:creationId xmlns:a16="http://schemas.microsoft.com/office/drawing/2014/main" id="{96126BC1-1A82-5682-80C6-C5F5648C448C}"/>
                </a:ext>
              </a:extLst>
            </p:cNvPr>
            <p:cNvSpPr/>
            <p:nvPr/>
          </p:nvSpPr>
          <p:spPr>
            <a:xfrm flipV="1">
              <a:off x="24367807" y="3362785"/>
              <a:ext cx="15855" cy="14379"/>
            </a:xfrm>
            <a:custGeom>
              <a:avLst/>
              <a:gdLst>
                <a:gd name="csX0" fmla="*/ -9048 w 15855"/>
                <a:gd name="csY0" fmla="*/ -7727 h 14379"/>
                <a:gd name="csX1" fmla="*/ 6808 w 15855"/>
                <a:gd name="csY1" fmla="*/ -7727 h 14379"/>
                <a:gd name="csX2" fmla="*/ 6808 w 15855"/>
                <a:gd name="csY2" fmla="*/ 6652 h 14379"/>
                <a:gd name="csX3" fmla="*/ -9048 w 15855"/>
                <a:gd name="csY3" fmla="*/ 6652 h 14379"/>
                <a:gd name="csX4" fmla="*/ -9048 w 15855"/>
                <a:gd name="csY4" fmla="*/ -7727 h 14379"/>
              </a:gdLst>
              <a:ahLst/>
              <a:cxnLst>
                <a:cxn ang="0">
                  <a:pos x="csX0" y="csY0"/>
                </a:cxn>
                <a:cxn ang="0">
                  <a:pos x="csX1" y="csY1"/>
                </a:cxn>
                <a:cxn ang="0">
                  <a:pos x="csX2" y="csY2"/>
                </a:cxn>
                <a:cxn ang="0">
                  <a:pos x="csX3" y="csY3"/>
                </a:cxn>
                <a:cxn ang="0">
                  <a:pos x="csX4" y="csY4"/>
                </a:cxn>
              </a:cxnLst>
              <a:rect l="l" t="t" r="r" b="b"/>
              <a:pathLst>
                <a:path w="15855" h="14379">
                  <a:moveTo>
                    <a:pt x="-9048" y="-7727"/>
                  </a:moveTo>
                  <a:lnTo>
                    <a:pt x="6808" y="-7727"/>
                  </a:lnTo>
                  <a:lnTo>
                    <a:pt x="6808" y="6652"/>
                  </a:lnTo>
                  <a:lnTo>
                    <a:pt x="-9048" y="6652"/>
                  </a:lnTo>
                  <a:lnTo>
                    <a:pt x="-9048" y="-7727"/>
                  </a:lnTo>
                </a:path>
              </a:pathLst>
            </a:custGeom>
            <a:grpFill/>
            <a:ln w="548" cap="flat">
              <a:noFill/>
              <a:prstDash val="solid"/>
              <a:miter/>
            </a:ln>
          </p:spPr>
          <p:txBody>
            <a:bodyPr/>
            <a:lstStyle/>
            <a:p>
              <a:endParaRPr lang="en-US"/>
            </a:p>
          </p:txBody>
        </p:sp>
        <p:sp>
          <p:nvSpPr>
            <p:cNvPr id="259" name="Freeform: Shape 258">
              <a:extLst>
                <a:ext uri="{FF2B5EF4-FFF2-40B4-BE49-F238E27FC236}">
                  <a16:creationId xmlns:a16="http://schemas.microsoft.com/office/drawing/2014/main" id="{695EC8A1-A846-00A1-2B5A-41465CDE2D35}"/>
                </a:ext>
              </a:extLst>
            </p:cNvPr>
            <p:cNvSpPr/>
            <p:nvPr/>
          </p:nvSpPr>
          <p:spPr>
            <a:xfrm flipV="1">
              <a:off x="24367807" y="3413133"/>
              <a:ext cx="15855" cy="14379"/>
            </a:xfrm>
            <a:custGeom>
              <a:avLst/>
              <a:gdLst>
                <a:gd name="csX0" fmla="*/ -9048 w 15855"/>
                <a:gd name="csY0" fmla="*/ -7606 h 14379"/>
                <a:gd name="csX1" fmla="*/ 6808 w 15855"/>
                <a:gd name="csY1" fmla="*/ -7606 h 14379"/>
                <a:gd name="csX2" fmla="*/ 6808 w 15855"/>
                <a:gd name="csY2" fmla="*/ 6773 h 14379"/>
                <a:gd name="csX3" fmla="*/ -9048 w 15855"/>
                <a:gd name="csY3" fmla="*/ 6773 h 14379"/>
                <a:gd name="csX4" fmla="*/ -9048 w 15855"/>
                <a:gd name="csY4" fmla="*/ -7606 h 14379"/>
              </a:gdLst>
              <a:ahLst/>
              <a:cxnLst>
                <a:cxn ang="0">
                  <a:pos x="csX0" y="csY0"/>
                </a:cxn>
                <a:cxn ang="0">
                  <a:pos x="csX1" y="csY1"/>
                </a:cxn>
                <a:cxn ang="0">
                  <a:pos x="csX2" y="csY2"/>
                </a:cxn>
                <a:cxn ang="0">
                  <a:pos x="csX3" y="csY3"/>
                </a:cxn>
                <a:cxn ang="0">
                  <a:pos x="csX4" y="csY4"/>
                </a:cxn>
              </a:cxnLst>
              <a:rect l="l" t="t" r="r" b="b"/>
              <a:pathLst>
                <a:path w="15855" h="14379">
                  <a:moveTo>
                    <a:pt x="-9048" y="-7606"/>
                  </a:moveTo>
                  <a:lnTo>
                    <a:pt x="6808" y="-7606"/>
                  </a:lnTo>
                  <a:lnTo>
                    <a:pt x="6808" y="6773"/>
                  </a:lnTo>
                  <a:lnTo>
                    <a:pt x="-9048" y="6773"/>
                  </a:lnTo>
                  <a:lnTo>
                    <a:pt x="-9048" y="-7606"/>
                  </a:lnTo>
                </a:path>
              </a:pathLst>
            </a:custGeom>
            <a:grpFill/>
            <a:ln w="548" cap="flat">
              <a:noFill/>
              <a:prstDash val="solid"/>
              <a:miter/>
            </a:ln>
          </p:spPr>
          <p:txBody>
            <a:bodyPr/>
            <a:lstStyle/>
            <a:p>
              <a:endParaRPr lang="en-US"/>
            </a:p>
          </p:txBody>
        </p:sp>
        <p:sp>
          <p:nvSpPr>
            <p:cNvPr id="260" name="Freeform: Shape 259">
              <a:extLst>
                <a:ext uri="{FF2B5EF4-FFF2-40B4-BE49-F238E27FC236}">
                  <a16:creationId xmlns:a16="http://schemas.microsoft.com/office/drawing/2014/main" id="{A0897539-48B5-C925-8F5E-0C92217FCCEF}"/>
                </a:ext>
              </a:extLst>
            </p:cNvPr>
            <p:cNvSpPr/>
            <p:nvPr/>
          </p:nvSpPr>
          <p:spPr>
            <a:xfrm flipV="1">
              <a:off x="24367807" y="3446694"/>
              <a:ext cx="15855" cy="14379"/>
            </a:xfrm>
            <a:custGeom>
              <a:avLst/>
              <a:gdLst>
                <a:gd name="csX0" fmla="*/ -9048 w 15855"/>
                <a:gd name="csY0" fmla="*/ -7526 h 14379"/>
                <a:gd name="csX1" fmla="*/ 6808 w 15855"/>
                <a:gd name="csY1" fmla="*/ -7526 h 14379"/>
                <a:gd name="csX2" fmla="*/ 6808 w 15855"/>
                <a:gd name="csY2" fmla="*/ 6854 h 14379"/>
                <a:gd name="csX3" fmla="*/ -9048 w 15855"/>
                <a:gd name="csY3" fmla="*/ 6854 h 14379"/>
                <a:gd name="csX4" fmla="*/ -9048 w 15855"/>
                <a:gd name="csY4" fmla="*/ -7526 h 14379"/>
              </a:gdLst>
              <a:ahLst/>
              <a:cxnLst>
                <a:cxn ang="0">
                  <a:pos x="csX0" y="csY0"/>
                </a:cxn>
                <a:cxn ang="0">
                  <a:pos x="csX1" y="csY1"/>
                </a:cxn>
                <a:cxn ang="0">
                  <a:pos x="csX2" y="csY2"/>
                </a:cxn>
                <a:cxn ang="0">
                  <a:pos x="csX3" y="csY3"/>
                </a:cxn>
                <a:cxn ang="0">
                  <a:pos x="csX4" y="csY4"/>
                </a:cxn>
              </a:cxnLst>
              <a:rect l="l" t="t" r="r" b="b"/>
              <a:pathLst>
                <a:path w="15855" h="14379">
                  <a:moveTo>
                    <a:pt x="-9048" y="-7526"/>
                  </a:moveTo>
                  <a:lnTo>
                    <a:pt x="6808" y="-7526"/>
                  </a:lnTo>
                  <a:lnTo>
                    <a:pt x="6808" y="6854"/>
                  </a:lnTo>
                  <a:lnTo>
                    <a:pt x="-9048" y="6854"/>
                  </a:lnTo>
                  <a:lnTo>
                    <a:pt x="-9048" y="-7526"/>
                  </a:lnTo>
                </a:path>
              </a:pathLst>
            </a:custGeom>
            <a:grpFill/>
            <a:ln w="548" cap="flat">
              <a:noFill/>
              <a:prstDash val="solid"/>
              <a:miter/>
            </a:ln>
          </p:spPr>
          <p:txBody>
            <a:bodyPr/>
            <a:lstStyle/>
            <a:p>
              <a:endParaRPr lang="en-US"/>
            </a:p>
          </p:txBody>
        </p:sp>
        <p:sp>
          <p:nvSpPr>
            <p:cNvPr id="261" name="Freeform: Shape 260">
              <a:extLst>
                <a:ext uri="{FF2B5EF4-FFF2-40B4-BE49-F238E27FC236}">
                  <a16:creationId xmlns:a16="http://schemas.microsoft.com/office/drawing/2014/main" id="{CA7DA868-F22A-0B5F-832D-D09709118FA5}"/>
                </a:ext>
              </a:extLst>
            </p:cNvPr>
            <p:cNvSpPr/>
            <p:nvPr/>
          </p:nvSpPr>
          <p:spPr>
            <a:xfrm flipV="1">
              <a:off x="24367807" y="3480259"/>
              <a:ext cx="15855" cy="14313"/>
            </a:xfrm>
            <a:custGeom>
              <a:avLst/>
              <a:gdLst>
                <a:gd name="csX0" fmla="*/ -9048 w 15855"/>
                <a:gd name="csY0" fmla="*/ -7445 h 14313"/>
                <a:gd name="csX1" fmla="*/ 6808 w 15855"/>
                <a:gd name="csY1" fmla="*/ -7445 h 14313"/>
                <a:gd name="csX2" fmla="*/ 6808 w 15855"/>
                <a:gd name="csY2" fmla="*/ 6869 h 14313"/>
                <a:gd name="csX3" fmla="*/ -9048 w 15855"/>
                <a:gd name="csY3" fmla="*/ 6869 h 14313"/>
                <a:gd name="csX4" fmla="*/ -9048 w 15855"/>
                <a:gd name="csY4" fmla="*/ -7445 h 14313"/>
              </a:gdLst>
              <a:ahLst/>
              <a:cxnLst>
                <a:cxn ang="0">
                  <a:pos x="csX0" y="csY0"/>
                </a:cxn>
                <a:cxn ang="0">
                  <a:pos x="csX1" y="csY1"/>
                </a:cxn>
                <a:cxn ang="0">
                  <a:pos x="csX2" y="csY2"/>
                </a:cxn>
                <a:cxn ang="0">
                  <a:pos x="csX3" y="csY3"/>
                </a:cxn>
                <a:cxn ang="0">
                  <a:pos x="csX4" y="csY4"/>
                </a:cxn>
              </a:cxnLst>
              <a:rect l="l" t="t" r="r" b="b"/>
              <a:pathLst>
                <a:path w="15855" h="14313">
                  <a:moveTo>
                    <a:pt x="-9048" y="-7445"/>
                  </a:moveTo>
                  <a:lnTo>
                    <a:pt x="6808" y="-7445"/>
                  </a:lnTo>
                  <a:lnTo>
                    <a:pt x="6808" y="6869"/>
                  </a:lnTo>
                  <a:lnTo>
                    <a:pt x="-9048" y="6869"/>
                  </a:lnTo>
                  <a:lnTo>
                    <a:pt x="-9048" y="-7445"/>
                  </a:lnTo>
                </a:path>
              </a:pathLst>
            </a:custGeom>
            <a:grpFill/>
            <a:ln w="548" cap="flat">
              <a:noFill/>
              <a:prstDash val="solid"/>
              <a:miter/>
            </a:ln>
          </p:spPr>
          <p:txBody>
            <a:bodyPr/>
            <a:lstStyle/>
            <a:p>
              <a:endParaRPr lang="en-US"/>
            </a:p>
          </p:txBody>
        </p:sp>
        <p:sp>
          <p:nvSpPr>
            <p:cNvPr id="262" name="Freeform: Shape 261">
              <a:extLst>
                <a:ext uri="{FF2B5EF4-FFF2-40B4-BE49-F238E27FC236}">
                  <a16:creationId xmlns:a16="http://schemas.microsoft.com/office/drawing/2014/main" id="{FD70084B-0D27-C896-A622-74E2A332A0D0}"/>
                </a:ext>
              </a:extLst>
            </p:cNvPr>
            <p:cNvSpPr/>
            <p:nvPr/>
          </p:nvSpPr>
          <p:spPr>
            <a:xfrm flipV="1">
              <a:off x="24367807" y="3348125"/>
              <a:ext cx="15855" cy="12256"/>
            </a:xfrm>
            <a:custGeom>
              <a:avLst/>
              <a:gdLst>
                <a:gd name="csX0" fmla="*/ -9048 w 15855"/>
                <a:gd name="csY0" fmla="*/ -7765 h 12256"/>
                <a:gd name="csX1" fmla="*/ 6808 w 15855"/>
                <a:gd name="csY1" fmla="*/ -7765 h 12256"/>
                <a:gd name="csX2" fmla="*/ 6808 w 15855"/>
                <a:gd name="csY2" fmla="*/ 4491 h 12256"/>
                <a:gd name="csX3" fmla="*/ -9048 w 15855"/>
                <a:gd name="csY3" fmla="*/ 4491 h 12256"/>
                <a:gd name="csX4" fmla="*/ -9048 w 15855"/>
                <a:gd name="csY4" fmla="*/ -7765 h 12256"/>
              </a:gdLst>
              <a:ahLst/>
              <a:cxnLst>
                <a:cxn ang="0">
                  <a:pos x="csX0" y="csY0"/>
                </a:cxn>
                <a:cxn ang="0">
                  <a:pos x="csX1" y="csY1"/>
                </a:cxn>
                <a:cxn ang="0">
                  <a:pos x="csX2" y="csY2"/>
                </a:cxn>
                <a:cxn ang="0">
                  <a:pos x="csX3" y="csY3"/>
                </a:cxn>
                <a:cxn ang="0">
                  <a:pos x="csX4" y="csY4"/>
                </a:cxn>
              </a:cxnLst>
              <a:rect l="l" t="t" r="r" b="b"/>
              <a:pathLst>
                <a:path w="15855" h="12256">
                  <a:moveTo>
                    <a:pt x="-9048" y="-7765"/>
                  </a:moveTo>
                  <a:lnTo>
                    <a:pt x="6808" y="-7765"/>
                  </a:lnTo>
                  <a:lnTo>
                    <a:pt x="6808" y="4491"/>
                  </a:lnTo>
                  <a:lnTo>
                    <a:pt x="-9048" y="4491"/>
                  </a:lnTo>
                  <a:lnTo>
                    <a:pt x="-9048" y="-7765"/>
                  </a:lnTo>
                </a:path>
              </a:pathLst>
            </a:custGeom>
            <a:grpFill/>
            <a:ln w="548" cap="flat">
              <a:noFill/>
              <a:prstDash val="solid"/>
              <a:miter/>
            </a:ln>
          </p:spPr>
          <p:txBody>
            <a:bodyPr/>
            <a:lstStyle/>
            <a:p>
              <a:endParaRPr lang="en-US"/>
            </a:p>
          </p:txBody>
        </p:sp>
        <p:sp>
          <p:nvSpPr>
            <p:cNvPr id="263" name="Freeform: Shape 262">
              <a:extLst>
                <a:ext uri="{FF2B5EF4-FFF2-40B4-BE49-F238E27FC236}">
                  <a16:creationId xmlns:a16="http://schemas.microsoft.com/office/drawing/2014/main" id="{14F9F3C4-FB36-41D0-14AF-5F5B99E53E9D}"/>
                </a:ext>
              </a:extLst>
            </p:cNvPr>
            <p:cNvSpPr/>
            <p:nvPr/>
          </p:nvSpPr>
          <p:spPr>
            <a:xfrm flipV="1">
              <a:off x="24367807" y="3429916"/>
              <a:ext cx="15855" cy="14379"/>
            </a:xfrm>
            <a:custGeom>
              <a:avLst/>
              <a:gdLst>
                <a:gd name="csX0" fmla="*/ -9048 w 15855"/>
                <a:gd name="csY0" fmla="*/ -7566 h 14379"/>
                <a:gd name="csX1" fmla="*/ 6808 w 15855"/>
                <a:gd name="csY1" fmla="*/ -7566 h 14379"/>
                <a:gd name="csX2" fmla="*/ 6808 w 15855"/>
                <a:gd name="csY2" fmla="*/ 6814 h 14379"/>
                <a:gd name="csX3" fmla="*/ -9048 w 15855"/>
                <a:gd name="csY3" fmla="*/ 6814 h 14379"/>
                <a:gd name="csX4" fmla="*/ -9048 w 15855"/>
                <a:gd name="csY4" fmla="*/ -7566 h 14379"/>
              </a:gdLst>
              <a:ahLst/>
              <a:cxnLst>
                <a:cxn ang="0">
                  <a:pos x="csX0" y="csY0"/>
                </a:cxn>
                <a:cxn ang="0">
                  <a:pos x="csX1" y="csY1"/>
                </a:cxn>
                <a:cxn ang="0">
                  <a:pos x="csX2" y="csY2"/>
                </a:cxn>
                <a:cxn ang="0">
                  <a:pos x="csX3" y="csY3"/>
                </a:cxn>
                <a:cxn ang="0">
                  <a:pos x="csX4" y="csY4"/>
                </a:cxn>
              </a:cxnLst>
              <a:rect l="l" t="t" r="r" b="b"/>
              <a:pathLst>
                <a:path w="15855" h="14379">
                  <a:moveTo>
                    <a:pt x="-9048" y="-7566"/>
                  </a:moveTo>
                  <a:lnTo>
                    <a:pt x="6808" y="-7566"/>
                  </a:lnTo>
                  <a:lnTo>
                    <a:pt x="6808" y="6814"/>
                  </a:lnTo>
                  <a:lnTo>
                    <a:pt x="-9048" y="6814"/>
                  </a:lnTo>
                  <a:lnTo>
                    <a:pt x="-9048" y="-7566"/>
                  </a:lnTo>
                </a:path>
              </a:pathLst>
            </a:custGeom>
            <a:grpFill/>
            <a:ln w="548" cap="flat">
              <a:noFill/>
              <a:prstDash val="solid"/>
              <a:miter/>
            </a:ln>
          </p:spPr>
          <p:txBody>
            <a:bodyPr/>
            <a:lstStyle/>
            <a:p>
              <a:endParaRPr lang="en-US"/>
            </a:p>
          </p:txBody>
        </p:sp>
        <p:sp>
          <p:nvSpPr>
            <p:cNvPr id="264" name="Freeform: Shape 263">
              <a:extLst>
                <a:ext uri="{FF2B5EF4-FFF2-40B4-BE49-F238E27FC236}">
                  <a16:creationId xmlns:a16="http://schemas.microsoft.com/office/drawing/2014/main" id="{70BEE299-71B4-4466-A363-FD21D612C884}"/>
                </a:ext>
              </a:extLst>
            </p:cNvPr>
            <p:cNvSpPr/>
            <p:nvPr/>
          </p:nvSpPr>
          <p:spPr>
            <a:xfrm flipV="1">
              <a:off x="24367807" y="3463477"/>
              <a:ext cx="15855" cy="14379"/>
            </a:xfrm>
            <a:custGeom>
              <a:avLst/>
              <a:gdLst>
                <a:gd name="csX0" fmla="*/ -9048 w 15855"/>
                <a:gd name="csY0" fmla="*/ -7485 h 14379"/>
                <a:gd name="csX1" fmla="*/ 6808 w 15855"/>
                <a:gd name="csY1" fmla="*/ -7485 h 14379"/>
                <a:gd name="csX2" fmla="*/ 6808 w 15855"/>
                <a:gd name="csY2" fmla="*/ 6895 h 14379"/>
                <a:gd name="csX3" fmla="*/ -9048 w 15855"/>
                <a:gd name="csY3" fmla="*/ 6895 h 14379"/>
                <a:gd name="csX4" fmla="*/ -9048 w 15855"/>
                <a:gd name="csY4" fmla="*/ -7485 h 14379"/>
              </a:gdLst>
              <a:ahLst/>
              <a:cxnLst>
                <a:cxn ang="0">
                  <a:pos x="csX0" y="csY0"/>
                </a:cxn>
                <a:cxn ang="0">
                  <a:pos x="csX1" y="csY1"/>
                </a:cxn>
                <a:cxn ang="0">
                  <a:pos x="csX2" y="csY2"/>
                </a:cxn>
                <a:cxn ang="0">
                  <a:pos x="csX3" y="csY3"/>
                </a:cxn>
                <a:cxn ang="0">
                  <a:pos x="csX4" y="csY4"/>
                </a:cxn>
              </a:cxnLst>
              <a:rect l="l" t="t" r="r" b="b"/>
              <a:pathLst>
                <a:path w="15855" h="14379">
                  <a:moveTo>
                    <a:pt x="-9048" y="-7485"/>
                  </a:moveTo>
                  <a:lnTo>
                    <a:pt x="6808" y="-7485"/>
                  </a:lnTo>
                  <a:lnTo>
                    <a:pt x="6808" y="6895"/>
                  </a:lnTo>
                  <a:lnTo>
                    <a:pt x="-9048" y="6895"/>
                  </a:lnTo>
                  <a:lnTo>
                    <a:pt x="-9048" y="-7485"/>
                  </a:lnTo>
                </a:path>
              </a:pathLst>
            </a:custGeom>
            <a:grpFill/>
            <a:ln w="548" cap="flat">
              <a:noFill/>
              <a:prstDash val="solid"/>
              <a:miter/>
            </a:ln>
          </p:spPr>
          <p:txBody>
            <a:bodyPr/>
            <a:lstStyle/>
            <a:p>
              <a:endParaRPr lang="en-US"/>
            </a:p>
          </p:txBody>
        </p:sp>
        <p:sp>
          <p:nvSpPr>
            <p:cNvPr id="265" name="Freeform: Shape 264">
              <a:extLst>
                <a:ext uri="{FF2B5EF4-FFF2-40B4-BE49-F238E27FC236}">
                  <a16:creationId xmlns:a16="http://schemas.microsoft.com/office/drawing/2014/main" id="{FC04FFFD-758B-4D16-6825-DF0209FE55F7}"/>
                </a:ext>
              </a:extLst>
            </p:cNvPr>
            <p:cNvSpPr/>
            <p:nvPr/>
          </p:nvSpPr>
          <p:spPr>
            <a:xfrm flipV="1">
              <a:off x="24108794" y="2438584"/>
              <a:ext cx="332256" cy="454619"/>
            </a:xfrm>
            <a:custGeom>
              <a:avLst/>
              <a:gdLst>
                <a:gd name="csX0" fmla="*/ -4204 w 332256"/>
                <a:gd name="csY0" fmla="*/ -9421 h 454619"/>
                <a:gd name="csX1" fmla="*/ 318615 w 332256"/>
                <a:gd name="csY1" fmla="*/ -9421 h 454619"/>
                <a:gd name="csX2" fmla="*/ 318615 w 332256"/>
                <a:gd name="csY2" fmla="*/ -1225 h 454619"/>
                <a:gd name="csX3" fmla="*/ 323334 w 332256"/>
                <a:gd name="csY3" fmla="*/ -1225 h 454619"/>
                <a:gd name="csX4" fmla="*/ 323334 w 332256"/>
                <a:gd name="csY4" fmla="*/ 6966 h 454619"/>
                <a:gd name="csX5" fmla="*/ 286465 w 332256"/>
                <a:gd name="csY5" fmla="*/ 6966 h 454619"/>
                <a:gd name="csX6" fmla="*/ 174213 w 332256"/>
                <a:gd name="csY6" fmla="*/ 150963 h 454619"/>
                <a:gd name="csX7" fmla="*/ 174213 w 332256"/>
                <a:gd name="csY7" fmla="*/ 178724 h 454619"/>
                <a:gd name="csX8" fmla="*/ 198573 w 332256"/>
                <a:gd name="csY8" fmla="*/ 178724 h 454619"/>
                <a:gd name="csX9" fmla="*/ 198573 w 332256"/>
                <a:gd name="csY9" fmla="*/ 218775 h 454619"/>
                <a:gd name="csX10" fmla="*/ 173665 w 332256"/>
                <a:gd name="csY10" fmla="*/ 218775 h 454619"/>
                <a:gd name="csX11" fmla="*/ 162692 w 332256"/>
                <a:gd name="csY11" fmla="*/ 445198 h 454619"/>
                <a:gd name="csX12" fmla="*/ 157205 w 332256"/>
                <a:gd name="csY12" fmla="*/ 445198 h 454619"/>
                <a:gd name="csX13" fmla="*/ 151719 w 332256"/>
                <a:gd name="csY13" fmla="*/ 445198 h 454619"/>
                <a:gd name="csX14" fmla="*/ 140746 w 332256"/>
                <a:gd name="csY14" fmla="*/ 218775 h 454619"/>
                <a:gd name="csX15" fmla="*/ 115838 w 332256"/>
                <a:gd name="csY15" fmla="*/ 218775 h 454619"/>
                <a:gd name="csX16" fmla="*/ 115838 w 332256"/>
                <a:gd name="csY16" fmla="*/ 178724 h 454619"/>
                <a:gd name="csX17" fmla="*/ 140253 w 332256"/>
                <a:gd name="csY17" fmla="*/ 178724 h 454619"/>
                <a:gd name="csX18" fmla="*/ 140253 w 332256"/>
                <a:gd name="csY18" fmla="*/ 150963 h 454619"/>
                <a:gd name="csX19" fmla="*/ 27946 w 332256"/>
                <a:gd name="csY19" fmla="*/ 6966 h 454619"/>
                <a:gd name="csX20" fmla="*/ -8923 w 332256"/>
                <a:gd name="csY20" fmla="*/ 6966 h 454619"/>
                <a:gd name="csX21" fmla="*/ -8923 w 332256"/>
                <a:gd name="csY21" fmla="*/ -1225 h 454619"/>
                <a:gd name="csX22" fmla="*/ -4204 w 332256"/>
                <a:gd name="csY22" fmla="*/ -1225 h 454619"/>
                <a:gd name="csX23" fmla="*/ 155450 w 332256"/>
                <a:gd name="csY23" fmla="*/ 438121 h 454619"/>
                <a:gd name="csX24" fmla="*/ 158961 w 332256"/>
                <a:gd name="csY24" fmla="*/ 438121 h 454619"/>
                <a:gd name="csX25" fmla="*/ 158961 w 332256"/>
                <a:gd name="csY25" fmla="*/ 408878 h 454619"/>
                <a:gd name="csX26" fmla="*/ 155450 w 332256"/>
                <a:gd name="csY26" fmla="*/ 408878 h 454619"/>
                <a:gd name="csX27" fmla="*/ 153859 w 332256"/>
                <a:gd name="csY27" fmla="*/ 392145 h 454619"/>
                <a:gd name="csX28" fmla="*/ 160607 w 332256"/>
                <a:gd name="csY28" fmla="*/ 392145 h 454619"/>
                <a:gd name="csX29" fmla="*/ 160607 w 332256"/>
                <a:gd name="csY29" fmla="*/ 362902 h 454619"/>
                <a:gd name="csX30" fmla="*/ 153859 w 332256"/>
                <a:gd name="csY30" fmla="*/ 362902 h 454619"/>
                <a:gd name="csX31" fmla="*/ 153859 w 332256"/>
                <a:gd name="csY31" fmla="*/ 346169 h 454619"/>
                <a:gd name="csX32" fmla="*/ 160607 w 332256"/>
                <a:gd name="csY32" fmla="*/ 346169 h 454619"/>
                <a:gd name="csX33" fmla="*/ 160607 w 332256"/>
                <a:gd name="csY33" fmla="*/ 316981 h 454619"/>
                <a:gd name="csX34" fmla="*/ 153859 w 332256"/>
                <a:gd name="csY34" fmla="*/ 316981 h 454619"/>
                <a:gd name="csX35" fmla="*/ 153859 w 332256"/>
                <a:gd name="csY35" fmla="*/ 300193 h 454619"/>
                <a:gd name="csX36" fmla="*/ 160607 w 332256"/>
                <a:gd name="csY36" fmla="*/ 300193 h 454619"/>
                <a:gd name="csX37" fmla="*/ 160607 w 332256"/>
                <a:gd name="csY37" fmla="*/ 271005 h 454619"/>
                <a:gd name="csX38" fmla="*/ 153859 w 332256"/>
                <a:gd name="csY38" fmla="*/ 271005 h 454619"/>
                <a:gd name="csX39" fmla="*/ 153859 w 332256"/>
                <a:gd name="csY39" fmla="*/ 254217 h 454619"/>
                <a:gd name="csX40" fmla="*/ 160607 w 332256"/>
                <a:gd name="csY40" fmla="*/ 254217 h 454619"/>
                <a:gd name="csX41" fmla="*/ 160607 w 332256"/>
                <a:gd name="csY41" fmla="*/ 225029 h 454619"/>
                <a:gd name="csX42" fmla="*/ 153859 w 332256"/>
                <a:gd name="csY42" fmla="*/ 225029 h 454619"/>
                <a:gd name="csX43" fmla="*/ 153859 w 332256"/>
                <a:gd name="csY43" fmla="*/ 254217 h 45461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Lst>
              <a:rect l="l" t="t" r="r" b="b"/>
              <a:pathLst>
                <a:path w="332256" h="454619">
                  <a:moveTo>
                    <a:pt x="-4204" y="-9421"/>
                  </a:moveTo>
                  <a:lnTo>
                    <a:pt x="318615" y="-9421"/>
                  </a:lnTo>
                  <a:lnTo>
                    <a:pt x="318615" y="-1225"/>
                  </a:lnTo>
                  <a:lnTo>
                    <a:pt x="323334" y="-1225"/>
                  </a:lnTo>
                  <a:lnTo>
                    <a:pt x="323334" y="6966"/>
                  </a:lnTo>
                  <a:lnTo>
                    <a:pt x="286465" y="6966"/>
                  </a:lnTo>
                  <a:lnTo>
                    <a:pt x="174213" y="150963"/>
                  </a:lnTo>
                  <a:lnTo>
                    <a:pt x="174213" y="178724"/>
                  </a:lnTo>
                  <a:lnTo>
                    <a:pt x="198573" y="178724"/>
                  </a:lnTo>
                  <a:lnTo>
                    <a:pt x="198573" y="218775"/>
                  </a:lnTo>
                  <a:lnTo>
                    <a:pt x="173665" y="218775"/>
                  </a:lnTo>
                  <a:lnTo>
                    <a:pt x="162692" y="445198"/>
                  </a:lnTo>
                  <a:lnTo>
                    <a:pt x="157205" y="445198"/>
                  </a:lnTo>
                  <a:lnTo>
                    <a:pt x="151719" y="445198"/>
                  </a:lnTo>
                  <a:lnTo>
                    <a:pt x="140746" y="218775"/>
                  </a:lnTo>
                  <a:lnTo>
                    <a:pt x="115838" y="218775"/>
                  </a:lnTo>
                  <a:lnTo>
                    <a:pt x="115838" y="178724"/>
                  </a:lnTo>
                  <a:lnTo>
                    <a:pt x="140253" y="178724"/>
                  </a:lnTo>
                  <a:lnTo>
                    <a:pt x="140253" y="150963"/>
                  </a:lnTo>
                  <a:lnTo>
                    <a:pt x="27946" y="6966"/>
                  </a:lnTo>
                  <a:lnTo>
                    <a:pt x="-8923" y="6966"/>
                  </a:lnTo>
                  <a:lnTo>
                    <a:pt x="-8923" y="-1225"/>
                  </a:lnTo>
                  <a:lnTo>
                    <a:pt x="-4204" y="-1225"/>
                  </a:lnTo>
                  <a:close/>
                  <a:moveTo>
                    <a:pt x="155450" y="438121"/>
                  </a:moveTo>
                  <a:lnTo>
                    <a:pt x="158961" y="438121"/>
                  </a:lnTo>
                  <a:lnTo>
                    <a:pt x="158961" y="408878"/>
                  </a:lnTo>
                  <a:lnTo>
                    <a:pt x="155450" y="408878"/>
                  </a:lnTo>
                  <a:close/>
                  <a:moveTo>
                    <a:pt x="153859" y="392145"/>
                  </a:moveTo>
                  <a:lnTo>
                    <a:pt x="160607" y="392145"/>
                  </a:lnTo>
                  <a:lnTo>
                    <a:pt x="160607" y="362902"/>
                  </a:lnTo>
                  <a:lnTo>
                    <a:pt x="153859" y="362902"/>
                  </a:lnTo>
                  <a:close/>
                  <a:moveTo>
                    <a:pt x="153859" y="346169"/>
                  </a:moveTo>
                  <a:lnTo>
                    <a:pt x="160607" y="346169"/>
                  </a:lnTo>
                  <a:lnTo>
                    <a:pt x="160607" y="316981"/>
                  </a:lnTo>
                  <a:lnTo>
                    <a:pt x="153859" y="316981"/>
                  </a:lnTo>
                  <a:close/>
                  <a:moveTo>
                    <a:pt x="153859" y="300193"/>
                  </a:moveTo>
                  <a:lnTo>
                    <a:pt x="160607" y="300193"/>
                  </a:lnTo>
                  <a:lnTo>
                    <a:pt x="160607" y="271005"/>
                  </a:lnTo>
                  <a:lnTo>
                    <a:pt x="153859" y="271005"/>
                  </a:lnTo>
                  <a:close/>
                  <a:moveTo>
                    <a:pt x="153859" y="254217"/>
                  </a:moveTo>
                  <a:lnTo>
                    <a:pt x="160607" y="254217"/>
                  </a:lnTo>
                  <a:lnTo>
                    <a:pt x="160607" y="225029"/>
                  </a:lnTo>
                  <a:lnTo>
                    <a:pt x="153859" y="225029"/>
                  </a:lnTo>
                  <a:lnTo>
                    <a:pt x="153859" y="254217"/>
                  </a:lnTo>
                </a:path>
              </a:pathLst>
            </a:custGeom>
            <a:grpFill/>
            <a:ln w="548" cap="flat">
              <a:noFill/>
              <a:prstDash val="solid"/>
              <a:miter/>
            </a:ln>
          </p:spPr>
          <p:txBody>
            <a:bodyPr/>
            <a:lstStyle/>
            <a:p>
              <a:endParaRPr lang="en-US"/>
            </a:p>
          </p:txBody>
        </p:sp>
        <p:sp>
          <p:nvSpPr>
            <p:cNvPr id="266" name="Freeform: Shape 265">
              <a:extLst>
                <a:ext uri="{FF2B5EF4-FFF2-40B4-BE49-F238E27FC236}">
                  <a16:creationId xmlns:a16="http://schemas.microsoft.com/office/drawing/2014/main" id="{E4C68E0F-8B54-0427-7ABD-BA605B2DCA3B}"/>
                </a:ext>
              </a:extLst>
            </p:cNvPr>
            <p:cNvSpPr/>
            <p:nvPr/>
          </p:nvSpPr>
          <p:spPr>
            <a:xfrm flipV="1">
              <a:off x="24119164" y="2900413"/>
              <a:ext cx="311517" cy="135832"/>
            </a:xfrm>
            <a:custGeom>
              <a:avLst/>
              <a:gdLst>
                <a:gd name="csX0" fmla="*/ 296231 w 311517"/>
                <a:gd name="csY0" fmla="*/ -8694 h 135832"/>
                <a:gd name="csX1" fmla="*/ 296231 w 311517"/>
                <a:gd name="csY1" fmla="*/ 118947 h 135832"/>
                <a:gd name="csX2" fmla="*/ 302595 w 311517"/>
                <a:gd name="csY2" fmla="*/ 118947 h 135832"/>
                <a:gd name="csX3" fmla="*/ 302595 w 311517"/>
                <a:gd name="csY3" fmla="*/ 127139 h 135832"/>
                <a:gd name="csX4" fmla="*/ -8923 w 311517"/>
                <a:gd name="csY4" fmla="*/ 127139 h 135832"/>
                <a:gd name="csX5" fmla="*/ -8923 w 311517"/>
                <a:gd name="csY5" fmla="*/ 118947 h 135832"/>
                <a:gd name="csX6" fmla="*/ -2559 w 311517"/>
                <a:gd name="csY6" fmla="*/ 118947 h 135832"/>
                <a:gd name="csX7" fmla="*/ -2559 w 311517"/>
                <a:gd name="csY7" fmla="*/ -8694 h 135832"/>
                <a:gd name="csX8" fmla="*/ 8524 w 311517"/>
                <a:gd name="csY8" fmla="*/ 35082 h 135832"/>
                <a:gd name="csX9" fmla="*/ 23447 w 311517"/>
                <a:gd name="csY9" fmla="*/ 35082 h 135832"/>
                <a:gd name="csX10" fmla="*/ 23447 w 311517"/>
                <a:gd name="csY10" fmla="*/ 16237 h 135832"/>
                <a:gd name="csX11" fmla="*/ 8524 w 311517"/>
                <a:gd name="csY11" fmla="*/ 16237 h 135832"/>
                <a:gd name="csX12" fmla="*/ 8524 w 311517"/>
                <a:gd name="csY12" fmla="*/ 92678 h 135832"/>
                <a:gd name="csX13" fmla="*/ 23447 w 311517"/>
                <a:gd name="csY13" fmla="*/ 92678 h 135832"/>
                <a:gd name="csX14" fmla="*/ 23447 w 311517"/>
                <a:gd name="csY14" fmla="*/ 73838 h 135832"/>
                <a:gd name="csX15" fmla="*/ 8524 w 311517"/>
                <a:gd name="csY15" fmla="*/ 73838 h 135832"/>
                <a:gd name="csX16" fmla="*/ 56914 w 311517"/>
                <a:gd name="csY16" fmla="*/ 73838 h 135832"/>
                <a:gd name="csX17" fmla="*/ 41991 w 311517"/>
                <a:gd name="csY17" fmla="*/ 73838 h 135832"/>
                <a:gd name="csX18" fmla="*/ 41991 w 311517"/>
                <a:gd name="csY18" fmla="*/ 92678 h 135832"/>
                <a:gd name="csX19" fmla="*/ 56914 w 311517"/>
                <a:gd name="csY19" fmla="*/ 92678 h 135832"/>
                <a:gd name="csX20" fmla="*/ 25861 w 311517"/>
                <a:gd name="csY20" fmla="*/ 37485 h 135832"/>
                <a:gd name="csX21" fmla="*/ 25861 w 311517"/>
                <a:gd name="csY21" fmla="*/ 51404 h 135832"/>
                <a:gd name="csX22" fmla="*/ 39577 w 311517"/>
                <a:gd name="csY22" fmla="*/ 51404 h 135832"/>
                <a:gd name="csX23" fmla="*/ 39577 w 311517"/>
                <a:gd name="csY23" fmla="*/ 37485 h 135832"/>
                <a:gd name="csX24" fmla="*/ 25861 w 311517"/>
                <a:gd name="csY24" fmla="*/ 71430 h 135832"/>
                <a:gd name="csX25" fmla="*/ 39577 w 311517"/>
                <a:gd name="csY25" fmla="*/ 71430 h 135832"/>
                <a:gd name="csX26" fmla="*/ 39577 w 311517"/>
                <a:gd name="csY26" fmla="*/ 60062 h 135832"/>
                <a:gd name="csX27" fmla="*/ 25861 w 311517"/>
                <a:gd name="csY27" fmla="*/ 60062 h 135832"/>
                <a:gd name="csX28" fmla="*/ 39577 w 311517"/>
                <a:gd name="csY28" fmla="*/ 73838 h 135832"/>
                <a:gd name="csX29" fmla="*/ 25861 w 311517"/>
                <a:gd name="csY29" fmla="*/ 73838 h 135832"/>
                <a:gd name="csX30" fmla="*/ 25861 w 311517"/>
                <a:gd name="csY30" fmla="*/ 92678 h 135832"/>
                <a:gd name="csX31" fmla="*/ 39577 w 311517"/>
                <a:gd name="csY31" fmla="*/ 92678 h 135832"/>
                <a:gd name="csX32" fmla="*/ 25861 w 311517"/>
                <a:gd name="csY32" fmla="*/ 35082 h 135832"/>
                <a:gd name="csX33" fmla="*/ 39577 w 311517"/>
                <a:gd name="csY33" fmla="*/ 35082 h 135832"/>
                <a:gd name="csX34" fmla="*/ 39577 w 311517"/>
                <a:gd name="csY34" fmla="*/ 16237 h 135832"/>
                <a:gd name="csX35" fmla="*/ 25861 w 311517"/>
                <a:gd name="csY35" fmla="*/ 16237 h 135832"/>
                <a:gd name="csX36" fmla="*/ 41991 w 311517"/>
                <a:gd name="csY36" fmla="*/ 37485 h 135832"/>
                <a:gd name="csX37" fmla="*/ 41991 w 311517"/>
                <a:gd name="csY37" fmla="*/ 51404 h 135832"/>
                <a:gd name="csX38" fmla="*/ 56914 w 311517"/>
                <a:gd name="csY38" fmla="*/ 51404 h 135832"/>
                <a:gd name="csX39" fmla="*/ 56914 w 311517"/>
                <a:gd name="csY39" fmla="*/ 37485 h 135832"/>
                <a:gd name="csX40" fmla="*/ 56914 w 311517"/>
                <a:gd name="csY40" fmla="*/ 60062 h 135832"/>
                <a:gd name="csX41" fmla="*/ 41991 w 311517"/>
                <a:gd name="csY41" fmla="*/ 60062 h 135832"/>
                <a:gd name="csX42" fmla="*/ 41991 w 311517"/>
                <a:gd name="csY42" fmla="*/ 71430 h 135832"/>
                <a:gd name="csX43" fmla="*/ 56914 w 311517"/>
                <a:gd name="csY43" fmla="*/ 71430 h 135832"/>
                <a:gd name="csX44" fmla="*/ 23447 w 311517"/>
                <a:gd name="csY44" fmla="*/ 71430 h 135832"/>
                <a:gd name="csX45" fmla="*/ 23447 w 311517"/>
                <a:gd name="csY45" fmla="*/ 60062 h 135832"/>
                <a:gd name="csX46" fmla="*/ 8524 w 311517"/>
                <a:gd name="csY46" fmla="*/ 60062 h 135832"/>
                <a:gd name="csX47" fmla="*/ 8524 w 311517"/>
                <a:gd name="csY47" fmla="*/ 71430 h 135832"/>
                <a:gd name="csX48" fmla="*/ 8524 w 311517"/>
                <a:gd name="csY48" fmla="*/ 51404 h 135832"/>
                <a:gd name="csX49" fmla="*/ 23447 w 311517"/>
                <a:gd name="csY49" fmla="*/ 51404 h 135832"/>
                <a:gd name="csX50" fmla="*/ 23447 w 311517"/>
                <a:gd name="csY50" fmla="*/ 37485 h 135832"/>
                <a:gd name="csX51" fmla="*/ 8524 w 311517"/>
                <a:gd name="csY51" fmla="*/ 37485 h 135832"/>
                <a:gd name="csX52" fmla="*/ 41991 w 311517"/>
                <a:gd name="csY52" fmla="*/ 16237 h 135832"/>
                <a:gd name="csX53" fmla="*/ 41991 w 311517"/>
                <a:gd name="csY53" fmla="*/ 35082 h 135832"/>
                <a:gd name="csX54" fmla="*/ 56914 w 311517"/>
                <a:gd name="csY54" fmla="*/ 35082 h 135832"/>
                <a:gd name="csX55" fmla="*/ 56914 w 311517"/>
                <a:gd name="csY55" fmla="*/ 16237 h 135832"/>
                <a:gd name="csX56" fmla="*/ 56914 w 311517"/>
                <a:gd name="csY56" fmla="*/ 95082 h 135832"/>
                <a:gd name="csX57" fmla="*/ 41991 w 311517"/>
                <a:gd name="csY57" fmla="*/ 95082 h 135832"/>
                <a:gd name="csX58" fmla="*/ 41991 w 311517"/>
                <a:gd name="csY58" fmla="*/ 109006 h 135832"/>
                <a:gd name="csX59" fmla="*/ 56914 w 311517"/>
                <a:gd name="csY59" fmla="*/ 109006 h 135832"/>
                <a:gd name="csX60" fmla="*/ 39577 w 311517"/>
                <a:gd name="csY60" fmla="*/ 95082 h 135832"/>
                <a:gd name="csX61" fmla="*/ 25861 w 311517"/>
                <a:gd name="csY61" fmla="*/ 95082 h 135832"/>
                <a:gd name="csX62" fmla="*/ 25861 w 311517"/>
                <a:gd name="csY62" fmla="*/ 109006 h 135832"/>
                <a:gd name="csX63" fmla="*/ 39577 w 311517"/>
                <a:gd name="csY63" fmla="*/ 109006 h 135832"/>
                <a:gd name="csX64" fmla="*/ 23447 w 311517"/>
                <a:gd name="csY64" fmla="*/ 95082 h 135832"/>
                <a:gd name="csX65" fmla="*/ 8524 w 311517"/>
                <a:gd name="csY65" fmla="*/ 95082 h 135832"/>
                <a:gd name="csX66" fmla="*/ 8524 w 311517"/>
                <a:gd name="csY66" fmla="*/ 109006 h 135832"/>
                <a:gd name="csX67" fmla="*/ 23447 w 311517"/>
                <a:gd name="csY67" fmla="*/ 109006 h 135832"/>
                <a:gd name="csX68" fmla="*/ 8524 w 311517"/>
                <a:gd name="csY68" fmla="*/ 2460 h 135832"/>
                <a:gd name="csX69" fmla="*/ 8524 w 311517"/>
                <a:gd name="csY69" fmla="*/ 13833 h 135832"/>
                <a:gd name="csX70" fmla="*/ 23447 w 311517"/>
                <a:gd name="csY70" fmla="*/ 13833 h 135832"/>
                <a:gd name="csX71" fmla="*/ 23447 w 311517"/>
                <a:gd name="csY71" fmla="*/ 2460 h 135832"/>
                <a:gd name="csX72" fmla="*/ 25861 w 311517"/>
                <a:gd name="csY72" fmla="*/ 2460 h 135832"/>
                <a:gd name="csX73" fmla="*/ 25861 w 311517"/>
                <a:gd name="csY73" fmla="*/ 13833 h 135832"/>
                <a:gd name="csX74" fmla="*/ 39577 w 311517"/>
                <a:gd name="csY74" fmla="*/ 13833 h 135832"/>
                <a:gd name="csX75" fmla="*/ 39577 w 311517"/>
                <a:gd name="csY75" fmla="*/ 2460 h 135832"/>
                <a:gd name="csX76" fmla="*/ 56914 w 311517"/>
                <a:gd name="csY76" fmla="*/ 2460 h 135832"/>
                <a:gd name="csX77" fmla="*/ 41991 w 311517"/>
                <a:gd name="csY77" fmla="*/ 2460 h 135832"/>
                <a:gd name="csX78" fmla="*/ 41991 w 311517"/>
                <a:gd name="csY78" fmla="*/ 13833 h 135832"/>
                <a:gd name="csX79" fmla="*/ 56914 w 311517"/>
                <a:gd name="csY79" fmla="*/ 13833 h 135832"/>
                <a:gd name="csX80" fmla="*/ 68765 w 311517"/>
                <a:gd name="csY80" fmla="*/ 34330 h 135832"/>
                <a:gd name="csX81" fmla="*/ 89942 w 311517"/>
                <a:gd name="csY81" fmla="*/ 34330 h 135832"/>
                <a:gd name="csX82" fmla="*/ 89942 w 311517"/>
                <a:gd name="csY82" fmla="*/ 20340 h 135832"/>
                <a:gd name="csX83" fmla="*/ 68765 w 311517"/>
                <a:gd name="csY83" fmla="*/ 20340 h 135832"/>
                <a:gd name="csX84" fmla="*/ 68765 w 311517"/>
                <a:gd name="csY84" fmla="*/ 91927 h 135832"/>
                <a:gd name="csX85" fmla="*/ 89942 w 311517"/>
                <a:gd name="csY85" fmla="*/ 91927 h 135832"/>
                <a:gd name="csX86" fmla="*/ 89942 w 311517"/>
                <a:gd name="csY86" fmla="*/ 77942 h 135832"/>
                <a:gd name="csX87" fmla="*/ 68765 w 311517"/>
                <a:gd name="csY87" fmla="*/ 77942 h 135832"/>
                <a:gd name="csX88" fmla="*/ 225237 w 311517"/>
                <a:gd name="csY88" fmla="*/ 77942 h 135832"/>
                <a:gd name="csX89" fmla="*/ 204114 w 311517"/>
                <a:gd name="csY89" fmla="*/ 77942 h 135832"/>
                <a:gd name="csX90" fmla="*/ 204114 w 311517"/>
                <a:gd name="csY90" fmla="*/ 91927 h 135832"/>
                <a:gd name="csX91" fmla="*/ 225237 w 311517"/>
                <a:gd name="csY91" fmla="*/ 91927 h 135832"/>
                <a:gd name="csX92" fmla="*/ 92301 w 311517"/>
                <a:gd name="csY92" fmla="*/ 75533 h 135832"/>
                <a:gd name="csX93" fmla="*/ 112272 w 311517"/>
                <a:gd name="csY93" fmla="*/ 75533 h 135832"/>
                <a:gd name="csX94" fmla="*/ 112272 w 311517"/>
                <a:gd name="csY94" fmla="*/ 60062 h 135832"/>
                <a:gd name="csX95" fmla="*/ 92301 w 311517"/>
                <a:gd name="csY95" fmla="*/ 60062 h 135832"/>
                <a:gd name="csX96" fmla="*/ 179315 w 311517"/>
                <a:gd name="csY96" fmla="*/ 60062 h 135832"/>
                <a:gd name="csX97" fmla="*/ 159400 w 311517"/>
                <a:gd name="csY97" fmla="*/ 60062 h 135832"/>
                <a:gd name="csX98" fmla="*/ 159400 w 311517"/>
                <a:gd name="csY98" fmla="*/ 75533 h 135832"/>
                <a:gd name="csX99" fmla="*/ 179315 w 311517"/>
                <a:gd name="csY99" fmla="*/ 75533 h 135832"/>
                <a:gd name="csX100" fmla="*/ 156986 w 311517"/>
                <a:gd name="csY100" fmla="*/ 60062 h 135832"/>
                <a:gd name="csX101" fmla="*/ 137016 w 311517"/>
                <a:gd name="csY101" fmla="*/ 60062 h 135832"/>
                <a:gd name="csX102" fmla="*/ 137016 w 311517"/>
                <a:gd name="csY102" fmla="*/ 75533 h 135832"/>
                <a:gd name="csX103" fmla="*/ 156986 w 311517"/>
                <a:gd name="csY103" fmla="*/ 75533 h 135832"/>
                <a:gd name="csX104" fmla="*/ 134601 w 311517"/>
                <a:gd name="csY104" fmla="*/ 60062 h 135832"/>
                <a:gd name="csX105" fmla="*/ 114686 w 311517"/>
                <a:gd name="csY105" fmla="*/ 60062 h 135832"/>
                <a:gd name="csX106" fmla="*/ 114686 w 311517"/>
                <a:gd name="csY106" fmla="*/ 75533 h 135832"/>
                <a:gd name="csX107" fmla="*/ 134601 w 311517"/>
                <a:gd name="csY107" fmla="*/ 75533 h 135832"/>
                <a:gd name="csX108" fmla="*/ 114686 w 311517"/>
                <a:gd name="csY108" fmla="*/ 51404 h 135832"/>
                <a:gd name="csX109" fmla="*/ 134601 w 311517"/>
                <a:gd name="csY109" fmla="*/ 51404 h 135832"/>
                <a:gd name="csX110" fmla="*/ 134601 w 311517"/>
                <a:gd name="csY110" fmla="*/ 36733 h 135832"/>
                <a:gd name="csX111" fmla="*/ 114686 w 311517"/>
                <a:gd name="csY111" fmla="*/ 36733 h 135832"/>
                <a:gd name="csX112" fmla="*/ 137016 w 311517"/>
                <a:gd name="csY112" fmla="*/ 51404 h 135832"/>
                <a:gd name="csX113" fmla="*/ 156986 w 311517"/>
                <a:gd name="csY113" fmla="*/ 51404 h 135832"/>
                <a:gd name="csX114" fmla="*/ 156986 w 311517"/>
                <a:gd name="csY114" fmla="*/ 36733 h 135832"/>
                <a:gd name="csX115" fmla="*/ 137016 w 311517"/>
                <a:gd name="csY115" fmla="*/ 36733 h 135832"/>
                <a:gd name="csX116" fmla="*/ 159400 w 311517"/>
                <a:gd name="csY116" fmla="*/ 51404 h 135832"/>
                <a:gd name="csX117" fmla="*/ 179315 w 311517"/>
                <a:gd name="csY117" fmla="*/ 51404 h 135832"/>
                <a:gd name="csX118" fmla="*/ 179315 w 311517"/>
                <a:gd name="csY118" fmla="*/ 36733 h 135832"/>
                <a:gd name="csX119" fmla="*/ 159400 w 311517"/>
                <a:gd name="csY119" fmla="*/ 36733 h 135832"/>
                <a:gd name="csX120" fmla="*/ 181730 w 311517"/>
                <a:gd name="csY120" fmla="*/ 75533 h 135832"/>
                <a:gd name="csX121" fmla="*/ 201700 w 311517"/>
                <a:gd name="csY121" fmla="*/ 75533 h 135832"/>
                <a:gd name="csX122" fmla="*/ 201700 w 311517"/>
                <a:gd name="csY122" fmla="*/ 60062 h 135832"/>
                <a:gd name="csX123" fmla="*/ 181730 w 311517"/>
                <a:gd name="csY123" fmla="*/ 60062 h 135832"/>
                <a:gd name="csX124" fmla="*/ 112272 w 311517"/>
                <a:gd name="csY124" fmla="*/ 51404 h 135832"/>
                <a:gd name="csX125" fmla="*/ 112272 w 311517"/>
                <a:gd name="csY125" fmla="*/ 36733 h 135832"/>
                <a:gd name="csX126" fmla="*/ 92301 w 311517"/>
                <a:gd name="csY126" fmla="*/ 36733 h 135832"/>
                <a:gd name="csX127" fmla="*/ 92301 w 311517"/>
                <a:gd name="csY127" fmla="*/ 51404 h 135832"/>
                <a:gd name="csX128" fmla="*/ 181730 w 311517"/>
                <a:gd name="csY128" fmla="*/ 36733 h 135832"/>
                <a:gd name="csX129" fmla="*/ 181730 w 311517"/>
                <a:gd name="csY129" fmla="*/ 51404 h 135832"/>
                <a:gd name="csX130" fmla="*/ 201700 w 311517"/>
                <a:gd name="csY130" fmla="*/ 51404 h 135832"/>
                <a:gd name="csX131" fmla="*/ 201700 w 311517"/>
                <a:gd name="csY131" fmla="*/ 36733 h 135832"/>
                <a:gd name="csX132" fmla="*/ 201700 w 311517"/>
                <a:gd name="csY132" fmla="*/ 77942 h 135832"/>
                <a:gd name="csX133" fmla="*/ 181730 w 311517"/>
                <a:gd name="csY133" fmla="*/ 77942 h 135832"/>
                <a:gd name="csX134" fmla="*/ 181730 w 311517"/>
                <a:gd name="csY134" fmla="*/ 91927 h 135832"/>
                <a:gd name="csX135" fmla="*/ 201700 w 311517"/>
                <a:gd name="csY135" fmla="*/ 91927 h 135832"/>
                <a:gd name="csX136" fmla="*/ 179315 w 311517"/>
                <a:gd name="csY136" fmla="*/ 77942 h 135832"/>
                <a:gd name="csX137" fmla="*/ 159400 w 311517"/>
                <a:gd name="csY137" fmla="*/ 77942 h 135832"/>
                <a:gd name="csX138" fmla="*/ 159400 w 311517"/>
                <a:gd name="csY138" fmla="*/ 91927 h 135832"/>
                <a:gd name="csX139" fmla="*/ 179315 w 311517"/>
                <a:gd name="csY139" fmla="*/ 91927 h 135832"/>
                <a:gd name="csX140" fmla="*/ 156986 w 311517"/>
                <a:gd name="csY140" fmla="*/ 77942 h 135832"/>
                <a:gd name="csX141" fmla="*/ 137016 w 311517"/>
                <a:gd name="csY141" fmla="*/ 77942 h 135832"/>
                <a:gd name="csX142" fmla="*/ 137016 w 311517"/>
                <a:gd name="csY142" fmla="*/ 91927 h 135832"/>
                <a:gd name="csX143" fmla="*/ 156986 w 311517"/>
                <a:gd name="csY143" fmla="*/ 91927 h 135832"/>
                <a:gd name="csX144" fmla="*/ 134601 w 311517"/>
                <a:gd name="csY144" fmla="*/ 77942 h 135832"/>
                <a:gd name="csX145" fmla="*/ 114686 w 311517"/>
                <a:gd name="csY145" fmla="*/ 77942 h 135832"/>
                <a:gd name="csX146" fmla="*/ 114686 w 311517"/>
                <a:gd name="csY146" fmla="*/ 91927 h 135832"/>
                <a:gd name="csX147" fmla="*/ 134601 w 311517"/>
                <a:gd name="csY147" fmla="*/ 91927 h 135832"/>
                <a:gd name="csX148" fmla="*/ 112272 w 311517"/>
                <a:gd name="csY148" fmla="*/ 77942 h 135832"/>
                <a:gd name="csX149" fmla="*/ 92301 w 311517"/>
                <a:gd name="csY149" fmla="*/ 77942 h 135832"/>
                <a:gd name="csX150" fmla="*/ 92301 w 311517"/>
                <a:gd name="csY150" fmla="*/ 91927 h 135832"/>
                <a:gd name="csX151" fmla="*/ 112272 w 311517"/>
                <a:gd name="csY151" fmla="*/ 91927 h 135832"/>
                <a:gd name="csX152" fmla="*/ 92301 w 311517"/>
                <a:gd name="csY152" fmla="*/ 34330 h 135832"/>
                <a:gd name="csX153" fmla="*/ 112272 w 311517"/>
                <a:gd name="csY153" fmla="*/ 34330 h 135832"/>
                <a:gd name="csX154" fmla="*/ 112272 w 311517"/>
                <a:gd name="csY154" fmla="*/ 20340 h 135832"/>
                <a:gd name="csX155" fmla="*/ 92301 w 311517"/>
                <a:gd name="csY155" fmla="*/ 20340 h 135832"/>
                <a:gd name="csX156" fmla="*/ 114686 w 311517"/>
                <a:gd name="csY156" fmla="*/ 34330 h 135832"/>
                <a:gd name="csX157" fmla="*/ 134601 w 311517"/>
                <a:gd name="csY157" fmla="*/ 34330 h 135832"/>
                <a:gd name="csX158" fmla="*/ 134601 w 311517"/>
                <a:gd name="csY158" fmla="*/ 20340 h 135832"/>
                <a:gd name="csX159" fmla="*/ 114686 w 311517"/>
                <a:gd name="csY159" fmla="*/ 20340 h 135832"/>
                <a:gd name="csX160" fmla="*/ 137016 w 311517"/>
                <a:gd name="csY160" fmla="*/ 34330 h 135832"/>
                <a:gd name="csX161" fmla="*/ 156986 w 311517"/>
                <a:gd name="csY161" fmla="*/ 34330 h 135832"/>
                <a:gd name="csX162" fmla="*/ 156986 w 311517"/>
                <a:gd name="csY162" fmla="*/ 20340 h 135832"/>
                <a:gd name="csX163" fmla="*/ 137016 w 311517"/>
                <a:gd name="csY163" fmla="*/ 20340 h 135832"/>
                <a:gd name="csX164" fmla="*/ 159400 w 311517"/>
                <a:gd name="csY164" fmla="*/ 34330 h 135832"/>
                <a:gd name="csX165" fmla="*/ 179315 w 311517"/>
                <a:gd name="csY165" fmla="*/ 34330 h 135832"/>
                <a:gd name="csX166" fmla="*/ 179315 w 311517"/>
                <a:gd name="csY166" fmla="*/ 20340 h 135832"/>
                <a:gd name="csX167" fmla="*/ 159400 w 311517"/>
                <a:gd name="csY167" fmla="*/ 20340 h 135832"/>
                <a:gd name="csX168" fmla="*/ 181730 w 311517"/>
                <a:gd name="csY168" fmla="*/ 34330 h 135832"/>
                <a:gd name="csX169" fmla="*/ 201700 w 311517"/>
                <a:gd name="csY169" fmla="*/ 34330 h 135832"/>
                <a:gd name="csX170" fmla="*/ 201700 w 311517"/>
                <a:gd name="csY170" fmla="*/ 20340 h 135832"/>
                <a:gd name="csX171" fmla="*/ 181730 w 311517"/>
                <a:gd name="csY171" fmla="*/ 20340 h 135832"/>
                <a:gd name="csX172" fmla="*/ 204114 w 311517"/>
                <a:gd name="csY172" fmla="*/ 36733 h 135832"/>
                <a:gd name="csX173" fmla="*/ 204114 w 311517"/>
                <a:gd name="csY173" fmla="*/ 51404 h 135832"/>
                <a:gd name="csX174" fmla="*/ 225237 w 311517"/>
                <a:gd name="csY174" fmla="*/ 51404 h 135832"/>
                <a:gd name="csX175" fmla="*/ 225237 w 311517"/>
                <a:gd name="csY175" fmla="*/ 36733 h 135832"/>
                <a:gd name="csX176" fmla="*/ 225237 w 311517"/>
                <a:gd name="csY176" fmla="*/ 60062 h 135832"/>
                <a:gd name="csX177" fmla="*/ 204114 w 311517"/>
                <a:gd name="csY177" fmla="*/ 60062 h 135832"/>
                <a:gd name="csX178" fmla="*/ 204114 w 311517"/>
                <a:gd name="csY178" fmla="*/ 75533 h 135832"/>
                <a:gd name="csX179" fmla="*/ 225237 w 311517"/>
                <a:gd name="csY179" fmla="*/ 75533 h 135832"/>
                <a:gd name="csX180" fmla="*/ 89942 w 311517"/>
                <a:gd name="csY180" fmla="*/ 75533 h 135832"/>
                <a:gd name="csX181" fmla="*/ 89942 w 311517"/>
                <a:gd name="csY181" fmla="*/ 60062 h 135832"/>
                <a:gd name="csX182" fmla="*/ 68765 w 311517"/>
                <a:gd name="csY182" fmla="*/ 60062 h 135832"/>
                <a:gd name="csX183" fmla="*/ 68765 w 311517"/>
                <a:gd name="csY183" fmla="*/ 75533 h 135832"/>
                <a:gd name="csX184" fmla="*/ 68765 w 311517"/>
                <a:gd name="csY184" fmla="*/ 51404 h 135832"/>
                <a:gd name="csX185" fmla="*/ 89942 w 311517"/>
                <a:gd name="csY185" fmla="*/ 51404 h 135832"/>
                <a:gd name="csX186" fmla="*/ 89942 w 311517"/>
                <a:gd name="csY186" fmla="*/ 36733 h 135832"/>
                <a:gd name="csX187" fmla="*/ 68765 w 311517"/>
                <a:gd name="csY187" fmla="*/ 36733 h 135832"/>
                <a:gd name="csX188" fmla="*/ 204114 w 311517"/>
                <a:gd name="csY188" fmla="*/ 20340 h 135832"/>
                <a:gd name="csX189" fmla="*/ 204114 w 311517"/>
                <a:gd name="csY189" fmla="*/ 34330 h 135832"/>
                <a:gd name="csX190" fmla="*/ 225237 w 311517"/>
                <a:gd name="csY190" fmla="*/ 34330 h 135832"/>
                <a:gd name="csX191" fmla="*/ 225237 w 311517"/>
                <a:gd name="csY191" fmla="*/ 20340 h 135832"/>
                <a:gd name="csX192" fmla="*/ 225237 w 311517"/>
                <a:gd name="csY192" fmla="*/ 94330 h 135832"/>
                <a:gd name="csX193" fmla="*/ 204114 w 311517"/>
                <a:gd name="csY193" fmla="*/ 94330 h 135832"/>
                <a:gd name="csX194" fmla="*/ 204114 w 311517"/>
                <a:gd name="csY194" fmla="*/ 109006 h 135832"/>
                <a:gd name="csX195" fmla="*/ 225237 w 311517"/>
                <a:gd name="csY195" fmla="*/ 109006 h 135832"/>
                <a:gd name="csX196" fmla="*/ 201700 w 311517"/>
                <a:gd name="csY196" fmla="*/ 94330 h 135832"/>
                <a:gd name="csX197" fmla="*/ 181730 w 311517"/>
                <a:gd name="csY197" fmla="*/ 94330 h 135832"/>
                <a:gd name="csX198" fmla="*/ 181730 w 311517"/>
                <a:gd name="csY198" fmla="*/ 109006 h 135832"/>
                <a:gd name="csX199" fmla="*/ 201700 w 311517"/>
                <a:gd name="csY199" fmla="*/ 109006 h 135832"/>
                <a:gd name="csX200" fmla="*/ 179315 w 311517"/>
                <a:gd name="csY200" fmla="*/ 94330 h 135832"/>
                <a:gd name="csX201" fmla="*/ 159400 w 311517"/>
                <a:gd name="csY201" fmla="*/ 94330 h 135832"/>
                <a:gd name="csX202" fmla="*/ 159400 w 311517"/>
                <a:gd name="csY202" fmla="*/ 109006 h 135832"/>
                <a:gd name="csX203" fmla="*/ 179315 w 311517"/>
                <a:gd name="csY203" fmla="*/ 109006 h 135832"/>
                <a:gd name="csX204" fmla="*/ 156986 w 311517"/>
                <a:gd name="csY204" fmla="*/ 94330 h 135832"/>
                <a:gd name="csX205" fmla="*/ 137016 w 311517"/>
                <a:gd name="csY205" fmla="*/ 94330 h 135832"/>
                <a:gd name="csX206" fmla="*/ 137016 w 311517"/>
                <a:gd name="csY206" fmla="*/ 109006 h 135832"/>
                <a:gd name="csX207" fmla="*/ 156986 w 311517"/>
                <a:gd name="csY207" fmla="*/ 109006 h 135832"/>
                <a:gd name="csX208" fmla="*/ 134601 w 311517"/>
                <a:gd name="csY208" fmla="*/ 94330 h 135832"/>
                <a:gd name="csX209" fmla="*/ 114686 w 311517"/>
                <a:gd name="csY209" fmla="*/ 94330 h 135832"/>
                <a:gd name="csX210" fmla="*/ 114686 w 311517"/>
                <a:gd name="csY210" fmla="*/ 109006 h 135832"/>
                <a:gd name="csX211" fmla="*/ 134601 w 311517"/>
                <a:gd name="csY211" fmla="*/ 109006 h 135832"/>
                <a:gd name="csX212" fmla="*/ 112272 w 311517"/>
                <a:gd name="csY212" fmla="*/ 94330 h 135832"/>
                <a:gd name="csX213" fmla="*/ 92301 w 311517"/>
                <a:gd name="csY213" fmla="*/ 94330 h 135832"/>
                <a:gd name="csX214" fmla="*/ 92301 w 311517"/>
                <a:gd name="csY214" fmla="*/ 109006 h 135832"/>
                <a:gd name="csX215" fmla="*/ 112272 w 311517"/>
                <a:gd name="csY215" fmla="*/ 109006 h 135832"/>
                <a:gd name="csX216" fmla="*/ 89942 w 311517"/>
                <a:gd name="csY216" fmla="*/ 94330 h 135832"/>
                <a:gd name="csX217" fmla="*/ 68765 w 311517"/>
                <a:gd name="csY217" fmla="*/ 94330 h 135832"/>
                <a:gd name="csX218" fmla="*/ 68765 w 311517"/>
                <a:gd name="csY218" fmla="*/ 109006 h 135832"/>
                <a:gd name="csX219" fmla="*/ 89942 w 311517"/>
                <a:gd name="csY219" fmla="*/ 109006 h 135832"/>
                <a:gd name="csX220" fmla="*/ 68765 w 311517"/>
                <a:gd name="csY220" fmla="*/ 2460 h 135832"/>
                <a:gd name="csX221" fmla="*/ 68765 w 311517"/>
                <a:gd name="csY221" fmla="*/ 17937 h 135832"/>
                <a:gd name="csX222" fmla="*/ 89942 w 311517"/>
                <a:gd name="csY222" fmla="*/ 17937 h 135832"/>
                <a:gd name="csX223" fmla="*/ 89942 w 311517"/>
                <a:gd name="csY223" fmla="*/ 2460 h 135832"/>
                <a:gd name="csX224" fmla="*/ 92301 w 311517"/>
                <a:gd name="csY224" fmla="*/ 2460 h 135832"/>
                <a:gd name="csX225" fmla="*/ 92301 w 311517"/>
                <a:gd name="csY225" fmla="*/ 17937 h 135832"/>
                <a:gd name="csX226" fmla="*/ 112272 w 311517"/>
                <a:gd name="csY226" fmla="*/ 17937 h 135832"/>
                <a:gd name="csX227" fmla="*/ 112272 w 311517"/>
                <a:gd name="csY227" fmla="*/ 2460 h 135832"/>
                <a:gd name="csX228" fmla="*/ 114686 w 311517"/>
                <a:gd name="csY228" fmla="*/ 2460 h 135832"/>
                <a:gd name="csX229" fmla="*/ 114686 w 311517"/>
                <a:gd name="csY229" fmla="*/ 17937 h 135832"/>
                <a:gd name="csX230" fmla="*/ 134601 w 311517"/>
                <a:gd name="csY230" fmla="*/ 17937 h 135832"/>
                <a:gd name="csX231" fmla="*/ 134601 w 311517"/>
                <a:gd name="csY231" fmla="*/ 2460 h 135832"/>
                <a:gd name="csX232" fmla="*/ 137016 w 311517"/>
                <a:gd name="csY232" fmla="*/ 2460 h 135832"/>
                <a:gd name="csX233" fmla="*/ 137016 w 311517"/>
                <a:gd name="csY233" fmla="*/ 17937 h 135832"/>
                <a:gd name="csX234" fmla="*/ 156986 w 311517"/>
                <a:gd name="csY234" fmla="*/ 17937 h 135832"/>
                <a:gd name="csX235" fmla="*/ 156986 w 311517"/>
                <a:gd name="csY235" fmla="*/ 2460 h 135832"/>
                <a:gd name="csX236" fmla="*/ 159400 w 311517"/>
                <a:gd name="csY236" fmla="*/ 2460 h 135832"/>
                <a:gd name="csX237" fmla="*/ 159400 w 311517"/>
                <a:gd name="csY237" fmla="*/ 17937 h 135832"/>
                <a:gd name="csX238" fmla="*/ 179315 w 311517"/>
                <a:gd name="csY238" fmla="*/ 17937 h 135832"/>
                <a:gd name="csX239" fmla="*/ 179315 w 311517"/>
                <a:gd name="csY239" fmla="*/ 2460 h 135832"/>
                <a:gd name="csX240" fmla="*/ 181730 w 311517"/>
                <a:gd name="csY240" fmla="*/ 2460 h 135832"/>
                <a:gd name="csX241" fmla="*/ 181730 w 311517"/>
                <a:gd name="csY241" fmla="*/ 17937 h 135832"/>
                <a:gd name="csX242" fmla="*/ 201700 w 311517"/>
                <a:gd name="csY242" fmla="*/ 17937 h 135832"/>
                <a:gd name="csX243" fmla="*/ 201700 w 311517"/>
                <a:gd name="csY243" fmla="*/ 2460 h 135832"/>
                <a:gd name="csX244" fmla="*/ 225237 w 311517"/>
                <a:gd name="csY244" fmla="*/ 2460 h 135832"/>
                <a:gd name="csX245" fmla="*/ 204114 w 311517"/>
                <a:gd name="csY245" fmla="*/ 2460 h 135832"/>
                <a:gd name="csX246" fmla="*/ 204114 w 311517"/>
                <a:gd name="csY246" fmla="*/ 17937 h 135832"/>
                <a:gd name="csX247" fmla="*/ 225237 w 311517"/>
                <a:gd name="csY247" fmla="*/ 17937 h 135832"/>
                <a:gd name="csX248" fmla="*/ 237087 w 311517"/>
                <a:gd name="csY248" fmla="*/ 35082 h 135832"/>
                <a:gd name="csX249" fmla="*/ 252010 w 311517"/>
                <a:gd name="csY249" fmla="*/ 35082 h 135832"/>
                <a:gd name="csX250" fmla="*/ 252010 w 311517"/>
                <a:gd name="csY250" fmla="*/ 16237 h 135832"/>
                <a:gd name="csX251" fmla="*/ 237087 w 311517"/>
                <a:gd name="csY251" fmla="*/ 16237 h 135832"/>
                <a:gd name="csX252" fmla="*/ 237087 w 311517"/>
                <a:gd name="csY252" fmla="*/ 92678 h 135832"/>
                <a:gd name="csX253" fmla="*/ 252010 w 311517"/>
                <a:gd name="csY253" fmla="*/ 92678 h 135832"/>
                <a:gd name="csX254" fmla="*/ 252010 w 311517"/>
                <a:gd name="csY254" fmla="*/ 73838 h 135832"/>
                <a:gd name="csX255" fmla="*/ 237087 w 311517"/>
                <a:gd name="csY255" fmla="*/ 73838 h 135832"/>
                <a:gd name="csX256" fmla="*/ 285477 w 311517"/>
                <a:gd name="csY256" fmla="*/ 73838 h 135832"/>
                <a:gd name="csX257" fmla="*/ 270554 w 311517"/>
                <a:gd name="csY257" fmla="*/ 73838 h 135832"/>
                <a:gd name="csX258" fmla="*/ 270554 w 311517"/>
                <a:gd name="csY258" fmla="*/ 92678 h 135832"/>
                <a:gd name="csX259" fmla="*/ 285477 w 311517"/>
                <a:gd name="csY259" fmla="*/ 92678 h 135832"/>
                <a:gd name="csX260" fmla="*/ 254425 w 311517"/>
                <a:gd name="csY260" fmla="*/ 37485 h 135832"/>
                <a:gd name="csX261" fmla="*/ 254425 w 311517"/>
                <a:gd name="csY261" fmla="*/ 51404 h 135832"/>
                <a:gd name="csX262" fmla="*/ 268141 w 311517"/>
                <a:gd name="csY262" fmla="*/ 51404 h 135832"/>
                <a:gd name="csX263" fmla="*/ 268141 w 311517"/>
                <a:gd name="csY263" fmla="*/ 37485 h 135832"/>
                <a:gd name="csX264" fmla="*/ 254425 w 311517"/>
                <a:gd name="csY264" fmla="*/ 71430 h 135832"/>
                <a:gd name="csX265" fmla="*/ 268141 w 311517"/>
                <a:gd name="csY265" fmla="*/ 71430 h 135832"/>
                <a:gd name="csX266" fmla="*/ 268141 w 311517"/>
                <a:gd name="csY266" fmla="*/ 60062 h 135832"/>
                <a:gd name="csX267" fmla="*/ 254425 w 311517"/>
                <a:gd name="csY267" fmla="*/ 60062 h 135832"/>
                <a:gd name="csX268" fmla="*/ 268141 w 311517"/>
                <a:gd name="csY268" fmla="*/ 73838 h 135832"/>
                <a:gd name="csX269" fmla="*/ 254425 w 311517"/>
                <a:gd name="csY269" fmla="*/ 73838 h 135832"/>
                <a:gd name="csX270" fmla="*/ 254425 w 311517"/>
                <a:gd name="csY270" fmla="*/ 92678 h 135832"/>
                <a:gd name="csX271" fmla="*/ 268141 w 311517"/>
                <a:gd name="csY271" fmla="*/ 92678 h 135832"/>
                <a:gd name="csX272" fmla="*/ 254425 w 311517"/>
                <a:gd name="csY272" fmla="*/ 35082 h 135832"/>
                <a:gd name="csX273" fmla="*/ 268141 w 311517"/>
                <a:gd name="csY273" fmla="*/ 35082 h 135832"/>
                <a:gd name="csX274" fmla="*/ 268141 w 311517"/>
                <a:gd name="csY274" fmla="*/ 16237 h 135832"/>
                <a:gd name="csX275" fmla="*/ 254425 w 311517"/>
                <a:gd name="csY275" fmla="*/ 16237 h 135832"/>
                <a:gd name="csX276" fmla="*/ 270554 w 311517"/>
                <a:gd name="csY276" fmla="*/ 37485 h 135832"/>
                <a:gd name="csX277" fmla="*/ 270554 w 311517"/>
                <a:gd name="csY277" fmla="*/ 51404 h 135832"/>
                <a:gd name="csX278" fmla="*/ 285477 w 311517"/>
                <a:gd name="csY278" fmla="*/ 51404 h 135832"/>
                <a:gd name="csX279" fmla="*/ 285477 w 311517"/>
                <a:gd name="csY279" fmla="*/ 37485 h 135832"/>
                <a:gd name="csX280" fmla="*/ 285477 w 311517"/>
                <a:gd name="csY280" fmla="*/ 60062 h 135832"/>
                <a:gd name="csX281" fmla="*/ 270554 w 311517"/>
                <a:gd name="csY281" fmla="*/ 60062 h 135832"/>
                <a:gd name="csX282" fmla="*/ 270554 w 311517"/>
                <a:gd name="csY282" fmla="*/ 71430 h 135832"/>
                <a:gd name="csX283" fmla="*/ 285477 w 311517"/>
                <a:gd name="csY283" fmla="*/ 71430 h 135832"/>
                <a:gd name="csX284" fmla="*/ 252010 w 311517"/>
                <a:gd name="csY284" fmla="*/ 71430 h 135832"/>
                <a:gd name="csX285" fmla="*/ 252010 w 311517"/>
                <a:gd name="csY285" fmla="*/ 60062 h 135832"/>
                <a:gd name="csX286" fmla="*/ 237087 w 311517"/>
                <a:gd name="csY286" fmla="*/ 60062 h 135832"/>
                <a:gd name="csX287" fmla="*/ 237087 w 311517"/>
                <a:gd name="csY287" fmla="*/ 71430 h 135832"/>
                <a:gd name="csX288" fmla="*/ 237087 w 311517"/>
                <a:gd name="csY288" fmla="*/ 51404 h 135832"/>
                <a:gd name="csX289" fmla="*/ 252010 w 311517"/>
                <a:gd name="csY289" fmla="*/ 51404 h 135832"/>
                <a:gd name="csX290" fmla="*/ 252010 w 311517"/>
                <a:gd name="csY290" fmla="*/ 37485 h 135832"/>
                <a:gd name="csX291" fmla="*/ 237087 w 311517"/>
                <a:gd name="csY291" fmla="*/ 37485 h 135832"/>
                <a:gd name="csX292" fmla="*/ 270554 w 311517"/>
                <a:gd name="csY292" fmla="*/ 16237 h 135832"/>
                <a:gd name="csX293" fmla="*/ 270554 w 311517"/>
                <a:gd name="csY293" fmla="*/ 35082 h 135832"/>
                <a:gd name="csX294" fmla="*/ 285477 w 311517"/>
                <a:gd name="csY294" fmla="*/ 35082 h 135832"/>
                <a:gd name="csX295" fmla="*/ 285477 w 311517"/>
                <a:gd name="csY295" fmla="*/ 16237 h 135832"/>
                <a:gd name="csX296" fmla="*/ 285477 w 311517"/>
                <a:gd name="csY296" fmla="*/ 95082 h 135832"/>
                <a:gd name="csX297" fmla="*/ 270554 w 311517"/>
                <a:gd name="csY297" fmla="*/ 95082 h 135832"/>
                <a:gd name="csX298" fmla="*/ 270554 w 311517"/>
                <a:gd name="csY298" fmla="*/ 109006 h 135832"/>
                <a:gd name="csX299" fmla="*/ 285477 w 311517"/>
                <a:gd name="csY299" fmla="*/ 109006 h 135832"/>
                <a:gd name="csX300" fmla="*/ 268141 w 311517"/>
                <a:gd name="csY300" fmla="*/ 95082 h 135832"/>
                <a:gd name="csX301" fmla="*/ 254425 w 311517"/>
                <a:gd name="csY301" fmla="*/ 95082 h 135832"/>
                <a:gd name="csX302" fmla="*/ 254425 w 311517"/>
                <a:gd name="csY302" fmla="*/ 109006 h 135832"/>
                <a:gd name="csX303" fmla="*/ 268141 w 311517"/>
                <a:gd name="csY303" fmla="*/ 109006 h 135832"/>
                <a:gd name="csX304" fmla="*/ 252010 w 311517"/>
                <a:gd name="csY304" fmla="*/ 95082 h 135832"/>
                <a:gd name="csX305" fmla="*/ 237087 w 311517"/>
                <a:gd name="csY305" fmla="*/ 95082 h 135832"/>
                <a:gd name="csX306" fmla="*/ 237087 w 311517"/>
                <a:gd name="csY306" fmla="*/ 109006 h 135832"/>
                <a:gd name="csX307" fmla="*/ 252010 w 311517"/>
                <a:gd name="csY307" fmla="*/ 109006 h 135832"/>
                <a:gd name="csX308" fmla="*/ 237087 w 311517"/>
                <a:gd name="csY308" fmla="*/ 2460 h 135832"/>
                <a:gd name="csX309" fmla="*/ 237087 w 311517"/>
                <a:gd name="csY309" fmla="*/ 13833 h 135832"/>
                <a:gd name="csX310" fmla="*/ 252010 w 311517"/>
                <a:gd name="csY310" fmla="*/ 13833 h 135832"/>
                <a:gd name="csX311" fmla="*/ 252010 w 311517"/>
                <a:gd name="csY311" fmla="*/ 2460 h 135832"/>
                <a:gd name="csX312" fmla="*/ 254425 w 311517"/>
                <a:gd name="csY312" fmla="*/ 2460 h 135832"/>
                <a:gd name="csX313" fmla="*/ 254425 w 311517"/>
                <a:gd name="csY313" fmla="*/ 13833 h 135832"/>
                <a:gd name="csX314" fmla="*/ 268141 w 311517"/>
                <a:gd name="csY314" fmla="*/ 13833 h 135832"/>
                <a:gd name="csX315" fmla="*/ 268141 w 311517"/>
                <a:gd name="csY315" fmla="*/ 2460 h 135832"/>
                <a:gd name="csX316" fmla="*/ 285477 w 311517"/>
                <a:gd name="csY316" fmla="*/ 2460 h 135832"/>
                <a:gd name="csX317" fmla="*/ 270554 w 311517"/>
                <a:gd name="csY317" fmla="*/ 2460 h 135832"/>
                <a:gd name="csX318" fmla="*/ 270554 w 311517"/>
                <a:gd name="csY318" fmla="*/ 13833 h 135832"/>
                <a:gd name="csX319" fmla="*/ 285477 w 311517"/>
                <a:gd name="csY319" fmla="*/ 13833 h 135832"/>
                <a:gd name="csX320" fmla="*/ 285477 w 311517"/>
                <a:gd name="csY320" fmla="*/ 2460 h 13583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 ang="0">
                  <a:pos x="csX97" y="csY97"/>
                </a:cxn>
                <a:cxn ang="0">
                  <a:pos x="csX98" y="csY98"/>
                </a:cxn>
                <a:cxn ang="0">
                  <a:pos x="csX99" y="csY99"/>
                </a:cxn>
                <a:cxn ang="0">
                  <a:pos x="csX100" y="csY100"/>
                </a:cxn>
                <a:cxn ang="0">
                  <a:pos x="csX101" y="csY101"/>
                </a:cxn>
                <a:cxn ang="0">
                  <a:pos x="csX102" y="csY102"/>
                </a:cxn>
                <a:cxn ang="0">
                  <a:pos x="csX103" y="csY103"/>
                </a:cxn>
                <a:cxn ang="0">
                  <a:pos x="csX104" y="csY104"/>
                </a:cxn>
                <a:cxn ang="0">
                  <a:pos x="csX105" y="csY105"/>
                </a:cxn>
                <a:cxn ang="0">
                  <a:pos x="csX106" y="csY106"/>
                </a:cxn>
                <a:cxn ang="0">
                  <a:pos x="csX107" y="csY107"/>
                </a:cxn>
                <a:cxn ang="0">
                  <a:pos x="csX108" y="csY108"/>
                </a:cxn>
                <a:cxn ang="0">
                  <a:pos x="csX109" y="csY109"/>
                </a:cxn>
                <a:cxn ang="0">
                  <a:pos x="csX110" y="csY110"/>
                </a:cxn>
                <a:cxn ang="0">
                  <a:pos x="csX111" y="csY111"/>
                </a:cxn>
                <a:cxn ang="0">
                  <a:pos x="csX112" y="csY112"/>
                </a:cxn>
                <a:cxn ang="0">
                  <a:pos x="csX113" y="csY113"/>
                </a:cxn>
                <a:cxn ang="0">
                  <a:pos x="csX114" y="csY114"/>
                </a:cxn>
                <a:cxn ang="0">
                  <a:pos x="csX115" y="csY115"/>
                </a:cxn>
                <a:cxn ang="0">
                  <a:pos x="csX116" y="csY116"/>
                </a:cxn>
                <a:cxn ang="0">
                  <a:pos x="csX117" y="csY117"/>
                </a:cxn>
                <a:cxn ang="0">
                  <a:pos x="csX118" y="csY118"/>
                </a:cxn>
                <a:cxn ang="0">
                  <a:pos x="csX119" y="csY119"/>
                </a:cxn>
                <a:cxn ang="0">
                  <a:pos x="csX120" y="csY120"/>
                </a:cxn>
                <a:cxn ang="0">
                  <a:pos x="csX121" y="csY121"/>
                </a:cxn>
                <a:cxn ang="0">
                  <a:pos x="csX122" y="csY122"/>
                </a:cxn>
                <a:cxn ang="0">
                  <a:pos x="csX123" y="csY123"/>
                </a:cxn>
                <a:cxn ang="0">
                  <a:pos x="csX124" y="csY124"/>
                </a:cxn>
                <a:cxn ang="0">
                  <a:pos x="csX125" y="csY125"/>
                </a:cxn>
                <a:cxn ang="0">
                  <a:pos x="csX126" y="csY126"/>
                </a:cxn>
                <a:cxn ang="0">
                  <a:pos x="csX127" y="csY127"/>
                </a:cxn>
                <a:cxn ang="0">
                  <a:pos x="csX128" y="csY128"/>
                </a:cxn>
                <a:cxn ang="0">
                  <a:pos x="csX129" y="csY129"/>
                </a:cxn>
                <a:cxn ang="0">
                  <a:pos x="csX130" y="csY130"/>
                </a:cxn>
                <a:cxn ang="0">
                  <a:pos x="csX131" y="csY131"/>
                </a:cxn>
                <a:cxn ang="0">
                  <a:pos x="csX132" y="csY132"/>
                </a:cxn>
                <a:cxn ang="0">
                  <a:pos x="csX133" y="csY133"/>
                </a:cxn>
                <a:cxn ang="0">
                  <a:pos x="csX134" y="csY134"/>
                </a:cxn>
                <a:cxn ang="0">
                  <a:pos x="csX135" y="csY135"/>
                </a:cxn>
                <a:cxn ang="0">
                  <a:pos x="csX136" y="csY136"/>
                </a:cxn>
                <a:cxn ang="0">
                  <a:pos x="csX137" y="csY137"/>
                </a:cxn>
                <a:cxn ang="0">
                  <a:pos x="csX138" y="csY138"/>
                </a:cxn>
                <a:cxn ang="0">
                  <a:pos x="csX139" y="csY139"/>
                </a:cxn>
                <a:cxn ang="0">
                  <a:pos x="csX140" y="csY140"/>
                </a:cxn>
                <a:cxn ang="0">
                  <a:pos x="csX141" y="csY141"/>
                </a:cxn>
                <a:cxn ang="0">
                  <a:pos x="csX142" y="csY142"/>
                </a:cxn>
                <a:cxn ang="0">
                  <a:pos x="csX143" y="csY143"/>
                </a:cxn>
                <a:cxn ang="0">
                  <a:pos x="csX144" y="csY144"/>
                </a:cxn>
                <a:cxn ang="0">
                  <a:pos x="csX145" y="csY145"/>
                </a:cxn>
                <a:cxn ang="0">
                  <a:pos x="csX146" y="csY146"/>
                </a:cxn>
                <a:cxn ang="0">
                  <a:pos x="csX147" y="csY147"/>
                </a:cxn>
                <a:cxn ang="0">
                  <a:pos x="csX148" y="csY148"/>
                </a:cxn>
                <a:cxn ang="0">
                  <a:pos x="csX149" y="csY149"/>
                </a:cxn>
                <a:cxn ang="0">
                  <a:pos x="csX150" y="csY150"/>
                </a:cxn>
                <a:cxn ang="0">
                  <a:pos x="csX151" y="csY151"/>
                </a:cxn>
                <a:cxn ang="0">
                  <a:pos x="csX152" y="csY152"/>
                </a:cxn>
                <a:cxn ang="0">
                  <a:pos x="csX153" y="csY153"/>
                </a:cxn>
                <a:cxn ang="0">
                  <a:pos x="csX154" y="csY154"/>
                </a:cxn>
                <a:cxn ang="0">
                  <a:pos x="csX155" y="csY155"/>
                </a:cxn>
                <a:cxn ang="0">
                  <a:pos x="csX156" y="csY156"/>
                </a:cxn>
                <a:cxn ang="0">
                  <a:pos x="csX157" y="csY157"/>
                </a:cxn>
                <a:cxn ang="0">
                  <a:pos x="csX158" y="csY158"/>
                </a:cxn>
                <a:cxn ang="0">
                  <a:pos x="csX159" y="csY159"/>
                </a:cxn>
                <a:cxn ang="0">
                  <a:pos x="csX160" y="csY160"/>
                </a:cxn>
                <a:cxn ang="0">
                  <a:pos x="csX161" y="csY161"/>
                </a:cxn>
                <a:cxn ang="0">
                  <a:pos x="csX162" y="csY162"/>
                </a:cxn>
                <a:cxn ang="0">
                  <a:pos x="csX163" y="csY163"/>
                </a:cxn>
                <a:cxn ang="0">
                  <a:pos x="csX164" y="csY164"/>
                </a:cxn>
                <a:cxn ang="0">
                  <a:pos x="csX165" y="csY165"/>
                </a:cxn>
                <a:cxn ang="0">
                  <a:pos x="csX166" y="csY166"/>
                </a:cxn>
                <a:cxn ang="0">
                  <a:pos x="csX167" y="csY167"/>
                </a:cxn>
                <a:cxn ang="0">
                  <a:pos x="csX168" y="csY168"/>
                </a:cxn>
                <a:cxn ang="0">
                  <a:pos x="csX169" y="csY169"/>
                </a:cxn>
                <a:cxn ang="0">
                  <a:pos x="csX170" y="csY170"/>
                </a:cxn>
                <a:cxn ang="0">
                  <a:pos x="csX171" y="csY171"/>
                </a:cxn>
                <a:cxn ang="0">
                  <a:pos x="csX172" y="csY172"/>
                </a:cxn>
                <a:cxn ang="0">
                  <a:pos x="csX173" y="csY173"/>
                </a:cxn>
                <a:cxn ang="0">
                  <a:pos x="csX174" y="csY174"/>
                </a:cxn>
                <a:cxn ang="0">
                  <a:pos x="csX175" y="csY175"/>
                </a:cxn>
                <a:cxn ang="0">
                  <a:pos x="csX176" y="csY176"/>
                </a:cxn>
                <a:cxn ang="0">
                  <a:pos x="csX177" y="csY177"/>
                </a:cxn>
                <a:cxn ang="0">
                  <a:pos x="csX178" y="csY178"/>
                </a:cxn>
                <a:cxn ang="0">
                  <a:pos x="csX179" y="csY179"/>
                </a:cxn>
                <a:cxn ang="0">
                  <a:pos x="csX180" y="csY180"/>
                </a:cxn>
                <a:cxn ang="0">
                  <a:pos x="csX181" y="csY181"/>
                </a:cxn>
                <a:cxn ang="0">
                  <a:pos x="csX182" y="csY182"/>
                </a:cxn>
                <a:cxn ang="0">
                  <a:pos x="csX183" y="csY183"/>
                </a:cxn>
                <a:cxn ang="0">
                  <a:pos x="csX184" y="csY184"/>
                </a:cxn>
                <a:cxn ang="0">
                  <a:pos x="csX185" y="csY185"/>
                </a:cxn>
                <a:cxn ang="0">
                  <a:pos x="csX186" y="csY186"/>
                </a:cxn>
                <a:cxn ang="0">
                  <a:pos x="csX187" y="csY187"/>
                </a:cxn>
                <a:cxn ang="0">
                  <a:pos x="csX188" y="csY188"/>
                </a:cxn>
                <a:cxn ang="0">
                  <a:pos x="csX189" y="csY189"/>
                </a:cxn>
                <a:cxn ang="0">
                  <a:pos x="csX190" y="csY190"/>
                </a:cxn>
                <a:cxn ang="0">
                  <a:pos x="csX191" y="csY191"/>
                </a:cxn>
                <a:cxn ang="0">
                  <a:pos x="csX192" y="csY192"/>
                </a:cxn>
                <a:cxn ang="0">
                  <a:pos x="csX193" y="csY193"/>
                </a:cxn>
                <a:cxn ang="0">
                  <a:pos x="csX194" y="csY194"/>
                </a:cxn>
                <a:cxn ang="0">
                  <a:pos x="csX195" y="csY195"/>
                </a:cxn>
                <a:cxn ang="0">
                  <a:pos x="csX196" y="csY196"/>
                </a:cxn>
                <a:cxn ang="0">
                  <a:pos x="csX197" y="csY197"/>
                </a:cxn>
                <a:cxn ang="0">
                  <a:pos x="csX198" y="csY198"/>
                </a:cxn>
                <a:cxn ang="0">
                  <a:pos x="csX199" y="csY199"/>
                </a:cxn>
                <a:cxn ang="0">
                  <a:pos x="csX200" y="csY200"/>
                </a:cxn>
                <a:cxn ang="0">
                  <a:pos x="csX201" y="csY201"/>
                </a:cxn>
                <a:cxn ang="0">
                  <a:pos x="csX202" y="csY202"/>
                </a:cxn>
                <a:cxn ang="0">
                  <a:pos x="csX203" y="csY203"/>
                </a:cxn>
                <a:cxn ang="0">
                  <a:pos x="csX204" y="csY204"/>
                </a:cxn>
                <a:cxn ang="0">
                  <a:pos x="csX205" y="csY205"/>
                </a:cxn>
                <a:cxn ang="0">
                  <a:pos x="csX206" y="csY206"/>
                </a:cxn>
                <a:cxn ang="0">
                  <a:pos x="csX207" y="csY207"/>
                </a:cxn>
                <a:cxn ang="0">
                  <a:pos x="csX208" y="csY208"/>
                </a:cxn>
                <a:cxn ang="0">
                  <a:pos x="csX209" y="csY209"/>
                </a:cxn>
                <a:cxn ang="0">
                  <a:pos x="csX210" y="csY210"/>
                </a:cxn>
                <a:cxn ang="0">
                  <a:pos x="csX211" y="csY211"/>
                </a:cxn>
                <a:cxn ang="0">
                  <a:pos x="csX212" y="csY212"/>
                </a:cxn>
                <a:cxn ang="0">
                  <a:pos x="csX213" y="csY213"/>
                </a:cxn>
                <a:cxn ang="0">
                  <a:pos x="csX214" y="csY214"/>
                </a:cxn>
                <a:cxn ang="0">
                  <a:pos x="csX215" y="csY215"/>
                </a:cxn>
                <a:cxn ang="0">
                  <a:pos x="csX216" y="csY216"/>
                </a:cxn>
                <a:cxn ang="0">
                  <a:pos x="csX217" y="csY217"/>
                </a:cxn>
                <a:cxn ang="0">
                  <a:pos x="csX218" y="csY218"/>
                </a:cxn>
                <a:cxn ang="0">
                  <a:pos x="csX219" y="csY219"/>
                </a:cxn>
                <a:cxn ang="0">
                  <a:pos x="csX220" y="csY220"/>
                </a:cxn>
                <a:cxn ang="0">
                  <a:pos x="csX221" y="csY221"/>
                </a:cxn>
                <a:cxn ang="0">
                  <a:pos x="csX222" y="csY222"/>
                </a:cxn>
                <a:cxn ang="0">
                  <a:pos x="csX223" y="csY223"/>
                </a:cxn>
                <a:cxn ang="0">
                  <a:pos x="csX224" y="csY224"/>
                </a:cxn>
                <a:cxn ang="0">
                  <a:pos x="csX225" y="csY225"/>
                </a:cxn>
                <a:cxn ang="0">
                  <a:pos x="csX226" y="csY226"/>
                </a:cxn>
                <a:cxn ang="0">
                  <a:pos x="csX227" y="csY227"/>
                </a:cxn>
                <a:cxn ang="0">
                  <a:pos x="csX228" y="csY228"/>
                </a:cxn>
                <a:cxn ang="0">
                  <a:pos x="csX229" y="csY229"/>
                </a:cxn>
                <a:cxn ang="0">
                  <a:pos x="csX230" y="csY230"/>
                </a:cxn>
                <a:cxn ang="0">
                  <a:pos x="csX231" y="csY231"/>
                </a:cxn>
                <a:cxn ang="0">
                  <a:pos x="csX232" y="csY232"/>
                </a:cxn>
                <a:cxn ang="0">
                  <a:pos x="csX233" y="csY233"/>
                </a:cxn>
                <a:cxn ang="0">
                  <a:pos x="csX234" y="csY234"/>
                </a:cxn>
                <a:cxn ang="0">
                  <a:pos x="csX235" y="csY235"/>
                </a:cxn>
                <a:cxn ang="0">
                  <a:pos x="csX236" y="csY236"/>
                </a:cxn>
                <a:cxn ang="0">
                  <a:pos x="csX237" y="csY237"/>
                </a:cxn>
                <a:cxn ang="0">
                  <a:pos x="csX238" y="csY238"/>
                </a:cxn>
                <a:cxn ang="0">
                  <a:pos x="csX239" y="csY239"/>
                </a:cxn>
                <a:cxn ang="0">
                  <a:pos x="csX240" y="csY240"/>
                </a:cxn>
                <a:cxn ang="0">
                  <a:pos x="csX241" y="csY241"/>
                </a:cxn>
                <a:cxn ang="0">
                  <a:pos x="csX242" y="csY242"/>
                </a:cxn>
                <a:cxn ang="0">
                  <a:pos x="csX243" y="csY243"/>
                </a:cxn>
                <a:cxn ang="0">
                  <a:pos x="csX244" y="csY244"/>
                </a:cxn>
                <a:cxn ang="0">
                  <a:pos x="csX245" y="csY245"/>
                </a:cxn>
                <a:cxn ang="0">
                  <a:pos x="csX246" y="csY246"/>
                </a:cxn>
                <a:cxn ang="0">
                  <a:pos x="csX247" y="csY247"/>
                </a:cxn>
                <a:cxn ang="0">
                  <a:pos x="csX248" y="csY248"/>
                </a:cxn>
                <a:cxn ang="0">
                  <a:pos x="csX249" y="csY249"/>
                </a:cxn>
                <a:cxn ang="0">
                  <a:pos x="csX250" y="csY250"/>
                </a:cxn>
                <a:cxn ang="0">
                  <a:pos x="csX251" y="csY251"/>
                </a:cxn>
                <a:cxn ang="0">
                  <a:pos x="csX252" y="csY252"/>
                </a:cxn>
                <a:cxn ang="0">
                  <a:pos x="csX253" y="csY253"/>
                </a:cxn>
                <a:cxn ang="0">
                  <a:pos x="csX254" y="csY254"/>
                </a:cxn>
                <a:cxn ang="0">
                  <a:pos x="csX255" y="csY255"/>
                </a:cxn>
                <a:cxn ang="0">
                  <a:pos x="csX256" y="csY256"/>
                </a:cxn>
                <a:cxn ang="0">
                  <a:pos x="csX257" y="csY257"/>
                </a:cxn>
                <a:cxn ang="0">
                  <a:pos x="csX258" y="csY258"/>
                </a:cxn>
                <a:cxn ang="0">
                  <a:pos x="csX259" y="csY259"/>
                </a:cxn>
                <a:cxn ang="0">
                  <a:pos x="csX260" y="csY260"/>
                </a:cxn>
                <a:cxn ang="0">
                  <a:pos x="csX261" y="csY261"/>
                </a:cxn>
                <a:cxn ang="0">
                  <a:pos x="csX262" y="csY262"/>
                </a:cxn>
                <a:cxn ang="0">
                  <a:pos x="csX263" y="csY263"/>
                </a:cxn>
                <a:cxn ang="0">
                  <a:pos x="csX264" y="csY264"/>
                </a:cxn>
                <a:cxn ang="0">
                  <a:pos x="csX265" y="csY265"/>
                </a:cxn>
                <a:cxn ang="0">
                  <a:pos x="csX266" y="csY266"/>
                </a:cxn>
                <a:cxn ang="0">
                  <a:pos x="csX267" y="csY267"/>
                </a:cxn>
                <a:cxn ang="0">
                  <a:pos x="csX268" y="csY268"/>
                </a:cxn>
                <a:cxn ang="0">
                  <a:pos x="csX269" y="csY269"/>
                </a:cxn>
                <a:cxn ang="0">
                  <a:pos x="csX270" y="csY270"/>
                </a:cxn>
                <a:cxn ang="0">
                  <a:pos x="csX271" y="csY271"/>
                </a:cxn>
                <a:cxn ang="0">
                  <a:pos x="csX272" y="csY272"/>
                </a:cxn>
                <a:cxn ang="0">
                  <a:pos x="csX273" y="csY273"/>
                </a:cxn>
                <a:cxn ang="0">
                  <a:pos x="csX274" y="csY274"/>
                </a:cxn>
                <a:cxn ang="0">
                  <a:pos x="csX275" y="csY275"/>
                </a:cxn>
                <a:cxn ang="0">
                  <a:pos x="csX276" y="csY276"/>
                </a:cxn>
                <a:cxn ang="0">
                  <a:pos x="csX277" y="csY277"/>
                </a:cxn>
                <a:cxn ang="0">
                  <a:pos x="csX278" y="csY278"/>
                </a:cxn>
                <a:cxn ang="0">
                  <a:pos x="csX279" y="csY279"/>
                </a:cxn>
                <a:cxn ang="0">
                  <a:pos x="csX280" y="csY280"/>
                </a:cxn>
                <a:cxn ang="0">
                  <a:pos x="csX281" y="csY281"/>
                </a:cxn>
                <a:cxn ang="0">
                  <a:pos x="csX282" y="csY282"/>
                </a:cxn>
                <a:cxn ang="0">
                  <a:pos x="csX283" y="csY283"/>
                </a:cxn>
                <a:cxn ang="0">
                  <a:pos x="csX284" y="csY284"/>
                </a:cxn>
                <a:cxn ang="0">
                  <a:pos x="csX285" y="csY285"/>
                </a:cxn>
                <a:cxn ang="0">
                  <a:pos x="csX286" y="csY286"/>
                </a:cxn>
                <a:cxn ang="0">
                  <a:pos x="csX287" y="csY287"/>
                </a:cxn>
                <a:cxn ang="0">
                  <a:pos x="csX288" y="csY288"/>
                </a:cxn>
                <a:cxn ang="0">
                  <a:pos x="csX289" y="csY289"/>
                </a:cxn>
                <a:cxn ang="0">
                  <a:pos x="csX290" y="csY290"/>
                </a:cxn>
                <a:cxn ang="0">
                  <a:pos x="csX291" y="csY291"/>
                </a:cxn>
                <a:cxn ang="0">
                  <a:pos x="csX292" y="csY292"/>
                </a:cxn>
                <a:cxn ang="0">
                  <a:pos x="csX293" y="csY293"/>
                </a:cxn>
                <a:cxn ang="0">
                  <a:pos x="csX294" y="csY294"/>
                </a:cxn>
                <a:cxn ang="0">
                  <a:pos x="csX295" y="csY295"/>
                </a:cxn>
                <a:cxn ang="0">
                  <a:pos x="csX296" y="csY296"/>
                </a:cxn>
                <a:cxn ang="0">
                  <a:pos x="csX297" y="csY297"/>
                </a:cxn>
                <a:cxn ang="0">
                  <a:pos x="csX298" y="csY298"/>
                </a:cxn>
                <a:cxn ang="0">
                  <a:pos x="csX299" y="csY299"/>
                </a:cxn>
                <a:cxn ang="0">
                  <a:pos x="csX300" y="csY300"/>
                </a:cxn>
                <a:cxn ang="0">
                  <a:pos x="csX301" y="csY301"/>
                </a:cxn>
                <a:cxn ang="0">
                  <a:pos x="csX302" y="csY302"/>
                </a:cxn>
                <a:cxn ang="0">
                  <a:pos x="csX303" y="csY303"/>
                </a:cxn>
                <a:cxn ang="0">
                  <a:pos x="csX304" y="csY304"/>
                </a:cxn>
                <a:cxn ang="0">
                  <a:pos x="csX305" y="csY305"/>
                </a:cxn>
                <a:cxn ang="0">
                  <a:pos x="csX306" y="csY306"/>
                </a:cxn>
                <a:cxn ang="0">
                  <a:pos x="csX307" y="csY307"/>
                </a:cxn>
                <a:cxn ang="0">
                  <a:pos x="csX308" y="csY308"/>
                </a:cxn>
                <a:cxn ang="0">
                  <a:pos x="csX309" y="csY309"/>
                </a:cxn>
                <a:cxn ang="0">
                  <a:pos x="csX310" y="csY310"/>
                </a:cxn>
                <a:cxn ang="0">
                  <a:pos x="csX311" y="csY311"/>
                </a:cxn>
                <a:cxn ang="0">
                  <a:pos x="csX312" y="csY312"/>
                </a:cxn>
                <a:cxn ang="0">
                  <a:pos x="csX313" y="csY313"/>
                </a:cxn>
                <a:cxn ang="0">
                  <a:pos x="csX314" y="csY314"/>
                </a:cxn>
                <a:cxn ang="0">
                  <a:pos x="csX315" y="csY315"/>
                </a:cxn>
                <a:cxn ang="0">
                  <a:pos x="csX316" y="csY316"/>
                </a:cxn>
                <a:cxn ang="0">
                  <a:pos x="csX317" y="csY317"/>
                </a:cxn>
                <a:cxn ang="0">
                  <a:pos x="csX318" y="csY318"/>
                </a:cxn>
                <a:cxn ang="0">
                  <a:pos x="csX319" y="csY319"/>
                </a:cxn>
                <a:cxn ang="0">
                  <a:pos x="csX320" y="csY320"/>
                </a:cxn>
              </a:cxnLst>
              <a:rect l="l" t="t" r="r" b="b"/>
              <a:pathLst>
                <a:path w="311517" h="135832">
                  <a:moveTo>
                    <a:pt x="296231" y="-8694"/>
                  </a:moveTo>
                  <a:lnTo>
                    <a:pt x="296231" y="118947"/>
                  </a:lnTo>
                  <a:lnTo>
                    <a:pt x="302595" y="118947"/>
                  </a:lnTo>
                  <a:lnTo>
                    <a:pt x="302595" y="127139"/>
                  </a:lnTo>
                  <a:lnTo>
                    <a:pt x="-8923" y="127139"/>
                  </a:lnTo>
                  <a:lnTo>
                    <a:pt x="-8923" y="118947"/>
                  </a:lnTo>
                  <a:lnTo>
                    <a:pt x="-2559" y="118947"/>
                  </a:lnTo>
                  <a:lnTo>
                    <a:pt x="-2559" y="-8694"/>
                  </a:lnTo>
                  <a:close/>
                  <a:moveTo>
                    <a:pt x="8524" y="35082"/>
                  </a:moveTo>
                  <a:lnTo>
                    <a:pt x="23447" y="35082"/>
                  </a:lnTo>
                  <a:lnTo>
                    <a:pt x="23447" y="16237"/>
                  </a:lnTo>
                  <a:lnTo>
                    <a:pt x="8524" y="16237"/>
                  </a:lnTo>
                  <a:close/>
                  <a:moveTo>
                    <a:pt x="8524" y="92678"/>
                  </a:moveTo>
                  <a:lnTo>
                    <a:pt x="23447" y="92678"/>
                  </a:lnTo>
                  <a:lnTo>
                    <a:pt x="23447" y="73838"/>
                  </a:lnTo>
                  <a:lnTo>
                    <a:pt x="8524" y="73838"/>
                  </a:lnTo>
                  <a:close/>
                  <a:moveTo>
                    <a:pt x="56914" y="73838"/>
                  </a:moveTo>
                  <a:lnTo>
                    <a:pt x="41991" y="73838"/>
                  </a:lnTo>
                  <a:lnTo>
                    <a:pt x="41991" y="92678"/>
                  </a:lnTo>
                  <a:lnTo>
                    <a:pt x="56914" y="92678"/>
                  </a:lnTo>
                  <a:close/>
                  <a:moveTo>
                    <a:pt x="25861" y="37485"/>
                  </a:moveTo>
                  <a:lnTo>
                    <a:pt x="25861" y="51404"/>
                  </a:lnTo>
                  <a:lnTo>
                    <a:pt x="39577" y="51404"/>
                  </a:lnTo>
                  <a:lnTo>
                    <a:pt x="39577" y="37485"/>
                  </a:lnTo>
                  <a:close/>
                  <a:moveTo>
                    <a:pt x="25861" y="71430"/>
                  </a:moveTo>
                  <a:lnTo>
                    <a:pt x="39577" y="71430"/>
                  </a:lnTo>
                  <a:lnTo>
                    <a:pt x="39577" y="60062"/>
                  </a:lnTo>
                  <a:lnTo>
                    <a:pt x="25861" y="60062"/>
                  </a:lnTo>
                  <a:close/>
                  <a:moveTo>
                    <a:pt x="39577" y="73838"/>
                  </a:moveTo>
                  <a:lnTo>
                    <a:pt x="25861" y="73838"/>
                  </a:lnTo>
                  <a:lnTo>
                    <a:pt x="25861" y="92678"/>
                  </a:lnTo>
                  <a:lnTo>
                    <a:pt x="39577" y="92678"/>
                  </a:lnTo>
                  <a:close/>
                  <a:moveTo>
                    <a:pt x="25861" y="35082"/>
                  </a:moveTo>
                  <a:lnTo>
                    <a:pt x="39577" y="35082"/>
                  </a:lnTo>
                  <a:lnTo>
                    <a:pt x="39577" y="16237"/>
                  </a:lnTo>
                  <a:lnTo>
                    <a:pt x="25861" y="16237"/>
                  </a:lnTo>
                  <a:close/>
                  <a:moveTo>
                    <a:pt x="41991" y="37485"/>
                  </a:moveTo>
                  <a:lnTo>
                    <a:pt x="41991" y="51404"/>
                  </a:lnTo>
                  <a:lnTo>
                    <a:pt x="56914" y="51404"/>
                  </a:lnTo>
                  <a:lnTo>
                    <a:pt x="56914" y="37485"/>
                  </a:lnTo>
                  <a:close/>
                  <a:moveTo>
                    <a:pt x="56914" y="60062"/>
                  </a:moveTo>
                  <a:lnTo>
                    <a:pt x="41991" y="60062"/>
                  </a:lnTo>
                  <a:lnTo>
                    <a:pt x="41991" y="71430"/>
                  </a:lnTo>
                  <a:lnTo>
                    <a:pt x="56914" y="71430"/>
                  </a:lnTo>
                  <a:close/>
                  <a:moveTo>
                    <a:pt x="23447" y="71430"/>
                  </a:moveTo>
                  <a:lnTo>
                    <a:pt x="23447" y="60062"/>
                  </a:lnTo>
                  <a:lnTo>
                    <a:pt x="8524" y="60062"/>
                  </a:lnTo>
                  <a:lnTo>
                    <a:pt x="8524" y="71430"/>
                  </a:lnTo>
                  <a:close/>
                  <a:moveTo>
                    <a:pt x="8524" y="51404"/>
                  </a:moveTo>
                  <a:lnTo>
                    <a:pt x="23447" y="51404"/>
                  </a:lnTo>
                  <a:lnTo>
                    <a:pt x="23447" y="37485"/>
                  </a:lnTo>
                  <a:lnTo>
                    <a:pt x="8524" y="37485"/>
                  </a:lnTo>
                  <a:close/>
                  <a:moveTo>
                    <a:pt x="41991" y="16237"/>
                  </a:moveTo>
                  <a:lnTo>
                    <a:pt x="41991" y="35082"/>
                  </a:lnTo>
                  <a:lnTo>
                    <a:pt x="56914" y="35082"/>
                  </a:lnTo>
                  <a:lnTo>
                    <a:pt x="56914" y="16237"/>
                  </a:lnTo>
                  <a:close/>
                  <a:moveTo>
                    <a:pt x="56914" y="95082"/>
                  </a:moveTo>
                  <a:lnTo>
                    <a:pt x="41991" y="95082"/>
                  </a:lnTo>
                  <a:lnTo>
                    <a:pt x="41991" y="109006"/>
                  </a:lnTo>
                  <a:lnTo>
                    <a:pt x="56914" y="109006"/>
                  </a:lnTo>
                  <a:close/>
                  <a:moveTo>
                    <a:pt x="39577" y="95082"/>
                  </a:moveTo>
                  <a:lnTo>
                    <a:pt x="25861" y="95082"/>
                  </a:lnTo>
                  <a:lnTo>
                    <a:pt x="25861" y="109006"/>
                  </a:lnTo>
                  <a:lnTo>
                    <a:pt x="39577" y="109006"/>
                  </a:lnTo>
                  <a:close/>
                  <a:moveTo>
                    <a:pt x="23447" y="95082"/>
                  </a:moveTo>
                  <a:lnTo>
                    <a:pt x="8524" y="95082"/>
                  </a:lnTo>
                  <a:lnTo>
                    <a:pt x="8524" y="109006"/>
                  </a:lnTo>
                  <a:lnTo>
                    <a:pt x="23447" y="109006"/>
                  </a:lnTo>
                  <a:close/>
                  <a:moveTo>
                    <a:pt x="8524" y="2460"/>
                  </a:moveTo>
                  <a:lnTo>
                    <a:pt x="8524" y="13833"/>
                  </a:lnTo>
                  <a:lnTo>
                    <a:pt x="23447" y="13833"/>
                  </a:lnTo>
                  <a:lnTo>
                    <a:pt x="23447" y="2460"/>
                  </a:lnTo>
                  <a:close/>
                  <a:moveTo>
                    <a:pt x="25861" y="2460"/>
                  </a:moveTo>
                  <a:lnTo>
                    <a:pt x="25861" y="13833"/>
                  </a:lnTo>
                  <a:lnTo>
                    <a:pt x="39577" y="13833"/>
                  </a:lnTo>
                  <a:lnTo>
                    <a:pt x="39577" y="2460"/>
                  </a:lnTo>
                  <a:close/>
                  <a:moveTo>
                    <a:pt x="56914" y="2460"/>
                  </a:moveTo>
                  <a:lnTo>
                    <a:pt x="41991" y="2460"/>
                  </a:lnTo>
                  <a:lnTo>
                    <a:pt x="41991" y="13833"/>
                  </a:lnTo>
                  <a:lnTo>
                    <a:pt x="56914" y="13833"/>
                  </a:lnTo>
                  <a:close/>
                  <a:moveTo>
                    <a:pt x="68765" y="34330"/>
                  </a:moveTo>
                  <a:lnTo>
                    <a:pt x="89942" y="34330"/>
                  </a:lnTo>
                  <a:lnTo>
                    <a:pt x="89942" y="20340"/>
                  </a:lnTo>
                  <a:lnTo>
                    <a:pt x="68765" y="20340"/>
                  </a:lnTo>
                  <a:close/>
                  <a:moveTo>
                    <a:pt x="68765" y="91927"/>
                  </a:moveTo>
                  <a:lnTo>
                    <a:pt x="89942" y="91927"/>
                  </a:lnTo>
                  <a:lnTo>
                    <a:pt x="89942" y="77942"/>
                  </a:lnTo>
                  <a:lnTo>
                    <a:pt x="68765" y="77942"/>
                  </a:lnTo>
                  <a:close/>
                  <a:moveTo>
                    <a:pt x="225237" y="77942"/>
                  </a:moveTo>
                  <a:lnTo>
                    <a:pt x="204114" y="77942"/>
                  </a:lnTo>
                  <a:lnTo>
                    <a:pt x="204114" y="91927"/>
                  </a:lnTo>
                  <a:lnTo>
                    <a:pt x="225237" y="91927"/>
                  </a:lnTo>
                  <a:close/>
                  <a:moveTo>
                    <a:pt x="92301" y="75533"/>
                  </a:moveTo>
                  <a:lnTo>
                    <a:pt x="112272" y="75533"/>
                  </a:lnTo>
                  <a:lnTo>
                    <a:pt x="112272" y="60062"/>
                  </a:lnTo>
                  <a:lnTo>
                    <a:pt x="92301" y="60062"/>
                  </a:lnTo>
                  <a:close/>
                  <a:moveTo>
                    <a:pt x="179315" y="60062"/>
                  </a:moveTo>
                  <a:lnTo>
                    <a:pt x="159400" y="60062"/>
                  </a:lnTo>
                  <a:lnTo>
                    <a:pt x="159400" y="75533"/>
                  </a:lnTo>
                  <a:lnTo>
                    <a:pt x="179315" y="75533"/>
                  </a:lnTo>
                  <a:close/>
                  <a:moveTo>
                    <a:pt x="156986" y="60062"/>
                  </a:moveTo>
                  <a:lnTo>
                    <a:pt x="137016" y="60062"/>
                  </a:lnTo>
                  <a:lnTo>
                    <a:pt x="137016" y="75533"/>
                  </a:lnTo>
                  <a:lnTo>
                    <a:pt x="156986" y="75533"/>
                  </a:lnTo>
                  <a:close/>
                  <a:moveTo>
                    <a:pt x="134601" y="60062"/>
                  </a:moveTo>
                  <a:lnTo>
                    <a:pt x="114686" y="60062"/>
                  </a:lnTo>
                  <a:lnTo>
                    <a:pt x="114686" y="75533"/>
                  </a:lnTo>
                  <a:lnTo>
                    <a:pt x="134601" y="75533"/>
                  </a:lnTo>
                  <a:close/>
                  <a:moveTo>
                    <a:pt x="114686" y="51404"/>
                  </a:moveTo>
                  <a:lnTo>
                    <a:pt x="134601" y="51404"/>
                  </a:lnTo>
                  <a:lnTo>
                    <a:pt x="134601" y="36733"/>
                  </a:lnTo>
                  <a:lnTo>
                    <a:pt x="114686" y="36733"/>
                  </a:lnTo>
                  <a:close/>
                  <a:moveTo>
                    <a:pt x="137016" y="51404"/>
                  </a:moveTo>
                  <a:lnTo>
                    <a:pt x="156986" y="51404"/>
                  </a:lnTo>
                  <a:lnTo>
                    <a:pt x="156986" y="36733"/>
                  </a:lnTo>
                  <a:lnTo>
                    <a:pt x="137016" y="36733"/>
                  </a:lnTo>
                  <a:close/>
                  <a:moveTo>
                    <a:pt x="159400" y="51404"/>
                  </a:moveTo>
                  <a:lnTo>
                    <a:pt x="179315" y="51404"/>
                  </a:lnTo>
                  <a:lnTo>
                    <a:pt x="179315" y="36733"/>
                  </a:lnTo>
                  <a:lnTo>
                    <a:pt x="159400" y="36733"/>
                  </a:lnTo>
                  <a:close/>
                  <a:moveTo>
                    <a:pt x="181730" y="75533"/>
                  </a:moveTo>
                  <a:lnTo>
                    <a:pt x="201700" y="75533"/>
                  </a:lnTo>
                  <a:lnTo>
                    <a:pt x="201700" y="60062"/>
                  </a:lnTo>
                  <a:lnTo>
                    <a:pt x="181730" y="60062"/>
                  </a:lnTo>
                  <a:close/>
                  <a:moveTo>
                    <a:pt x="112272" y="51404"/>
                  </a:moveTo>
                  <a:lnTo>
                    <a:pt x="112272" y="36733"/>
                  </a:lnTo>
                  <a:lnTo>
                    <a:pt x="92301" y="36733"/>
                  </a:lnTo>
                  <a:lnTo>
                    <a:pt x="92301" y="51404"/>
                  </a:lnTo>
                  <a:close/>
                  <a:moveTo>
                    <a:pt x="181730" y="36733"/>
                  </a:moveTo>
                  <a:lnTo>
                    <a:pt x="181730" y="51404"/>
                  </a:lnTo>
                  <a:lnTo>
                    <a:pt x="201700" y="51404"/>
                  </a:lnTo>
                  <a:lnTo>
                    <a:pt x="201700" y="36733"/>
                  </a:lnTo>
                  <a:close/>
                  <a:moveTo>
                    <a:pt x="201700" y="77942"/>
                  </a:moveTo>
                  <a:lnTo>
                    <a:pt x="181730" y="77942"/>
                  </a:lnTo>
                  <a:lnTo>
                    <a:pt x="181730" y="91927"/>
                  </a:lnTo>
                  <a:lnTo>
                    <a:pt x="201700" y="91927"/>
                  </a:lnTo>
                  <a:close/>
                  <a:moveTo>
                    <a:pt x="179315" y="77942"/>
                  </a:moveTo>
                  <a:lnTo>
                    <a:pt x="159400" y="77942"/>
                  </a:lnTo>
                  <a:lnTo>
                    <a:pt x="159400" y="91927"/>
                  </a:lnTo>
                  <a:lnTo>
                    <a:pt x="179315" y="91927"/>
                  </a:lnTo>
                  <a:close/>
                  <a:moveTo>
                    <a:pt x="156986" y="77942"/>
                  </a:moveTo>
                  <a:lnTo>
                    <a:pt x="137016" y="77942"/>
                  </a:lnTo>
                  <a:lnTo>
                    <a:pt x="137016" y="91927"/>
                  </a:lnTo>
                  <a:lnTo>
                    <a:pt x="156986" y="91927"/>
                  </a:lnTo>
                  <a:close/>
                  <a:moveTo>
                    <a:pt x="134601" y="77942"/>
                  </a:moveTo>
                  <a:lnTo>
                    <a:pt x="114686" y="77942"/>
                  </a:lnTo>
                  <a:lnTo>
                    <a:pt x="114686" y="91927"/>
                  </a:lnTo>
                  <a:lnTo>
                    <a:pt x="134601" y="91927"/>
                  </a:lnTo>
                  <a:close/>
                  <a:moveTo>
                    <a:pt x="112272" y="77942"/>
                  </a:moveTo>
                  <a:lnTo>
                    <a:pt x="92301" y="77942"/>
                  </a:lnTo>
                  <a:lnTo>
                    <a:pt x="92301" y="91927"/>
                  </a:lnTo>
                  <a:lnTo>
                    <a:pt x="112272" y="91927"/>
                  </a:lnTo>
                  <a:close/>
                  <a:moveTo>
                    <a:pt x="92301" y="34330"/>
                  </a:moveTo>
                  <a:lnTo>
                    <a:pt x="112272" y="34330"/>
                  </a:lnTo>
                  <a:lnTo>
                    <a:pt x="112272" y="20340"/>
                  </a:lnTo>
                  <a:lnTo>
                    <a:pt x="92301" y="20340"/>
                  </a:lnTo>
                  <a:close/>
                  <a:moveTo>
                    <a:pt x="114686" y="34330"/>
                  </a:moveTo>
                  <a:lnTo>
                    <a:pt x="134601" y="34330"/>
                  </a:lnTo>
                  <a:lnTo>
                    <a:pt x="134601" y="20340"/>
                  </a:lnTo>
                  <a:lnTo>
                    <a:pt x="114686" y="20340"/>
                  </a:lnTo>
                  <a:close/>
                  <a:moveTo>
                    <a:pt x="137016" y="34330"/>
                  </a:moveTo>
                  <a:lnTo>
                    <a:pt x="156986" y="34330"/>
                  </a:lnTo>
                  <a:lnTo>
                    <a:pt x="156986" y="20340"/>
                  </a:lnTo>
                  <a:lnTo>
                    <a:pt x="137016" y="20340"/>
                  </a:lnTo>
                  <a:close/>
                  <a:moveTo>
                    <a:pt x="159400" y="34330"/>
                  </a:moveTo>
                  <a:lnTo>
                    <a:pt x="179315" y="34330"/>
                  </a:lnTo>
                  <a:lnTo>
                    <a:pt x="179315" y="20340"/>
                  </a:lnTo>
                  <a:lnTo>
                    <a:pt x="159400" y="20340"/>
                  </a:lnTo>
                  <a:close/>
                  <a:moveTo>
                    <a:pt x="181730" y="34330"/>
                  </a:moveTo>
                  <a:lnTo>
                    <a:pt x="201700" y="34330"/>
                  </a:lnTo>
                  <a:lnTo>
                    <a:pt x="201700" y="20340"/>
                  </a:lnTo>
                  <a:lnTo>
                    <a:pt x="181730" y="20340"/>
                  </a:lnTo>
                  <a:close/>
                  <a:moveTo>
                    <a:pt x="204114" y="36733"/>
                  </a:moveTo>
                  <a:lnTo>
                    <a:pt x="204114" y="51404"/>
                  </a:lnTo>
                  <a:lnTo>
                    <a:pt x="225237" y="51404"/>
                  </a:lnTo>
                  <a:lnTo>
                    <a:pt x="225237" y="36733"/>
                  </a:lnTo>
                  <a:close/>
                  <a:moveTo>
                    <a:pt x="225237" y="60062"/>
                  </a:moveTo>
                  <a:lnTo>
                    <a:pt x="204114" y="60062"/>
                  </a:lnTo>
                  <a:lnTo>
                    <a:pt x="204114" y="75533"/>
                  </a:lnTo>
                  <a:lnTo>
                    <a:pt x="225237" y="75533"/>
                  </a:lnTo>
                  <a:close/>
                  <a:moveTo>
                    <a:pt x="89942" y="75533"/>
                  </a:moveTo>
                  <a:lnTo>
                    <a:pt x="89942" y="60062"/>
                  </a:lnTo>
                  <a:lnTo>
                    <a:pt x="68765" y="60062"/>
                  </a:lnTo>
                  <a:lnTo>
                    <a:pt x="68765" y="75533"/>
                  </a:lnTo>
                  <a:close/>
                  <a:moveTo>
                    <a:pt x="68765" y="51404"/>
                  </a:moveTo>
                  <a:lnTo>
                    <a:pt x="89942" y="51404"/>
                  </a:lnTo>
                  <a:lnTo>
                    <a:pt x="89942" y="36733"/>
                  </a:lnTo>
                  <a:lnTo>
                    <a:pt x="68765" y="36733"/>
                  </a:lnTo>
                  <a:close/>
                  <a:moveTo>
                    <a:pt x="204114" y="20340"/>
                  </a:moveTo>
                  <a:lnTo>
                    <a:pt x="204114" y="34330"/>
                  </a:lnTo>
                  <a:lnTo>
                    <a:pt x="225237" y="34330"/>
                  </a:lnTo>
                  <a:lnTo>
                    <a:pt x="225237" y="20340"/>
                  </a:lnTo>
                  <a:close/>
                  <a:moveTo>
                    <a:pt x="225237" y="94330"/>
                  </a:moveTo>
                  <a:lnTo>
                    <a:pt x="204114" y="94330"/>
                  </a:lnTo>
                  <a:lnTo>
                    <a:pt x="204114" y="109006"/>
                  </a:lnTo>
                  <a:lnTo>
                    <a:pt x="225237" y="109006"/>
                  </a:lnTo>
                  <a:close/>
                  <a:moveTo>
                    <a:pt x="201700" y="94330"/>
                  </a:moveTo>
                  <a:lnTo>
                    <a:pt x="181730" y="94330"/>
                  </a:lnTo>
                  <a:lnTo>
                    <a:pt x="181730" y="109006"/>
                  </a:lnTo>
                  <a:lnTo>
                    <a:pt x="201700" y="109006"/>
                  </a:lnTo>
                  <a:close/>
                  <a:moveTo>
                    <a:pt x="179315" y="94330"/>
                  </a:moveTo>
                  <a:lnTo>
                    <a:pt x="159400" y="94330"/>
                  </a:lnTo>
                  <a:lnTo>
                    <a:pt x="159400" y="109006"/>
                  </a:lnTo>
                  <a:lnTo>
                    <a:pt x="179315" y="109006"/>
                  </a:lnTo>
                  <a:close/>
                  <a:moveTo>
                    <a:pt x="156986" y="94330"/>
                  </a:moveTo>
                  <a:lnTo>
                    <a:pt x="137016" y="94330"/>
                  </a:lnTo>
                  <a:lnTo>
                    <a:pt x="137016" y="109006"/>
                  </a:lnTo>
                  <a:lnTo>
                    <a:pt x="156986" y="109006"/>
                  </a:lnTo>
                  <a:close/>
                  <a:moveTo>
                    <a:pt x="134601" y="94330"/>
                  </a:moveTo>
                  <a:lnTo>
                    <a:pt x="114686" y="94330"/>
                  </a:lnTo>
                  <a:lnTo>
                    <a:pt x="114686" y="109006"/>
                  </a:lnTo>
                  <a:lnTo>
                    <a:pt x="134601" y="109006"/>
                  </a:lnTo>
                  <a:close/>
                  <a:moveTo>
                    <a:pt x="112272" y="94330"/>
                  </a:moveTo>
                  <a:lnTo>
                    <a:pt x="92301" y="94330"/>
                  </a:lnTo>
                  <a:lnTo>
                    <a:pt x="92301" y="109006"/>
                  </a:lnTo>
                  <a:lnTo>
                    <a:pt x="112272" y="109006"/>
                  </a:lnTo>
                  <a:close/>
                  <a:moveTo>
                    <a:pt x="89942" y="94330"/>
                  </a:moveTo>
                  <a:lnTo>
                    <a:pt x="68765" y="94330"/>
                  </a:lnTo>
                  <a:lnTo>
                    <a:pt x="68765" y="109006"/>
                  </a:lnTo>
                  <a:lnTo>
                    <a:pt x="89942" y="109006"/>
                  </a:lnTo>
                  <a:close/>
                  <a:moveTo>
                    <a:pt x="68765" y="2460"/>
                  </a:moveTo>
                  <a:lnTo>
                    <a:pt x="68765" y="17937"/>
                  </a:lnTo>
                  <a:lnTo>
                    <a:pt x="89942" y="17937"/>
                  </a:lnTo>
                  <a:lnTo>
                    <a:pt x="89942" y="2460"/>
                  </a:lnTo>
                  <a:close/>
                  <a:moveTo>
                    <a:pt x="92301" y="2460"/>
                  </a:moveTo>
                  <a:lnTo>
                    <a:pt x="92301" y="17937"/>
                  </a:lnTo>
                  <a:lnTo>
                    <a:pt x="112272" y="17937"/>
                  </a:lnTo>
                  <a:lnTo>
                    <a:pt x="112272" y="2460"/>
                  </a:lnTo>
                  <a:close/>
                  <a:moveTo>
                    <a:pt x="114686" y="2460"/>
                  </a:moveTo>
                  <a:lnTo>
                    <a:pt x="114686" y="17937"/>
                  </a:lnTo>
                  <a:lnTo>
                    <a:pt x="134601" y="17937"/>
                  </a:lnTo>
                  <a:lnTo>
                    <a:pt x="134601" y="2460"/>
                  </a:lnTo>
                  <a:close/>
                  <a:moveTo>
                    <a:pt x="137016" y="2460"/>
                  </a:moveTo>
                  <a:lnTo>
                    <a:pt x="137016" y="17937"/>
                  </a:lnTo>
                  <a:lnTo>
                    <a:pt x="156986" y="17937"/>
                  </a:lnTo>
                  <a:lnTo>
                    <a:pt x="156986" y="2460"/>
                  </a:lnTo>
                  <a:close/>
                  <a:moveTo>
                    <a:pt x="159400" y="2460"/>
                  </a:moveTo>
                  <a:lnTo>
                    <a:pt x="159400" y="17937"/>
                  </a:lnTo>
                  <a:lnTo>
                    <a:pt x="179315" y="17937"/>
                  </a:lnTo>
                  <a:lnTo>
                    <a:pt x="179315" y="2460"/>
                  </a:lnTo>
                  <a:close/>
                  <a:moveTo>
                    <a:pt x="181730" y="2460"/>
                  </a:moveTo>
                  <a:lnTo>
                    <a:pt x="181730" y="17937"/>
                  </a:lnTo>
                  <a:lnTo>
                    <a:pt x="201700" y="17937"/>
                  </a:lnTo>
                  <a:lnTo>
                    <a:pt x="201700" y="2460"/>
                  </a:lnTo>
                  <a:close/>
                  <a:moveTo>
                    <a:pt x="225237" y="2460"/>
                  </a:moveTo>
                  <a:lnTo>
                    <a:pt x="204114" y="2460"/>
                  </a:lnTo>
                  <a:lnTo>
                    <a:pt x="204114" y="17937"/>
                  </a:lnTo>
                  <a:lnTo>
                    <a:pt x="225237" y="17937"/>
                  </a:lnTo>
                  <a:close/>
                  <a:moveTo>
                    <a:pt x="237087" y="35082"/>
                  </a:moveTo>
                  <a:lnTo>
                    <a:pt x="252010" y="35082"/>
                  </a:lnTo>
                  <a:lnTo>
                    <a:pt x="252010" y="16237"/>
                  </a:lnTo>
                  <a:lnTo>
                    <a:pt x="237087" y="16237"/>
                  </a:lnTo>
                  <a:close/>
                  <a:moveTo>
                    <a:pt x="237087" y="92678"/>
                  </a:moveTo>
                  <a:lnTo>
                    <a:pt x="252010" y="92678"/>
                  </a:lnTo>
                  <a:lnTo>
                    <a:pt x="252010" y="73838"/>
                  </a:lnTo>
                  <a:lnTo>
                    <a:pt x="237087" y="73838"/>
                  </a:lnTo>
                  <a:close/>
                  <a:moveTo>
                    <a:pt x="285477" y="73838"/>
                  </a:moveTo>
                  <a:lnTo>
                    <a:pt x="270554" y="73838"/>
                  </a:lnTo>
                  <a:lnTo>
                    <a:pt x="270554" y="92678"/>
                  </a:lnTo>
                  <a:lnTo>
                    <a:pt x="285477" y="92678"/>
                  </a:lnTo>
                  <a:close/>
                  <a:moveTo>
                    <a:pt x="254425" y="37485"/>
                  </a:moveTo>
                  <a:lnTo>
                    <a:pt x="254425" y="51404"/>
                  </a:lnTo>
                  <a:lnTo>
                    <a:pt x="268141" y="51404"/>
                  </a:lnTo>
                  <a:lnTo>
                    <a:pt x="268141" y="37485"/>
                  </a:lnTo>
                  <a:close/>
                  <a:moveTo>
                    <a:pt x="254425" y="71430"/>
                  </a:moveTo>
                  <a:lnTo>
                    <a:pt x="268141" y="71430"/>
                  </a:lnTo>
                  <a:lnTo>
                    <a:pt x="268141" y="60062"/>
                  </a:lnTo>
                  <a:lnTo>
                    <a:pt x="254425" y="60062"/>
                  </a:lnTo>
                  <a:close/>
                  <a:moveTo>
                    <a:pt x="268141" y="73838"/>
                  </a:moveTo>
                  <a:lnTo>
                    <a:pt x="254425" y="73838"/>
                  </a:lnTo>
                  <a:lnTo>
                    <a:pt x="254425" y="92678"/>
                  </a:lnTo>
                  <a:lnTo>
                    <a:pt x="268141" y="92678"/>
                  </a:lnTo>
                  <a:close/>
                  <a:moveTo>
                    <a:pt x="254425" y="35082"/>
                  </a:moveTo>
                  <a:lnTo>
                    <a:pt x="268141" y="35082"/>
                  </a:lnTo>
                  <a:lnTo>
                    <a:pt x="268141" y="16237"/>
                  </a:lnTo>
                  <a:lnTo>
                    <a:pt x="254425" y="16237"/>
                  </a:lnTo>
                  <a:close/>
                  <a:moveTo>
                    <a:pt x="270554" y="37485"/>
                  </a:moveTo>
                  <a:lnTo>
                    <a:pt x="270554" y="51404"/>
                  </a:lnTo>
                  <a:lnTo>
                    <a:pt x="285477" y="51404"/>
                  </a:lnTo>
                  <a:lnTo>
                    <a:pt x="285477" y="37485"/>
                  </a:lnTo>
                  <a:close/>
                  <a:moveTo>
                    <a:pt x="285477" y="60062"/>
                  </a:moveTo>
                  <a:lnTo>
                    <a:pt x="270554" y="60062"/>
                  </a:lnTo>
                  <a:lnTo>
                    <a:pt x="270554" y="71430"/>
                  </a:lnTo>
                  <a:lnTo>
                    <a:pt x="285477" y="71430"/>
                  </a:lnTo>
                  <a:close/>
                  <a:moveTo>
                    <a:pt x="252010" y="71430"/>
                  </a:moveTo>
                  <a:lnTo>
                    <a:pt x="252010" y="60062"/>
                  </a:lnTo>
                  <a:lnTo>
                    <a:pt x="237087" y="60062"/>
                  </a:lnTo>
                  <a:lnTo>
                    <a:pt x="237087" y="71430"/>
                  </a:lnTo>
                  <a:close/>
                  <a:moveTo>
                    <a:pt x="237087" y="51404"/>
                  </a:moveTo>
                  <a:lnTo>
                    <a:pt x="252010" y="51404"/>
                  </a:lnTo>
                  <a:lnTo>
                    <a:pt x="252010" y="37485"/>
                  </a:lnTo>
                  <a:lnTo>
                    <a:pt x="237087" y="37485"/>
                  </a:lnTo>
                  <a:close/>
                  <a:moveTo>
                    <a:pt x="270554" y="16237"/>
                  </a:moveTo>
                  <a:lnTo>
                    <a:pt x="270554" y="35082"/>
                  </a:lnTo>
                  <a:lnTo>
                    <a:pt x="285477" y="35082"/>
                  </a:lnTo>
                  <a:lnTo>
                    <a:pt x="285477" y="16237"/>
                  </a:lnTo>
                  <a:close/>
                  <a:moveTo>
                    <a:pt x="285477" y="95082"/>
                  </a:moveTo>
                  <a:lnTo>
                    <a:pt x="270554" y="95082"/>
                  </a:lnTo>
                  <a:lnTo>
                    <a:pt x="270554" y="109006"/>
                  </a:lnTo>
                  <a:lnTo>
                    <a:pt x="285477" y="109006"/>
                  </a:lnTo>
                  <a:close/>
                  <a:moveTo>
                    <a:pt x="268141" y="95082"/>
                  </a:moveTo>
                  <a:lnTo>
                    <a:pt x="254425" y="95082"/>
                  </a:lnTo>
                  <a:lnTo>
                    <a:pt x="254425" y="109006"/>
                  </a:lnTo>
                  <a:lnTo>
                    <a:pt x="268141" y="109006"/>
                  </a:lnTo>
                  <a:close/>
                  <a:moveTo>
                    <a:pt x="252010" y="95082"/>
                  </a:moveTo>
                  <a:lnTo>
                    <a:pt x="237087" y="95082"/>
                  </a:lnTo>
                  <a:lnTo>
                    <a:pt x="237087" y="109006"/>
                  </a:lnTo>
                  <a:lnTo>
                    <a:pt x="252010" y="109006"/>
                  </a:lnTo>
                  <a:close/>
                  <a:moveTo>
                    <a:pt x="237087" y="2460"/>
                  </a:moveTo>
                  <a:lnTo>
                    <a:pt x="237087" y="13833"/>
                  </a:lnTo>
                  <a:lnTo>
                    <a:pt x="252010" y="13833"/>
                  </a:lnTo>
                  <a:lnTo>
                    <a:pt x="252010" y="2460"/>
                  </a:lnTo>
                  <a:close/>
                  <a:moveTo>
                    <a:pt x="254425" y="2460"/>
                  </a:moveTo>
                  <a:lnTo>
                    <a:pt x="254425" y="13833"/>
                  </a:lnTo>
                  <a:lnTo>
                    <a:pt x="268141" y="13833"/>
                  </a:lnTo>
                  <a:lnTo>
                    <a:pt x="268141" y="2460"/>
                  </a:lnTo>
                  <a:close/>
                  <a:moveTo>
                    <a:pt x="285477" y="2460"/>
                  </a:moveTo>
                  <a:lnTo>
                    <a:pt x="270554" y="2460"/>
                  </a:lnTo>
                  <a:lnTo>
                    <a:pt x="270554" y="13833"/>
                  </a:lnTo>
                  <a:lnTo>
                    <a:pt x="285477" y="13833"/>
                  </a:lnTo>
                  <a:lnTo>
                    <a:pt x="285477" y="2460"/>
                  </a:lnTo>
                </a:path>
              </a:pathLst>
            </a:custGeom>
            <a:grpFill/>
            <a:ln w="548" cap="flat">
              <a:noFill/>
              <a:prstDash val="solid"/>
              <a:miter/>
            </a:ln>
          </p:spPr>
          <p:txBody>
            <a:bodyPr/>
            <a:lstStyle/>
            <a:p>
              <a:endParaRPr lang="en-US"/>
            </a:p>
          </p:txBody>
        </p:sp>
        <p:sp>
          <p:nvSpPr>
            <p:cNvPr id="267" name="Freeform: Shape 266">
              <a:extLst>
                <a:ext uri="{FF2B5EF4-FFF2-40B4-BE49-F238E27FC236}">
                  <a16:creationId xmlns:a16="http://schemas.microsoft.com/office/drawing/2014/main" id="{50793B9D-9D83-3309-5F0D-F7D69D47CBF8}"/>
                </a:ext>
              </a:extLst>
            </p:cNvPr>
            <p:cNvSpPr/>
            <p:nvPr/>
          </p:nvSpPr>
          <p:spPr>
            <a:xfrm flipV="1">
              <a:off x="24076699" y="4394277"/>
              <a:ext cx="18983" cy="12070"/>
            </a:xfrm>
            <a:custGeom>
              <a:avLst/>
              <a:gdLst>
                <a:gd name="csX0" fmla="*/ -8689 w 18983"/>
                <a:gd name="csY0" fmla="*/ -5249 h 12070"/>
                <a:gd name="csX1" fmla="*/ 10294 w 18983"/>
                <a:gd name="csY1" fmla="*/ -5249 h 12070"/>
                <a:gd name="csX2" fmla="*/ 10294 w 18983"/>
                <a:gd name="csY2" fmla="*/ 6822 h 12070"/>
                <a:gd name="csX3" fmla="*/ -8689 w 18983"/>
                <a:gd name="csY3" fmla="*/ 6822 h 12070"/>
                <a:gd name="csX4" fmla="*/ -8689 w 18983"/>
                <a:gd name="csY4" fmla="*/ -5249 h 12070"/>
              </a:gdLst>
              <a:ahLst/>
              <a:cxnLst>
                <a:cxn ang="0">
                  <a:pos x="csX0" y="csY0"/>
                </a:cxn>
                <a:cxn ang="0">
                  <a:pos x="csX1" y="csY1"/>
                </a:cxn>
                <a:cxn ang="0">
                  <a:pos x="csX2" y="csY2"/>
                </a:cxn>
                <a:cxn ang="0">
                  <a:pos x="csX3" y="csY3"/>
                </a:cxn>
                <a:cxn ang="0">
                  <a:pos x="csX4" y="csY4"/>
                </a:cxn>
              </a:cxnLst>
              <a:rect l="l" t="t" r="r" b="b"/>
              <a:pathLst>
                <a:path w="18983" h="12070">
                  <a:moveTo>
                    <a:pt x="-8689" y="-5249"/>
                  </a:moveTo>
                  <a:lnTo>
                    <a:pt x="10294" y="-5249"/>
                  </a:lnTo>
                  <a:lnTo>
                    <a:pt x="10294" y="6822"/>
                  </a:lnTo>
                  <a:lnTo>
                    <a:pt x="-8689" y="6822"/>
                  </a:lnTo>
                  <a:lnTo>
                    <a:pt x="-8689" y="-5249"/>
                  </a:lnTo>
                </a:path>
              </a:pathLst>
            </a:custGeom>
            <a:grpFill/>
            <a:ln w="548" cap="flat">
              <a:noFill/>
              <a:prstDash val="solid"/>
              <a:miter/>
            </a:ln>
          </p:spPr>
          <p:txBody>
            <a:bodyPr/>
            <a:lstStyle/>
            <a:p>
              <a:endParaRPr lang="en-US"/>
            </a:p>
          </p:txBody>
        </p:sp>
        <p:sp>
          <p:nvSpPr>
            <p:cNvPr id="268" name="Freeform: Shape 267">
              <a:extLst>
                <a:ext uri="{FF2B5EF4-FFF2-40B4-BE49-F238E27FC236}">
                  <a16:creationId xmlns:a16="http://schemas.microsoft.com/office/drawing/2014/main" id="{28A46823-561F-02D1-34AE-5C31BCE09B2F}"/>
                </a:ext>
              </a:extLst>
            </p:cNvPr>
            <p:cNvSpPr/>
            <p:nvPr/>
          </p:nvSpPr>
          <p:spPr>
            <a:xfrm flipV="1">
              <a:off x="24076699" y="4408756"/>
              <a:ext cx="18983" cy="12081"/>
            </a:xfrm>
            <a:custGeom>
              <a:avLst/>
              <a:gdLst>
                <a:gd name="csX0" fmla="*/ -8689 w 18983"/>
                <a:gd name="csY0" fmla="*/ -5214 h 12081"/>
                <a:gd name="csX1" fmla="*/ 10294 w 18983"/>
                <a:gd name="csY1" fmla="*/ -5214 h 12081"/>
                <a:gd name="csX2" fmla="*/ 10294 w 18983"/>
                <a:gd name="csY2" fmla="*/ 6867 h 12081"/>
                <a:gd name="csX3" fmla="*/ -8689 w 18983"/>
                <a:gd name="csY3" fmla="*/ 6867 h 12081"/>
                <a:gd name="csX4" fmla="*/ -8689 w 18983"/>
                <a:gd name="csY4" fmla="*/ -5214 h 12081"/>
              </a:gdLst>
              <a:ahLst/>
              <a:cxnLst>
                <a:cxn ang="0">
                  <a:pos x="csX0" y="csY0"/>
                </a:cxn>
                <a:cxn ang="0">
                  <a:pos x="csX1" y="csY1"/>
                </a:cxn>
                <a:cxn ang="0">
                  <a:pos x="csX2" y="csY2"/>
                </a:cxn>
                <a:cxn ang="0">
                  <a:pos x="csX3" y="csY3"/>
                </a:cxn>
                <a:cxn ang="0">
                  <a:pos x="csX4" y="csY4"/>
                </a:cxn>
              </a:cxnLst>
              <a:rect l="l" t="t" r="r" b="b"/>
              <a:pathLst>
                <a:path w="18983" h="12081">
                  <a:moveTo>
                    <a:pt x="-8689" y="-5214"/>
                  </a:moveTo>
                  <a:lnTo>
                    <a:pt x="10294" y="-5214"/>
                  </a:lnTo>
                  <a:lnTo>
                    <a:pt x="10294" y="6867"/>
                  </a:lnTo>
                  <a:lnTo>
                    <a:pt x="-8689" y="6867"/>
                  </a:lnTo>
                  <a:lnTo>
                    <a:pt x="-8689" y="-5214"/>
                  </a:lnTo>
                </a:path>
              </a:pathLst>
            </a:custGeom>
            <a:grpFill/>
            <a:ln w="548" cap="flat">
              <a:noFill/>
              <a:prstDash val="solid"/>
              <a:miter/>
            </a:ln>
          </p:spPr>
          <p:txBody>
            <a:bodyPr/>
            <a:lstStyle/>
            <a:p>
              <a:endParaRPr lang="en-US"/>
            </a:p>
          </p:txBody>
        </p:sp>
        <p:sp>
          <p:nvSpPr>
            <p:cNvPr id="269" name="Freeform: Shape 268">
              <a:extLst>
                <a:ext uri="{FF2B5EF4-FFF2-40B4-BE49-F238E27FC236}">
                  <a16:creationId xmlns:a16="http://schemas.microsoft.com/office/drawing/2014/main" id="{764530F2-A9BF-DE28-A882-C2414A95ADF9}"/>
                </a:ext>
              </a:extLst>
            </p:cNvPr>
            <p:cNvSpPr/>
            <p:nvPr/>
          </p:nvSpPr>
          <p:spPr>
            <a:xfrm flipV="1">
              <a:off x="24076699" y="4453070"/>
              <a:ext cx="18983" cy="12075"/>
            </a:xfrm>
            <a:custGeom>
              <a:avLst/>
              <a:gdLst>
                <a:gd name="csX0" fmla="*/ -8689 w 18983"/>
                <a:gd name="csY0" fmla="*/ -5107 h 12075"/>
                <a:gd name="csX1" fmla="*/ 10294 w 18983"/>
                <a:gd name="csY1" fmla="*/ -5107 h 12075"/>
                <a:gd name="csX2" fmla="*/ 10294 w 18983"/>
                <a:gd name="csY2" fmla="*/ 6968 h 12075"/>
                <a:gd name="csX3" fmla="*/ -8689 w 18983"/>
                <a:gd name="csY3" fmla="*/ 6968 h 12075"/>
                <a:gd name="csX4" fmla="*/ -8689 w 18983"/>
                <a:gd name="csY4" fmla="*/ -5107 h 12075"/>
              </a:gdLst>
              <a:ahLst/>
              <a:cxnLst>
                <a:cxn ang="0">
                  <a:pos x="csX0" y="csY0"/>
                </a:cxn>
                <a:cxn ang="0">
                  <a:pos x="csX1" y="csY1"/>
                </a:cxn>
                <a:cxn ang="0">
                  <a:pos x="csX2" y="csY2"/>
                </a:cxn>
                <a:cxn ang="0">
                  <a:pos x="csX3" y="csY3"/>
                </a:cxn>
                <a:cxn ang="0">
                  <a:pos x="csX4" y="csY4"/>
                </a:cxn>
              </a:cxnLst>
              <a:rect l="l" t="t" r="r" b="b"/>
              <a:pathLst>
                <a:path w="18983" h="12075">
                  <a:moveTo>
                    <a:pt x="-8689" y="-5107"/>
                  </a:moveTo>
                  <a:lnTo>
                    <a:pt x="10294" y="-5107"/>
                  </a:lnTo>
                  <a:lnTo>
                    <a:pt x="10294" y="6968"/>
                  </a:lnTo>
                  <a:lnTo>
                    <a:pt x="-8689" y="6968"/>
                  </a:lnTo>
                  <a:lnTo>
                    <a:pt x="-8689" y="-5107"/>
                  </a:lnTo>
                </a:path>
              </a:pathLst>
            </a:custGeom>
            <a:grpFill/>
            <a:ln w="548" cap="flat">
              <a:noFill/>
              <a:prstDash val="solid"/>
              <a:miter/>
            </a:ln>
          </p:spPr>
          <p:txBody>
            <a:bodyPr/>
            <a:lstStyle/>
            <a:p>
              <a:endParaRPr lang="en-US"/>
            </a:p>
          </p:txBody>
        </p:sp>
        <p:sp>
          <p:nvSpPr>
            <p:cNvPr id="270" name="Freeform: Shape 269">
              <a:extLst>
                <a:ext uri="{FF2B5EF4-FFF2-40B4-BE49-F238E27FC236}">
                  <a16:creationId xmlns:a16="http://schemas.microsoft.com/office/drawing/2014/main" id="{A528AB2D-0B13-1083-ADCB-D0A94546FA93}"/>
                </a:ext>
              </a:extLst>
            </p:cNvPr>
            <p:cNvSpPr/>
            <p:nvPr/>
          </p:nvSpPr>
          <p:spPr>
            <a:xfrm flipV="1">
              <a:off x="24076699" y="4467548"/>
              <a:ext cx="18983" cy="12081"/>
            </a:xfrm>
            <a:custGeom>
              <a:avLst/>
              <a:gdLst>
                <a:gd name="csX0" fmla="*/ -8689 w 18983"/>
                <a:gd name="csY0" fmla="*/ -5072 h 12081"/>
                <a:gd name="csX1" fmla="*/ 10294 w 18983"/>
                <a:gd name="csY1" fmla="*/ -5072 h 12081"/>
                <a:gd name="csX2" fmla="*/ 10294 w 18983"/>
                <a:gd name="csY2" fmla="*/ 7009 h 12081"/>
                <a:gd name="csX3" fmla="*/ -8689 w 18983"/>
                <a:gd name="csY3" fmla="*/ 7009 h 12081"/>
                <a:gd name="csX4" fmla="*/ -8689 w 18983"/>
                <a:gd name="csY4" fmla="*/ -5072 h 12081"/>
              </a:gdLst>
              <a:ahLst/>
              <a:cxnLst>
                <a:cxn ang="0">
                  <a:pos x="csX0" y="csY0"/>
                </a:cxn>
                <a:cxn ang="0">
                  <a:pos x="csX1" y="csY1"/>
                </a:cxn>
                <a:cxn ang="0">
                  <a:pos x="csX2" y="csY2"/>
                </a:cxn>
                <a:cxn ang="0">
                  <a:pos x="csX3" y="csY3"/>
                </a:cxn>
                <a:cxn ang="0">
                  <a:pos x="csX4" y="csY4"/>
                </a:cxn>
              </a:cxnLst>
              <a:rect l="l" t="t" r="r" b="b"/>
              <a:pathLst>
                <a:path w="18983" h="12081">
                  <a:moveTo>
                    <a:pt x="-8689" y="-5072"/>
                  </a:moveTo>
                  <a:lnTo>
                    <a:pt x="10294" y="-5072"/>
                  </a:lnTo>
                  <a:lnTo>
                    <a:pt x="10294" y="7009"/>
                  </a:lnTo>
                  <a:lnTo>
                    <a:pt x="-8689" y="7009"/>
                  </a:lnTo>
                  <a:lnTo>
                    <a:pt x="-8689" y="-5072"/>
                  </a:lnTo>
                </a:path>
              </a:pathLst>
            </a:custGeom>
            <a:grpFill/>
            <a:ln w="548" cap="flat">
              <a:noFill/>
              <a:prstDash val="solid"/>
              <a:miter/>
            </a:ln>
          </p:spPr>
          <p:txBody>
            <a:bodyPr/>
            <a:lstStyle/>
            <a:p>
              <a:endParaRPr lang="en-US"/>
            </a:p>
          </p:txBody>
        </p:sp>
        <p:sp>
          <p:nvSpPr>
            <p:cNvPr id="271" name="Freeform: Shape 270">
              <a:extLst>
                <a:ext uri="{FF2B5EF4-FFF2-40B4-BE49-F238E27FC236}">
                  <a16:creationId xmlns:a16="http://schemas.microsoft.com/office/drawing/2014/main" id="{93C85C1B-4464-B421-A83C-C00ABC4554C0}"/>
                </a:ext>
              </a:extLst>
            </p:cNvPr>
            <p:cNvSpPr/>
            <p:nvPr/>
          </p:nvSpPr>
          <p:spPr>
            <a:xfrm flipV="1">
              <a:off x="24076699" y="4511862"/>
              <a:ext cx="18983" cy="12075"/>
            </a:xfrm>
            <a:custGeom>
              <a:avLst/>
              <a:gdLst>
                <a:gd name="csX0" fmla="*/ -8689 w 18983"/>
                <a:gd name="csY0" fmla="*/ -4966 h 12075"/>
                <a:gd name="csX1" fmla="*/ 10294 w 18983"/>
                <a:gd name="csY1" fmla="*/ -4966 h 12075"/>
                <a:gd name="csX2" fmla="*/ 10294 w 18983"/>
                <a:gd name="csY2" fmla="*/ 7110 h 12075"/>
                <a:gd name="csX3" fmla="*/ -8689 w 18983"/>
                <a:gd name="csY3" fmla="*/ 7110 h 12075"/>
                <a:gd name="csX4" fmla="*/ -8689 w 18983"/>
                <a:gd name="csY4" fmla="*/ -4966 h 12075"/>
              </a:gdLst>
              <a:ahLst/>
              <a:cxnLst>
                <a:cxn ang="0">
                  <a:pos x="csX0" y="csY0"/>
                </a:cxn>
                <a:cxn ang="0">
                  <a:pos x="csX1" y="csY1"/>
                </a:cxn>
                <a:cxn ang="0">
                  <a:pos x="csX2" y="csY2"/>
                </a:cxn>
                <a:cxn ang="0">
                  <a:pos x="csX3" y="csY3"/>
                </a:cxn>
                <a:cxn ang="0">
                  <a:pos x="csX4" y="csY4"/>
                </a:cxn>
              </a:cxnLst>
              <a:rect l="l" t="t" r="r" b="b"/>
              <a:pathLst>
                <a:path w="18983" h="12075">
                  <a:moveTo>
                    <a:pt x="-8689" y="-4966"/>
                  </a:moveTo>
                  <a:lnTo>
                    <a:pt x="10294" y="-4966"/>
                  </a:lnTo>
                  <a:lnTo>
                    <a:pt x="10294" y="7110"/>
                  </a:lnTo>
                  <a:lnTo>
                    <a:pt x="-8689" y="7110"/>
                  </a:lnTo>
                  <a:lnTo>
                    <a:pt x="-8689" y="-4966"/>
                  </a:lnTo>
                </a:path>
              </a:pathLst>
            </a:custGeom>
            <a:grpFill/>
            <a:ln w="548" cap="flat">
              <a:noFill/>
              <a:prstDash val="solid"/>
              <a:miter/>
            </a:ln>
          </p:spPr>
          <p:txBody>
            <a:bodyPr/>
            <a:lstStyle/>
            <a:p>
              <a:endParaRPr lang="en-US"/>
            </a:p>
          </p:txBody>
        </p:sp>
        <p:sp>
          <p:nvSpPr>
            <p:cNvPr id="272" name="Freeform: Shape 271">
              <a:extLst>
                <a:ext uri="{FF2B5EF4-FFF2-40B4-BE49-F238E27FC236}">
                  <a16:creationId xmlns:a16="http://schemas.microsoft.com/office/drawing/2014/main" id="{08E768BA-BDDF-1D67-F7F5-BC385BD48B33}"/>
                </a:ext>
              </a:extLst>
            </p:cNvPr>
            <p:cNvSpPr/>
            <p:nvPr/>
          </p:nvSpPr>
          <p:spPr>
            <a:xfrm flipV="1">
              <a:off x="24076699" y="4526340"/>
              <a:ext cx="18983" cy="12081"/>
            </a:xfrm>
            <a:custGeom>
              <a:avLst/>
              <a:gdLst>
                <a:gd name="csX0" fmla="*/ -8689 w 18983"/>
                <a:gd name="csY0" fmla="*/ -4931 h 12081"/>
                <a:gd name="csX1" fmla="*/ 10294 w 18983"/>
                <a:gd name="csY1" fmla="*/ -4931 h 12081"/>
                <a:gd name="csX2" fmla="*/ 10294 w 18983"/>
                <a:gd name="csY2" fmla="*/ 7150 h 12081"/>
                <a:gd name="csX3" fmla="*/ -8689 w 18983"/>
                <a:gd name="csY3" fmla="*/ 7150 h 12081"/>
                <a:gd name="csX4" fmla="*/ -8689 w 18983"/>
                <a:gd name="csY4" fmla="*/ -4931 h 12081"/>
              </a:gdLst>
              <a:ahLst/>
              <a:cxnLst>
                <a:cxn ang="0">
                  <a:pos x="csX0" y="csY0"/>
                </a:cxn>
                <a:cxn ang="0">
                  <a:pos x="csX1" y="csY1"/>
                </a:cxn>
                <a:cxn ang="0">
                  <a:pos x="csX2" y="csY2"/>
                </a:cxn>
                <a:cxn ang="0">
                  <a:pos x="csX3" y="csY3"/>
                </a:cxn>
                <a:cxn ang="0">
                  <a:pos x="csX4" y="csY4"/>
                </a:cxn>
              </a:cxnLst>
              <a:rect l="l" t="t" r="r" b="b"/>
              <a:pathLst>
                <a:path w="18983" h="12081">
                  <a:moveTo>
                    <a:pt x="-8689" y="-4931"/>
                  </a:moveTo>
                  <a:lnTo>
                    <a:pt x="10294" y="-4931"/>
                  </a:lnTo>
                  <a:lnTo>
                    <a:pt x="10294" y="7150"/>
                  </a:lnTo>
                  <a:lnTo>
                    <a:pt x="-8689" y="7150"/>
                  </a:lnTo>
                  <a:lnTo>
                    <a:pt x="-8689" y="-4931"/>
                  </a:lnTo>
                </a:path>
              </a:pathLst>
            </a:custGeom>
            <a:grpFill/>
            <a:ln w="548" cap="flat">
              <a:noFill/>
              <a:prstDash val="solid"/>
              <a:miter/>
            </a:ln>
          </p:spPr>
          <p:txBody>
            <a:bodyPr/>
            <a:lstStyle/>
            <a:p>
              <a:endParaRPr lang="en-US"/>
            </a:p>
          </p:txBody>
        </p:sp>
        <p:sp>
          <p:nvSpPr>
            <p:cNvPr id="273" name="Freeform: Shape 272">
              <a:extLst>
                <a:ext uri="{FF2B5EF4-FFF2-40B4-BE49-F238E27FC236}">
                  <a16:creationId xmlns:a16="http://schemas.microsoft.com/office/drawing/2014/main" id="{32B51CC2-AF32-DD5B-D6C6-54029AE0B5E2}"/>
                </a:ext>
              </a:extLst>
            </p:cNvPr>
            <p:cNvSpPr/>
            <p:nvPr/>
          </p:nvSpPr>
          <p:spPr>
            <a:xfrm flipV="1">
              <a:off x="24076699" y="4686582"/>
              <a:ext cx="18983" cy="12081"/>
            </a:xfrm>
            <a:custGeom>
              <a:avLst/>
              <a:gdLst>
                <a:gd name="csX0" fmla="*/ -8689 w 18983"/>
                <a:gd name="csY0" fmla="*/ -4545 h 12081"/>
                <a:gd name="csX1" fmla="*/ 10294 w 18983"/>
                <a:gd name="csY1" fmla="*/ -4545 h 12081"/>
                <a:gd name="csX2" fmla="*/ 10294 w 18983"/>
                <a:gd name="csY2" fmla="*/ 7536 h 12081"/>
                <a:gd name="csX3" fmla="*/ -8689 w 18983"/>
                <a:gd name="csY3" fmla="*/ 7536 h 12081"/>
                <a:gd name="csX4" fmla="*/ -8689 w 18983"/>
                <a:gd name="csY4" fmla="*/ -4545 h 12081"/>
              </a:gdLst>
              <a:ahLst/>
              <a:cxnLst>
                <a:cxn ang="0">
                  <a:pos x="csX0" y="csY0"/>
                </a:cxn>
                <a:cxn ang="0">
                  <a:pos x="csX1" y="csY1"/>
                </a:cxn>
                <a:cxn ang="0">
                  <a:pos x="csX2" y="csY2"/>
                </a:cxn>
                <a:cxn ang="0">
                  <a:pos x="csX3" y="csY3"/>
                </a:cxn>
                <a:cxn ang="0">
                  <a:pos x="csX4" y="csY4"/>
                </a:cxn>
              </a:cxnLst>
              <a:rect l="l" t="t" r="r" b="b"/>
              <a:pathLst>
                <a:path w="18983" h="12081">
                  <a:moveTo>
                    <a:pt x="-8689" y="-4545"/>
                  </a:moveTo>
                  <a:lnTo>
                    <a:pt x="10294" y="-4545"/>
                  </a:lnTo>
                  <a:lnTo>
                    <a:pt x="10294" y="7536"/>
                  </a:lnTo>
                  <a:lnTo>
                    <a:pt x="-8689" y="7536"/>
                  </a:lnTo>
                  <a:lnTo>
                    <a:pt x="-8689" y="-4545"/>
                  </a:lnTo>
                </a:path>
              </a:pathLst>
            </a:custGeom>
            <a:grpFill/>
            <a:ln w="548" cap="flat">
              <a:noFill/>
              <a:prstDash val="solid"/>
              <a:miter/>
            </a:ln>
          </p:spPr>
          <p:txBody>
            <a:bodyPr/>
            <a:lstStyle/>
            <a:p>
              <a:endParaRPr lang="en-US"/>
            </a:p>
          </p:txBody>
        </p:sp>
        <p:sp>
          <p:nvSpPr>
            <p:cNvPr id="274" name="Freeform: Shape 273">
              <a:extLst>
                <a:ext uri="{FF2B5EF4-FFF2-40B4-BE49-F238E27FC236}">
                  <a16:creationId xmlns:a16="http://schemas.microsoft.com/office/drawing/2014/main" id="{04F2B966-3CDE-CECA-07E7-FC0F0CBBBBA1}"/>
                </a:ext>
              </a:extLst>
            </p:cNvPr>
            <p:cNvSpPr/>
            <p:nvPr/>
          </p:nvSpPr>
          <p:spPr>
            <a:xfrm flipV="1">
              <a:off x="24076699" y="4701066"/>
              <a:ext cx="18983" cy="12075"/>
            </a:xfrm>
            <a:custGeom>
              <a:avLst/>
              <a:gdLst>
                <a:gd name="csX0" fmla="*/ -8689 w 18983"/>
                <a:gd name="csY0" fmla="*/ -4510 h 12075"/>
                <a:gd name="csX1" fmla="*/ 10294 w 18983"/>
                <a:gd name="csY1" fmla="*/ -4510 h 12075"/>
                <a:gd name="csX2" fmla="*/ 10294 w 18983"/>
                <a:gd name="csY2" fmla="*/ 7565 h 12075"/>
                <a:gd name="csX3" fmla="*/ -8689 w 18983"/>
                <a:gd name="csY3" fmla="*/ 7565 h 12075"/>
                <a:gd name="csX4" fmla="*/ -8689 w 18983"/>
                <a:gd name="csY4" fmla="*/ -4510 h 12075"/>
              </a:gdLst>
              <a:ahLst/>
              <a:cxnLst>
                <a:cxn ang="0">
                  <a:pos x="csX0" y="csY0"/>
                </a:cxn>
                <a:cxn ang="0">
                  <a:pos x="csX1" y="csY1"/>
                </a:cxn>
                <a:cxn ang="0">
                  <a:pos x="csX2" y="csY2"/>
                </a:cxn>
                <a:cxn ang="0">
                  <a:pos x="csX3" y="csY3"/>
                </a:cxn>
                <a:cxn ang="0">
                  <a:pos x="csX4" y="csY4"/>
                </a:cxn>
              </a:cxnLst>
              <a:rect l="l" t="t" r="r" b="b"/>
              <a:pathLst>
                <a:path w="18983" h="12075">
                  <a:moveTo>
                    <a:pt x="-8689" y="-4510"/>
                  </a:moveTo>
                  <a:lnTo>
                    <a:pt x="10294" y="-4510"/>
                  </a:lnTo>
                  <a:lnTo>
                    <a:pt x="10294" y="7565"/>
                  </a:lnTo>
                  <a:lnTo>
                    <a:pt x="-8689" y="7565"/>
                  </a:lnTo>
                  <a:lnTo>
                    <a:pt x="-8689" y="-4510"/>
                  </a:lnTo>
                </a:path>
              </a:pathLst>
            </a:custGeom>
            <a:grpFill/>
            <a:ln w="548" cap="flat">
              <a:noFill/>
              <a:prstDash val="solid"/>
              <a:miter/>
            </a:ln>
          </p:spPr>
          <p:txBody>
            <a:bodyPr/>
            <a:lstStyle/>
            <a:p>
              <a:endParaRPr lang="en-US"/>
            </a:p>
          </p:txBody>
        </p:sp>
        <p:sp>
          <p:nvSpPr>
            <p:cNvPr id="275" name="Freeform: Shape 274">
              <a:extLst>
                <a:ext uri="{FF2B5EF4-FFF2-40B4-BE49-F238E27FC236}">
                  <a16:creationId xmlns:a16="http://schemas.microsoft.com/office/drawing/2014/main" id="{753281B0-8E52-9312-D5BA-4D710145C3AB}"/>
                </a:ext>
              </a:extLst>
            </p:cNvPr>
            <p:cNvSpPr/>
            <p:nvPr/>
          </p:nvSpPr>
          <p:spPr>
            <a:xfrm flipV="1">
              <a:off x="24076699" y="4587848"/>
              <a:ext cx="18983" cy="12668"/>
            </a:xfrm>
            <a:custGeom>
              <a:avLst/>
              <a:gdLst>
                <a:gd name="csX0" fmla="*/ -8689 w 18983"/>
                <a:gd name="csY0" fmla="*/ -4782 h 12668"/>
                <a:gd name="csX1" fmla="*/ 10294 w 18983"/>
                <a:gd name="csY1" fmla="*/ -4782 h 12668"/>
                <a:gd name="csX2" fmla="*/ 10294 w 18983"/>
                <a:gd name="csY2" fmla="*/ 7886 h 12668"/>
                <a:gd name="csX3" fmla="*/ -8689 w 18983"/>
                <a:gd name="csY3" fmla="*/ 7886 h 12668"/>
                <a:gd name="csX4" fmla="*/ -8689 w 18983"/>
                <a:gd name="csY4" fmla="*/ -4782 h 12668"/>
              </a:gdLst>
              <a:ahLst/>
              <a:cxnLst>
                <a:cxn ang="0">
                  <a:pos x="csX0" y="csY0"/>
                </a:cxn>
                <a:cxn ang="0">
                  <a:pos x="csX1" y="csY1"/>
                </a:cxn>
                <a:cxn ang="0">
                  <a:pos x="csX2" y="csY2"/>
                </a:cxn>
                <a:cxn ang="0">
                  <a:pos x="csX3" y="csY3"/>
                </a:cxn>
                <a:cxn ang="0">
                  <a:pos x="csX4" y="csY4"/>
                </a:cxn>
              </a:cxnLst>
              <a:rect l="l" t="t" r="r" b="b"/>
              <a:pathLst>
                <a:path w="18983" h="12668">
                  <a:moveTo>
                    <a:pt x="-8689" y="-4782"/>
                  </a:moveTo>
                  <a:lnTo>
                    <a:pt x="10294" y="-4782"/>
                  </a:lnTo>
                  <a:lnTo>
                    <a:pt x="10294" y="7886"/>
                  </a:lnTo>
                  <a:lnTo>
                    <a:pt x="-8689" y="7886"/>
                  </a:lnTo>
                  <a:lnTo>
                    <a:pt x="-8689" y="-4782"/>
                  </a:lnTo>
                </a:path>
              </a:pathLst>
            </a:custGeom>
            <a:grpFill/>
            <a:ln w="548" cap="flat">
              <a:noFill/>
              <a:prstDash val="solid"/>
              <a:miter/>
            </a:ln>
          </p:spPr>
          <p:txBody>
            <a:bodyPr/>
            <a:lstStyle/>
            <a:p>
              <a:endParaRPr lang="en-US"/>
            </a:p>
          </p:txBody>
        </p:sp>
        <p:sp>
          <p:nvSpPr>
            <p:cNvPr id="276" name="Freeform: Shape 275">
              <a:extLst>
                <a:ext uri="{FF2B5EF4-FFF2-40B4-BE49-F238E27FC236}">
                  <a16:creationId xmlns:a16="http://schemas.microsoft.com/office/drawing/2014/main" id="{5CBAEBDE-7455-DEB3-938D-C2DA5BFE68A4}"/>
                </a:ext>
              </a:extLst>
            </p:cNvPr>
            <p:cNvSpPr/>
            <p:nvPr/>
          </p:nvSpPr>
          <p:spPr>
            <a:xfrm flipV="1">
              <a:off x="24076699" y="4618002"/>
              <a:ext cx="18983" cy="12668"/>
            </a:xfrm>
            <a:custGeom>
              <a:avLst/>
              <a:gdLst>
                <a:gd name="csX0" fmla="*/ -8689 w 18983"/>
                <a:gd name="csY0" fmla="*/ -4710 h 12668"/>
                <a:gd name="csX1" fmla="*/ 10294 w 18983"/>
                <a:gd name="csY1" fmla="*/ -4710 h 12668"/>
                <a:gd name="csX2" fmla="*/ 10294 w 18983"/>
                <a:gd name="csY2" fmla="*/ 7959 h 12668"/>
                <a:gd name="csX3" fmla="*/ -8689 w 18983"/>
                <a:gd name="csY3" fmla="*/ 7959 h 12668"/>
                <a:gd name="csX4" fmla="*/ -8689 w 18983"/>
                <a:gd name="csY4" fmla="*/ -4710 h 12668"/>
              </a:gdLst>
              <a:ahLst/>
              <a:cxnLst>
                <a:cxn ang="0">
                  <a:pos x="csX0" y="csY0"/>
                </a:cxn>
                <a:cxn ang="0">
                  <a:pos x="csX1" y="csY1"/>
                </a:cxn>
                <a:cxn ang="0">
                  <a:pos x="csX2" y="csY2"/>
                </a:cxn>
                <a:cxn ang="0">
                  <a:pos x="csX3" y="csY3"/>
                </a:cxn>
                <a:cxn ang="0">
                  <a:pos x="csX4" y="csY4"/>
                </a:cxn>
              </a:cxnLst>
              <a:rect l="l" t="t" r="r" b="b"/>
              <a:pathLst>
                <a:path w="18983" h="12668">
                  <a:moveTo>
                    <a:pt x="-8689" y="-4710"/>
                  </a:moveTo>
                  <a:lnTo>
                    <a:pt x="10294" y="-4710"/>
                  </a:lnTo>
                  <a:lnTo>
                    <a:pt x="10294" y="7959"/>
                  </a:lnTo>
                  <a:lnTo>
                    <a:pt x="-8689" y="7959"/>
                  </a:lnTo>
                  <a:lnTo>
                    <a:pt x="-8689" y="-4710"/>
                  </a:lnTo>
                </a:path>
              </a:pathLst>
            </a:custGeom>
            <a:grpFill/>
            <a:ln w="548" cap="flat">
              <a:noFill/>
              <a:prstDash val="solid"/>
              <a:miter/>
            </a:ln>
          </p:spPr>
          <p:txBody>
            <a:bodyPr/>
            <a:lstStyle/>
            <a:p>
              <a:endParaRPr lang="en-US"/>
            </a:p>
          </p:txBody>
        </p:sp>
        <p:sp>
          <p:nvSpPr>
            <p:cNvPr id="277" name="Freeform: Shape 276">
              <a:extLst>
                <a:ext uri="{FF2B5EF4-FFF2-40B4-BE49-F238E27FC236}">
                  <a16:creationId xmlns:a16="http://schemas.microsoft.com/office/drawing/2014/main" id="{B779B607-E4DA-2DE8-5AC3-FD8A9C854BE5}"/>
                </a:ext>
              </a:extLst>
            </p:cNvPr>
            <p:cNvSpPr/>
            <p:nvPr/>
          </p:nvSpPr>
          <p:spPr>
            <a:xfrm flipV="1">
              <a:off x="24076699" y="4602925"/>
              <a:ext cx="18983" cy="12668"/>
            </a:xfrm>
            <a:custGeom>
              <a:avLst/>
              <a:gdLst>
                <a:gd name="csX0" fmla="*/ -8689 w 18983"/>
                <a:gd name="csY0" fmla="*/ -4746 h 12668"/>
                <a:gd name="csX1" fmla="*/ 10294 w 18983"/>
                <a:gd name="csY1" fmla="*/ -4746 h 12668"/>
                <a:gd name="csX2" fmla="*/ 10294 w 18983"/>
                <a:gd name="csY2" fmla="*/ 7922 h 12668"/>
                <a:gd name="csX3" fmla="*/ -8689 w 18983"/>
                <a:gd name="csY3" fmla="*/ 7922 h 12668"/>
                <a:gd name="csX4" fmla="*/ -8689 w 18983"/>
                <a:gd name="csY4" fmla="*/ -4746 h 12668"/>
              </a:gdLst>
              <a:ahLst/>
              <a:cxnLst>
                <a:cxn ang="0">
                  <a:pos x="csX0" y="csY0"/>
                </a:cxn>
                <a:cxn ang="0">
                  <a:pos x="csX1" y="csY1"/>
                </a:cxn>
                <a:cxn ang="0">
                  <a:pos x="csX2" y="csY2"/>
                </a:cxn>
                <a:cxn ang="0">
                  <a:pos x="csX3" y="csY3"/>
                </a:cxn>
                <a:cxn ang="0">
                  <a:pos x="csX4" y="csY4"/>
                </a:cxn>
              </a:cxnLst>
              <a:rect l="l" t="t" r="r" b="b"/>
              <a:pathLst>
                <a:path w="18983" h="12668">
                  <a:moveTo>
                    <a:pt x="-8689" y="-4746"/>
                  </a:moveTo>
                  <a:lnTo>
                    <a:pt x="10294" y="-4746"/>
                  </a:lnTo>
                  <a:lnTo>
                    <a:pt x="10294" y="7922"/>
                  </a:lnTo>
                  <a:lnTo>
                    <a:pt x="-8689" y="7922"/>
                  </a:lnTo>
                  <a:lnTo>
                    <a:pt x="-8689" y="-4746"/>
                  </a:lnTo>
                </a:path>
              </a:pathLst>
            </a:custGeom>
            <a:grpFill/>
            <a:ln w="548" cap="flat">
              <a:noFill/>
              <a:prstDash val="solid"/>
              <a:miter/>
            </a:ln>
          </p:spPr>
          <p:txBody>
            <a:bodyPr/>
            <a:lstStyle/>
            <a:p>
              <a:endParaRPr lang="en-US"/>
            </a:p>
          </p:txBody>
        </p:sp>
        <p:sp>
          <p:nvSpPr>
            <p:cNvPr id="278" name="Freeform: Shape 277">
              <a:extLst>
                <a:ext uri="{FF2B5EF4-FFF2-40B4-BE49-F238E27FC236}">
                  <a16:creationId xmlns:a16="http://schemas.microsoft.com/office/drawing/2014/main" id="{882AA36F-8D16-0927-B077-D57A97CD14E4}"/>
                </a:ext>
              </a:extLst>
            </p:cNvPr>
            <p:cNvSpPr/>
            <p:nvPr/>
          </p:nvSpPr>
          <p:spPr>
            <a:xfrm flipV="1">
              <a:off x="24076699" y="4633073"/>
              <a:ext cx="18983" cy="12673"/>
            </a:xfrm>
            <a:custGeom>
              <a:avLst/>
              <a:gdLst>
                <a:gd name="csX0" fmla="*/ -8689 w 18983"/>
                <a:gd name="csY0" fmla="*/ -4673 h 12673"/>
                <a:gd name="csX1" fmla="*/ 10294 w 18983"/>
                <a:gd name="csY1" fmla="*/ -4673 h 12673"/>
                <a:gd name="csX2" fmla="*/ 10294 w 18983"/>
                <a:gd name="csY2" fmla="*/ 8000 h 12673"/>
                <a:gd name="csX3" fmla="*/ -8689 w 18983"/>
                <a:gd name="csY3" fmla="*/ 8000 h 12673"/>
                <a:gd name="csX4" fmla="*/ -8689 w 18983"/>
                <a:gd name="csY4" fmla="*/ -4673 h 12673"/>
              </a:gdLst>
              <a:ahLst/>
              <a:cxnLst>
                <a:cxn ang="0">
                  <a:pos x="csX0" y="csY0"/>
                </a:cxn>
                <a:cxn ang="0">
                  <a:pos x="csX1" y="csY1"/>
                </a:cxn>
                <a:cxn ang="0">
                  <a:pos x="csX2" y="csY2"/>
                </a:cxn>
                <a:cxn ang="0">
                  <a:pos x="csX3" y="csY3"/>
                </a:cxn>
                <a:cxn ang="0">
                  <a:pos x="csX4" y="csY4"/>
                </a:cxn>
              </a:cxnLst>
              <a:rect l="l" t="t" r="r" b="b"/>
              <a:pathLst>
                <a:path w="18983" h="12673">
                  <a:moveTo>
                    <a:pt x="-8689" y="-4673"/>
                  </a:moveTo>
                  <a:lnTo>
                    <a:pt x="10294" y="-4673"/>
                  </a:lnTo>
                  <a:lnTo>
                    <a:pt x="10294" y="8000"/>
                  </a:lnTo>
                  <a:lnTo>
                    <a:pt x="-8689" y="8000"/>
                  </a:lnTo>
                  <a:lnTo>
                    <a:pt x="-8689" y="-4673"/>
                  </a:lnTo>
                </a:path>
              </a:pathLst>
            </a:custGeom>
            <a:grpFill/>
            <a:ln w="548" cap="flat">
              <a:noFill/>
              <a:prstDash val="solid"/>
              <a:miter/>
            </a:ln>
          </p:spPr>
          <p:txBody>
            <a:bodyPr/>
            <a:lstStyle/>
            <a:p>
              <a:endParaRPr lang="en-US"/>
            </a:p>
          </p:txBody>
        </p:sp>
        <p:sp>
          <p:nvSpPr>
            <p:cNvPr id="279" name="Freeform: Shape 278">
              <a:extLst>
                <a:ext uri="{FF2B5EF4-FFF2-40B4-BE49-F238E27FC236}">
                  <a16:creationId xmlns:a16="http://schemas.microsoft.com/office/drawing/2014/main" id="{C62D3536-3952-AEDC-379D-C15C607A6223}"/>
                </a:ext>
              </a:extLst>
            </p:cNvPr>
            <p:cNvSpPr/>
            <p:nvPr/>
          </p:nvSpPr>
          <p:spPr>
            <a:xfrm flipV="1">
              <a:off x="24076699" y="4570654"/>
              <a:ext cx="18983" cy="14785"/>
            </a:xfrm>
            <a:custGeom>
              <a:avLst/>
              <a:gdLst>
                <a:gd name="csX0" fmla="*/ -8689 w 18983"/>
                <a:gd name="csY0" fmla="*/ -4821 h 14785"/>
                <a:gd name="csX1" fmla="*/ 10294 w 18983"/>
                <a:gd name="csY1" fmla="*/ -4821 h 14785"/>
                <a:gd name="csX2" fmla="*/ 10294 w 18983"/>
                <a:gd name="csY2" fmla="*/ 9965 h 14785"/>
                <a:gd name="csX3" fmla="*/ -8689 w 18983"/>
                <a:gd name="csY3" fmla="*/ 9965 h 14785"/>
                <a:gd name="csX4" fmla="*/ -8689 w 18983"/>
                <a:gd name="csY4" fmla="*/ -4821 h 14785"/>
              </a:gdLst>
              <a:ahLst/>
              <a:cxnLst>
                <a:cxn ang="0">
                  <a:pos x="csX0" y="csY0"/>
                </a:cxn>
                <a:cxn ang="0">
                  <a:pos x="csX1" y="csY1"/>
                </a:cxn>
                <a:cxn ang="0">
                  <a:pos x="csX2" y="csY2"/>
                </a:cxn>
                <a:cxn ang="0">
                  <a:pos x="csX3" y="csY3"/>
                </a:cxn>
                <a:cxn ang="0">
                  <a:pos x="csX4" y="csY4"/>
                </a:cxn>
              </a:cxnLst>
              <a:rect l="l" t="t" r="r" b="b"/>
              <a:pathLst>
                <a:path w="18983" h="14785">
                  <a:moveTo>
                    <a:pt x="-8689" y="-4821"/>
                  </a:moveTo>
                  <a:lnTo>
                    <a:pt x="10294" y="-4821"/>
                  </a:lnTo>
                  <a:lnTo>
                    <a:pt x="10294" y="9965"/>
                  </a:lnTo>
                  <a:lnTo>
                    <a:pt x="-8689" y="9965"/>
                  </a:lnTo>
                  <a:lnTo>
                    <a:pt x="-8689" y="-4821"/>
                  </a:lnTo>
                </a:path>
              </a:pathLst>
            </a:custGeom>
            <a:grpFill/>
            <a:ln w="548" cap="flat">
              <a:noFill/>
              <a:prstDash val="solid"/>
              <a:miter/>
            </a:ln>
          </p:spPr>
          <p:txBody>
            <a:bodyPr/>
            <a:lstStyle/>
            <a:p>
              <a:endParaRPr lang="en-US"/>
            </a:p>
          </p:txBody>
        </p:sp>
        <p:sp>
          <p:nvSpPr>
            <p:cNvPr id="280" name="Freeform: Shape 279">
              <a:extLst>
                <a:ext uri="{FF2B5EF4-FFF2-40B4-BE49-F238E27FC236}">
                  <a16:creationId xmlns:a16="http://schemas.microsoft.com/office/drawing/2014/main" id="{CCAC6021-D99C-D58A-F425-0DAD388D24E7}"/>
                </a:ext>
              </a:extLst>
            </p:cNvPr>
            <p:cNvSpPr/>
            <p:nvPr/>
          </p:nvSpPr>
          <p:spPr>
            <a:xfrm flipV="1">
              <a:off x="24076699" y="4648149"/>
              <a:ext cx="18983" cy="14774"/>
            </a:xfrm>
            <a:custGeom>
              <a:avLst/>
              <a:gdLst>
                <a:gd name="csX0" fmla="*/ -8689 w 18983"/>
                <a:gd name="csY0" fmla="*/ -4634 h 14774"/>
                <a:gd name="csX1" fmla="*/ 10294 w 18983"/>
                <a:gd name="csY1" fmla="*/ -4634 h 14774"/>
                <a:gd name="csX2" fmla="*/ 10294 w 18983"/>
                <a:gd name="csY2" fmla="*/ 10140 h 14774"/>
                <a:gd name="csX3" fmla="*/ -8689 w 18983"/>
                <a:gd name="csY3" fmla="*/ 10140 h 14774"/>
                <a:gd name="csX4" fmla="*/ -8689 w 18983"/>
                <a:gd name="csY4" fmla="*/ -4634 h 14774"/>
              </a:gdLst>
              <a:ahLst/>
              <a:cxnLst>
                <a:cxn ang="0">
                  <a:pos x="csX0" y="csY0"/>
                </a:cxn>
                <a:cxn ang="0">
                  <a:pos x="csX1" y="csY1"/>
                </a:cxn>
                <a:cxn ang="0">
                  <a:pos x="csX2" y="csY2"/>
                </a:cxn>
                <a:cxn ang="0">
                  <a:pos x="csX3" y="csY3"/>
                </a:cxn>
                <a:cxn ang="0">
                  <a:pos x="csX4" y="csY4"/>
                </a:cxn>
              </a:cxnLst>
              <a:rect l="l" t="t" r="r" b="b"/>
              <a:pathLst>
                <a:path w="18983" h="14774">
                  <a:moveTo>
                    <a:pt x="-8689" y="-4634"/>
                  </a:moveTo>
                  <a:lnTo>
                    <a:pt x="10294" y="-4634"/>
                  </a:lnTo>
                  <a:lnTo>
                    <a:pt x="10294" y="10140"/>
                  </a:lnTo>
                  <a:lnTo>
                    <a:pt x="-8689" y="10140"/>
                  </a:lnTo>
                  <a:lnTo>
                    <a:pt x="-8689" y="-4634"/>
                  </a:lnTo>
                </a:path>
              </a:pathLst>
            </a:custGeom>
            <a:grpFill/>
            <a:ln w="548" cap="flat">
              <a:noFill/>
              <a:prstDash val="solid"/>
              <a:miter/>
            </a:ln>
          </p:spPr>
          <p:txBody>
            <a:bodyPr/>
            <a:lstStyle/>
            <a:p>
              <a:endParaRPr lang="en-US"/>
            </a:p>
          </p:txBody>
        </p:sp>
        <p:sp>
          <p:nvSpPr>
            <p:cNvPr id="281" name="Freeform: Shape 280">
              <a:extLst>
                <a:ext uri="{FF2B5EF4-FFF2-40B4-BE49-F238E27FC236}">
                  <a16:creationId xmlns:a16="http://schemas.microsoft.com/office/drawing/2014/main" id="{0475A07D-AD98-860C-9962-B57C518A8FD0}"/>
                </a:ext>
              </a:extLst>
            </p:cNvPr>
            <p:cNvSpPr/>
            <p:nvPr/>
          </p:nvSpPr>
          <p:spPr>
            <a:xfrm flipV="1">
              <a:off x="24133318" y="4394277"/>
              <a:ext cx="18982" cy="12070"/>
            </a:xfrm>
            <a:custGeom>
              <a:avLst/>
              <a:gdLst>
                <a:gd name="csX0" fmla="*/ -8759 w 18982"/>
                <a:gd name="csY0" fmla="*/ -5249 h 12070"/>
                <a:gd name="csX1" fmla="*/ 10224 w 18982"/>
                <a:gd name="csY1" fmla="*/ -5249 h 12070"/>
                <a:gd name="csX2" fmla="*/ 10224 w 18982"/>
                <a:gd name="csY2" fmla="*/ 6822 h 12070"/>
                <a:gd name="csX3" fmla="*/ -8759 w 18982"/>
                <a:gd name="csY3" fmla="*/ 6822 h 12070"/>
                <a:gd name="csX4" fmla="*/ -8759 w 18982"/>
                <a:gd name="csY4" fmla="*/ -5249 h 12070"/>
              </a:gdLst>
              <a:ahLst/>
              <a:cxnLst>
                <a:cxn ang="0">
                  <a:pos x="csX0" y="csY0"/>
                </a:cxn>
                <a:cxn ang="0">
                  <a:pos x="csX1" y="csY1"/>
                </a:cxn>
                <a:cxn ang="0">
                  <a:pos x="csX2" y="csY2"/>
                </a:cxn>
                <a:cxn ang="0">
                  <a:pos x="csX3" y="csY3"/>
                </a:cxn>
                <a:cxn ang="0">
                  <a:pos x="csX4" y="csY4"/>
                </a:cxn>
              </a:cxnLst>
              <a:rect l="l" t="t" r="r" b="b"/>
              <a:pathLst>
                <a:path w="18982" h="12070">
                  <a:moveTo>
                    <a:pt x="-8759" y="-5249"/>
                  </a:moveTo>
                  <a:lnTo>
                    <a:pt x="10224" y="-5249"/>
                  </a:lnTo>
                  <a:lnTo>
                    <a:pt x="10224" y="6822"/>
                  </a:lnTo>
                  <a:lnTo>
                    <a:pt x="-8759" y="6822"/>
                  </a:lnTo>
                  <a:lnTo>
                    <a:pt x="-8759" y="-5249"/>
                  </a:lnTo>
                </a:path>
              </a:pathLst>
            </a:custGeom>
            <a:grpFill/>
            <a:ln w="548" cap="flat">
              <a:noFill/>
              <a:prstDash val="solid"/>
              <a:miter/>
            </a:ln>
          </p:spPr>
          <p:txBody>
            <a:bodyPr/>
            <a:lstStyle/>
            <a:p>
              <a:endParaRPr lang="en-US"/>
            </a:p>
          </p:txBody>
        </p:sp>
        <p:sp>
          <p:nvSpPr>
            <p:cNvPr id="282" name="Freeform: Shape 281">
              <a:extLst>
                <a:ext uri="{FF2B5EF4-FFF2-40B4-BE49-F238E27FC236}">
                  <a16:creationId xmlns:a16="http://schemas.microsoft.com/office/drawing/2014/main" id="{D0450F87-7C87-EC8E-FB8C-D93087D0A2FB}"/>
                </a:ext>
              </a:extLst>
            </p:cNvPr>
            <p:cNvSpPr/>
            <p:nvPr/>
          </p:nvSpPr>
          <p:spPr>
            <a:xfrm flipV="1">
              <a:off x="24133318" y="4408756"/>
              <a:ext cx="18982" cy="12081"/>
            </a:xfrm>
            <a:custGeom>
              <a:avLst/>
              <a:gdLst>
                <a:gd name="csX0" fmla="*/ -8759 w 18982"/>
                <a:gd name="csY0" fmla="*/ -5214 h 12081"/>
                <a:gd name="csX1" fmla="*/ 10224 w 18982"/>
                <a:gd name="csY1" fmla="*/ -5214 h 12081"/>
                <a:gd name="csX2" fmla="*/ 10224 w 18982"/>
                <a:gd name="csY2" fmla="*/ 6867 h 12081"/>
                <a:gd name="csX3" fmla="*/ -8759 w 18982"/>
                <a:gd name="csY3" fmla="*/ 6867 h 12081"/>
                <a:gd name="csX4" fmla="*/ -8759 w 18982"/>
                <a:gd name="csY4" fmla="*/ -5214 h 12081"/>
              </a:gdLst>
              <a:ahLst/>
              <a:cxnLst>
                <a:cxn ang="0">
                  <a:pos x="csX0" y="csY0"/>
                </a:cxn>
                <a:cxn ang="0">
                  <a:pos x="csX1" y="csY1"/>
                </a:cxn>
                <a:cxn ang="0">
                  <a:pos x="csX2" y="csY2"/>
                </a:cxn>
                <a:cxn ang="0">
                  <a:pos x="csX3" y="csY3"/>
                </a:cxn>
                <a:cxn ang="0">
                  <a:pos x="csX4" y="csY4"/>
                </a:cxn>
              </a:cxnLst>
              <a:rect l="l" t="t" r="r" b="b"/>
              <a:pathLst>
                <a:path w="18982" h="12081">
                  <a:moveTo>
                    <a:pt x="-8759" y="-5214"/>
                  </a:moveTo>
                  <a:lnTo>
                    <a:pt x="10224" y="-5214"/>
                  </a:lnTo>
                  <a:lnTo>
                    <a:pt x="10224" y="6867"/>
                  </a:lnTo>
                  <a:lnTo>
                    <a:pt x="-8759" y="6867"/>
                  </a:lnTo>
                  <a:lnTo>
                    <a:pt x="-8759" y="-5214"/>
                  </a:lnTo>
                </a:path>
              </a:pathLst>
            </a:custGeom>
            <a:grpFill/>
            <a:ln w="548" cap="flat">
              <a:noFill/>
              <a:prstDash val="solid"/>
              <a:miter/>
            </a:ln>
          </p:spPr>
          <p:txBody>
            <a:bodyPr/>
            <a:lstStyle/>
            <a:p>
              <a:endParaRPr lang="en-US"/>
            </a:p>
          </p:txBody>
        </p:sp>
        <p:sp>
          <p:nvSpPr>
            <p:cNvPr id="283" name="Freeform: Shape 282">
              <a:extLst>
                <a:ext uri="{FF2B5EF4-FFF2-40B4-BE49-F238E27FC236}">
                  <a16:creationId xmlns:a16="http://schemas.microsoft.com/office/drawing/2014/main" id="{DA72EB6D-4FDE-4AA7-9644-1D2EF9833AF7}"/>
                </a:ext>
              </a:extLst>
            </p:cNvPr>
            <p:cNvSpPr/>
            <p:nvPr/>
          </p:nvSpPr>
          <p:spPr>
            <a:xfrm flipV="1">
              <a:off x="24133318" y="4453070"/>
              <a:ext cx="18982" cy="12075"/>
            </a:xfrm>
            <a:custGeom>
              <a:avLst/>
              <a:gdLst>
                <a:gd name="csX0" fmla="*/ -8759 w 18982"/>
                <a:gd name="csY0" fmla="*/ -5107 h 12075"/>
                <a:gd name="csX1" fmla="*/ 10224 w 18982"/>
                <a:gd name="csY1" fmla="*/ -5107 h 12075"/>
                <a:gd name="csX2" fmla="*/ 10224 w 18982"/>
                <a:gd name="csY2" fmla="*/ 6968 h 12075"/>
                <a:gd name="csX3" fmla="*/ -8759 w 18982"/>
                <a:gd name="csY3" fmla="*/ 6968 h 12075"/>
                <a:gd name="csX4" fmla="*/ -8759 w 18982"/>
                <a:gd name="csY4" fmla="*/ -5107 h 12075"/>
              </a:gdLst>
              <a:ahLst/>
              <a:cxnLst>
                <a:cxn ang="0">
                  <a:pos x="csX0" y="csY0"/>
                </a:cxn>
                <a:cxn ang="0">
                  <a:pos x="csX1" y="csY1"/>
                </a:cxn>
                <a:cxn ang="0">
                  <a:pos x="csX2" y="csY2"/>
                </a:cxn>
                <a:cxn ang="0">
                  <a:pos x="csX3" y="csY3"/>
                </a:cxn>
                <a:cxn ang="0">
                  <a:pos x="csX4" y="csY4"/>
                </a:cxn>
              </a:cxnLst>
              <a:rect l="l" t="t" r="r" b="b"/>
              <a:pathLst>
                <a:path w="18982" h="12075">
                  <a:moveTo>
                    <a:pt x="-8759" y="-5107"/>
                  </a:moveTo>
                  <a:lnTo>
                    <a:pt x="10224" y="-5107"/>
                  </a:lnTo>
                  <a:lnTo>
                    <a:pt x="10224" y="6968"/>
                  </a:lnTo>
                  <a:lnTo>
                    <a:pt x="-8759" y="6968"/>
                  </a:lnTo>
                  <a:lnTo>
                    <a:pt x="-8759" y="-5107"/>
                  </a:lnTo>
                </a:path>
              </a:pathLst>
            </a:custGeom>
            <a:grpFill/>
            <a:ln w="548" cap="flat">
              <a:noFill/>
              <a:prstDash val="solid"/>
              <a:miter/>
            </a:ln>
          </p:spPr>
          <p:txBody>
            <a:bodyPr/>
            <a:lstStyle/>
            <a:p>
              <a:endParaRPr lang="en-US"/>
            </a:p>
          </p:txBody>
        </p:sp>
        <p:sp>
          <p:nvSpPr>
            <p:cNvPr id="284" name="Freeform: Shape 283">
              <a:extLst>
                <a:ext uri="{FF2B5EF4-FFF2-40B4-BE49-F238E27FC236}">
                  <a16:creationId xmlns:a16="http://schemas.microsoft.com/office/drawing/2014/main" id="{6A310B51-6C7A-CCCC-58A9-20AD6FE3EB9C}"/>
                </a:ext>
              </a:extLst>
            </p:cNvPr>
            <p:cNvSpPr/>
            <p:nvPr/>
          </p:nvSpPr>
          <p:spPr>
            <a:xfrm flipV="1">
              <a:off x="24133318" y="4467548"/>
              <a:ext cx="18982" cy="12081"/>
            </a:xfrm>
            <a:custGeom>
              <a:avLst/>
              <a:gdLst>
                <a:gd name="csX0" fmla="*/ -8759 w 18982"/>
                <a:gd name="csY0" fmla="*/ -5072 h 12081"/>
                <a:gd name="csX1" fmla="*/ 10224 w 18982"/>
                <a:gd name="csY1" fmla="*/ -5072 h 12081"/>
                <a:gd name="csX2" fmla="*/ 10224 w 18982"/>
                <a:gd name="csY2" fmla="*/ 7009 h 12081"/>
                <a:gd name="csX3" fmla="*/ -8759 w 18982"/>
                <a:gd name="csY3" fmla="*/ 7009 h 12081"/>
                <a:gd name="csX4" fmla="*/ -8759 w 18982"/>
                <a:gd name="csY4" fmla="*/ -5072 h 12081"/>
              </a:gdLst>
              <a:ahLst/>
              <a:cxnLst>
                <a:cxn ang="0">
                  <a:pos x="csX0" y="csY0"/>
                </a:cxn>
                <a:cxn ang="0">
                  <a:pos x="csX1" y="csY1"/>
                </a:cxn>
                <a:cxn ang="0">
                  <a:pos x="csX2" y="csY2"/>
                </a:cxn>
                <a:cxn ang="0">
                  <a:pos x="csX3" y="csY3"/>
                </a:cxn>
                <a:cxn ang="0">
                  <a:pos x="csX4" y="csY4"/>
                </a:cxn>
              </a:cxnLst>
              <a:rect l="l" t="t" r="r" b="b"/>
              <a:pathLst>
                <a:path w="18982" h="12081">
                  <a:moveTo>
                    <a:pt x="-8759" y="-5072"/>
                  </a:moveTo>
                  <a:lnTo>
                    <a:pt x="10224" y="-5072"/>
                  </a:lnTo>
                  <a:lnTo>
                    <a:pt x="10224" y="7009"/>
                  </a:lnTo>
                  <a:lnTo>
                    <a:pt x="-8759" y="7009"/>
                  </a:lnTo>
                  <a:lnTo>
                    <a:pt x="-8759" y="-5072"/>
                  </a:lnTo>
                </a:path>
              </a:pathLst>
            </a:custGeom>
            <a:grpFill/>
            <a:ln w="548" cap="flat">
              <a:noFill/>
              <a:prstDash val="solid"/>
              <a:miter/>
            </a:ln>
          </p:spPr>
          <p:txBody>
            <a:bodyPr/>
            <a:lstStyle/>
            <a:p>
              <a:endParaRPr lang="en-US"/>
            </a:p>
          </p:txBody>
        </p:sp>
        <p:sp>
          <p:nvSpPr>
            <p:cNvPr id="285" name="Freeform: Shape 284">
              <a:extLst>
                <a:ext uri="{FF2B5EF4-FFF2-40B4-BE49-F238E27FC236}">
                  <a16:creationId xmlns:a16="http://schemas.microsoft.com/office/drawing/2014/main" id="{D4E8B562-D3EB-9F4B-41AD-F2DF4D4784AE}"/>
                </a:ext>
              </a:extLst>
            </p:cNvPr>
            <p:cNvSpPr/>
            <p:nvPr/>
          </p:nvSpPr>
          <p:spPr>
            <a:xfrm flipV="1">
              <a:off x="24133318" y="4511862"/>
              <a:ext cx="18982" cy="12075"/>
            </a:xfrm>
            <a:custGeom>
              <a:avLst/>
              <a:gdLst>
                <a:gd name="csX0" fmla="*/ -8759 w 18982"/>
                <a:gd name="csY0" fmla="*/ -4966 h 12075"/>
                <a:gd name="csX1" fmla="*/ 10224 w 18982"/>
                <a:gd name="csY1" fmla="*/ -4966 h 12075"/>
                <a:gd name="csX2" fmla="*/ 10224 w 18982"/>
                <a:gd name="csY2" fmla="*/ 7110 h 12075"/>
                <a:gd name="csX3" fmla="*/ -8759 w 18982"/>
                <a:gd name="csY3" fmla="*/ 7110 h 12075"/>
                <a:gd name="csX4" fmla="*/ -8759 w 18982"/>
                <a:gd name="csY4" fmla="*/ -4966 h 12075"/>
              </a:gdLst>
              <a:ahLst/>
              <a:cxnLst>
                <a:cxn ang="0">
                  <a:pos x="csX0" y="csY0"/>
                </a:cxn>
                <a:cxn ang="0">
                  <a:pos x="csX1" y="csY1"/>
                </a:cxn>
                <a:cxn ang="0">
                  <a:pos x="csX2" y="csY2"/>
                </a:cxn>
                <a:cxn ang="0">
                  <a:pos x="csX3" y="csY3"/>
                </a:cxn>
                <a:cxn ang="0">
                  <a:pos x="csX4" y="csY4"/>
                </a:cxn>
              </a:cxnLst>
              <a:rect l="l" t="t" r="r" b="b"/>
              <a:pathLst>
                <a:path w="18982" h="12075">
                  <a:moveTo>
                    <a:pt x="-8759" y="-4966"/>
                  </a:moveTo>
                  <a:lnTo>
                    <a:pt x="10224" y="-4966"/>
                  </a:lnTo>
                  <a:lnTo>
                    <a:pt x="10224" y="7110"/>
                  </a:lnTo>
                  <a:lnTo>
                    <a:pt x="-8759" y="7110"/>
                  </a:lnTo>
                  <a:lnTo>
                    <a:pt x="-8759" y="-4966"/>
                  </a:lnTo>
                </a:path>
              </a:pathLst>
            </a:custGeom>
            <a:grpFill/>
            <a:ln w="548" cap="flat">
              <a:noFill/>
              <a:prstDash val="solid"/>
              <a:miter/>
            </a:ln>
          </p:spPr>
          <p:txBody>
            <a:bodyPr/>
            <a:lstStyle/>
            <a:p>
              <a:endParaRPr lang="en-US"/>
            </a:p>
          </p:txBody>
        </p:sp>
        <p:sp>
          <p:nvSpPr>
            <p:cNvPr id="286" name="Freeform: Shape 285">
              <a:extLst>
                <a:ext uri="{FF2B5EF4-FFF2-40B4-BE49-F238E27FC236}">
                  <a16:creationId xmlns:a16="http://schemas.microsoft.com/office/drawing/2014/main" id="{2314E659-F1C7-C12B-8BAF-917BDCC5242A}"/>
                </a:ext>
              </a:extLst>
            </p:cNvPr>
            <p:cNvSpPr/>
            <p:nvPr/>
          </p:nvSpPr>
          <p:spPr>
            <a:xfrm flipV="1">
              <a:off x="24133318" y="4526340"/>
              <a:ext cx="18982" cy="12081"/>
            </a:xfrm>
            <a:custGeom>
              <a:avLst/>
              <a:gdLst>
                <a:gd name="csX0" fmla="*/ -8759 w 18982"/>
                <a:gd name="csY0" fmla="*/ -4931 h 12081"/>
                <a:gd name="csX1" fmla="*/ 10224 w 18982"/>
                <a:gd name="csY1" fmla="*/ -4931 h 12081"/>
                <a:gd name="csX2" fmla="*/ 10224 w 18982"/>
                <a:gd name="csY2" fmla="*/ 7150 h 12081"/>
                <a:gd name="csX3" fmla="*/ -8759 w 18982"/>
                <a:gd name="csY3" fmla="*/ 7150 h 12081"/>
                <a:gd name="csX4" fmla="*/ -8759 w 18982"/>
                <a:gd name="csY4" fmla="*/ -4931 h 12081"/>
              </a:gdLst>
              <a:ahLst/>
              <a:cxnLst>
                <a:cxn ang="0">
                  <a:pos x="csX0" y="csY0"/>
                </a:cxn>
                <a:cxn ang="0">
                  <a:pos x="csX1" y="csY1"/>
                </a:cxn>
                <a:cxn ang="0">
                  <a:pos x="csX2" y="csY2"/>
                </a:cxn>
                <a:cxn ang="0">
                  <a:pos x="csX3" y="csY3"/>
                </a:cxn>
                <a:cxn ang="0">
                  <a:pos x="csX4" y="csY4"/>
                </a:cxn>
              </a:cxnLst>
              <a:rect l="l" t="t" r="r" b="b"/>
              <a:pathLst>
                <a:path w="18982" h="12081">
                  <a:moveTo>
                    <a:pt x="-8759" y="-4931"/>
                  </a:moveTo>
                  <a:lnTo>
                    <a:pt x="10224" y="-4931"/>
                  </a:lnTo>
                  <a:lnTo>
                    <a:pt x="10224" y="7150"/>
                  </a:lnTo>
                  <a:lnTo>
                    <a:pt x="-8759" y="7150"/>
                  </a:lnTo>
                  <a:lnTo>
                    <a:pt x="-8759" y="-4931"/>
                  </a:lnTo>
                </a:path>
              </a:pathLst>
            </a:custGeom>
            <a:grpFill/>
            <a:ln w="548" cap="flat">
              <a:noFill/>
              <a:prstDash val="solid"/>
              <a:miter/>
            </a:ln>
          </p:spPr>
          <p:txBody>
            <a:bodyPr/>
            <a:lstStyle/>
            <a:p>
              <a:endParaRPr lang="en-US"/>
            </a:p>
          </p:txBody>
        </p:sp>
        <p:sp>
          <p:nvSpPr>
            <p:cNvPr id="287" name="Freeform: Shape 286">
              <a:extLst>
                <a:ext uri="{FF2B5EF4-FFF2-40B4-BE49-F238E27FC236}">
                  <a16:creationId xmlns:a16="http://schemas.microsoft.com/office/drawing/2014/main" id="{5DE6A347-D3FE-0B70-5593-D9C66786F7C1}"/>
                </a:ext>
              </a:extLst>
            </p:cNvPr>
            <p:cNvSpPr/>
            <p:nvPr/>
          </p:nvSpPr>
          <p:spPr>
            <a:xfrm flipV="1">
              <a:off x="24133318" y="4686582"/>
              <a:ext cx="18982" cy="12081"/>
            </a:xfrm>
            <a:custGeom>
              <a:avLst/>
              <a:gdLst>
                <a:gd name="csX0" fmla="*/ -8759 w 18982"/>
                <a:gd name="csY0" fmla="*/ -4545 h 12081"/>
                <a:gd name="csX1" fmla="*/ 10224 w 18982"/>
                <a:gd name="csY1" fmla="*/ -4545 h 12081"/>
                <a:gd name="csX2" fmla="*/ 10224 w 18982"/>
                <a:gd name="csY2" fmla="*/ 7536 h 12081"/>
                <a:gd name="csX3" fmla="*/ -8759 w 18982"/>
                <a:gd name="csY3" fmla="*/ 7536 h 12081"/>
                <a:gd name="csX4" fmla="*/ -8759 w 18982"/>
                <a:gd name="csY4" fmla="*/ -4545 h 12081"/>
              </a:gdLst>
              <a:ahLst/>
              <a:cxnLst>
                <a:cxn ang="0">
                  <a:pos x="csX0" y="csY0"/>
                </a:cxn>
                <a:cxn ang="0">
                  <a:pos x="csX1" y="csY1"/>
                </a:cxn>
                <a:cxn ang="0">
                  <a:pos x="csX2" y="csY2"/>
                </a:cxn>
                <a:cxn ang="0">
                  <a:pos x="csX3" y="csY3"/>
                </a:cxn>
                <a:cxn ang="0">
                  <a:pos x="csX4" y="csY4"/>
                </a:cxn>
              </a:cxnLst>
              <a:rect l="l" t="t" r="r" b="b"/>
              <a:pathLst>
                <a:path w="18982" h="12081">
                  <a:moveTo>
                    <a:pt x="-8759" y="-4545"/>
                  </a:moveTo>
                  <a:lnTo>
                    <a:pt x="10224" y="-4545"/>
                  </a:lnTo>
                  <a:lnTo>
                    <a:pt x="10224" y="7536"/>
                  </a:lnTo>
                  <a:lnTo>
                    <a:pt x="-8759" y="7536"/>
                  </a:lnTo>
                  <a:lnTo>
                    <a:pt x="-8759" y="-4545"/>
                  </a:lnTo>
                </a:path>
              </a:pathLst>
            </a:custGeom>
            <a:grpFill/>
            <a:ln w="548" cap="flat">
              <a:noFill/>
              <a:prstDash val="solid"/>
              <a:miter/>
            </a:ln>
          </p:spPr>
          <p:txBody>
            <a:bodyPr/>
            <a:lstStyle/>
            <a:p>
              <a:endParaRPr lang="en-US"/>
            </a:p>
          </p:txBody>
        </p:sp>
        <p:sp>
          <p:nvSpPr>
            <p:cNvPr id="288" name="Freeform: Shape 287">
              <a:extLst>
                <a:ext uri="{FF2B5EF4-FFF2-40B4-BE49-F238E27FC236}">
                  <a16:creationId xmlns:a16="http://schemas.microsoft.com/office/drawing/2014/main" id="{C00851FD-6760-894E-6A37-C4B93F606943}"/>
                </a:ext>
              </a:extLst>
            </p:cNvPr>
            <p:cNvSpPr/>
            <p:nvPr/>
          </p:nvSpPr>
          <p:spPr>
            <a:xfrm flipV="1">
              <a:off x="24133318" y="4701066"/>
              <a:ext cx="18982" cy="12075"/>
            </a:xfrm>
            <a:custGeom>
              <a:avLst/>
              <a:gdLst>
                <a:gd name="csX0" fmla="*/ -8759 w 18982"/>
                <a:gd name="csY0" fmla="*/ -4510 h 12075"/>
                <a:gd name="csX1" fmla="*/ 10224 w 18982"/>
                <a:gd name="csY1" fmla="*/ -4510 h 12075"/>
                <a:gd name="csX2" fmla="*/ 10224 w 18982"/>
                <a:gd name="csY2" fmla="*/ 7565 h 12075"/>
                <a:gd name="csX3" fmla="*/ -8759 w 18982"/>
                <a:gd name="csY3" fmla="*/ 7565 h 12075"/>
                <a:gd name="csX4" fmla="*/ -8759 w 18982"/>
                <a:gd name="csY4" fmla="*/ -4510 h 12075"/>
              </a:gdLst>
              <a:ahLst/>
              <a:cxnLst>
                <a:cxn ang="0">
                  <a:pos x="csX0" y="csY0"/>
                </a:cxn>
                <a:cxn ang="0">
                  <a:pos x="csX1" y="csY1"/>
                </a:cxn>
                <a:cxn ang="0">
                  <a:pos x="csX2" y="csY2"/>
                </a:cxn>
                <a:cxn ang="0">
                  <a:pos x="csX3" y="csY3"/>
                </a:cxn>
                <a:cxn ang="0">
                  <a:pos x="csX4" y="csY4"/>
                </a:cxn>
              </a:cxnLst>
              <a:rect l="l" t="t" r="r" b="b"/>
              <a:pathLst>
                <a:path w="18982" h="12075">
                  <a:moveTo>
                    <a:pt x="-8759" y="-4510"/>
                  </a:moveTo>
                  <a:lnTo>
                    <a:pt x="10224" y="-4510"/>
                  </a:lnTo>
                  <a:lnTo>
                    <a:pt x="10224" y="7565"/>
                  </a:lnTo>
                  <a:lnTo>
                    <a:pt x="-8759" y="7565"/>
                  </a:lnTo>
                  <a:lnTo>
                    <a:pt x="-8759" y="-4510"/>
                  </a:lnTo>
                </a:path>
              </a:pathLst>
            </a:custGeom>
            <a:grpFill/>
            <a:ln w="548" cap="flat">
              <a:noFill/>
              <a:prstDash val="solid"/>
              <a:miter/>
            </a:ln>
          </p:spPr>
          <p:txBody>
            <a:bodyPr/>
            <a:lstStyle/>
            <a:p>
              <a:endParaRPr lang="en-US"/>
            </a:p>
          </p:txBody>
        </p:sp>
        <p:sp>
          <p:nvSpPr>
            <p:cNvPr id="289" name="Freeform: Shape 288">
              <a:extLst>
                <a:ext uri="{FF2B5EF4-FFF2-40B4-BE49-F238E27FC236}">
                  <a16:creationId xmlns:a16="http://schemas.microsoft.com/office/drawing/2014/main" id="{2FEB46CD-7886-062A-3A8F-BA34985E96B4}"/>
                </a:ext>
              </a:extLst>
            </p:cNvPr>
            <p:cNvSpPr/>
            <p:nvPr/>
          </p:nvSpPr>
          <p:spPr>
            <a:xfrm flipV="1">
              <a:off x="24133318" y="4587848"/>
              <a:ext cx="18982" cy="12668"/>
            </a:xfrm>
            <a:custGeom>
              <a:avLst/>
              <a:gdLst>
                <a:gd name="csX0" fmla="*/ -8759 w 18982"/>
                <a:gd name="csY0" fmla="*/ -4782 h 12668"/>
                <a:gd name="csX1" fmla="*/ 10224 w 18982"/>
                <a:gd name="csY1" fmla="*/ -4782 h 12668"/>
                <a:gd name="csX2" fmla="*/ 10224 w 18982"/>
                <a:gd name="csY2" fmla="*/ 7886 h 12668"/>
                <a:gd name="csX3" fmla="*/ -8759 w 18982"/>
                <a:gd name="csY3" fmla="*/ 7886 h 12668"/>
                <a:gd name="csX4" fmla="*/ -8759 w 18982"/>
                <a:gd name="csY4" fmla="*/ -4782 h 12668"/>
              </a:gdLst>
              <a:ahLst/>
              <a:cxnLst>
                <a:cxn ang="0">
                  <a:pos x="csX0" y="csY0"/>
                </a:cxn>
                <a:cxn ang="0">
                  <a:pos x="csX1" y="csY1"/>
                </a:cxn>
                <a:cxn ang="0">
                  <a:pos x="csX2" y="csY2"/>
                </a:cxn>
                <a:cxn ang="0">
                  <a:pos x="csX3" y="csY3"/>
                </a:cxn>
                <a:cxn ang="0">
                  <a:pos x="csX4" y="csY4"/>
                </a:cxn>
              </a:cxnLst>
              <a:rect l="l" t="t" r="r" b="b"/>
              <a:pathLst>
                <a:path w="18982" h="12668">
                  <a:moveTo>
                    <a:pt x="-8759" y="-4782"/>
                  </a:moveTo>
                  <a:lnTo>
                    <a:pt x="10224" y="-4782"/>
                  </a:lnTo>
                  <a:lnTo>
                    <a:pt x="10224" y="7886"/>
                  </a:lnTo>
                  <a:lnTo>
                    <a:pt x="-8759" y="7886"/>
                  </a:lnTo>
                  <a:lnTo>
                    <a:pt x="-8759" y="-4782"/>
                  </a:lnTo>
                </a:path>
              </a:pathLst>
            </a:custGeom>
            <a:grpFill/>
            <a:ln w="548" cap="flat">
              <a:noFill/>
              <a:prstDash val="solid"/>
              <a:miter/>
            </a:ln>
          </p:spPr>
          <p:txBody>
            <a:bodyPr/>
            <a:lstStyle/>
            <a:p>
              <a:endParaRPr lang="en-US"/>
            </a:p>
          </p:txBody>
        </p:sp>
        <p:sp>
          <p:nvSpPr>
            <p:cNvPr id="290" name="Freeform: Shape 289">
              <a:extLst>
                <a:ext uri="{FF2B5EF4-FFF2-40B4-BE49-F238E27FC236}">
                  <a16:creationId xmlns:a16="http://schemas.microsoft.com/office/drawing/2014/main" id="{76F1546E-883C-B548-5D25-3152846F186C}"/>
                </a:ext>
              </a:extLst>
            </p:cNvPr>
            <p:cNvSpPr/>
            <p:nvPr/>
          </p:nvSpPr>
          <p:spPr>
            <a:xfrm flipV="1">
              <a:off x="24133318" y="4618002"/>
              <a:ext cx="18982" cy="12668"/>
            </a:xfrm>
            <a:custGeom>
              <a:avLst/>
              <a:gdLst>
                <a:gd name="csX0" fmla="*/ -8759 w 18982"/>
                <a:gd name="csY0" fmla="*/ -4710 h 12668"/>
                <a:gd name="csX1" fmla="*/ 10224 w 18982"/>
                <a:gd name="csY1" fmla="*/ -4710 h 12668"/>
                <a:gd name="csX2" fmla="*/ 10224 w 18982"/>
                <a:gd name="csY2" fmla="*/ 7959 h 12668"/>
                <a:gd name="csX3" fmla="*/ -8759 w 18982"/>
                <a:gd name="csY3" fmla="*/ 7959 h 12668"/>
                <a:gd name="csX4" fmla="*/ -8759 w 18982"/>
                <a:gd name="csY4" fmla="*/ -4710 h 12668"/>
              </a:gdLst>
              <a:ahLst/>
              <a:cxnLst>
                <a:cxn ang="0">
                  <a:pos x="csX0" y="csY0"/>
                </a:cxn>
                <a:cxn ang="0">
                  <a:pos x="csX1" y="csY1"/>
                </a:cxn>
                <a:cxn ang="0">
                  <a:pos x="csX2" y="csY2"/>
                </a:cxn>
                <a:cxn ang="0">
                  <a:pos x="csX3" y="csY3"/>
                </a:cxn>
                <a:cxn ang="0">
                  <a:pos x="csX4" y="csY4"/>
                </a:cxn>
              </a:cxnLst>
              <a:rect l="l" t="t" r="r" b="b"/>
              <a:pathLst>
                <a:path w="18982" h="12668">
                  <a:moveTo>
                    <a:pt x="-8759" y="-4710"/>
                  </a:moveTo>
                  <a:lnTo>
                    <a:pt x="10224" y="-4710"/>
                  </a:lnTo>
                  <a:lnTo>
                    <a:pt x="10224" y="7959"/>
                  </a:lnTo>
                  <a:lnTo>
                    <a:pt x="-8759" y="7959"/>
                  </a:lnTo>
                  <a:lnTo>
                    <a:pt x="-8759" y="-4710"/>
                  </a:lnTo>
                </a:path>
              </a:pathLst>
            </a:custGeom>
            <a:grpFill/>
            <a:ln w="548" cap="flat">
              <a:noFill/>
              <a:prstDash val="solid"/>
              <a:miter/>
            </a:ln>
          </p:spPr>
          <p:txBody>
            <a:bodyPr/>
            <a:lstStyle/>
            <a:p>
              <a:endParaRPr lang="en-US"/>
            </a:p>
          </p:txBody>
        </p:sp>
        <p:sp>
          <p:nvSpPr>
            <p:cNvPr id="291" name="Freeform: Shape 290">
              <a:extLst>
                <a:ext uri="{FF2B5EF4-FFF2-40B4-BE49-F238E27FC236}">
                  <a16:creationId xmlns:a16="http://schemas.microsoft.com/office/drawing/2014/main" id="{4ADB8556-5C87-7F0E-85D3-0B205D904B07}"/>
                </a:ext>
              </a:extLst>
            </p:cNvPr>
            <p:cNvSpPr/>
            <p:nvPr/>
          </p:nvSpPr>
          <p:spPr>
            <a:xfrm flipV="1">
              <a:off x="24133318" y="4602925"/>
              <a:ext cx="18982" cy="12668"/>
            </a:xfrm>
            <a:custGeom>
              <a:avLst/>
              <a:gdLst>
                <a:gd name="csX0" fmla="*/ -8759 w 18982"/>
                <a:gd name="csY0" fmla="*/ -4746 h 12668"/>
                <a:gd name="csX1" fmla="*/ 10224 w 18982"/>
                <a:gd name="csY1" fmla="*/ -4746 h 12668"/>
                <a:gd name="csX2" fmla="*/ 10224 w 18982"/>
                <a:gd name="csY2" fmla="*/ 7922 h 12668"/>
                <a:gd name="csX3" fmla="*/ -8759 w 18982"/>
                <a:gd name="csY3" fmla="*/ 7922 h 12668"/>
                <a:gd name="csX4" fmla="*/ -8759 w 18982"/>
                <a:gd name="csY4" fmla="*/ -4746 h 12668"/>
              </a:gdLst>
              <a:ahLst/>
              <a:cxnLst>
                <a:cxn ang="0">
                  <a:pos x="csX0" y="csY0"/>
                </a:cxn>
                <a:cxn ang="0">
                  <a:pos x="csX1" y="csY1"/>
                </a:cxn>
                <a:cxn ang="0">
                  <a:pos x="csX2" y="csY2"/>
                </a:cxn>
                <a:cxn ang="0">
                  <a:pos x="csX3" y="csY3"/>
                </a:cxn>
                <a:cxn ang="0">
                  <a:pos x="csX4" y="csY4"/>
                </a:cxn>
              </a:cxnLst>
              <a:rect l="l" t="t" r="r" b="b"/>
              <a:pathLst>
                <a:path w="18982" h="12668">
                  <a:moveTo>
                    <a:pt x="-8759" y="-4746"/>
                  </a:moveTo>
                  <a:lnTo>
                    <a:pt x="10224" y="-4746"/>
                  </a:lnTo>
                  <a:lnTo>
                    <a:pt x="10224" y="7922"/>
                  </a:lnTo>
                  <a:lnTo>
                    <a:pt x="-8759" y="7922"/>
                  </a:lnTo>
                  <a:lnTo>
                    <a:pt x="-8759" y="-4746"/>
                  </a:lnTo>
                </a:path>
              </a:pathLst>
            </a:custGeom>
            <a:grpFill/>
            <a:ln w="548" cap="flat">
              <a:noFill/>
              <a:prstDash val="solid"/>
              <a:miter/>
            </a:ln>
          </p:spPr>
          <p:txBody>
            <a:bodyPr/>
            <a:lstStyle/>
            <a:p>
              <a:endParaRPr lang="en-US"/>
            </a:p>
          </p:txBody>
        </p:sp>
        <p:sp>
          <p:nvSpPr>
            <p:cNvPr id="292" name="Freeform: Shape 291">
              <a:extLst>
                <a:ext uri="{FF2B5EF4-FFF2-40B4-BE49-F238E27FC236}">
                  <a16:creationId xmlns:a16="http://schemas.microsoft.com/office/drawing/2014/main" id="{85F4D514-0B76-3451-D425-914E64FC62C6}"/>
                </a:ext>
              </a:extLst>
            </p:cNvPr>
            <p:cNvSpPr/>
            <p:nvPr/>
          </p:nvSpPr>
          <p:spPr>
            <a:xfrm flipV="1">
              <a:off x="24133318" y="4633073"/>
              <a:ext cx="18982" cy="12673"/>
            </a:xfrm>
            <a:custGeom>
              <a:avLst/>
              <a:gdLst>
                <a:gd name="csX0" fmla="*/ -8759 w 18982"/>
                <a:gd name="csY0" fmla="*/ -4673 h 12673"/>
                <a:gd name="csX1" fmla="*/ 10224 w 18982"/>
                <a:gd name="csY1" fmla="*/ -4673 h 12673"/>
                <a:gd name="csX2" fmla="*/ 10224 w 18982"/>
                <a:gd name="csY2" fmla="*/ 8000 h 12673"/>
                <a:gd name="csX3" fmla="*/ -8759 w 18982"/>
                <a:gd name="csY3" fmla="*/ 8000 h 12673"/>
                <a:gd name="csX4" fmla="*/ -8759 w 18982"/>
                <a:gd name="csY4" fmla="*/ -4673 h 12673"/>
              </a:gdLst>
              <a:ahLst/>
              <a:cxnLst>
                <a:cxn ang="0">
                  <a:pos x="csX0" y="csY0"/>
                </a:cxn>
                <a:cxn ang="0">
                  <a:pos x="csX1" y="csY1"/>
                </a:cxn>
                <a:cxn ang="0">
                  <a:pos x="csX2" y="csY2"/>
                </a:cxn>
                <a:cxn ang="0">
                  <a:pos x="csX3" y="csY3"/>
                </a:cxn>
                <a:cxn ang="0">
                  <a:pos x="csX4" y="csY4"/>
                </a:cxn>
              </a:cxnLst>
              <a:rect l="l" t="t" r="r" b="b"/>
              <a:pathLst>
                <a:path w="18982" h="12673">
                  <a:moveTo>
                    <a:pt x="-8759" y="-4673"/>
                  </a:moveTo>
                  <a:lnTo>
                    <a:pt x="10224" y="-4673"/>
                  </a:lnTo>
                  <a:lnTo>
                    <a:pt x="10224" y="8000"/>
                  </a:lnTo>
                  <a:lnTo>
                    <a:pt x="-8759" y="8000"/>
                  </a:lnTo>
                  <a:lnTo>
                    <a:pt x="-8759" y="-4673"/>
                  </a:lnTo>
                </a:path>
              </a:pathLst>
            </a:custGeom>
            <a:grpFill/>
            <a:ln w="548" cap="flat">
              <a:noFill/>
              <a:prstDash val="solid"/>
              <a:miter/>
            </a:ln>
          </p:spPr>
          <p:txBody>
            <a:bodyPr/>
            <a:lstStyle/>
            <a:p>
              <a:endParaRPr lang="en-US"/>
            </a:p>
          </p:txBody>
        </p:sp>
        <p:sp>
          <p:nvSpPr>
            <p:cNvPr id="293" name="Freeform: Shape 292">
              <a:extLst>
                <a:ext uri="{FF2B5EF4-FFF2-40B4-BE49-F238E27FC236}">
                  <a16:creationId xmlns:a16="http://schemas.microsoft.com/office/drawing/2014/main" id="{C96D10AD-72C5-2485-4047-EE1588739AB6}"/>
                </a:ext>
              </a:extLst>
            </p:cNvPr>
            <p:cNvSpPr/>
            <p:nvPr/>
          </p:nvSpPr>
          <p:spPr>
            <a:xfrm flipV="1">
              <a:off x="24133318" y="4570654"/>
              <a:ext cx="18982" cy="14785"/>
            </a:xfrm>
            <a:custGeom>
              <a:avLst/>
              <a:gdLst>
                <a:gd name="csX0" fmla="*/ -8759 w 18982"/>
                <a:gd name="csY0" fmla="*/ -4821 h 14785"/>
                <a:gd name="csX1" fmla="*/ 10224 w 18982"/>
                <a:gd name="csY1" fmla="*/ -4821 h 14785"/>
                <a:gd name="csX2" fmla="*/ 10224 w 18982"/>
                <a:gd name="csY2" fmla="*/ 9965 h 14785"/>
                <a:gd name="csX3" fmla="*/ -8759 w 18982"/>
                <a:gd name="csY3" fmla="*/ 9965 h 14785"/>
                <a:gd name="csX4" fmla="*/ -8759 w 18982"/>
                <a:gd name="csY4" fmla="*/ -4821 h 14785"/>
              </a:gdLst>
              <a:ahLst/>
              <a:cxnLst>
                <a:cxn ang="0">
                  <a:pos x="csX0" y="csY0"/>
                </a:cxn>
                <a:cxn ang="0">
                  <a:pos x="csX1" y="csY1"/>
                </a:cxn>
                <a:cxn ang="0">
                  <a:pos x="csX2" y="csY2"/>
                </a:cxn>
                <a:cxn ang="0">
                  <a:pos x="csX3" y="csY3"/>
                </a:cxn>
                <a:cxn ang="0">
                  <a:pos x="csX4" y="csY4"/>
                </a:cxn>
              </a:cxnLst>
              <a:rect l="l" t="t" r="r" b="b"/>
              <a:pathLst>
                <a:path w="18982" h="14785">
                  <a:moveTo>
                    <a:pt x="-8759" y="-4821"/>
                  </a:moveTo>
                  <a:lnTo>
                    <a:pt x="10224" y="-4821"/>
                  </a:lnTo>
                  <a:lnTo>
                    <a:pt x="10224" y="9965"/>
                  </a:lnTo>
                  <a:lnTo>
                    <a:pt x="-8759" y="9965"/>
                  </a:lnTo>
                  <a:lnTo>
                    <a:pt x="-8759" y="-4821"/>
                  </a:lnTo>
                </a:path>
              </a:pathLst>
            </a:custGeom>
            <a:grpFill/>
            <a:ln w="548" cap="flat">
              <a:noFill/>
              <a:prstDash val="solid"/>
              <a:miter/>
            </a:ln>
          </p:spPr>
          <p:txBody>
            <a:bodyPr/>
            <a:lstStyle/>
            <a:p>
              <a:endParaRPr lang="en-US"/>
            </a:p>
          </p:txBody>
        </p:sp>
        <p:sp>
          <p:nvSpPr>
            <p:cNvPr id="294" name="Freeform: Shape 293">
              <a:extLst>
                <a:ext uri="{FF2B5EF4-FFF2-40B4-BE49-F238E27FC236}">
                  <a16:creationId xmlns:a16="http://schemas.microsoft.com/office/drawing/2014/main" id="{3F127A01-8500-CDDC-2493-A3151AA3CB7F}"/>
                </a:ext>
              </a:extLst>
            </p:cNvPr>
            <p:cNvSpPr/>
            <p:nvPr/>
          </p:nvSpPr>
          <p:spPr>
            <a:xfrm flipV="1">
              <a:off x="24133318" y="4648149"/>
              <a:ext cx="18982" cy="14774"/>
            </a:xfrm>
            <a:custGeom>
              <a:avLst/>
              <a:gdLst>
                <a:gd name="csX0" fmla="*/ -8759 w 18982"/>
                <a:gd name="csY0" fmla="*/ -4634 h 14774"/>
                <a:gd name="csX1" fmla="*/ 10224 w 18982"/>
                <a:gd name="csY1" fmla="*/ -4634 h 14774"/>
                <a:gd name="csX2" fmla="*/ 10224 w 18982"/>
                <a:gd name="csY2" fmla="*/ 10140 h 14774"/>
                <a:gd name="csX3" fmla="*/ -8759 w 18982"/>
                <a:gd name="csY3" fmla="*/ 10140 h 14774"/>
                <a:gd name="csX4" fmla="*/ -8759 w 18982"/>
                <a:gd name="csY4" fmla="*/ -4634 h 14774"/>
              </a:gdLst>
              <a:ahLst/>
              <a:cxnLst>
                <a:cxn ang="0">
                  <a:pos x="csX0" y="csY0"/>
                </a:cxn>
                <a:cxn ang="0">
                  <a:pos x="csX1" y="csY1"/>
                </a:cxn>
                <a:cxn ang="0">
                  <a:pos x="csX2" y="csY2"/>
                </a:cxn>
                <a:cxn ang="0">
                  <a:pos x="csX3" y="csY3"/>
                </a:cxn>
                <a:cxn ang="0">
                  <a:pos x="csX4" y="csY4"/>
                </a:cxn>
              </a:cxnLst>
              <a:rect l="l" t="t" r="r" b="b"/>
              <a:pathLst>
                <a:path w="18982" h="14774">
                  <a:moveTo>
                    <a:pt x="-8759" y="-4634"/>
                  </a:moveTo>
                  <a:lnTo>
                    <a:pt x="10224" y="-4634"/>
                  </a:lnTo>
                  <a:lnTo>
                    <a:pt x="10224" y="10140"/>
                  </a:lnTo>
                  <a:lnTo>
                    <a:pt x="-8759" y="10140"/>
                  </a:lnTo>
                  <a:lnTo>
                    <a:pt x="-8759" y="-4634"/>
                  </a:lnTo>
                </a:path>
              </a:pathLst>
            </a:custGeom>
            <a:grpFill/>
            <a:ln w="548" cap="flat">
              <a:noFill/>
              <a:prstDash val="solid"/>
              <a:miter/>
            </a:ln>
          </p:spPr>
          <p:txBody>
            <a:bodyPr/>
            <a:lstStyle/>
            <a:p>
              <a:endParaRPr lang="en-US"/>
            </a:p>
          </p:txBody>
        </p:sp>
        <p:sp>
          <p:nvSpPr>
            <p:cNvPr id="295" name="Freeform: Shape 294">
              <a:extLst>
                <a:ext uri="{FF2B5EF4-FFF2-40B4-BE49-F238E27FC236}">
                  <a16:creationId xmlns:a16="http://schemas.microsoft.com/office/drawing/2014/main" id="{C6CC0BF3-2E34-1BE6-FE01-D6EE811C5F99}"/>
                </a:ext>
              </a:extLst>
            </p:cNvPr>
            <p:cNvSpPr/>
            <p:nvPr/>
          </p:nvSpPr>
          <p:spPr>
            <a:xfrm flipV="1">
              <a:off x="24112854" y="3149830"/>
              <a:ext cx="12673" cy="12821"/>
            </a:xfrm>
            <a:custGeom>
              <a:avLst/>
              <a:gdLst>
                <a:gd name="csX0" fmla="*/ 3944 w 12673"/>
                <a:gd name="csY0" fmla="*/ 4580 h 12821"/>
                <a:gd name="csX1" fmla="*/ -8730 w 12673"/>
                <a:gd name="csY1" fmla="*/ 4580 h 12821"/>
                <a:gd name="csX2" fmla="*/ -8730 w 12673"/>
                <a:gd name="csY2" fmla="*/ -8242 h 12821"/>
                <a:gd name="csX3" fmla="*/ 3944 w 12673"/>
                <a:gd name="csY3" fmla="*/ -8242 h 12821"/>
                <a:gd name="csX4" fmla="*/ 3944 w 12673"/>
                <a:gd name="csY4" fmla="*/ 4580 h 12821"/>
              </a:gdLst>
              <a:ahLst/>
              <a:cxnLst>
                <a:cxn ang="0">
                  <a:pos x="csX0" y="csY0"/>
                </a:cxn>
                <a:cxn ang="0">
                  <a:pos x="csX1" y="csY1"/>
                </a:cxn>
                <a:cxn ang="0">
                  <a:pos x="csX2" y="csY2"/>
                </a:cxn>
                <a:cxn ang="0">
                  <a:pos x="csX3" y="csY3"/>
                </a:cxn>
                <a:cxn ang="0">
                  <a:pos x="csX4" y="csY4"/>
                </a:cxn>
              </a:cxnLst>
              <a:rect l="l" t="t" r="r" b="b"/>
              <a:pathLst>
                <a:path w="12673" h="12821">
                  <a:moveTo>
                    <a:pt x="3944" y="4580"/>
                  </a:moveTo>
                  <a:lnTo>
                    <a:pt x="-8730" y="4580"/>
                  </a:lnTo>
                  <a:lnTo>
                    <a:pt x="-8730" y="-8242"/>
                  </a:lnTo>
                  <a:lnTo>
                    <a:pt x="3944" y="-8242"/>
                  </a:lnTo>
                  <a:lnTo>
                    <a:pt x="3944" y="4580"/>
                  </a:lnTo>
                </a:path>
              </a:pathLst>
            </a:custGeom>
            <a:grpFill/>
            <a:ln w="548" cap="flat">
              <a:noFill/>
              <a:prstDash val="solid"/>
              <a:miter/>
            </a:ln>
          </p:spPr>
          <p:txBody>
            <a:bodyPr/>
            <a:lstStyle/>
            <a:p>
              <a:endParaRPr lang="en-US"/>
            </a:p>
          </p:txBody>
        </p:sp>
        <p:sp>
          <p:nvSpPr>
            <p:cNvPr id="296" name="Freeform: Shape 295">
              <a:extLst>
                <a:ext uri="{FF2B5EF4-FFF2-40B4-BE49-F238E27FC236}">
                  <a16:creationId xmlns:a16="http://schemas.microsoft.com/office/drawing/2014/main" id="{9CC940A5-75C0-9AE3-9EBA-F89055F6984D}"/>
                </a:ext>
              </a:extLst>
            </p:cNvPr>
            <p:cNvSpPr/>
            <p:nvPr/>
          </p:nvSpPr>
          <p:spPr>
            <a:xfrm flipV="1">
              <a:off x="24112854" y="3165055"/>
              <a:ext cx="12673" cy="12827"/>
            </a:xfrm>
            <a:custGeom>
              <a:avLst/>
              <a:gdLst>
                <a:gd name="csX0" fmla="*/ 3944 w 12673"/>
                <a:gd name="csY0" fmla="*/ 4622 h 12827"/>
                <a:gd name="csX1" fmla="*/ -8730 w 12673"/>
                <a:gd name="csY1" fmla="*/ 4622 h 12827"/>
                <a:gd name="csX2" fmla="*/ -8730 w 12673"/>
                <a:gd name="csY2" fmla="*/ -8205 h 12827"/>
                <a:gd name="csX3" fmla="*/ 3944 w 12673"/>
                <a:gd name="csY3" fmla="*/ -8205 h 12827"/>
                <a:gd name="csX4" fmla="*/ 3944 w 12673"/>
                <a:gd name="csY4" fmla="*/ 4622 h 12827"/>
              </a:gdLst>
              <a:ahLst/>
              <a:cxnLst>
                <a:cxn ang="0">
                  <a:pos x="csX0" y="csY0"/>
                </a:cxn>
                <a:cxn ang="0">
                  <a:pos x="csX1" y="csY1"/>
                </a:cxn>
                <a:cxn ang="0">
                  <a:pos x="csX2" y="csY2"/>
                </a:cxn>
                <a:cxn ang="0">
                  <a:pos x="csX3" y="csY3"/>
                </a:cxn>
                <a:cxn ang="0">
                  <a:pos x="csX4" y="csY4"/>
                </a:cxn>
              </a:cxnLst>
              <a:rect l="l" t="t" r="r" b="b"/>
              <a:pathLst>
                <a:path w="12673" h="12827">
                  <a:moveTo>
                    <a:pt x="3944" y="4622"/>
                  </a:moveTo>
                  <a:lnTo>
                    <a:pt x="-8730" y="4622"/>
                  </a:lnTo>
                  <a:lnTo>
                    <a:pt x="-8730" y="-8205"/>
                  </a:lnTo>
                  <a:lnTo>
                    <a:pt x="3944" y="-8205"/>
                  </a:lnTo>
                  <a:lnTo>
                    <a:pt x="3944" y="4622"/>
                  </a:lnTo>
                </a:path>
              </a:pathLst>
            </a:custGeom>
            <a:grpFill/>
            <a:ln w="548" cap="flat">
              <a:noFill/>
              <a:prstDash val="solid"/>
              <a:miter/>
            </a:ln>
          </p:spPr>
          <p:txBody>
            <a:bodyPr/>
            <a:lstStyle/>
            <a:p>
              <a:endParaRPr lang="en-US"/>
            </a:p>
          </p:txBody>
        </p:sp>
        <p:sp>
          <p:nvSpPr>
            <p:cNvPr id="297" name="Freeform: Shape 296">
              <a:extLst>
                <a:ext uri="{FF2B5EF4-FFF2-40B4-BE49-F238E27FC236}">
                  <a16:creationId xmlns:a16="http://schemas.microsoft.com/office/drawing/2014/main" id="{31FA6547-4093-3E07-DA4C-8B32C7EC384E}"/>
                </a:ext>
              </a:extLst>
            </p:cNvPr>
            <p:cNvSpPr/>
            <p:nvPr/>
          </p:nvSpPr>
          <p:spPr>
            <a:xfrm flipV="1">
              <a:off x="24071542" y="3149830"/>
              <a:ext cx="12673" cy="12821"/>
            </a:xfrm>
            <a:custGeom>
              <a:avLst/>
              <a:gdLst>
                <a:gd name="csX0" fmla="*/ 3995 w 12673"/>
                <a:gd name="csY0" fmla="*/ 4580 h 12821"/>
                <a:gd name="csX1" fmla="*/ -8678 w 12673"/>
                <a:gd name="csY1" fmla="*/ 4580 h 12821"/>
                <a:gd name="csX2" fmla="*/ -8678 w 12673"/>
                <a:gd name="csY2" fmla="*/ -8242 h 12821"/>
                <a:gd name="csX3" fmla="*/ 3995 w 12673"/>
                <a:gd name="csY3" fmla="*/ -8242 h 12821"/>
                <a:gd name="csX4" fmla="*/ 3995 w 12673"/>
                <a:gd name="csY4" fmla="*/ 4580 h 12821"/>
              </a:gdLst>
              <a:ahLst/>
              <a:cxnLst>
                <a:cxn ang="0">
                  <a:pos x="csX0" y="csY0"/>
                </a:cxn>
                <a:cxn ang="0">
                  <a:pos x="csX1" y="csY1"/>
                </a:cxn>
                <a:cxn ang="0">
                  <a:pos x="csX2" y="csY2"/>
                </a:cxn>
                <a:cxn ang="0">
                  <a:pos x="csX3" y="csY3"/>
                </a:cxn>
                <a:cxn ang="0">
                  <a:pos x="csX4" y="csY4"/>
                </a:cxn>
              </a:cxnLst>
              <a:rect l="l" t="t" r="r" b="b"/>
              <a:pathLst>
                <a:path w="12673" h="12821">
                  <a:moveTo>
                    <a:pt x="3995" y="4580"/>
                  </a:moveTo>
                  <a:lnTo>
                    <a:pt x="-8678" y="4580"/>
                  </a:lnTo>
                  <a:lnTo>
                    <a:pt x="-8678" y="-8242"/>
                  </a:lnTo>
                  <a:lnTo>
                    <a:pt x="3995" y="-8242"/>
                  </a:lnTo>
                  <a:lnTo>
                    <a:pt x="3995" y="4580"/>
                  </a:lnTo>
                </a:path>
              </a:pathLst>
            </a:custGeom>
            <a:grpFill/>
            <a:ln w="548" cap="flat">
              <a:noFill/>
              <a:prstDash val="solid"/>
              <a:miter/>
            </a:ln>
          </p:spPr>
          <p:txBody>
            <a:bodyPr/>
            <a:lstStyle/>
            <a:p>
              <a:endParaRPr lang="en-US"/>
            </a:p>
          </p:txBody>
        </p:sp>
        <p:sp>
          <p:nvSpPr>
            <p:cNvPr id="298" name="Freeform: Shape 297">
              <a:extLst>
                <a:ext uri="{FF2B5EF4-FFF2-40B4-BE49-F238E27FC236}">
                  <a16:creationId xmlns:a16="http://schemas.microsoft.com/office/drawing/2014/main" id="{2FCFFD47-B7DF-C001-F5C3-B3CBAF6E7973}"/>
                </a:ext>
              </a:extLst>
            </p:cNvPr>
            <p:cNvSpPr/>
            <p:nvPr/>
          </p:nvSpPr>
          <p:spPr>
            <a:xfrm flipV="1">
              <a:off x="24071542" y="3165055"/>
              <a:ext cx="12673" cy="12827"/>
            </a:xfrm>
            <a:custGeom>
              <a:avLst/>
              <a:gdLst>
                <a:gd name="csX0" fmla="*/ 3995 w 12673"/>
                <a:gd name="csY0" fmla="*/ 4622 h 12827"/>
                <a:gd name="csX1" fmla="*/ -8678 w 12673"/>
                <a:gd name="csY1" fmla="*/ 4622 h 12827"/>
                <a:gd name="csX2" fmla="*/ -8678 w 12673"/>
                <a:gd name="csY2" fmla="*/ -8205 h 12827"/>
                <a:gd name="csX3" fmla="*/ 3995 w 12673"/>
                <a:gd name="csY3" fmla="*/ -8205 h 12827"/>
                <a:gd name="csX4" fmla="*/ 3995 w 12673"/>
                <a:gd name="csY4" fmla="*/ 4622 h 12827"/>
              </a:gdLst>
              <a:ahLst/>
              <a:cxnLst>
                <a:cxn ang="0">
                  <a:pos x="csX0" y="csY0"/>
                </a:cxn>
                <a:cxn ang="0">
                  <a:pos x="csX1" y="csY1"/>
                </a:cxn>
                <a:cxn ang="0">
                  <a:pos x="csX2" y="csY2"/>
                </a:cxn>
                <a:cxn ang="0">
                  <a:pos x="csX3" y="csY3"/>
                </a:cxn>
                <a:cxn ang="0">
                  <a:pos x="csX4" y="csY4"/>
                </a:cxn>
              </a:cxnLst>
              <a:rect l="l" t="t" r="r" b="b"/>
              <a:pathLst>
                <a:path w="12673" h="12827">
                  <a:moveTo>
                    <a:pt x="3995" y="4622"/>
                  </a:moveTo>
                  <a:lnTo>
                    <a:pt x="-8678" y="4622"/>
                  </a:lnTo>
                  <a:lnTo>
                    <a:pt x="-8678" y="-8205"/>
                  </a:lnTo>
                  <a:lnTo>
                    <a:pt x="3995" y="-8205"/>
                  </a:lnTo>
                  <a:lnTo>
                    <a:pt x="3995" y="4622"/>
                  </a:lnTo>
                </a:path>
              </a:pathLst>
            </a:custGeom>
            <a:grpFill/>
            <a:ln w="548" cap="flat">
              <a:noFill/>
              <a:prstDash val="solid"/>
              <a:miter/>
            </a:ln>
          </p:spPr>
          <p:txBody>
            <a:bodyPr/>
            <a:lstStyle/>
            <a:p>
              <a:endParaRPr lang="en-US"/>
            </a:p>
          </p:txBody>
        </p:sp>
        <p:sp>
          <p:nvSpPr>
            <p:cNvPr id="299" name="Freeform: Shape 298">
              <a:extLst>
                <a:ext uri="{FF2B5EF4-FFF2-40B4-BE49-F238E27FC236}">
                  <a16:creationId xmlns:a16="http://schemas.microsoft.com/office/drawing/2014/main" id="{0D27FD1A-BEA2-1C5F-14E8-C3A3BA40F60B}"/>
                </a:ext>
              </a:extLst>
            </p:cNvPr>
            <p:cNvSpPr/>
            <p:nvPr/>
          </p:nvSpPr>
          <p:spPr>
            <a:xfrm flipV="1">
              <a:off x="24112854" y="3209072"/>
              <a:ext cx="12673" cy="12821"/>
            </a:xfrm>
            <a:custGeom>
              <a:avLst/>
              <a:gdLst>
                <a:gd name="csX0" fmla="*/ 3944 w 12673"/>
                <a:gd name="csY0" fmla="*/ 4723 h 12821"/>
                <a:gd name="csX1" fmla="*/ -8730 w 12673"/>
                <a:gd name="csY1" fmla="*/ 4723 h 12821"/>
                <a:gd name="csX2" fmla="*/ -8730 w 12673"/>
                <a:gd name="csY2" fmla="*/ -8099 h 12821"/>
                <a:gd name="csX3" fmla="*/ 3944 w 12673"/>
                <a:gd name="csY3" fmla="*/ -8099 h 12821"/>
                <a:gd name="csX4" fmla="*/ 3944 w 12673"/>
                <a:gd name="csY4" fmla="*/ 4723 h 12821"/>
              </a:gdLst>
              <a:ahLst/>
              <a:cxnLst>
                <a:cxn ang="0">
                  <a:pos x="csX0" y="csY0"/>
                </a:cxn>
                <a:cxn ang="0">
                  <a:pos x="csX1" y="csY1"/>
                </a:cxn>
                <a:cxn ang="0">
                  <a:pos x="csX2" y="csY2"/>
                </a:cxn>
                <a:cxn ang="0">
                  <a:pos x="csX3" y="csY3"/>
                </a:cxn>
                <a:cxn ang="0">
                  <a:pos x="csX4" y="csY4"/>
                </a:cxn>
              </a:cxnLst>
              <a:rect l="l" t="t" r="r" b="b"/>
              <a:pathLst>
                <a:path w="12673" h="12821">
                  <a:moveTo>
                    <a:pt x="3944" y="4723"/>
                  </a:moveTo>
                  <a:lnTo>
                    <a:pt x="-8730" y="4723"/>
                  </a:lnTo>
                  <a:lnTo>
                    <a:pt x="-8730" y="-8099"/>
                  </a:lnTo>
                  <a:lnTo>
                    <a:pt x="3944" y="-8099"/>
                  </a:lnTo>
                  <a:lnTo>
                    <a:pt x="3944" y="4723"/>
                  </a:lnTo>
                </a:path>
              </a:pathLst>
            </a:custGeom>
            <a:grpFill/>
            <a:ln w="548" cap="flat">
              <a:noFill/>
              <a:prstDash val="solid"/>
              <a:miter/>
            </a:ln>
          </p:spPr>
          <p:txBody>
            <a:bodyPr/>
            <a:lstStyle/>
            <a:p>
              <a:endParaRPr lang="en-US"/>
            </a:p>
          </p:txBody>
        </p:sp>
        <p:sp>
          <p:nvSpPr>
            <p:cNvPr id="300" name="Freeform: Shape 299">
              <a:extLst>
                <a:ext uri="{FF2B5EF4-FFF2-40B4-BE49-F238E27FC236}">
                  <a16:creationId xmlns:a16="http://schemas.microsoft.com/office/drawing/2014/main" id="{835129A4-D8A7-5EF7-3C86-413437FDB4B5}"/>
                </a:ext>
              </a:extLst>
            </p:cNvPr>
            <p:cNvSpPr/>
            <p:nvPr/>
          </p:nvSpPr>
          <p:spPr>
            <a:xfrm flipV="1">
              <a:off x="24112854" y="3224297"/>
              <a:ext cx="12673" cy="12821"/>
            </a:xfrm>
            <a:custGeom>
              <a:avLst/>
              <a:gdLst>
                <a:gd name="csX0" fmla="*/ 3944 w 12673"/>
                <a:gd name="csY0" fmla="*/ 4759 h 12821"/>
                <a:gd name="csX1" fmla="*/ -8730 w 12673"/>
                <a:gd name="csY1" fmla="*/ 4759 h 12821"/>
                <a:gd name="csX2" fmla="*/ -8730 w 12673"/>
                <a:gd name="csY2" fmla="*/ -8063 h 12821"/>
                <a:gd name="csX3" fmla="*/ 3944 w 12673"/>
                <a:gd name="csY3" fmla="*/ -8063 h 12821"/>
                <a:gd name="csX4" fmla="*/ 3944 w 12673"/>
                <a:gd name="csY4" fmla="*/ 4759 h 12821"/>
              </a:gdLst>
              <a:ahLst/>
              <a:cxnLst>
                <a:cxn ang="0">
                  <a:pos x="csX0" y="csY0"/>
                </a:cxn>
                <a:cxn ang="0">
                  <a:pos x="csX1" y="csY1"/>
                </a:cxn>
                <a:cxn ang="0">
                  <a:pos x="csX2" y="csY2"/>
                </a:cxn>
                <a:cxn ang="0">
                  <a:pos x="csX3" y="csY3"/>
                </a:cxn>
                <a:cxn ang="0">
                  <a:pos x="csX4" y="csY4"/>
                </a:cxn>
              </a:cxnLst>
              <a:rect l="l" t="t" r="r" b="b"/>
              <a:pathLst>
                <a:path w="12673" h="12821">
                  <a:moveTo>
                    <a:pt x="3944" y="4759"/>
                  </a:moveTo>
                  <a:lnTo>
                    <a:pt x="-8730" y="4759"/>
                  </a:lnTo>
                  <a:lnTo>
                    <a:pt x="-8730" y="-8063"/>
                  </a:lnTo>
                  <a:lnTo>
                    <a:pt x="3944" y="-8063"/>
                  </a:lnTo>
                  <a:lnTo>
                    <a:pt x="3944" y="4759"/>
                  </a:lnTo>
                </a:path>
              </a:pathLst>
            </a:custGeom>
            <a:grpFill/>
            <a:ln w="548" cap="flat">
              <a:noFill/>
              <a:prstDash val="solid"/>
              <a:miter/>
            </a:ln>
          </p:spPr>
          <p:txBody>
            <a:bodyPr/>
            <a:lstStyle/>
            <a:p>
              <a:endParaRPr lang="en-US"/>
            </a:p>
          </p:txBody>
        </p:sp>
        <p:sp>
          <p:nvSpPr>
            <p:cNvPr id="301" name="Freeform: Shape 300">
              <a:extLst>
                <a:ext uri="{FF2B5EF4-FFF2-40B4-BE49-F238E27FC236}">
                  <a16:creationId xmlns:a16="http://schemas.microsoft.com/office/drawing/2014/main" id="{733EF5B3-6901-8458-398A-BE0E9FD0DDAD}"/>
                </a:ext>
              </a:extLst>
            </p:cNvPr>
            <p:cNvSpPr/>
            <p:nvPr/>
          </p:nvSpPr>
          <p:spPr>
            <a:xfrm flipV="1">
              <a:off x="24071542" y="3209072"/>
              <a:ext cx="12673" cy="12821"/>
            </a:xfrm>
            <a:custGeom>
              <a:avLst/>
              <a:gdLst>
                <a:gd name="csX0" fmla="*/ 3995 w 12673"/>
                <a:gd name="csY0" fmla="*/ 4723 h 12821"/>
                <a:gd name="csX1" fmla="*/ -8678 w 12673"/>
                <a:gd name="csY1" fmla="*/ 4723 h 12821"/>
                <a:gd name="csX2" fmla="*/ -8678 w 12673"/>
                <a:gd name="csY2" fmla="*/ -8099 h 12821"/>
                <a:gd name="csX3" fmla="*/ 3995 w 12673"/>
                <a:gd name="csY3" fmla="*/ -8099 h 12821"/>
                <a:gd name="csX4" fmla="*/ 3995 w 12673"/>
                <a:gd name="csY4" fmla="*/ 4723 h 12821"/>
              </a:gdLst>
              <a:ahLst/>
              <a:cxnLst>
                <a:cxn ang="0">
                  <a:pos x="csX0" y="csY0"/>
                </a:cxn>
                <a:cxn ang="0">
                  <a:pos x="csX1" y="csY1"/>
                </a:cxn>
                <a:cxn ang="0">
                  <a:pos x="csX2" y="csY2"/>
                </a:cxn>
                <a:cxn ang="0">
                  <a:pos x="csX3" y="csY3"/>
                </a:cxn>
                <a:cxn ang="0">
                  <a:pos x="csX4" y="csY4"/>
                </a:cxn>
              </a:cxnLst>
              <a:rect l="l" t="t" r="r" b="b"/>
              <a:pathLst>
                <a:path w="12673" h="12821">
                  <a:moveTo>
                    <a:pt x="3995" y="4723"/>
                  </a:moveTo>
                  <a:lnTo>
                    <a:pt x="-8678" y="4723"/>
                  </a:lnTo>
                  <a:lnTo>
                    <a:pt x="-8678" y="-8099"/>
                  </a:lnTo>
                  <a:lnTo>
                    <a:pt x="3995" y="-8099"/>
                  </a:lnTo>
                  <a:lnTo>
                    <a:pt x="3995" y="4723"/>
                  </a:lnTo>
                </a:path>
              </a:pathLst>
            </a:custGeom>
            <a:grpFill/>
            <a:ln w="548" cap="flat">
              <a:noFill/>
              <a:prstDash val="solid"/>
              <a:miter/>
            </a:ln>
          </p:spPr>
          <p:txBody>
            <a:bodyPr/>
            <a:lstStyle/>
            <a:p>
              <a:endParaRPr lang="en-US"/>
            </a:p>
          </p:txBody>
        </p:sp>
        <p:sp>
          <p:nvSpPr>
            <p:cNvPr id="302" name="Freeform: Shape 301">
              <a:extLst>
                <a:ext uri="{FF2B5EF4-FFF2-40B4-BE49-F238E27FC236}">
                  <a16:creationId xmlns:a16="http://schemas.microsoft.com/office/drawing/2014/main" id="{8ED29322-6F5C-1A33-6F6D-02423582F0C9}"/>
                </a:ext>
              </a:extLst>
            </p:cNvPr>
            <p:cNvSpPr/>
            <p:nvPr/>
          </p:nvSpPr>
          <p:spPr>
            <a:xfrm flipV="1">
              <a:off x="24071542" y="3224297"/>
              <a:ext cx="12673" cy="12821"/>
            </a:xfrm>
            <a:custGeom>
              <a:avLst/>
              <a:gdLst>
                <a:gd name="csX0" fmla="*/ 3995 w 12673"/>
                <a:gd name="csY0" fmla="*/ 4759 h 12821"/>
                <a:gd name="csX1" fmla="*/ -8678 w 12673"/>
                <a:gd name="csY1" fmla="*/ 4759 h 12821"/>
                <a:gd name="csX2" fmla="*/ -8678 w 12673"/>
                <a:gd name="csY2" fmla="*/ -8063 h 12821"/>
                <a:gd name="csX3" fmla="*/ 3995 w 12673"/>
                <a:gd name="csY3" fmla="*/ -8063 h 12821"/>
                <a:gd name="csX4" fmla="*/ 3995 w 12673"/>
                <a:gd name="csY4" fmla="*/ 4759 h 12821"/>
              </a:gdLst>
              <a:ahLst/>
              <a:cxnLst>
                <a:cxn ang="0">
                  <a:pos x="csX0" y="csY0"/>
                </a:cxn>
                <a:cxn ang="0">
                  <a:pos x="csX1" y="csY1"/>
                </a:cxn>
                <a:cxn ang="0">
                  <a:pos x="csX2" y="csY2"/>
                </a:cxn>
                <a:cxn ang="0">
                  <a:pos x="csX3" y="csY3"/>
                </a:cxn>
                <a:cxn ang="0">
                  <a:pos x="csX4" y="csY4"/>
                </a:cxn>
              </a:cxnLst>
              <a:rect l="l" t="t" r="r" b="b"/>
              <a:pathLst>
                <a:path w="12673" h="12821">
                  <a:moveTo>
                    <a:pt x="3995" y="4759"/>
                  </a:moveTo>
                  <a:lnTo>
                    <a:pt x="-8678" y="4759"/>
                  </a:lnTo>
                  <a:lnTo>
                    <a:pt x="-8678" y="-8063"/>
                  </a:lnTo>
                  <a:lnTo>
                    <a:pt x="3995" y="-8063"/>
                  </a:lnTo>
                  <a:lnTo>
                    <a:pt x="3995" y="4759"/>
                  </a:lnTo>
                </a:path>
              </a:pathLst>
            </a:custGeom>
            <a:grpFill/>
            <a:ln w="548" cap="flat">
              <a:noFill/>
              <a:prstDash val="solid"/>
              <a:miter/>
            </a:ln>
          </p:spPr>
          <p:txBody>
            <a:bodyPr/>
            <a:lstStyle/>
            <a:p>
              <a:endParaRPr lang="en-US"/>
            </a:p>
          </p:txBody>
        </p:sp>
        <p:sp>
          <p:nvSpPr>
            <p:cNvPr id="303" name="Freeform: Shape 302">
              <a:extLst>
                <a:ext uri="{FF2B5EF4-FFF2-40B4-BE49-F238E27FC236}">
                  <a16:creationId xmlns:a16="http://schemas.microsoft.com/office/drawing/2014/main" id="{C90E0606-3751-56DC-0D44-C45719DBA524}"/>
                </a:ext>
              </a:extLst>
            </p:cNvPr>
            <p:cNvSpPr/>
            <p:nvPr/>
          </p:nvSpPr>
          <p:spPr>
            <a:xfrm flipV="1">
              <a:off x="24112854" y="3268315"/>
              <a:ext cx="12673" cy="12821"/>
            </a:xfrm>
            <a:custGeom>
              <a:avLst/>
              <a:gdLst>
                <a:gd name="csX0" fmla="*/ 3944 w 12673"/>
                <a:gd name="csY0" fmla="*/ 4865 h 12821"/>
                <a:gd name="csX1" fmla="*/ -8730 w 12673"/>
                <a:gd name="csY1" fmla="*/ 4865 h 12821"/>
                <a:gd name="csX2" fmla="*/ -8730 w 12673"/>
                <a:gd name="csY2" fmla="*/ -7957 h 12821"/>
                <a:gd name="csX3" fmla="*/ 3944 w 12673"/>
                <a:gd name="csY3" fmla="*/ -7957 h 12821"/>
                <a:gd name="csX4" fmla="*/ 3944 w 12673"/>
                <a:gd name="csY4" fmla="*/ 4865 h 12821"/>
              </a:gdLst>
              <a:ahLst/>
              <a:cxnLst>
                <a:cxn ang="0">
                  <a:pos x="csX0" y="csY0"/>
                </a:cxn>
                <a:cxn ang="0">
                  <a:pos x="csX1" y="csY1"/>
                </a:cxn>
                <a:cxn ang="0">
                  <a:pos x="csX2" y="csY2"/>
                </a:cxn>
                <a:cxn ang="0">
                  <a:pos x="csX3" y="csY3"/>
                </a:cxn>
                <a:cxn ang="0">
                  <a:pos x="csX4" y="csY4"/>
                </a:cxn>
              </a:cxnLst>
              <a:rect l="l" t="t" r="r" b="b"/>
              <a:pathLst>
                <a:path w="12673" h="12821">
                  <a:moveTo>
                    <a:pt x="3944" y="4865"/>
                  </a:moveTo>
                  <a:lnTo>
                    <a:pt x="-8730" y="4865"/>
                  </a:lnTo>
                  <a:lnTo>
                    <a:pt x="-8730" y="-7957"/>
                  </a:lnTo>
                  <a:lnTo>
                    <a:pt x="3944" y="-7957"/>
                  </a:lnTo>
                  <a:lnTo>
                    <a:pt x="3944" y="4865"/>
                  </a:lnTo>
                </a:path>
              </a:pathLst>
            </a:custGeom>
            <a:grpFill/>
            <a:ln w="548" cap="flat">
              <a:noFill/>
              <a:prstDash val="solid"/>
              <a:miter/>
            </a:ln>
          </p:spPr>
          <p:txBody>
            <a:bodyPr/>
            <a:lstStyle/>
            <a:p>
              <a:endParaRPr lang="en-US"/>
            </a:p>
          </p:txBody>
        </p:sp>
        <p:sp>
          <p:nvSpPr>
            <p:cNvPr id="304" name="Freeform: Shape 303">
              <a:extLst>
                <a:ext uri="{FF2B5EF4-FFF2-40B4-BE49-F238E27FC236}">
                  <a16:creationId xmlns:a16="http://schemas.microsoft.com/office/drawing/2014/main" id="{D29A7A17-BD6A-89BA-B8C7-CF3D8B709E20}"/>
                </a:ext>
              </a:extLst>
            </p:cNvPr>
            <p:cNvSpPr/>
            <p:nvPr/>
          </p:nvSpPr>
          <p:spPr>
            <a:xfrm flipV="1">
              <a:off x="24112854" y="3283539"/>
              <a:ext cx="12673" cy="12821"/>
            </a:xfrm>
            <a:custGeom>
              <a:avLst/>
              <a:gdLst>
                <a:gd name="csX0" fmla="*/ 3944 w 12673"/>
                <a:gd name="csY0" fmla="*/ 4902 h 12821"/>
                <a:gd name="csX1" fmla="*/ -8730 w 12673"/>
                <a:gd name="csY1" fmla="*/ 4902 h 12821"/>
                <a:gd name="csX2" fmla="*/ -8730 w 12673"/>
                <a:gd name="csY2" fmla="*/ -7920 h 12821"/>
                <a:gd name="csX3" fmla="*/ 3944 w 12673"/>
                <a:gd name="csY3" fmla="*/ -7920 h 12821"/>
                <a:gd name="csX4" fmla="*/ 3944 w 12673"/>
                <a:gd name="csY4" fmla="*/ 4902 h 12821"/>
              </a:gdLst>
              <a:ahLst/>
              <a:cxnLst>
                <a:cxn ang="0">
                  <a:pos x="csX0" y="csY0"/>
                </a:cxn>
                <a:cxn ang="0">
                  <a:pos x="csX1" y="csY1"/>
                </a:cxn>
                <a:cxn ang="0">
                  <a:pos x="csX2" y="csY2"/>
                </a:cxn>
                <a:cxn ang="0">
                  <a:pos x="csX3" y="csY3"/>
                </a:cxn>
                <a:cxn ang="0">
                  <a:pos x="csX4" y="csY4"/>
                </a:cxn>
              </a:cxnLst>
              <a:rect l="l" t="t" r="r" b="b"/>
              <a:pathLst>
                <a:path w="12673" h="12821">
                  <a:moveTo>
                    <a:pt x="3944" y="4902"/>
                  </a:moveTo>
                  <a:lnTo>
                    <a:pt x="-8730" y="4902"/>
                  </a:lnTo>
                  <a:lnTo>
                    <a:pt x="-8730" y="-7920"/>
                  </a:lnTo>
                  <a:lnTo>
                    <a:pt x="3944" y="-7920"/>
                  </a:lnTo>
                  <a:lnTo>
                    <a:pt x="3944" y="4902"/>
                  </a:lnTo>
                </a:path>
              </a:pathLst>
            </a:custGeom>
            <a:grpFill/>
            <a:ln w="548" cap="flat">
              <a:noFill/>
              <a:prstDash val="solid"/>
              <a:miter/>
            </a:ln>
          </p:spPr>
          <p:txBody>
            <a:bodyPr/>
            <a:lstStyle/>
            <a:p>
              <a:endParaRPr lang="en-US"/>
            </a:p>
          </p:txBody>
        </p:sp>
        <p:sp>
          <p:nvSpPr>
            <p:cNvPr id="305" name="Freeform: Shape 304">
              <a:extLst>
                <a:ext uri="{FF2B5EF4-FFF2-40B4-BE49-F238E27FC236}">
                  <a16:creationId xmlns:a16="http://schemas.microsoft.com/office/drawing/2014/main" id="{D16ED042-A976-7011-84DA-0CA78F6E5637}"/>
                </a:ext>
              </a:extLst>
            </p:cNvPr>
            <p:cNvSpPr/>
            <p:nvPr/>
          </p:nvSpPr>
          <p:spPr>
            <a:xfrm flipV="1">
              <a:off x="24071542" y="3268315"/>
              <a:ext cx="12673" cy="12821"/>
            </a:xfrm>
            <a:custGeom>
              <a:avLst/>
              <a:gdLst>
                <a:gd name="csX0" fmla="*/ 3995 w 12673"/>
                <a:gd name="csY0" fmla="*/ 4865 h 12821"/>
                <a:gd name="csX1" fmla="*/ -8678 w 12673"/>
                <a:gd name="csY1" fmla="*/ 4865 h 12821"/>
                <a:gd name="csX2" fmla="*/ -8678 w 12673"/>
                <a:gd name="csY2" fmla="*/ -7957 h 12821"/>
                <a:gd name="csX3" fmla="*/ 3995 w 12673"/>
                <a:gd name="csY3" fmla="*/ -7957 h 12821"/>
                <a:gd name="csX4" fmla="*/ 3995 w 12673"/>
                <a:gd name="csY4" fmla="*/ 4865 h 12821"/>
              </a:gdLst>
              <a:ahLst/>
              <a:cxnLst>
                <a:cxn ang="0">
                  <a:pos x="csX0" y="csY0"/>
                </a:cxn>
                <a:cxn ang="0">
                  <a:pos x="csX1" y="csY1"/>
                </a:cxn>
                <a:cxn ang="0">
                  <a:pos x="csX2" y="csY2"/>
                </a:cxn>
                <a:cxn ang="0">
                  <a:pos x="csX3" y="csY3"/>
                </a:cxn>
                <a:cxn ang="0">
                  <a:pos x="csX4" y="csY4"/>
                </a:cxn>
              </a:cxnLst>
              <a:rect l="l" t="t" r="r" b="b"/>
              <a:pathLst>
                <a:path w="12673" h="12821">
                  <a:moveTo>
                    <a:pt x="3995" y="4865"/>
                  </a:moveTo>
                  <a:lnTo>
                    <a:pt x="-8678" y="4865"/>
                  </a:lnTo>
                  <a:lnTo>
                    <a:pt x="-8678" y="-7957"/>
                  </a:lnTo>
                  <a:lnTo>
                    <a:pt x="3995" y="-7957"/>
                  </a:lnTo>
                  <a:lnTo>
                    <a:pt x="3995" y="4865"/>
                  </a:lnTo>
                </a:path>
              </a:pathLst>
            </a:custGeom>
            <a:grpFill/>
            <a:ln w="548" cap="flat">
              <a:noFill/>
              <a:prstDash val="solid"/>
              <a:miter/>
            </a:ln>
          </p:spPr>
          <p:txBody>
            <a:bodyPr/>
            <a:lstStyle/>
            <a:p>
              <a:endParaRPr lang="en-US"/>
            </a:p>
          </p:txBody>
        </p:sp>
        <p:sp>
          <p:nvSpPr>
            <p:cNvPr id="306" name="Freeform: Shape 305">
              <a:extLst>
                <a:ext uri="{FF2B5EF4-FFF2-40B4-BE49-F238E27FC236}">
                  <a16:creationId xmlns:a16="http://schemas.microsoft.com/office/drawing/2014/main" id="{2788FBF1-9531-C07A-E61A-428D609F1867}"/>
                </a:ext>
              </a:extLst>
            </p:cNvPr>
            <p:cNvSpPr/>
            <p:nvPr/>
          </p:nvSpPr>
          <p:spPr>
            <a:xfrm flipV="1">
              <a:off x="24071542" y="3283539"/>
              <a:ext cx="12673" cy="12821"/>
            </a:xfrm>
            <a:custGeom>
              <a:avLst/>
              <a:gdLst>
                <a:gd name="csX0" fmla="*/ 3995 w 12673"/>
                <a:gd name="csY0" fmla="*/ 4902 h 12821"/>
                <a:gd name="csX1" fmla="*/ -8678 w 12673"/>
                <a:gd name="csY1" fmla="*/ 4902 h 12821"/>
                <a:gd name="csX2" fmla="*/ -8678 w 12673"/>
                <a:gd name="csY2" fmla="*/ -7920 h 12821"/>
                <a:gd name="csX3" fmla="*/ 3995 w 12673"/>
                <a:gd name="csY3" fmla="*/ -7920 h 12821"/>
                <a:gd name="csX4" fmla="*/ 3995 w 12673"/>
                <a:gd name="csY4" fmla="*/ 4902 h 12821"/>
              </a:gdLst>
              <a:ahLst/>
              <a:cxnLst>
                <a:cxn ang="0">
                  <a:pos x="csX0" y="csY0"/>
                </a:cxn>
                <a:cxn ang="0">
                  <a:pos x="csX1" y="csY1"/>
                </a:cxn>
                <a:cxn ang="0">
                  <a:pos x="csX2" y="csY2"/>
                </a:cxn>
                <a:cxn ang="0">
                  <a:pos x="csX3" y="csY3"/>
                </a:cxn>
                <a:cxn ang="0">
                  <a:pos x="csX4" y="csY4"/>
                </a:cxn>
              </a:cxnLst>
              <a:rect l="l" t="t" r="r" b="b"/>
              <a:pathLst>
                <a:path w="12673" h="12821">
                  <a:moveTo>
                    <a:pt x="3995" y="4902"/>
                  </a:moveTo>
                  <a:lnTo>
                    <a:pt x="-8678" y="4902"/>
                  </a:lnTo>
                  <a:lnTo>
                    <a:pt x="-8678" y="-7920"/>
                  </a:lnTo>
                  <a:lnTo>
                    <a:pt x="3995" y="-7920"/>
                  </a:lnTo>
                  <a:lnTo>
                    <a:pt x="3995" y="4902"/>
                  </a:lnTo>
                </a:path>
              </a:pathLst>
            </a:custGeom>
            <a:grpFill/>
            <a:ln w="548" cap="flat">
              <a:noFill/>
              <a:prstDash val="solid"/>
              <a:miter/>
            </a:ln>
          </p:spPr>
          <p:txBody>
            <a:bodyPr/>
            <a:lstStyle/>
            <a:p>
              <a:endParaRPr lang="en-US"/>
            </a:p>
          </p:txBody>
        </p:sp>
        <p:sp>
          <p:nvSpPr>
            <p:cNvPr id="307" name="Freeform: Shape 306">
              <a:extLst>
                <a:ext uri="{FF2B5EF4-FFF2-40B4-BE49-F238E27FC236}">
                  <a16:creationId xmlns:a16="http://schemas.microsoft.com/office/drawing/2014/main" id="{03D45885-6599-B732-AAE3-7EB4FC1F1AE7}"/>
                </a:ext>
              </a:extLst>
            </p:cNvPr>
            <p:cNvSpPr/>
            <p:nvPr/>
          </p:nvSpPr>
          <p:spPr>
            <a:xfrm flipV="1">
              <a:off x="24112854" y="3327551"/>
              <a:ext cx="12673" cy="12827"/>
            </a:xfrm>
            <a:custGeom>
              <a:avLst/>
              <a:gdLst>
                <a:gd name="csX0" fmla="*/ 3944 w 12673"/>
                <a:gd name="csY0" fmla="*/ 5013 h 12827"/>
                <a:gd name="csX1" fmla="*/ -8730 w 12673"/>
                <a:gd name="csY1" fmla="*/ 5013 h 12827"/>
                <a:gd name="csX2" fmla="*/ -8730 w 12673"/>
                <a:gd name="csY2" fmla="*/ -7814 h 12827"/>
                <a:gd name="csX3" fmla="*/ 3944 w 12673"/>
                <a:gd name="csY3" fmla="*/ -7814 h 12827"/>
                <a:gd name="csX4" fmla="*/ 3944 w 12673"/>
                <a:gd name="csY4" fmla="*/ 5013 h 12827"/>
              </a:gdLst>
              <a:ahLst/>
              <a:cxnLst>
                <a:cxn ang="0">
                  <a:pos x="csX0" y="csY0"/>
                </a:cxn>
                <a:cxn ang="0">
                  <a:pos x="csX1" y="csY1"/>
                </a:cxn>
                <a:cxn ang="0">
                  <a:pos x="csX2" y="csY2"/>
                </a:cxn>
                <a:cxn ang="0">
                  <a:pos x="csX3" y="csY3"/>
                </a:cxn>
                <a:cxn ang="0">
                  <a:pos x="csX4" y="csY4"/>
                </a:cxn>
              </a:cxnLst>
              <a:rect l="l" t="t" r="r" b="b"/>
              <a:pathLst>
                <a:path w="12673" h="12827">
                  <a:moveTo>
                    <a:pt x="3944" y="5013"/>
                  </a:moveTo>
                  <a:lnTo>
                    <a:pt x="-8730" y="5013"/>
                  </a:lnTo>
                  <a:lnTo>
                    <a:pt x="-8730" y="-7814"/>
                  </a:lnTo>
                  <a:lnTo>
                    <a:pt x="3944" y="-7814"/>
                  </a:lnTo>
                  <a:lnTo>
                    <a:pt x="3944" y="5013"/>
                  </a:lnTo>
                </a:path>
              </a:pathLst>
            </a:custGeom>
            <a:grpFill/>
            <a:ln w="548" cap="flat">
              <a:noFill/>
              <a:prstDash val="solid"/>
              <a:miter/>
            </a:ln>
          </p:spPr>
          <p:txBody>
            <a:bodyPr/>
            <a:lstStyle/>
            <a:p>
              <a:endParaRPr lang="en-US"/>
            </a:p>
          </p:txBody>
        </p:sp>
        <p:sp>
          <p:nvSpPr>
            <p:cNvPr id="308" name="Freeform: Shape 307">
              <a:extLst>
                <a:ext uri="{FF2B5EF4-FFF2-40B4-BE49-F238E27FC236}">
                  <a16:creationId xmlns:a16="http://schemas.microsoft.com/office/drawing/2014/main" id="{12B43535-1BA4-3E04-CB4C-B257E92BA527}"/>
                </a:ext>
              </a:extLst>
            </p:cNvPr>
            <p:cNvSpPr/>
            <p:nvPr/>
          </p:nvSpPr>
          <p:spPr>
            <a:xfrm flipV="1">
              <a:off x="24112854" y="3342776"/>
              <a:ext cx="12673" cy="12827"/>
            </a:xfrm>
            <a:custGeom>
              <a:avLst/>
              <a:gdLst>
                <a:gd name="csX0" fmla="*/ 3944 w 12673"/>
                <a:gd name="csY0" fmla="*/ 5050 h 12827"/>
                <a:gd name="csX1" fmla="*/ -8730 w 12673"/>
                <a:gd name="csY1" fmla="*/ 5050 h 12827"/>
                <a:gd name="csX2" fmla="*/ -8730 w 12673"/>
                <a:gd name="csY2" fmla="*/ -7778 h 12827"/>
                <a:gd name="csX3" fmla="*/ 3944 w 12673"/>
                <a:gd name="csY3" fmla="*/ -7778 h 12827"/>
                <a:gd name="csX4" fmla="*/ 3944 w 12673"/>
                <a:gd name="csY4" fmla="*/ 5050 h 12827"/>
              </a:gdLst>
              <a:ahLst/>
              <a:cxnLst>
                <a:cxn ang="0">
                  <a:pos x="csX0" y="csY0"/>
                </a:cxn>
                <a:cxn ang="0">
                  <a:pos x="csX1" y="csY1"/>
                </a:cxn>
                <a:cxn ang="0">
                  <a:pos x="csX2" y="csY2"/>
                </a:cxn>
                <a:cxn ang="0">
                  <a:pos x="csX3" y="csY3"/>
                </a:cxn>
                <a:cxn ang="0">
                  <a:pos x="csX4" y="csY4"/>
                </a:cxn>
              </a:cxnLst>
              <a:rect l="l" t="t" r="r" b="b"/>
              <a:pathLst>
                <a:path w="12673" h="12827">
                  <a:moveTo>
                    <a:pt x="3944" y="5050"/>
                  </a:moveTo>
                  <a:lnTo>
                    <a:pt x="-8730" y="5050"/>
                  </a:lnTo>
                  <a:lnTo>
                    <a:pt x="-8730" y="-7778"/>
                  </a:lnTo>
                  <a:lnTo>
                    <a:pt x="3944" y="-7778"/>
                  </a:lnTo>
                  <a:lnTo>
                    <a:pt x="3944" y="5050"/>
                  </a:lnTo>
                </a:path>
              </a:pathLst>
            </a:custGeom>
            <a:grpFill/>
            <a:ln w="548" cap="flat">
              <a:noFill/>
              <a:prstDash val="solid"/>
              <a:miter/>
            </a:ln>
          </p:spPr>
          <p:txBody>
            <a:bodyPr/>
            <a:lstStyle/>
            <a:p>
              <a:endParaRPr lang="en-US"/>
            </a:p>
          </p:txBody>
        </p:sp>
        <p:sp>
          <p:nvSpPr>
            <p:cNvPr id="309" name="Freeform: Shape 308">
              <a:extLst>
                <a:ext uri="{FF2B5EF4-FFF2-40B4-BE49-F238E27FC236}">
                  <a16:creationId xmlns:a16="http://schemas.microsoft.com/office/drawing/2014/main" id="{371DEA08-8F66-387A-F602-1B399052954E}"/>
                </a:ext>
              </a:extLst>
            </p:cNvPr>
            <p:cNvSpPr/>
            <p:nvPr/>
          </p:nvSpPr>
          <p:spPr>
            <a:xfrm flipV="1">
              <a:off x="24071542" y="3342776"/>
              <a:ext cx="12673" cy="12827"/>
            </a:xfrm>
            <a:custGeom>
              <a:avLst/>
              <a:gdLst>
                <a:gd name="csX0" fmla="*/ 3995 w 12673"/>
                <a:gd name="csY0" fmla="*/ 5050 h 12827"/>
                <a:gd name="csX1" fmla="*/ -8678 w 12673"/>
                <a:gd name="csY1" fmla="*/ 5050 h 12827"/>
                <a:gd name="csX2" fmla="*/ -8678 w 12673"/>
                <a:gd name="csY2" fmla="*/ -7778 h 12827"/>
                <a:gd name="csX3" fmla="*/ 3995 w 12673"/>
                <a:gd name="csY3" fmla="*/ -7778 h 12827"/>
                <a:gd name="csX4" fmla="*/ 3995 w 12673"/>
                <a:gd name="csY4" fmla="*/ 5050 h 12827"/>
              </a:gdLst>
              <a:ahLst/>
              <a:cxnLst>
                <a:cxn ang="0">
                  <a:pos x="csX0" y="csY0"/>
                </a:cxn>
                <a:cxn ang="0">
                  <a:pos x="csX1" y="csY1"/>
                </a:cxn>
                <a:cxn ang="0">
                  <a:pos x="csX2" y="csY2"/>
                </a:cxn>
                <a:cxn ang="0">
                  <a:pos x="csX3" y="csY3"/>
                </a:cxn>
                <a:cxn ang="0">
                  <a:pos x="csX4" y="csY4"/>
                </a:cxn>
              </a:cxnLst>
              <a:rect l="l" t="t" r="r" b="b"/>
              <a:pathLst>
                <a:path w="12673" h="12827">
                  <a:moveTo>
                    <a:pt x="3995" y="5050"/>
                  </a:moveTo>
                  <a:lnTo>
                    <a:pt x="-8678" y="5050"/>
                  </a:lnTo>
                  <a:lnTo>
                    <a:pt x="-8678" y="-7778"/>
                  </a:lnTo>
                  <a:lnTo>
                    <a:pt x="3995" y="-7778"/>
                  </a:lnTo>
                  <a:lnTo>
                    <a:pt x="3995" y="5050"/>
                  </a:lnTo>
                </a:path>
              </a:pathLst>
            </a:custGeom>
            <a:grpFill/>
            <a:ln w="548" cap="flat">
              <a:noFill/>
              <a:prstDash val="solid"/>
              <a:miter/>
            </a:ln>
          </p:spPr>
          <p:txBody>
            <a:bodyPr/>
            <a:lstStyle/>
            <a:p>
              <a:endParaRPr lang="en-US"/>
            </a:p>
          </p:txBody>
        </p:sp>
        <p:sp>
          <p:nvSpPr>
            <p:cNvPr id="310" name="Freeform: Shape 309">
              <a:extLst>
                <a:ext uri="{FF2B5EF4-FFF2-40B4-BE49-F238E27FC236}">
                  <a16:creationId xmlns:a16="http://schemas.microsoft.com/office/drawing/2014/main" id="{2E3EC0C8-F4A1-8927-4E00-927374F486B1}"/>
                </a:ext>
              </a:extLst>
            </p:cNvPr>
            <p:cNvSpPr/>
            <p:nvPr/>
          </p:nvSpPr>
          <p:spPr>
            <a:xfrm flipV="1">
              <a:off x="24071542" y="3327551"/>
              <a:ext cx="12673" cy="12827"/>
            </a:xfrm>
            <a:custGeom>
              <a:avLst/>
              <a:gdLst>
                <a:gd name="csX0" fmla="*/ 3995 w 12673"/>
                <a:gd name="csY0" fmla="*/ 5013 h 12827"/>
                <a:gd name="csX1" fmla="*/ -8678 w 12673"/>
                <a:gd name="csY1" fmla="*/ 5013 h 12827"/>
                <a:gd name="csX2" fmla="*/ -8678 w 12673"/>
                <a:gd name="csY2" fmla="*/ -7814 h 12827"/>
                <a:gd name="csX3" fmla="*/ 3995 w 12673"/>
                <a:gd name="csY3" fmla="*/ -7814 h 12827"/>
                <a:gd name="csX4" fmla="*/ 3995 w 12673"/>
                <a:gd name="csY4" fmla="*/ 5013 h 12827"/>
              </a:gdLst>
              <a:ahLst/>
              <a:cxnLst>
                <a:cxn ang="0">
                  <a:pos x="csX0" y="csY0"/>
                </a:cxn>
                <a:cxn ang="0">
                  <a:pos x="csX1" y="csY1"/>
                </a:cxn>
                <a:cxn ang="0">
                  <a:pos x="csX2" y="csY2"/>
                </a:cxn>
                <a:cxn ang="0">
                  <a:pos x="csX3" y="csY3"/>
                </a:cxn>
                <a:cxn ang="0">
                  <a:pos x="csX4" y="csY4"/>
                </a:cxn>
              </a:cxnLst>
              <a:rect l="l" t="t" r="r" b="b"/>
              <a:pathLst>
                <a:path w="12673" h="12827">
                  <a:moveTo>
                    <a:pt x="3995" y="5013"/>
                  </a:moveTo>
                  <a:lnTo>
                    <a:pt x="-8678" y="5013"/>
                  </a:lnTo>
                  <a:lnTo>
                    <a:pt x="-8678" y="-7814"/>
                  </a:lnTo>
                  <a:lnTo>
                    <a:pt x="3995" y="-7814"/>
                  </a:lnTo>
                  <a:lnTo>
                    <a:pt x="3995" y="5013"/>
                  </a:lnTo>
                </a:path>
              </a:pathLst>
            </a:custGeom>
            <a:grpFill/>
            <a:ln w="548" cap="flat">
              <a:noFill/>
              <a:prstDash val="solid"/>
              <a:miter/>
            </a:ln>
          </p:spPr>
          <p:txBody>
            <a:bodyPr/>
            <a:lstStyle/>
            <a:p>
              <a:endParaRPr lang="en-US"/>
            </a:p>
          </p:txBody>
        </p:sp>
        <p:sp>
          <p:nvSpPr>
            <p:cNvPr id="311" name="Freeform: Shape 310">
              <a:extLst>
                <a:ext uri="{FF2B5EF4-FFF2-40B4-BE49-F238E27FC236}">
                  <a16:creationId xmlns:a16="http://schemas.microsoft.com/office/drawing/2014/main" id="{4509E0EA-0CF9-F9B3-B7DB-738522A776D1}"/>
                </a:ext>
              </a:extLst>
            </p:cNvPr>
            <p:cNvSpPr/>
            <p:nvPr/>
          </p:nvSpPr>
          <p:spPr>
            <a:xfrm flipV="1">
              <a:off x="24112854" y="3386793"/>
              <a:ext cx="12673" cy="12821"/>
            </a:xfrm>
            <a:custGeom>
              <a:avLst/>
              <a:gdLst>
                <a:gd name="csX0" fmla="*/ 3944 w 12673"/>
                <a:gd name="csY0" fmla="*/ 5150 h 12821"/>
                <a:gd name="csX1" fmla="*/ -8730 w 12673"/>
                <a:gd name="csY1" fmla="*/ 5150 h 12821"/>
                <a:gd name="csX2" fmla="*/ -8730 w 12673"/>
                <a:gd name="csY2" fmla="*/ -7672 h 12821"/>
                <a:gd name="csX3" fmla="*/ 3944 w 12673"/>
                <a:gd name="csY3" fmla="*/ -7672 h 12821"/>
                <a:gd name="csX4" fmla="*/ 3944 w 12673"/>
                <a:gd name="csY4" fmla="*/ 5150 h 12821"/>
              </a:gdLst>
              <a:ahLst/>
              <a:cxnLst>
                <a:cxn ang="0">
                  <a:pos x="csX0" y="csY0"/>
                </a:cxn>
                <a:cxn ang="0">
                  <a:pos x="csX1" y="csY1"/>
                </a:cxn>
                <a:cxn ang="0">
                  <a:pos x="csX2" y="csY2"/>
                </a:cxn>
                <a:cxn ang="0">
                  <a:pos x="csX3" y="csY3"/>
                </a:cxn>
                <a:cxn ang="0">
                  <a:pos x="csX4" y="csY4"/>
                </a:cxn>
              </a:cxnLst>
              <a:rect l="l" t="t" r="r" b="b"/>
              <a:pathLst>
                <a:path w="12673" h="12821">
                  <a:moveTo>
                    <a:pt x="3944" y="5150"/>
                  </a:moveTo>
                  <a:lnTo>
                    <a:pt x="-8730" y="5150"/>
                  </a:lnTo>
                  <a:lnTo>
                    <a:pt x="-8730" y="-7672"/>
                  </a:lnTo>
                  <a:lnTo>
                    <a:pt x="3944" y="-7672"/>
                  </a:lnTo>
                  <a:lnTo>
                    <a:pt x="3944" y="5150"/>
                  </a:lnTo>
                </a:path>
              </a:pathLst>
            </a:custGeom>
            <a:grpFill/>
            <a:ln w="548" cap="flat">
              <a:noFill/>
              <a:prstDash val="solid"/>
              <a:miter/>
            </a:ln>
          </p:spPr>
          <p:txBody>
            <a:bodyPr/>
            <a:lstStyle/>
            <a:p>
              <a:endParaRPr lang="en-US"/>
            </a:p>
          </p:txBody>
        </p:sp>
        <p:sp>
          <p:nvSpPr>
            <p:cNvPr id="312" name="Freeform: Shape 311">
              <a:extLst>
                <a:ext uri="{FF2B5EF4-FFF2-40B4-BE49-F238E27FC236}">
                  <a16:creationId xmlns:a16="http://schemas.microsoft.com/office/drawing/2014/main" id="{984CD3A8-556B-49FF-E380-AB482E3605DF}"/>
                </a:ext>
              </a:extLst>
            </p:cNvPr>
            <p:cNvSpPr/>
            <p:nvPr/>
          </p:nvSpPr>
          <p:spPr>
            <a:xfrm flipV="1">
              <a:off x="24112854" y="3402018"/>
              <a:ext cx="12673" cy="12821"/>
            </a:xfrm>
            <a:custGeom>
              <a:avLst/>
              <a:gdLst>
                <a:gd name="csX0" fmla="*/ 3944 w 12673"/>
                <a:gd name="csY0" fmla="*/ 5186 h 12821"/>
                <a:gd name="csX1" fmla="*/ -8730 w 12673"/>
                <a:gd name="csY1" fmla="*/ 5186 h 12821"/>
                <a:gd name="csX2" fmla="*/ -8730 w 12673"/>
                <a:gd name="csY2" fmla="*/ -7635 h 12821"/>
                <a:gd name="csX3" fmla="*/ 3944 w 12673"/>
                <a:gd name="csY3" fmla="*/ -7635 h 12821"/>
                <a:gd name="csX4" fmla="*/ 3944 w 12673"/>
                <a:gd name="csY4" fmla="*/ 5186 h 12821"/>
              </a:gdLst>
              <a:ahLst/>
              <a:cxnLst>
                <a:cxn ang="0">
                  <a:pos x="csX0" y="csY0"/>
                </a:cxn>
                <a:cxn ang="0">
                  <a:pos x="csX1" y="csY1"/>
                </a:cxn>
                <a:cxn ang="0">
                  <a:pos x="csX2" y="csY2"/>
                </a:cxn>
                <a:cxn ang="0">
                  <a:pos x="csX3" y="csY3"/>
                </a:cxn>
                <a:cxn ang="0">
                  <a:pos x="csX4" y="csY4"/>
                </a:cxn>
              </a:cxnLst>
              <a:rect l="l" t="t" r="r" b="b"/>
              <a:pathLst>
                <a:path w="12673" h="12821">
                  <a:moveTo>
                    <a:pt x="3944" y="5186"/>
                  </a:moveTo>
                  <a:lnTo>
                    <a:pt x="-8730" y="5186"/>
                  </a:lnTo>
                  <a:lnTo>
                    <a:pt x="-8730" y="-7635"/>
                  </a:lnTo>
                  <a:lnTo>
                    <a:pt x="3944" y="-7635"/>
                  </a:lnTo>
                  <a:lnTo>
                    <a:pt x="3944" y="5186"/>
                  </a:lnTo>
                </a:path>
              </a:pathLst>
            </a:custGeom>
            <a:grpFill/>
            <a:ln w="548" cap="flat">
              <a:noFill/>
              <a:prstDash val="solid"/>
              <a:miter/>
            </a:ln>
          </p:spPr>
          <p:txBody>
            <a:bodyPr/>
            <a:lstStyle/>
            <a:p>
              <a:endParaRPr lang="en-US"/>
            </a:p>
          </p:txBody>
        </p:sp>
        <p:sp>
          <p:nvSpPr>
            <p:cNvPr id="313" name="Freeform: Shape 312">
              <a:extLst>
                <a:ext uri="{FF2B5EF4-FFF2-40B4-BE49-F238E27FC236}">
                  <a16:creationId xmlns:a16="http://schemas.microsoft.com/office/drawing/2014/main" id="{926F0691-4E31-FC0A-44D3-8883880411D3}"/>
                </a:ext>
              </a:extLst>
            </p:cNvPr>
            <p:cNvSpPr/>
            <p:nvPr/>
          </p:nvSpPr>
          <p:spPr>
            <a:xfrm flipV="1">
              <a:off x="24071542" y="3402018"/>
              <a:ext cx="12673" cy="12821"/>
            </a:xfrm>
            <a:custGeom>
              <a:avLst/>
              <a:gdLst>
                <a:gd name="csX0" fmla="*/ 3995 w 12673"/>
                <a:gd name="csY0" fmla="*/ 5186 h 12821"/>
                <a:gd name="csX1" fmla="*/ -8678 w 12673"/>
                <a:gd name="csY1" fmla="*/ 5186 h 12821"/>
                <a:gd name="csX2" fmla="*/ -8678 w 12673"/>
                <a:gd name="csY2" fmla="*/ -7635 h 12821"/>
                <a:gd name="csX3" fmla="*/ 3995 w 12673"/>
                <a:gd name="csY3" fmla="*/ -7635 h 12821"/>
                <a:gd name="csX4" fmla="*/ 3995 w 12673"/>
                <a:gd name="csY4" fmla="*/ 5186 h 12821"/>
              </a:gdLst>
              <a:ahLst/>
              <a:cxnLst>
                <a:cxn ang="0">
                  <a:pos x="csX0" y="csY0"/>
                </a:cxn>
                <a:cxn ang="0">
                  <a:pos x="csX1" y="csY1"/>
                </a:cxn>
                <a:cxn ang="0">
                  <a:pos x="csX2" y="csY2"/>
                </a:cxn>
                <a:cxn ang="0">
                  <a:pos x="csX3" y="csY3"/>
                </a:cxn>
                <a:cxn ang="0">
                  <a:pos x="csX4" y="csY4"/>
                </a:cxn>
              </a:cxnLst>
              <a:rect l="l" t="t" r="r" b="b"/>
              <a:pathLst>
                <a:path w="12673" h="12821">
                  <a:moveTo>
                    <a:pt x="3995" y="5186"/>
                  </a:moveTo>
                  <a:lnTo>
                    <a:pt x="-8678" y="5186"/>
                  </a:lnTo>
                  <a:lnTo>
                    <a:pt x="-8678" y="-7635"/>
                  </a:lnTo>
                  <a:lnTo>
                    <a:pt x="3995" y="-7635"/>
                  </a:lnTo>
                  <a:lnTo>
                    <a:pt x="3995" y="5186"/>
                  </a:lnTo>
                </a:path>
              </a:pathLst>
            </a:custGeom>
            <a:grpFill/>
            <a:ln w="548" cap="flat">
              <a:noFill/>
              <a:prstDash val="solid"/>
              <a:miter/>
            </a:ln>
          </p:spPr>
          <p:txBody>
            <a:bodyPr/>
            <a:lstStyle/>
            <a:p>
              <a:endParaRPr lang="en-US"/>
            </a:p>
          </p:txBody>
        </p:sp>
        <p:sp>
          <p:nvSpPr>
            <p:cNvPr id="314" name="Freeform: Shape 313">
              <a:extLst>
                <a:ext uri="{FF2B5EF4-FFF2-40B4-BE49-F238E27FC236}">
                  <a16:creationId xmlns:a16="http://schemas.microsoft.com/office/drawing/2014/main" id="{747EA1FD-2A58-DDE4-AFDD-DE3E2BCB2B76}"/>
                </a:ext>
              </a:extLst>
            </p:cNvPr>
            <p:cNvSpPr/>
            <p:nvPr/>
          </p:nvSpPr>
          <p:spPr>
            <a:xfrm flipV="1">
              <a:off x="24071542" y="3386793"/>
              <a:ext cx="12673" cy="12821"/>
            </a:xfrm>
            <a:custGeom>
              <a:avLst/>
              <a:gdLst>
                <a:gd name="csX0" fmla="*/ 3995 w 12673"/>
                <a:gd name="csY0" fmla="*/ 5150 h 12821"/>
                <a:gd name="csX1" fmla="*/ -8678 w 12673"/>
                <a:gd name="csY1" fmla="*/ 5150 h 12821"/>
                <a:gd name="csX2" fmla="*/ -8678 w 12673"/>
                <a:gd name="csY2" fmla="*/ -7672 h 12821"/>
                <a:gd name="csX3" fmla="*/ 3995 w 12673"/>
                <a:gd name="csY3" fmla="*/ -7672 h 12821"/>
                <a:gd name="csX4" fmla="*/ 3995 w 12673"/>
                <a:gd name="csY4" fmla="*/ 5150 h 12821"/>
              </a:gdLst>
              <a:ahLst/>
              <a:cxnLst>
                <a:cxn ang="0">
                  <a:pos x="csX0" y="csY0"/>
                </a:cxn>
                <a:cxn ang="0">
                  <a:pos x="csX1" y="csY1"/>
                </a:cxn>
                <a:cxn ang="0">
                  <a:pos x="csX2" y="csY2"/>
                </a:cxn>
                <a:cxn ang="0">
                  <a:pos x="csX3" y="csY3"/>
                </a:cxn>
                <a:cxn ang="0">
                  <a:pos x="csX4" y="csY4"/>
                </a:cxn>
              </a:cxnLst>
              <a:rect l="l" t="t" r="r" b="b"/>
              <a:pathLst>
                <a:path w="12673" h="12821">
                  <a:moveTo>
                    <a:pt x="3995" y="5150"/>
                  </a:moveTo>
                  <a:lnTo>
                    <a:pt x="-8678" y="5150"/>
                  </a:lnTo>
                  <a:lnTo>
                    <a:pt x="-8678" y="-7672"/>
                  </a:lnTo>
                  <a:lnTo>
                    <a:pt x="3995" y="-7672"/>
                  </a:lnTo>
                  <a:lnTo>
                    <a:pt x="3995" y="5150"/>
                  </a:lnTo>
                </a:path>
              </a:pathLst>
            </a:custGeom>
            <a:grpFill/>
            <a:ln w="548" cap="flat">
              <a:noFill/>
              <a:prstDash val="solid"/>
              <a:miter/>
            </a:ln>
          </p:spPr>
          <p:txBody>
            <a:bodyPr/>
            <a:lstStyle/>
            <a:p>
              <a:endParaRPr lang="en-US"/>
            </a:p>
          </p:txBody>
        </p:sp>
        <p:sp>
          <p:nvSpPr>
            <p:cNvPr id="315" name="Freeform: Shape 314">
              <a:extLst>
                <a:ext uri="{FF2B5EF4-FFF2-40B4-BE49-F238E27FC236}">
                  <a16:creationId xmlns:a16="http://schemas.microsoft.com/office/drawing/2014/main" id="{E5518740-DFCA-04FE-E5D0-1F72FB1D72AA}"/>
                </a:ext>
              </a:extLst>
            </p:cNvPr>
            <p:cNvSpPr/>
            <p:nvPr/>
          </p:nvSpPr>
          <p:spPr>
            <a:xfrm flipV="1">
              <a:off x="24112854" y="3446030"/>
              <a:ext cx="12673" cy="12827"/>
            </a:xfrm>
            <a:custGeom>
              <a:avLst/>
              <a:gdLst>
                <a:gd name="csX0" fmla="*/ 3944 w 12673"/>
                <a:gd name="csY0" fmla="*/ 5298 h 12827"/>
                <a:gd name="csX1" fmla="*/ -8730 w 12673"/>
                <a:gd name="csY1" fmla="*/ 5298 h 12827"/>
                <a:gd name="csX2" fmla="*/ -8730 w 12673"/>
                <a:gd name="csY2" fmla="*/ -7529 h 12827"/>
                <a:gd name="csX3" fmla="*/ 3944 w 12673"/>
                <a:gd name="csY3" fmla="*/ -7529 h 12827"/>
                <a:gd name="csX4" fmla="*/ 3944 w 12673"/>
                <a:gd name="csY4" fmla="*/ 5298 h 12827"/>
              </a:gdLst>
              <a:ahLst/>
              <a:cxnLst>
                <a:cxn ang="0">
                  <a:pos x="csX0" y="csY0"/>
                </a:cxn>
                <a:cxn ang="0">
                  <a:pos x="csX1" y="csY1"/>
                </a:cxn>
                <a:cxn ang="0">
                  <a:pos x="csX2" y="csY2"/>
                </a:cxn>
                <a:cxn ang="0">
                  <a:pos x="csX3" y="csY3"/>
                </a:cxn>
                <a:cxn ang="0">
                  <a:pos x="csX4" y="csY4"/>
                </a:cxn>
              </a:cxnLst>
              <a:rect l="l" t="t" r="r" b="b"/>
              <a:pathLst>
                <a:path w="12673" h="12827">
                  <a:moveTo>
                    <a:pt x="3944" y="5298"/>
                  </a:moveTo>
                  <a:lnTo>
                    <a:pt x="-8730" y="5298"/>
                  </a:lnTo>
                  <a:lnTo>
                    <a:pt x="-8730" y="-7529"/>
                  </a:lnTo>
                  <a:lnTo>
                    <a:pt x="3944" y="-7529"/>
                  </a:lnTo>
                  <a:lnTo>
                    <a:pt x="3944" y="5298"/>
                  </a:lnTo>
                </a:path>
              </a:pathLst>
            </a:custGeom>
            <a:grpFill/>
            <a:ln w="548" cap="flat">
              <a:noFill/>
              <a:prstDash val="solid"/>
              <a:miter/>
            </a:ln>
          </p:spPr>
          <p:txBody>
            <a:bodyPr/>
            <a:lstStyle/>
            <a:p>
              <a:endParaRPr lang="en-US"/>
            </a:p>
          </p:txBody>
        </p:sp>
        <p:sp>
          <p:nvSpPr>
            <p:cNvPr id="316" name="Freeform: Shape 315">
              <a:extLst>
                <a:ext uri="{FF2B5EF4-FFF2-40B4-BE49-F238E27FC236}">
                  <a16:creationId xmlns:a16="http://schemas.microsoft.com/office/drawing/2014/main" id="{CF3E3A9B-B866-1AC0-48F8-F432CD29E58C}"/>
                </a:ext>
              </a:extLst>
            </p:cNvPr>
            <p:cNvSpPr/>
            <p:nvPr/>
          </p:nvSpPr>
          <p:spPr>
            <a:xfrm flipV="1">
              <a:off x="24112854" y="3461260"/>
              <a:ext cx="12673" cy="12821"/>
            </a:xfrm>
            <a:custGeom>
              <a:avLst/>
              <a:gdLst>
                <a:gd name="csX0" fmla="*/ 3944 w 12673"/>
                <a:gd name="csY0" fmla="*/ 5329 h 12821"/>
                <a:gd name="csX1" fmla="*/ -8730 w 12673"/>
                <a:gd name="csY1" fmla="*/ 5329 h 12821"/>
                <a:gd name="csX2" fmla="*/ -8730 w 12673"/>
                <a:gd name="csY2" fmla="*/ -7492 h 12821"/>
                <a:gd name="csX3" fmla="*/ 3944 w 12673"/>
                <a:gd name="csY3" fmla="*/ -7492 h 12821"/>
                <a:gd name="csX4" fmla="*/ 3944 w 12673"/>
                <a:gd name="csY4" fmla="*/ 5329 h 12821"/>
              </a:gdLst>
              <a:ahLst/>
              <a:cxnLst>
                <a:cxn ang="0">
                  <a:pos x="csX0" y="csY0"/>
                </a:cxn>
                <a:cxn ang="0">
                  <a:pos x="csX1" y="csY1"/>
                </a:cxn>
                <a:cxn ang="0">
                  <a:pos x="csX2" y="csY2"/>
                </a:cxn>
                <a:cxn ang="0">
                  <a:pos x="csX3" y="csY3"/>
                </a:cxn>
                <a:cxn ang="0">
                  <a:pos x="csX4" y="csY4"/>
                </a:cxn>
              </a:cxnLst>
              <a:rect l="l" t="t" r="r" b="b"/>
              <a:pathLst>
                <a:path w="12673" h="12821">
                  <a:moveTo>
                    <a:pt x="3944" y="5329"/>
                  </a:moveTo>
                  <a:lnTo>
                    <a:pt x="-8730" y="5329"/>
                  </a:lnTo>
                  <a:lnTo>
                    <a:pt x="-8730" y="-7492"/>
                  </a:lnTo>
                  <a:lnTo>
                    <a:pt x="3944" y="-7492"/>
                  </a:lnTo>
                  <a:lnTo>
                    <a:pt x="3944" y="5329"/>
                  </a:lnTo>
                </a:path>
              </a:pathLst>
            </a:custGeom>
            <a:grpFill/>
            <a:ln w="548" cap="flat">
              <a:noFill/>
              <a:prstDash val="solid"/>
              <a:miter/>
            </a:ln>
          </p:spPr>
          <p:txBody>
            <a:bodyPr/>
            <a:lstStyle/>
            <a:p>
              <a:endParaRPr lang="en-US"/>
            </a:p>
          </p:txBody>
        </p:sp>
        <p:sp>
          <p:nvSpPr>
            <p:cNvPr id="317" name="Freeform: Shape 316">
              <a:extLst>
                <a:ext uri="{FF2B5EF4-FFF2-40B4-BE49-F238E27FC236}">
                  <a16:creationId xmlns:a16="http://schemas.microsoft.com/office/drawing/2014/main" id="{78430E42-A558-77B5-5157-AF2B771B043F}"/>
                </a:ext>
              </a:extLst>
            </p:cNvPr>
            <p:cNvSpPr/>
            <p:nvPr/>
          </p:nvSpPr>
          <p:spPr>
            <a:xfrm flipV="1">
              <a:off x="24071542" y="3446030"/>
              <a:ext cx="12673" cy="12827"/>
            </a:xfrm>
            <a:custGeom>
              <a:avLst/>
              <a:gdLst>
                <a:gd name="csX0" fmla="*/ 3995 w 12673"/>
                <a:gd name="csY0" fmla="*/ 5298 h 12827"/>
                <a:gd name="csX1" fmla="*/ -8678 w 12673"/>
                <a:gd name="csY1" fmla="*/ 5298 h 12827"/>
                <a:gd name="csX2" fmla="*/ -8678 w 12673"/>
                <a:gd name="csY2" fmla="*/ -7529 h 12827"/>
                <a:gd name="csX3" fmla="*/ 3995 w 12673"/>
                <a:gd name="csY3" fmla="*/ -7529 h 12827"/>
                <a:gd name="csX4" fmla="*/ 3995 w 12673"/>
                <a:gd name="csY4" fmla="*/ 5298 h 12827"/>
              </a:gdLst>
              <a:ahLst/>
              <a:cxnLst>
                <a:cxn ang="0">
                  <a:pos x="csX0" y="csY0"/>
                </a:cxn>
                <a:cxn ang="0">
                  <a:pos x="csX1" y="csY1"/>
                </a:cxn>
                <a:cxn ang="0">
                  <a:pos x="csX2" y="csY2"/>
                </a:cxn>
                <a:cxn ang="0">
                  <a:pos x="csX3" y="csY3"/>
                </a:cxn>
                <a:cxn ang="0">
                  <a:pos x="csX4" y="csY4"/>
                </a:cxn>
              </a:cxnLst>
              <a:rect l="l" t="t" r="r" b="b"/>
              <a:pathLst>
                <a:path w="12673" h="12827">
                  <a:moveTo>
                    <a:pt x="3995" y="5298"/>
                  </a:moveTo>
                  <a:lnTo>
                    <a:pt x="-8678" y="5298"/>
                  </a:lnTo>
                  <a:lnTo>
                    <a:pt x="-8678" y="-7529"/>
                  </a:lnTo>
                  <a:lnTo>
                    <a:pt x="3995" y="-7529"/>
                  </a:lnTo>
                  <a:lnTo>
                    <a:pt x="3995" y="5298"/>
                  </a:lnTo>
                </a:path>
              </a:pathLst>
            </a:custGeom>
            <a:grpFill/>
            <a:ln w="548" cap="flat">
              <a:noFill/>
              <a:prstDash val="solid"/>
              <a:miter/>
            </a:ln>
          </p:spPr>
          <p:txBody>
            <a:bodyPr/>
            <a:lstStyle/>
            <a:p>
              <a:endParaRPr lang="en-US"/>
            </a:p>
          </p:txBody>
        </p:sp>
        <p:sp>
          <p:nvSpPr>
            <p:cNvPr id="318" name="Freeform: Shape 317">
              <a:extLst>
                <a:ext uri="{FF2B5EF4-FFF2-40B4-BE49-F238E27FC236}">
                  <a16:creationId xmlns:a16="http://schemas.microsoft.com/office/drawing/2014/main" id="{2970E6F9-9B3A-D0CE-65CA-65FE94BCB777}"/>
                </a:ext>
              </a:extLst>
            </p:cNvPr>
            <p:cNvSpPr/>
            <p:nvPr/>
          </p:nvSpPr>
          <p:spPr>
            <a:xfrm flipV="1">
              <a:off x="24071542" y="3461260"/>
              <a:ext cx="12673" cy="12821"/>
            </a:xfrm>
            <a:custGeom>
              <a:avLst/>
              <a:gdLst>
                <a:gd name="csX0" fmla="*/ 3995 w 12673"/>
                <a:gd name="csY0" fmla="*/ 5329 h 12821"/>
                <a:gd name="csX1" fmla="*/ -8678 w 12673"/>
                <a:gd name="csY1" fmla="*/ 5329 h 12821"/>
                <a:gd name="csX2" fmla="*/ -8678 w 12673"/>
                <a:gd name="csY2" fmla="*/ -7492 h 12821"/>
                <a:gd name="csX3" fmla="*/ 3995 w 12673"/>
                <a:gd name="csY3" fmla="*/ -7492 h 12821"/>
                <a:gd name="csX4" fmla="*/ 3995 w 12673"/>
                <a:gd name="csY4" fmla="*/ 5329 h 12821"/>
              </a:gdLst>
              <a:ahLst/>
              <a:cxnLst>
                <a:cxn ang="0">
                  <a:pos x="csX0" y="csY0"/>
                </a:cxn>
                <a:cxn ang="0">
                  <a:pos x="csX1" y="csY1"/>
                </a:cxn>
                <a:cxn ang="0">
                  <a:pos x="csX2" y="csY2"/>
                </a:cxn>
                <a:cxn ang="0">
                  <a:pos x="csX3" y="csY3"/>
                </a:cxn>
                <a:cxn ang="0">
                  <a:pos x="csX4" y="csY4"/>
                </a:cxn>
              </a:cxnLst>
              <a:rect l="l" t="t" r="r" b="b"/>
              <a:pathLst>
                <a:path w="12673" h="12821">
                  <a:moveTo>
                    <a:pt x="3995" y="5329"/>
                  </a:moveTo>
                  <a:lnTo>
                    <a:pt x="-8678" y="5329"/>
                  </a:lnTo>
                  <a:lnTo>
                    <a:pt x="-8678" y="-7492"/>
                  </a:lnTo>
                  <a:lnTo>
                    <a:pt x="3995" y="-7492"/>
                  </a:lnTo>
                  <a:lnTo>
                    <a:pt x="3995" y="5329"/>
                  </a:lnTo>
                </a:path>
              </a:pathLst>
            </a:custGeom>
            <a:grpFill/>
            <a:ln w="548" cap="flat">
              <a:noFill/>
              <a:prstDash val="solid"/>
              <a:miter/>
            </a:ln>
          </p:spPr>
          <p:txBody>
            <a:bodyPr/>
            <a:lstStyle/>
            <a:p>
              <a:endParaRPr lang="en-US"/>
            </a:p>
          </p:txBody>
        </p:sp>
        <p:sp>
          <p:nvSpPr>
            <p:cNvPr id="319" name="Freeform: Shape 318">
              <a:extLst>
                <a:ext uri="{FF2B5EF4-FFF2-40B4-BE49-F238E27FC236}">
                  <a16:creationId xmlns:a16="http://schemas.microsoft.com/office/drawing/2014/main" id="{029C73D3-699C-4F09-E5E9-791CFDE5523E}"/>
                </a:ext>
              </a:extLst>
            </p:cNvPr>
            <p:cNvSpPr/>
            <p:nvPr/>
          </p:nvSpPr>
          <p:spPr>
            <a:xfrm flipV="1">
              <a:off x="24112854" y="3520497"/>
              <a:ext cx="12673" cy="12827"/>
            </a:xfrm>
            <a:custGeom>
              <a:avLst/>
              <a:gdLst>
                <a:gd name="csX0" fmla="*/ 3944 w 12673"/>
                <a:gd name="csY0" fmla="*/ 5477 h 12827"/>
                <a:gd name="csX1" fmla="*/ -8730 w 12673"/>
                <a:gd name="csY1" fmla="*/ 5477 h 12827"/>
                <a:gd name="csX2" fmla="*/ -8730 w 12673"/>
                <a:gd name="csY2" fmla="*/ -7350 h 12827"/>
                <a:gd name="csX3" fmla="*/ 3944 w 12673"/>
                <a:gd name="csY3" fmla="*/ -7350 h 12827"/>
                <a:gd name="csX4" fmla="*/ 3944 w 12673"/>
                <a:gd name="csY4" fmla="*/ 5477 h 12827"/>
              </a:gdLst>
              <a:ahLst/>
              <a:cxnLst>
                <a:cxn ang="0">
                  <a:pos x="csX0" y="csY0"/>
                </a:cxn>
                <a:cxn ang="0">
                  <a:pos x="csX1" y="csY1"/>
                </a:cxn>
                <a:cxn ang="0">
                  <a:pos x="csX2" y="csY2"/>
                </a:cxn>
                <a:cxn ang="0">
                  <a:pos x="csX3" y="csY3"/>
                </a:cxn>
                <a:cxn ang="0">
                  <a:pos x="csX4" y="csY4"/>
                </a:cxn>
              </a:cxnLst>
              <a:rect l="l" t="t" r="r" b="b"/>
              <a:pathLst>
                <a:path w="12673" h="12827">
                  <a:moveTo>
                    <a:pt x="3944" y="5477"/>
                  </a:moveTo>
                  <a:lnTo>
                    <a:pt x="-8730" y="5477"/>
                  </a:lnTo>
                  <a:lnTo>
                    <a:pt x="-8730" y="-7350"/>
                  </a:lnTo>
                  <a:lnTo>
                    <a:pt x="3944" y="-7350"/>
                  </a:lnTo>
                  <a:lnTo>
                    <a:pt x="3944" y="5477"/>
                  </a:lnTo>
                </a:path>
              </a:pathLst>
            </a:custGeom>
            <a:grpFill/>
            <a:ln w="548" cap="flat">
              <a:noFill/>
              <a:prstDash val="solid"/>
              <a:miter/>
            </a:ln>
          </p:spPr>
          <p:txBody>
            <a:bodyPr/>
            <a:lstStyle/>
            <a:p>
              <a:endParaRPr lang="en-US"/>
            </a:p>
          </p:txBody>
        </p:sp>
        <p:sp>
          <p:nvSpPr>
            <p:cNvPr id="320" name="Freeform: Shape 319">
              <a:extLst>
                <a:ext uri="{FF2B5EF4-FFF2-40B4-BE49-F238E27FC236}">
                  <a16:creationId xmlns:a16="http://schemas.microsoft.com/office/drawing/2014/main" id="{A5A286C3-7C4B-E57E-93AE-AE2978894526}"/>
                </a:ext>
              </a:extLst>
            </p:cNvPr>
            <p:cNvSpPr/>
            <p:nvPr/>
          </p:nvSpPr>
          <p:spPr>
            <a:xfrm flipV="1">
              <a:off x="24112854" y="3505272"/>
              <a:ext cx="12673" cy="12827"/>
            </a:xfrm>
            <a:custGeom>
              <a:avLst/>
              <a:gdLst>
                <a:gd name="csX0" fmla="*/ 3944 w 12673"/>
                <a:gd name="csY0" fmla="*/ 5441 h 12827"/>
                <a:gd name="csX1" fmla="*/ -8730 w 12673"/>
                <a:gd name="csY1" fmla="*/ 5441 h 12827"/>
                <a:gd name="csX2" fmla="*/ -8730 w 12673"/>
                <a:gd name="csY2" fmla="*/ -7387 h 12827"/>
                <a:gd name="csX3" fmla="*/ 3944 w 12673"/>
                <a:gd name="csY3" fmla="*/ -7387 h 12827"/>
                <a:gd name="csX4" fmla="*/ 3944 w 12673"/>
                <a:gd name="csY4" fmla="*/ 5441 h 12827"/>
              </a:gdLst>
              <a:ahLst/>
              <a:cxnLst>
                <a:cxn ang="0">
                  <a:pos x="csX0" y="csY0"/>
                </a:cxn>
                <a:cxn ang="0">
                  <a:pos x="csX1" y="csY1"/>
                </a:cxn>
                <a:cxn ang="0">
                  <a:pos x="csX2" y="csY2"/>
                </a:cxn>
                <a:cxn ang="0">
                  <a:pos x="csX3" y="csY3"/>
                </a:cxn>
                <a:cxn ang="0">
                  <a:pos x="csX4" y="csY4"/>
                </a:cxn>
              </a:cxnLst>
              <a:rect l="l" t="t" r="r" b="b"/>
              <a:pathLst>
                <a:path w="12673" h="12827">
                  <a:moveTo>
                    <a:pt x="3944" y="5441"/>
                  </a:moveTo>
                  <a:lnTo>
                    <a:pt x="-8730" y="5441"/>
                  </a:lnTo>
                  <a:lnTo>
                    <a:pt x="-8730" y="-7387"/>
                  </a:lnTo>
                  <a:lnTo>
                    <a:pt x="3944" y="-7387"/>
                  </a:lnTo>
                  <a:lnTo>
                    <a:pt x="3944" y="5441"/>
                  </a:lnTo>
                </a:path>
              </a:pathLst>
            </a:custGeom>
            <a:grpFill/>
            <a:ln w="548" cap="flat">
              <a:noFill/>
              <a:prstDash val="solid"/>
              <a:miter/>
            </a:ln>
          </p:spPr>
          <p:txBody>
            <a:bodyPr/>
            <a:lstStyle/>
            <a:p>
              <a:endParaRPr lang="en-US"/>
            </a:p>
          </p:txBody>
        </p:sp>
        <p:sp>
          <p:nvSpPr>
            <p:cNvPr id="321" name="Freeform: Shape 320">
              <a:extLst>
                <a:ext uri="{FF2B5EF4-FFF2-40B4-BE49-F238E27FC236}">
                  <a16:creationId xmlns:a16="http://schemas.microsoft.com/office/drawing/2014/main" id="{C47CA167-A742-84AA-3279-6BBE65B18B45}"/>
                </a:ext>
              </a:extLst>
            </p:cNvPr>
            <p:cNvSpPr/>
            <p:nvPr/>
          </p:nvSpPr>
          <p:spPr>
            <a:xfrm flipV="1">
              <a:off x="24071542" y="3520497"/>
              <a:ext cx="12673" cy="12827"/>
            </a:xfrm>
            <a:custGeom>
              <a:avLst/>
              <a:gdLst>
                <a:gd name="csX0" fmla="*/ 3995 w 12673"/>
                <a:gd name="csY0" fmla="*/ 5477 h 12827"/>
                <a:gd name="csX1" fmla="*/ -8678 w 12673"/>
                <a:gd name="csY1" fmla="*/ 5477 h 12827"/>
                <a:gd name="csX2" fmla="*/ -8678 w 12673"/>
                <a:gd name="csY2" fmla="*/ -7350 h 12827"/>
                <a:gd name="csX3" fmla="*/ 3995 w 12673"/>
                <a:gd name="csY3" fmla="*/ -7350 h 12827"/>
                <a:gd name="csX4" fmla="*/ 3995 w 12673"/>
                <a:gd name="csY4" fmla="*/ 5477 h 12827"/>
              </a:gdLst>
              <a:ahLst/>
              <a:cxnLst>
                <a:cxn ang="0">
                  <a:pos x="csX0" y="csY0"/>
                </a:cxn>
                <a:cxn ang="0">
                  <a:pos x="csX1" y="csY1"/>
                </a:cxn>
                <a:cxn ang="0">
                  <a:pos x="csX2" y="csY2"/>
                </a:cxn>
                <a:cxn ang="0">
                  <a:pos x="csX3" y="csY3"/>
                </a:cxn>
                <a:cxn ang="0">
                  <a:pos x="csX4" y="csY4"/>
                </a:cxn>
              </a:cxnLst>
              <a:rect l="l" t="t" r="r" b="b"/>
              <a:pathLst>
                <a:path w="12673" h="12827">
                  <a:moveTo>
                    <a:pt x="3995" y="5477"/>
                  </a:moveTo>
                  <a:lnTo>
                    <a:pt x="-8678" y="5477"/>
                  </a:lnTo>
                  <a:lnTo>
                    <a:pt x="-8678" y="-7350"/>
                  </a:lnTo>
                  <a:lnTo>
                    <a:pt x="3995" y="-7350"/>
                  </a:lnTo>
                  <a:lnTo>
                    <a:pt x="3995" y="5477"/>
                  </a:lnTo>
                </a:path>
              </a:pathLst>
            </a:custGeom>
            <a:grpFill/>
            <a:ln w="548" cap="flat">
              <a:noFill/>
              <a:prstDash val="solid"/>
              <a:miter/>
            </a:ln>
          </p:spPr>
          <p:txBody>
            <a:bodyPr/>
            <a:lstStyle/>
            <a:p>
              <a:endParaRPr lang="en-US"/>
            </a:p>
          </p:txBody>
        </p:sp>
        <p:sp>
          <p:nvSpPr>
            <p:cNvPr id="322" name="Freeform: Shape 321">
              <a:extLst>
                <a:ext uri="{FF2B5EF4-FFF2-40B4-BE49-F238E27FC236}">
                  <a16:creationId xmlns:a16="http://schemas.microsoft.com/office/drawing/2014/main" id="{4548DC1A-DD4C-6758-58ED-DD8C6DA66CAC}"/>
                </a:ext>
              </a:extLst>
            </p:cNvPr>
            <p:cNvSpPr/>
            <p:nvPr/>
          </p:nvSpPr>
          <p:spPr>
            <a:xfrm flipV="1">
              <a:off x="24071542" y="3505272"/>
              <a:ext cx="12673" cy="12827"/>
            </a:xfrm>
            <a:custGeom>
              <a:avLst/>
              <a:gdLst>
                <a:gd name="csX0" fmla="*/ 3995 w 12673"/>
                <a:gd name="csY0" fmla="*/ 5441 h 12827"/>
                <a:gd name="csX1" fmla="*/ -8678 w 12673"/>
                <a:gd name="csY1" fmla="*/ 5441 h 12827"/>
                <a:gd name="csX2" fmla="*/ -8678 w 12673"/>
                <a:gd name="csY2" fmla="*/ -7387 h 12827"/>
                <a:gd name="csX3" fmla="*/ 3995 w 12673"/>
                <a:gd name="csY3" fmla="*/ -7387 h 12827"/>
                <a:gd name="csX4" fmla="*/ 3995 w 12673"/>
                <a:gd name="csY4" fmla="*/ 5441 h 12827"/>
              </a:gdLst>
              <a:ahLst/>
              <a:cxnLst>
                <a:cxn ang="0">
                  <a:pos x="csX0" y="csY0"/>
                </a:cxn>
                <a:cxn ang="0">
                  <a:pos x="csX1" y="csY1"/>
                </a:cxn>
                <a:cxn ang="0">
                  <a:pos x="csX2" y="csY2"/>
                </a:cxn>
                <a:cxn ang="0">
                  <a:pos x="csX3" y="csY3"/>
                </a:cxn>
                <a:cxn ang="0">
                  <a:pos x="csX4" y="csY4"/>
                </a:cxn>
              </a:cxnLst>
              <a:rect l="l" t="t" r="r" b="b"/>
              <a:pathLst>
                <a:path w="12673" h="12827">
                  <a:moveTo>
                    <a:pt x="3995" y="5441"/>
                  </a:moveTo>
                  <a:lnTo>
                    <a:pt x="-8678" y="5441"/>
                  </a:lnTo>
                  <a:lnTo>
                    <a:pt x="-8678" y="-7387"/>
                  </a:lnTo>
                  <a:lnTo>
                    <a:pt x="3995" y="-7387"/>
                  </a:lnTo>
                  <a:lnTo>
                    <a:pt x="3995" y="5441"/>
                  </a:lnTo>
                </a:path>
              </a:pathLst>
            </a:custGeom>
            <a:grpFill/>
            <a:ln w="548" cap="flat">
              <a:noFill/>
              <a:prstDash val="solid"/>
              <a:miter/>
            </a:ln>
          </p:spPr>
          <p:txBody>
            <a:bodyPr/>
            <a:lstStyle/>
            <a:p>
              <a:endParaRPr lang="en-US"/>
            </a:p>
          </p:txBody>
        </p:sp>
        <p:sp>
          <p:nvSpPr>
            <p:cNvPr id="323" name="Freeform: Shape 322">
              <a:extLst>
                <a:ext uri="{FF2B5EF4-FFF2-40B4-BE49-F238E27FC236}">
                  <a16:creationId xmlns:a16="http://schemas.microsoft.com/office/drawing/2014/main" id="{11E80B84-0D20-A89E-EE42-7B1DF9AD8D76}"/>
                </a:ext>
              </a:extLst>
            </p:cNvPr>
            <p:cNvSpPr/>
            <p:nvPr/>
          </p:nvSpPr>
          <p:spPr>
            <a:xfrm flipV="1">
              <a:off x="24131947" y="3559148"/>
              <a:ext cx="21671" cy="11834"/>
            </a:xfrm>
            <a:custGeom>
              <a:avLst/>
              <a:gdLst>
                <a:gd name="csX0" fmla="*/ 12912 w 21671"/>
                <a:gd name="csY0" fmla="*/ 4576 h 11834"/>
                <a:gd name="csX1" fmla="*/ -8759 w 21671"/>
                <a:gd name="csY1" fmla="*/ 4576 h 11834"/>
                <a:gd name="csX2" fmla="*/ -8759 w 21671"/>
                <a:gd name="csY2" fmla="*/ -7258 h 11834"/>
                <a:gd name="csX3" fmla="*/ 12912 w 21671"/>
                <a:gd name="csY3" fmla="*/ -7258 h 11834"/>
                <a:gd name="csX4" fmla="*/ 12912 w 21671"/>
                <a:gd name="csY4" fmla="*/ 4576 h 11834"/>
              </a:gdLst>
              <a:ahLst/>
              <a:cxnLst>
                <a:cxn ang="0">
                  <a:pos x="csX0" y="csY0"/>
                </a:cxn>
                <a:cxn ang="0">
                  <a:pos x="csX1" y="csY1"/>
                </a:cxn>
                <a:cxn ang="0">
                  <a:pos x="csX2" y="csY2"/>
                </a:cxn>
                <a:cxn ang="0">
                  <a:pos x="csX3" y="csY3"/>
                </a:cxn>
                <a:cxn ang="0">
                  <a:pos x="csX4" y="csY4"/>
                </a:cxn>
              </a:cxnLst>
              <a:rect l="l" t="t" r="r" b="b"/>
              <a:pathLst>
                <a:path w="21671" h="11834">
                  <a:moveTo>
                    <a:pt x="12912" y="4576"/>
                  </a:moveTo>
                  <a:lnTo>
                    <a:pt x="-8759" y="4576"/>
                  </a:lnTo>
                  <a:lnTo>
                    <a:pt x="-8759" y="-7258"/>
                  </a:lnTo>
                  <a:lnTo>
                    <a:pt x="12912" y="-7258"/>
                  </a:lnTo>
                  <a:lnTo>
                    <a:pt x="12912" y="4576"/>
                  </a:lnTo>
                </a:path>
              </a:pathLst>
            </a:custGeom>
            <a:grpFill/>
            <a:ln w="548" cap="flat">
              <a:noFill/>
              <a:prstDash val="solid"/>
              <a:miter/>
            </a:ln>
          </p:spPr>
          <p:txBody>
            <a:bodyPr/>
            <a:lstStyle/>
            <a:p>
              <a:endParaRPr lang="en-US"/>
            </a:p>
          </p:txBody>
        </p:sp>
        <p:sp>
          <p:nvSpPr>
            <p:cNvPr id="324" name="Freeform: Shape 323">
              <a:extLst>
                <a:ext uri="{FF2B5EF4-FFF2-40B4-BE49-F238E27FC236}">
                  <a16:creationId xmlns:a16="http://schemas.microsoft.com/office/drawing/2014/main" id="{D94811CA-04D1-780C-4EA4-C50DAF69A5F6}"/>
                </a:ext>
              </a:extLst>
            </p:cNvPr>
            <p:cNvSpPr/>
            <p:nvPr/>
          </p:nvSpPr>
          <p:spPr>
            <a:xfrm flipV="1">
              <a:off x="24131947" y="3573386"/>
              <a:ext cx="21671" cy="11828"/>
            </a:xfrm>
            <a:custGeom>
              <a:avLst/>
              <a:gdLst>
                <a:gd name="csX0" fmla="*/ 12912 w 21671"/>
                <a:gd name="csY0" fmla="*/ 4605 h 11828"/>
                <a:gd name="csX1" fmla="*/ -8759 w 21671"/>
                <a:gd name="csY1" fmla="*/ 4605 h 11828"/>
                <a:gd name="csX2" fmla="*/ -8759 w 21671"/>
                <a:gd name="csY2" fmla="*/ -7224 h 11828"/>
                <a:gd name="csX3" fmla="*/ 12912 w 21671"/>
                <a:gd name="csY3" fmla="*/ -7224 h 11828"/>
                <a:gd name="csX4" fmla="*/ 12912 w 21671"/>
                <a:gd name="csY4" fmla="*/ 4605 h 11828"/>
              </a:gdLst>
              <a:ahLst/>
              <a:cxnLst>
                <a:cxn ang="0">
                  <a:pos x="csX0" y="csY0"/>
                </a:cxn>
                <a:cxn ang="0">
                  <a:pos x="csX1" y="csY1"/>
                </a:cxn>
                <a:cxn ang="0">
                  <a:pos x="csX2" y="csY2"/>
                </a:cxn>
                <a:cxn ang="0">
                  <a:pos x="csX3" y="csY3"/>
                </a:cxn>
                <a:cxn ang="0">
                  <a:pos x="csX4" y="csY4"/>
                </a:cxn>
              </a:cxnLst>
              <a:rect l="l" t="t" r="r" b="b"/>
              <a:pathLst>
                <a:path w="21671" h="11828">
                  <a:moveTo>
                    <a:pt x="12912" y="4605"/>
                  </a:moveTo>
                  <a:lnTo>
                    <a:pt x="-8759" y="4605"/>
                  </a:lnTo>
                  <a:lnTo>
                    <a:pt x="-8759" y="-7224"/>
                  </a:lnTo>
                  <a:lnTo>
                    <a:pt x="12912" y="-7224"/>
                  </a:lnTo>
                  <a:lnTo>
                    <a:pt x="12912" y="4605"/>
                  </a:lnTo>
                </a:path>
              </a:pathLst>
            </a:custGeom>
            <a:grpFill/>
            <a:ln w="548" cap="flat">
              <a:noFill/>
              <a:prstDash val="solid"/>
              <a:miter/>
            </a:ln>
          </p:spPr>
          <p:txBody>
            <a:bodyPr/>
            <a:lstStyle/>
            <a:p>
              <a:endParaRPr lang="en-US"/>
            </a:p>
          </p:txBody>
        </p:sp>
        <p:sp>
          <p:nvSpPr>
            <p:cNvPr id="325" name="Freeform: Shape 324">
              <a:extLst>
                <a:ext uri="{FF2B5EF4-FFF2-40B4-BE49-F238E27FC236}">
                  <a16:creationId xmlns:a16="http://schemas.microsoft.com/office/drawing/2014/main" id="{BDF5C61A-CB59-DE51-262F-F326512BBA72}"/>
                </a:ext>
              </a:extLst>
            </p:cNvPr>
            <p:cNvSpPr/>
            <p:nvPr/>
          </p:nvSpPr>
          <p:spPr>
            <a:xfrm flipV="1">
              <a:off x="24074449" y="3559148"/>
              <a:ext cx="21671" cy="11834"/>
            </a:xfrm>
            <a:custGeom>
              <a:avLst/>
              <a:gdLst>
                <a:gd name="csX0" fmla="*/ 12984 w 21671"/>
                <a:gd name="csY0" fmla="*/ 4576 h 11834"/>
                <a:gd name="csX1" fmla="*/ -8688 w 21671"/>
                <a:gd name="csY1" fmla="*/ 4576 h 11834"/>
                <a:gd name="csX2" fmla="*/ -8688 w 21671"/>
                <a:gd name="csY2" fmla="*/ -7258 h 11834"/>
                <a:gd name="csX3" fmla="*/ 12984 w 21671"/>
                <a:gd name="csY3" fmla="*/ -7258 h 11834"/>
                <a:gd name="csX4" fmla="*/ 12984 w 21671"/>
                <a:gd name="csY4" fmla="*/ 4576 h 11834"/>
              </a:gdLst>
              <a:ahLst/>
              <a:cxnLst>
                <a:cxn ang="0">
                  <a:pos x="csX0" y="csY0"/>
                </a:cxn>
                <a:cxn ang="0">
                  <a:pos x="csX1" y="csY1"/>
                </a:cxn>
                <a:cxn ang="0">
                  <a:pos x="csX2" y="csY2"/>
                </a:cxn>
                <a:cxn ang="0">
                  <a:pos x="csX3" y="csY3"/>
                </a:cxn>
                <a:cxn ang="0">
                  <a:pos x="csX4" y="csY4"/>
                </a:cxn>
              </a:cxnLst>
              <a:rect l="l" t="t" r="r" b="b"/>
              <a:pathLst>
                <a:path w="21671" h="11834">
                  <a:moveTo>
                    <a:pt x="12984" y="4576"/>
                  </a:moveTo>
                  <a:lnTo>
                    <a:pt x="-8688" y="4576"/>
                  </a:lnTo>
                  <a:lnTo>
                    <a:pt x="-8688" y="-7258"/>
                  </a:lnTo>
                  <a:lnTo>
                    <a:pt x="12984" y="-7258"/>
                  </a:lnTo>
                  <a:lnTo>
                    <a:pt x="12984" y="4576"/>
                  </a:lnTo>
                </a:path>
              </a:pathLst>
            </a:custGeom>
            <a:grpFill/>
            <a:ln w="548" cap="flat">
              <a:noFill/>
              <a:prstDash val="solid"/>
              <a:miter/>
            </a:ln>
          </p:spPr>
          <p:txBody>
            <a:bodyPr/>
            <a:lstStyle/>
            <a:p>
              <a:endParaRPr lang="en-US"/>
            </a:p>
          </p:txBody>
        </p:sp>
        <p:sp>
          <p:nvSpPr>
            <p:cNvPr id="326" name="Freeform: Shape 325">
              <a:extLst>
                <a:ext uri="{FF2B5EF4-FFF2-40B4-BE49-F238E27FC236}">
                  <a16:creationId xmlns:a16="http://schemas.microsoft.com/office/drawing/2014/main" id="{7DD65CDE-225A-ACEC-94D7-6BEE84A658DA}"/>
                </a:ext>
              </a:extLst>
            </p:cNvPr>
            <p:cNvSpPr/>
            <p:nvPr/>
          </p:nvSpPr>
          <p:spPr>
            <a:xfrm flipV="1">
              <a:off x="24074449" y="3573386"/>
              <a:ext cx="21671" cy="11828"/>
            </a:xfrm>
            <a:custGeom>
              <a:avLst/>
              <a:gdLst>
                <a:gd name="csX0" fmla="*/ 12984 w 21671"/>
                <a:gd name="csY0" fmla="*/ 4605 h 11828"/>
                <a:gd name="csX1" fmla="*/ -8688 w 21671"/>
                <a:gd name="csY1" fmla="*/ 4605 h 11828"/>
                <a:gd name="csX2" fmla="*/ -8688 w 21671"/>
                <a:gd name="csY2" fmla="*/ -7224 h 11828"/>
                <a:gd name="csX3" fmla="*/ 12984 w 21671"/>
                <a:gd name="csY3" fmla="*/ -7224 h 11828"/>
                <a:gd name="csX4" fmla="*/ 12984 w 21671"/>
                <a:gd name="csY4" fmla="*/ 4605 h 11828"/>
              </a:gdLst>
              <a:ahLst/>
              <a:cxnLst>
                <a:cxn ang="0">
                  <a:pos x="csX0" y="csY0"/>
                </a:cxn>
                <a:cxn ang="0">
                  <a:pos x="csX1" y="csY1"/>
                </a:cxn>
                <a:cxn ang="0">
                  <a:pos x="csX2" y="csY2"/>
                </a:cxn>
                <a:cxn ang="0">
                  <a:pos x="csX3" y="csY3"/>
                </a:cxn>
                <a:cxn ang="0">
                  <a:pos x="csX4" y="csY4"/>
                </a:cxn>
              </a:cxnLst>
              <a:rect l="l" t="t" r="r" b="b"/>
              <a:pathLst>
                <a:path w="21671" h="11828">
                  <a:moveTo>
                    <a:pt x="12984" y="4605"/>
                  </a:moveTo>
                  <a:lnTo>
                    <a:pt x="-8688" y="4605"/>
                  </a:lnTo>
                  <a:lnTo>
                    <a:pt x="-8688" y="-7224"/>
                  </a:lnTo>
                  <a:lnTo>
                    <a:pt x="12984" y="-7224"/>
                  </a:lnTo>
                  <a:lnTo>
                    <a:pt x="12984" y="4605"/>
                  </a:lnTo>
                </a:path>
              </a:pathLst>
            </a:custGeom>
            <a:grpFill/>
            <a:ln w="548" cap="flat">
              <a:noFill/>
              <a:prstDash val="solid"/>
              <a:miter/>
            </a:ln>
          </p:spPr>
          <p:txBody>
            <a:bodyPr/>
            <a:lstStyle/>
            <a:p>
              <a:endParaRPr lang="en-US"/>
            </a:p>
          </p:txBody>
        </p:sp>
        <p:sp>
          <p:nvSpPr>
            <p:cNvPr id="327" name="Freeform: Shape 326">
              <a:extLst>
                <a:ext uri="{FF2B5EF4-FFF2-40B4-BE49-F238E27FC236}">
                  <a16:creationId xmlns:a16="http://schemas.microsoft.com/office/drawing/2014/main" id="{55CD7147-6F89-F7E4-D147-0E1AEE07A93A}"/>
                </a:ext>
              </a:extLst>
            </p:cNvPr>
            <p:cNvSpPr/>
            <p:nvPr/>
          </p:nvSpPr>
          <p:spPr>
            <a:xfrm flipV="1">
              <a:off x="24131947" y="3618670"/>
              <a:ext cx="21671" cy="11828"/>
            </a:xfrm>
            <a:custGeom>
              <a:avLst/>
              <a:gdLst>
                <a:gd name="csX0" fmla="*/ 12912 w 21671"/>
                <a:gd name="csY0" fmla="*/ 4714 h 11828"/>
                <a:gd name="csX1" fmla="*/ -8759 w 21671"/>
                <a:gd name="csY1" fmla="*/ 4714 h 11828"/>
                <a:gd name="csX2" fmla="*/ -8759 w 21671"/>
                <a:gd name="csY2" fmla="*/ -7115 h 11828"/>
                <a:gd name="csX3" fmla="*/ 12912 w 21671"/>
                <a:gd name="csY3" fmla="*/ -7115 h 11828"/>
                <a:gd name="csX4" fmla="*/ 12912 w 21671"/>
                <a:gd name="csY4" fmla="*/ 4714 h 11828"/>
              </a:gdLst>
              <a:ahLst/>
              <a:cxnLst>
                <a:cxn ang="0">
                  <a:pos x="csX0" y="csY0"/>
                </a:cxn>
                <a:cxn ang="0">
                  <a:pos x="csX1" y="csY1"/>
                </a:cxn>
                <a:cxn ang="0">
                  <a:pos x="csX2" y="csY2"/>
                </a:cxn>
                <a:cxn ang="0">
                  <a:pos x="csX3" y="csY3"/>
                </a:cxn>
                <a:cxn ang="0">
                  <a:pos x="csX4" y="csY4"/>
                </a:cxn>
              </a:cxnLst>
              <a:rect l="l" t="t" r="r" b="b"/>
              <a:pathLst>
                <a:path w="21671" h="11828">
                  <a:moveTo>
                    <a:pt x="12912" y="4714"/>
                  </a:moveTo>
                  <a:lnTo>
                    <a:pt x="-8759" y="4714"/>
                  </a:lnTo>
                  <a:lnTo>
                    <a:pt x="-8759" y="-7115"/>
                  </a:lnTo>
                  <a:lnTo>
                    <a:pt x="12912" y="-7115"/>
                  </a:lnTo>
                  <a:lnTo>
                    <a:pt x="12912" y="4714"/>
                  </a:lnTo>
                </a:path>
              </a:pathLst>
            </a:custGeom>
            <a:grpFill/>
            <a:ln w="548" cap="flat">
              <a:noFill/>
              <a:prstDash val="solid"/>
              <a:miter/>
            </a:ln>
          </p:spPr>
          <p:txBody>
            <a:bodyPr/>
            <a:lstStyle/>
            <a:p>
              <a:endParaRPr lang="en-US"/>
            </a:p>
          </p:txBody>
        </p:sp>
        <p:sp>
          <p:nvSpPr>
            <p:cNvPr id="328" name="Freeform: Shape 327">
              <a:extLst>
                <a:ext uri="{FF2B5EF4-FFF2-40B4-BE49-F238E27FC236}">
                  <a16:creationId xmlns:a16="http://schemas.microsoft.com/office/drawing/2014/main" id="{3984E6D9-17F4-1F95-A607-B22D3627A50E}"/>
                </a:ext>
              </a:extLst>
            </p:cNvPr>
            <p:cNvSpPr/>
            <p:nvPr/>
          </p:nvSpPr>
          <p:spPr>
            <a:xfrm flipV="1">
              <a:off x="24131947" y="3632902"/>
              <a:ext cx="21671" cy="11828"/>
            </a:xfrm>
            <a:custGeom>
              <a:avLst/>
              <a:gdLst>
                <a:gd name="csX0" fmla="*/ 12912 w 21671"/>
                <a:gd name="csY0" fmla="*/ 4748 h 11828"/>
                <a:gd name="csX1" fmla="*/ -8759 w 21671"/>
                <a:gd name="csY1" fmla="*/ 4748 h 11828"/>
                <a:gd name="csX2" fmla="*/ -8759 w 21671"/>
                <a:gd name="csY2" fmla="*/ -7081 h 11828"/>
                <a:gd name="csX3" fmla="*/ 12912 w 21671"/>
                <a:gd name="csY3" fmla="*/ -7081 h 11828"/>
                <a:gd name="csX4" fmla="*/ 12912 w 21671"/>
                <a:gd name="csY4" fmla="*/ 4748 h 11828"/>
              </a:gdLst>
              <a:ahLst/>
              <a:cxnLst>
                <a:cxn ang="0">
                  <a:pos x="csX0" y="csY0"/>
                </a:cxn>
                <a:cxn ang="0">
                  <a:pos x="csX1" y="csY1"/>
                </a:cxn>
                <a:cxn ang="0">
                  <a:pos x="csX2" y="csY2"/>
                </a:cxn>
                <a:cxn ang="0">
                  <a:pos x="csX3" y="csY3"/>
                </a:cxn>
                <a:cxn ang="0">
                  <a:pos x="csX4" y="csY4"/>
                </a:cxn>
              </a:cxnLst>
              <a:rect l="l" t="t" r="r" b="b"/>
              <a:pathLst>
                <a:path w="21671" h="11828">
                  <a:moveTo>
                    <a:pt x="12912" y="4748"/>
                  </a:moveTo>
                  <a:lnTo>
                    <a:pt x="-8759" y="4748"/>
                  </a:lnTo>
                  <a:lnTo>
                    <a:pt x="-8759" y="-7081"/>
                  </a:lnTo>
                  <a:lnTo>
                    <a:pt x="12912" y="-7081"/>
                  </a:lnTo>
                  <a:lnTo>
                    <a:pt x="12912" y="4748"/>
                  </a:lnTo>
                </a:path>
              </a:pathLst>
            </a:custGeom>
            <a:grpFill/>
            <a:ln w="548" cap="flat">
              <a:noFill/>
              <a:prstDash val="solid"/>
              <a:miter/>
            </a:ln>
          </p:spPr>
          <p:txBody>
            <a:bodyPr/>
            <a:lstStyle/>
            <a:p>
              <a:endParaRPr lang="en-US"/>
            </a:p>
          </p:txBody>
        </p:sp>
        <p:sp>
          <p:nvSpPr>
            <p:cNvPr id="329" name="Freeform: Shape 328">
              <a:extLst>
                <a:ext uri="{FF2B5EF4-FFF2-40B4-BE49-F238E27FC236}">
                  <a16:creationId xmlns:a16="http://schemas.microsoft.com/office/drawing/2014/main" id="{E62516F5-DDC1-CBA1-D6A7-A6FEC73D22C1}"/>
                </a:ext>
              </a:extLst>
            </p:cNvPr>
            <p:cNvSpPr/>
            <p:nvPr/>
          </p:nvSpPr>
          <p:spPr>
            <a:xfrm flipV="1">
              <a:off x="24074449" y="3618670"/>
              <a:ext cx="21671" cy="11828"/>
            </a:xfrm>
            <a:custGeom>
              <a:avLst/>
              <a:gdLst>
                <a:gd name="csX0" fmla="*/ 12984 w 21671"/>
                <a:gd name="csY0" fmla="*/ 4714 h 11828"/>
                <a:gd name="csX1" fmla="*/ -8688 w 21671"/>
                <a:gd name="csY1" fmla="*/ 4714 h 11828"/>
                <a:gd name="csX2" fmla="*/ -8688 w 21671"/>
                <a:gd name="csY2" fmla="*/ -7115 h 11828"/>
                <a:gd name="csX3" fmla="*/ 12984 w 21671"/>
                <a:gd name="csY3" fmla="*/ -7115 h 11828"/>
                <a:gd name="csX4" fmla="*/ 12984 w 21671"/>
                <a:gd name="csY4" fmla="*/ 4714 h 11828"/>
              </a:gdLst>
              <a:ahLst/>
              <a:cxnLst>
                <a:cxn ang="0">
                  <a:pos x="csX0" y="csY0"/>
                </a:cxn>
                <a:cxn ang="0">
                  <a:pos x="csX1" y="csY1"/>
                </a:cxn>
                <a:cxn ang="0">
                  <a:pos x="csX2" y="csY2"/>
                </a:cxn>
                <a:cxn ang="0">
                  <a:pos x="csX3" y="csY3"/>
                </a:cxn>
                <a:cxn ang="0">
                  <a:pos x="csX4" y="csY4"/>
                </a:cxn>
              </a:cxnLst>
              <a:rect l="l" t="t" r="r" b="b"/>
              <a:pathLst>
                <a:path w="21671" h="11828">
                  <a:moveTo>
                    <a:pt x="12984" y="4714"/>
                  </a:moveTo>
                  <a:lnTo>
                    <a:pt x="-8688" y="4714"/>
                  </a:lnTo>
                  <a:lnTo>
                    <a:pt x="-8688" y="-7115"/>
                  </a:lnTo>
                  <a:lnTo>
                    <a:pt x="12984" y="-7115"/>
                  </a:lnTo>
                  <a:lnTo>
                    <a:pt x="12984" y="4714"/>
                  </a:lnTo>
                </a:path>
              </a:pathLst>
            </a:custGeom>
            <a:grpFill/>
            <a:ln w="548" cap="flat">
              <a:noFill/>
              <a:prstDash val="solid"/>
              <a:miter/>
            </a:ln>
          </p:spPr>
          <p:txBody>
            <a:bodyPr/>
            <a:lstStyle/>
            <a:p>
              <a:endParaRPr lang="en-US"/>
            </a:p>
          </p:txBody>
        </p:sp>
        <p:sp>
          <p:nvSpPr>
            <p:cNvPr id="330" name="Freeform: Shape 329">
              <a:extLst>
                <a:ext uri="{FF2B5EF4-FFF2-40B4-BE49-F238E27FC236}">
                  <a16:creationId xmlns:a16="http://schemas.microsoft.com/office/drawing/2014/main" id="{F2225709-79E8-3C54-C5DF-FDD7DFDA5059}"/>
                </a:ext>
              </a:extLst>
            </p:cNvPr>
            <p:cNvSpPr/>
            <p:nvPr/>
          </p:nvSpPr>
          <p:spPr>
            <a:xfrm flipV="1">
              <a:off x="24074449" y="3632902"/>
              <a:ext cx="21671" cy="11828"/>
            </a:xfrm>
            <a:custGeom>
              <a:avLst/>
              <a:gdLst>
                <a:gd name="csX0" fmla="*/ 12984 w 21671"/>
                <a:gd name="csY0" fmla="*/ 4748 h 11828"/>
                <a:gd name="csX1" fmla="*/ -8688 w 21671"/>
                <a:gd name="csY1" fmla="*/ 4748 h 11828"/>
                <a:gd name="csX2" fmla="*/ -8688 w 21671"/>
                <a:gd name="csY2" fmla="*/ -7081 h 11828"/>
                <a:gd name="csX3" fmla="*/ 12984 w 21671"/>
                <a:gd name="csY3" fmla="*/ -7081 h 11828"/>
                <a:gd name="csX4" fmla="*/ 12984 w 21671"/>
                <a:gd name="csY4" fmla="*/ 4748 h 11828"/>
              </a:gdLst>
              <a:ahLst/>
              <a:cxnLst>
                <a:cxn ang="0">
                  <a:pos x="csX0" y="csY0"/>
                </a:cxn>
                <a:cxn ang="0">
                  <a:pos x="csX1" y="csY1"/>
                </a:cxn>
                <a:cxn ang="0">
                  <a:pos x="csX2" y="csY2"/>
                </a:cxn>
                <a:cxn ang="0">
                  <a:pos x="csX3" y="csY3"/>
                </a:cxn>
                <a:cxn ang="0">
                  <a:pos x="csX4" y="csY4"/>
                </a:cxn>
              </a:cxnLst>
              <a:rect l="l" t="t" r="r" b="b"/>
              <a:pathLst>
                <a:path w="21671" h="11828">
                  <a:moveTo>
                    <a:pt x="12984" y="4748"/>
                  </a:moveTo>
                  <a:lnTo>
                    <a:pt x="-8688" y="4748"/>
                  </a:lnTo>
                  <a:lnTo>
                    <a:pt x="-8688" y="-7081"/>
                  </a:lnTo>
                  <a:lnTo>
                    <a:pt x="12984" y="-7081"/>
                  </a:lnTo>
                  <a:lnTo>
                    <a:pt x="12984" y="4748"/>
                  </a:lnTo>
                </a:path>
              </a:pathLst>
            </a:custGeom>
            <a:grpFill/>
            <a:ln w="548" cap="flat">
              <a:noFill/>
              <a:prstDash val="solid"/>
              <a:miter/>
            </a:ln>
          </p:spPr>
          <p:txBody>
            <a:bodyPr/>
            <a:lstStyle/>
            <a:p>
              <a:endParaRPr lang="en-US"/>
            </a:p>
          </p:txBody>
        </p:sp>
        <p:sp>
          <p:nvSpPr>
            <p:cNvPr id="331" name="Freeform: Shape 330">
              <a:extLst>
                <a:ext uri="{FF2B5EF4-FFF2-40B4-BE49-F238E27FC236}">
                  <a16:creationId xmlns:a16="http://schemas.microsoft.com/office/drawing/2014/main" id="{EF01CC19-0AF9-456B-9281-C1F7FC68CCE3}"/>
                </a:ext>
              </a:extLst>
            </p:cNvPr>
            <p:cNvSpPr/>
            <p:nvPr/>
          </p:nvSpPr>
          <p:spPr>
            <a:xfrm flipV="1">
              <a:off x="24131947" y="3678187"/>
              <a:ext cx="21671" cy="11828"/>
            </a:xfrm>
            <a:custGeom>
              <a:avLst/>
              <a:gdLst>
                <a:gd name="csX0" fmla="*/ 12912 w 21671"/>
                <a:gd name="csY0" fmla="*/ 4857 h 11828"/>
                <a:gd name="csX1" fmla="*/ -8759 w 21671"/>
                <a:gd name="csY1" fmla="*/ 4857 h 11828"/>
                <a:gd name="csX2" fmla="*/ -8759 w 21671"/>
                <a:gd name="csY2" fmla="*/ -6972 h 11828"/>
                <a:gd name="csX3" fmla="*/ 12912 w 21671"/>
                <a:gd name="csY3" fmla="*/ -6972 h 11828"/>
                <a:gd name="csX4" fmla="*/ 12912 w 21671"/>
                <a:gd name="csY4" fmla="*/ 4857 h 11828"/>
              </a:gdLst>
              <a:ahLst/>
              <a:cxnLst>
                <a:cxn ang="0">
                  <a:pos x="csX0" y="csY0"/>
                </a:cxn>
                <a:cxn ang="0">
                  <a:pos x="csX1" y="csY1"/>
                </a:cxn>
                <a:cxn ang="0">
                  <a:pos x="csX2" y="csY2"/>
                </a:cxn>
                <a:cxn ang="0">
                  <a:pos x="csX3" y="csY3"/>
                </a:cxn>
                <a:cxn ang="0">
                  <a:pos x="csX4" y="csY4"/>
                </a:cxn>
              </a:cxnLst>
              <a:rect l="l" t="t" r="r" b="b"/>
              <a:pathLst>
                <a:path w="21671" h="11828">
                  <a:moveTo>
                    <a:pt x="12912" y="4857"/>
                  </a:moveTo>
                  <a:lnTo>
                    <a:pt x="-8759" y="4857"/>
                  </a:lnTo>
                  <a:lnTo>
                    <a:pt x="-8759" y="-6972"/>
                  </a:lnTo>
                  <a:lnTo>
                    <a:pt x="12912" y="-6972"/>
                  </a:lnTo>
                  <a:lnTo>
                    <a:pt x="12912" y="4857"/>
                  </a:lnTo>
                </a:path>
              </a:pathLst>
            </a:custGeom>
            <a:grpFill/>
            <a:ln w="548" cap="flat">
              <a:noFill/>
              <a:prstDash val="solid"/>
              <a:miter/>
            </a:ln>
          </p:spPr>
          <p:txBody>
            <a:bodyPr/>
            <a:lstStyle/>
            <a:p>
              <a:endParaRPr lang="en-US"/>
            </a:p>
          </p:txBody>
        </p:sp>
        <p:sp>
          <p:nvSpPr>
            <p:cNvPr id="332" name="Freeform: Shape 331">
              <a:extLst>
                <a:ext uri="{FF2B5EF4-FFF2-40B4-BE49-F238E27FC236}">
                  <a16:creationId xmlns:a16="http://schemas.microsoft.com/office/drawing/2014/main" id="{8FF53E6F-CE57-241B-7B8C-06DA6D24DC6D}"/>
                </a:ext>
              </a:extLst>
            </p:cNvPr>
            <p:cNvSpPr/>
            <p:nvPr/>
          </p:nvSpPr>
          <p:spPr>
            <a:xfrm flipV="1">
              <a:off x="24131947" y="3692419"/>
              <a:ext cx="21671" cy="11828"/>
            </a:xfrm>
            <a:custGeom>
              <a:avLst/>
              <a:gdLst>
                <a:gd name="csX0" fmla="*/ 12912 w 21671"/>
                <a:gd name="csY0" fmla="*/ 4891 h 11828"/>
                <a:gd name="csX1" fmla="*/ -8759 w 21671"/>
                <a:gd name="csY1" fmla="*/ 4891 h 11828"/>
                <a:gd name="csX2" fmla="*/ -8759 w 21671"/>
                <a:gd name="csY2" fmla="*/ -6937 h 11828"/>
                <a:gd name="csX3" fmla="*/ 12912 w 21671"/>
                <a:gd name="csY3" fmla="*/ -6937 h 11828"/>
                <a:gd name="csX4" fmla="*/ 12912 w 21671"/>
                <a:gd name="csY4" fmla="*/ 4891 h 11828"/>
              </a:gdLst>
              <a:ahLst/>
              <a:cxnLst>
                <a:cxn ang="0">
                  <a:pos x="csX0" y="csY0"/>
                </a:cxn>
                <a:cxn ang="0">
                  <a:pos x="csX1" y="csY1"/>
                </a:cxn>
                <a:cxn ang="0">
                  <a:pos x="csX2" y="csY2"/>
                </a:cxn>
                <a:cxn ang="0">
                  <a:pos x="csX3" y="csY3"/>
                </a:cxn>
                <a:cxn ang="0">
                  <a:pos x="csX4" y="csY4"/>
                </a:cxn>
              </a:cxnLst>
              <a:rect l="l" t="t" r="r" b="b"/>
              <a:pathLst>
                <a:path w="21671" h="11828">
                  <a:moveTo>
                    <a:pt x="12912" y="4891"/>
                  </a:moveTo>
                  <a:lnTo>
                    <a:pt x="-8759" y="4891"/>
                  </a:lnTo>
                  <a:lnTo>
                    <a:pt x="-8759" y="-6937"/>
                  </a:lnTo>
                  <a:lnTo>
                    <a:pt x="12912" y="-6937"/>
                  </a:lnTo>
                  <a:lnTo>
                    <a:pt x="12912" y="4891"/>
                  </a:lnTo>
                </a:path>
              </a:pathLst>
            </a:custGeom>
            <a:grpFill/>
            <a:ln w="548" cap="flat">
              <a:noFill/>
              <a:prstDash val="solid"/>
              <a:miter/>
            </a:ln>
          </p:spPr>
          <p:txBody>
            <a:bodyPr/>
            <a:lstStyle/>
            <a:p>
              <a:endParaRPr lang="en-US"/>
            </a:p>
          </p:txBody>
        </p:sp>
        <p:sp>
          <p:nvSpPr>
            <p:cNvPr id="333" name="Freeform: Shape 332">
              <a:extLst>
                <a:ext uri="{FF2B5EF4-FFF2-40B4-BE49-F238E27FC236}">
                  <a16:creationId xmlns:a16="http://schemas.microsoft.com/office/drawing/2014/main" id="{B88A3A45-BEF8-DAE6-9920-34CC811B880F}"/>
                </a:ext>
              </a:extLst>
            </p:cNvPr>
            <p:cNvSpPr/>
            <p:nvPr/>
          </p:nvSpPr>
          <p:spPr>
            <a:xfrm flipV="1">
              <a:off x="24074449" y="3678187"/>
              <a:ext cx="21671" cy="11828"/>
            </a:xfrm>
            <a:custGeom>
              <a:avLst/>
              <a:gdLst>
                <a:gd name="csX0" fmla="*/ 12984 w 21671"/>
                <a:gd name="csY0" fmla="*/ 4857 h 11828"/>
                <a:gd name="csX1" fmla="*/ -8688 w 21671"/>
                <a:gd name="csY1" fmla="*/ 4857 h 11828"/>
                <a:gd name="csX2" fmla="*/ -8688 w 21671"/>
                <a:gd name="csY2" fmla="*/ -6972 h 11828"/>
                <a:gd name="csX3" fmla="*/ 12984 w 21671"/>
                <a:gd name="csY3" fmla="*/ -6972 h 11828"/>
                <a:gd name="csX4" fmla="*/ 12984 w 21671"/>
                <a:gd name="csY4" fmla="*/ 4857 h 11828"/>
              </a:gdLst>
              <a:ahLst/>
              <a:cxnLst>
                <a:cxn ang="0">
                  <a:pos x="csX0" y="csY0"/>
                </a:cxn>
                <a:cxn ang="0">
                  <a:pos x="csX1" y="csY1"/>
                </a:cxn>
                <a:cxn ang="0">
                  <a:pos x="csX2" y="csY2"/>
                </a:cxn>
                <a:cxn ang="0">
                  <a:pos x="csX3" y="csY3"/>
                </a:cxn>
                <a:cxn ang="0">
                  <a:pos x="csX4" y="csY4"/>
                </a:cxn>
              </a:cxnLst>
              <a:rect l="l" t="t" r="r" b="b"/>
              <a:pathLst>
                <a:path w="21671" h="11828">
                  <a:moveTo>
                    <a:pt x="12984" y="4857"/>
                  </a:moveTo>
                  <a:lnTo>
                    <a:pt x="-8688" y="4857"/>
                  </a:lnTo>
                  <a:lnTo>
                    <a:pt x="-8688" y="-6972"/>
                  </a:lnTo>
                  <a:lnTo>
                    <a:pt x="12984" y="-6972"/>
                  </a:lnTo>
                  <a:lnTo>
                    <a:pt x="12984" y="4857"/>
                  </a:lnTo>
                </a:path>
              </a:pathLst>
            </a:custGeom>
            <a:grpFill/>
            <a:ln w="548" cap="flat">
              <a:noFill/>
              <a:prstDash val="solid"/>
              <a:miter/>
            </a:ln>
          </p:spPr>
          <p:txBody>
            <a:bodyPr/>
            <a:lstStyle/>
            <a:p>
              <a:endParaRPr lang="en-US"/>
            </a:p>
          </p:txBody>
        </p:sp>
        <p:sp>
          <p:nvSpPr>
            <p:cNvPr id="334" name="Freeform: Shape 333">
              <a:extLst>
                <a:ext uri="{FF2B5EF4-FFF2-40B4-BE49-F238E27FC236}">
                  <a16:creationId xmlns:a16="http://schemas.microsoft.com/office/drawing/2014/main" id="{D40D6BA1-B8B2-BA41-5017-B2C9D97E7B93}"/>
                </a:ext>
              </a:extLst>
            </p:cNvPr>
            <p:cNvSpPr/>
            <p:nvPr/>
          </p:nvSpPr>
          <p:spPr>
            <a:xfrm flipV="1">
              <a:off x="24074449" y="3692419"/>
              <a:ext cx="21671" cy="11828"/>
            </a:xfrm>
            <a:custGeom>
              <a:avLst/>
              <a:gdLst>
                <a:gd name="csX0" fmla="*/ 12984 w 21671"/>
                <a:gd name="csY0" fmla="*/ 4891 h 11828"/>
                <a:gd name="csX1" fmla="*/ -8688 w 21671"/>
                <a:gd name="csY1" fmla="*/ 4891 h 11828"/>
                <a:gd name="csX2" fmla="*/ -8688 w 21671"/>
                <a:gd name="csY2" fmla="*/ -6937 h 11828"/>
                <a:gd name="csX3" fmla="*/ 12984 w 21671"/>
                <a:gd name="csY3" fmla="*/ -6937 h 11828"/>
                <a:gd name="csX4" fmla="*/ 12984 w 21671"/>
                <a:gd name="csY4" fmla="*/ 4891 h 11828"/>
              </a:gdLst>
              <a:ahLst/>
              <a:cxnLst>
                <a:cxn ang="0">
                  <a:pos x="csX0" y="csY0"/>
                </a:cxn>
                <a:cxn ang="0">
                  <a:pos x="csX1" y="csY1"/>
                </a:cxn>
                <a:cxn ang="0">
                  <a:pos x="csX2" y="csY2"/>
                </a:cxn>
                <a:cxn ang="0">
                  <a:pos x="csX3" y="csY3"/>
                </a:cxn>
                <a:cxn ang="0">
                  <a:pos x="csX4" y="csY4"/>
                </a:cxn>
              </a:cxnLst>
              <a:rect l="l" t="t" r="r" b="b"/>
              <a:pathLst>
                <a:path w="21671" h="11828">
                  <a:moveTo>
                    <a:pt x="12984" y="4891"/>
                  </a:moveTo>
                  <a:lnTo>
                    <a:pt x="-8688" y="4891"/>
                  </a:lnTo>
                  <a:lnTo>
                    <a:pt x="-8688" y="-6937"/>
                  </a:lnTo>
                  <a:lnTo>
                    <a:pt x="12984" y="-6937"/>
                  </a:lnTo>
                  <a:lnTo>
                    <a:pt x="12984" y="4891"/>
                  </a:lnTo>
                </a:path>
              </a:pathLst>
            </a:custGeom>
            <a:grpFill/>
            <a:ln w="548" cap="flat">
              <a:noFill/>
              <a:prstDash val="solid"/>
              <a:miter/>
            </a:ln>
          </p:spPr>
          <p:txBody>
            <a:bodyPr/>
            <a:lstStyle/>
            <a:p>
              <a:endParaRPr lang="en-US"/>
            </a:p>
          </p:txBody>
        </p:sp>
        <p:sp>
          <p:nvSpPr>
            <p:cNvPr id="335" name="Freeform: Shape 334">
              <a:extLst>
                <a:ext uri="{FF2B5EF4-FFF2-40B4-BE49-F238E27FC236}">
                  <a16:creationId xmlns:a16="http://schemas.microsoft.com/office/drawing/2014/main" id="{85719930-E009-3901-6270-59324B530675}"/>
                </a:ext>
              </a:extLst>
            </p:cNvPr>
            <p:cNvSpPr/>
            <p:nvPr/>
          </p:nvSpPr>
          <p:spPr>
            <a:xfrm flipV="1">
              <a:off x="24131947" y="3737698"/>
              <a:ext cx="21671" cy="11828"/>
            </a:xfrm>
            <a:custGeom>
              <a:avLst/>
              <a:gdLst>
                <a:gd name="csX0" fmla="*/ 12912 w 21671"/>
                <a:gd name="csY0" fmla="*/ 5000 h 11828"/>
                <a:gd name="csX1" fmla="*/ -8759 w 21671"/>
                <a:gd name="csY1" fmla="*/ 5000 h 11828"/>
                <a:gd name="csX2" fmla="*/ -8759 w 21671"/>
                <a:gd name="csY2" fmla="*/ -6829 h 11828"/>
                <a:gd name="csX3" fmla="*/ 12912 w 21671"/>
                <a:gd name="csY3" fmla="*/ -6829 h 11828"/>
                <a:gd name="csX4" fmla="*/ 12912 w 21671"/>
                <a:gd name="csY4" fmla="*/ 5000 h 11828"/>
              </a:gdLst>
              <a:ahLst/>
              <a:cxnLst>
                <a:cxn ang="0">
                  <a:pos x="csX0" y="csY0"/>
                </a:cxn>
                <a:cxn ang="0">
                  <a:pos x="csX1" y="csY1"/>
                </a:cxn>
                <a:cxn ang="0">
                  <a:pos x="csX2" y="csY2"/>
                </a:cxn>
                <a:cxn ang="0">
                  <a:pos x="csX3" y="csY3"/>
                </a:cxn>
                <a:cxn ang="0">
                  <a:pos x="csX4" y="csY4"/>
                </a:cxn>
              </a:cxnLst>
              <a:rect l="l" t="t" r="r" b="b"/>
              <a:pathLst>
                <a:path w="21671" h="11828">
                  <a:moveTo>
                    <a:pt x="12912" y="5000"/>
                  </a:moveTo>
                  <a:lnTo>
                    <a:pt x="-8759" y="5000"/>
                  </a:lnTo>
                  <a:lnTo>
                    <a:pt x="-8759" y="-6829"/>
                  </a:lnTo>
                  <a:lnTo>
                    <a:pt x="12912" y="-6829"/>
                  </a:lnTo>
                  <a:lnTo>
                    <a:pt x="12912" y="5000"/>
                  </a:lnTo>
                </a:path>
              </a:pathLst>
            </a:custGeom>
            <a:grpFill/>
            <a:ln w="548" cap="flat">
              <a:noFill/>
              <a:prstDash val="solid"/>
              <a:miter/>
            </a:ln>
          </p:spPr>
          <p:txBody>
            <a:bodyPr/>
            <a:lstStyle/>
            <a:p>
              <a:endParaRPr lang="en-US"/>
            </a:p>
          </p:txBody>
        </p:sp>
        <p:sp>
          <p:nvSpPr>
            <p:cNvPr id="336" name="Freeform: Shape 335">
              <a:extLst>
                <a:ext uri="{FF2B5EF4-FFF2-40B4-BE49-F238E27FC236}">
                  <a16:creationId xmlns:a16="http://schemas.microsoft.com/office/drawing/2014/main" id="{FFC88CF9-1042-1DA2-7C76-10250272C550}"/>
                </a:ext>
              </a:extLst>
            </p:cNvPr>
            <p:cNvSpPr/>
            <p:nvPr/>
          </p:nvSpPr>
          <p:spPr>
            <a:xfrm flipV="1">
              <a:off x="24131947" y="3751935"/>
              <a:ext cx="21671" cy="11828"/>
            </a:xfrm>
            <a:custGeom>
              <a:avLst/>
              <a:gdLst>
                <a:gd name="csX0" fmla="*/ 12912 w 21671"/>
                <a:gd name="csY0" fmla="*/ 5034 h 11828"/>
                <a:gd name="csX1" fmla="*/ -8759 w 21671"/>
                <a:gd name="csY1" fmla="*/ 5034 h 11828"/>
                <a:gd name="csX2" fmla="*/ -8759 w 21671"/>
                <a:gd name="csY2" fmla="*/ -6794 h 11828"/>
                <a:gd name="csX3" fmla="*/ 12912 w 21671"/>
                <a:gd name="csY3" fmla="*/ -6794 h 11828"/>
                <a:gd name="csX4" fmla="*/ 12912 w 21671"/>
                <a:gd name="csY4" fmla="*/ 5034 h 11828"/>
              </a:gdLst>
              <a:ahLst/>
              <a:cxnLst>
                <a:cxn ang="0">
                  <a:pos x="csX0" y="csY0"/>
                </a:cxn>
                <a:cxn ang="0">
                  <a:pos x="csX1" y="csY1"/>
                </a:cxn>
                <a:cxn ang="0">
                  <a:pos x="csX2" y="csY2"/>
                </a:cxn>
                <a:cxn ang="0">
                  <a:pos x="csX3" y="csY3"/>
                </a:cxn>
                <a:cxn ang="0">
                  <a:pos x="csX4" y="csY4"/>
                </a:cxn>
              </a:cxnLst>
              <a:rect l="l" t="t" r="r" b="b"/>
              <a:pathLst>
                <a:path w="21671" h="11828">
                  <a:moveTo>
                    <a:pt x="12912" y="5034"/>
                  </a:moveTo>
                  <a:lnTo>
                    <a:pt x="-8759" y="5034"/>
                  </a:lnTo>
                  <a:lnTo>
                    <a:pt x="-8759" y="-6794"/>
                  </a:lnTo>
                  <a:lnTo>
                    <a:pt x="12912" y="-6794"/>
                  </a:lnTo>
                  <a:lnTo>
                    <a:pt x="12912" y="5034"/>
                  </a:lnTo>
                </a:path>
              </a:pathLst>
            </a:custGeom>
            <a:grpFill/>
            <a:ln w="548" cap="flat">
              <a:noFill/>
              <a:prstDash val="solid"/>
              <a:miter/>
            </a:ln>
          </p:spPr>
          <p:txBody>
            <a:bodyPr/>
            <a:lstStyle/>
            <a:p>
              <a:endParaRPr lang="en-US"/>
            </a:p>
          </p:txBody>
        </p:sp>
        <p:sp>
          <p:nvSpPr>
            <p:cNvPr id="337" name="Freeform: Shape 336">
              <a:extLst>
                <a:ext uri="{FF2B5EF4-FFF2-40B4-BE49-F238E27FC236}">
                  <a16:creationId xmlns:a16="http://schemas.microsoft.com/office/drawing/2014/main" id="{2CD9733C-57CE-79AF-4359-F43267C1F725}"/>
                </a:ext>
              </a:extLst>
            </p:cNvPr>
            <p:cNvSpPr/>
            <p:nvPr/>
          </p:nvSpPr>
          <p:spPr>
            <a:xfrm flipV="1">
              <a:off x="24074449" y="3737698"/>
              <a:ext cx="21671" cy="11828"/>
            </a:xfrm>
            <a:custGeom>
              <a:avLst/>
              <a:gdLst>
                <a:gd name="csX0" fmla="*/ 12984 w 21671"/>
                <a:gd name="csY0" fmla="*/ 5000 h 11828"/>
                <a:gd name="csX1" fmla="*/ -8688 w 21671"/>
                <a:gd name="csY1" fmla="*/ 5000 h 11828"/>
                <a:gd name="csX2" fmla="*/ -8688 w 21671"/>
                <a:gd name="csY2" fmla="*/ -6829 h 11828"/>
                <a:gd name="csX3" fmla="*/ 12984 w 21671"/>
                <a:gd name="csY3" fmla="*/ -6829 h 11828"/>
                <a:gd name="csX4" fmla="*/ 12984 w 21671"/>
                <a:gd name="csY4" fmla="*/ 5000 h 11828"/>
              </a:gdLst>
              <a:ahLst/>
              <a:cxnLst>
                <a:cxn ang="0">
                  <a:pos x="csX0" y="csY0"/>
                </a:cxn>
                <a:cxn ang="0">
                  <a:pos x="csX1" y="csY1"/>
                </a:cxn>
                <a:cxn ang="0">
                  <a:pos x="csX2" y="csY2"/>
                </a:cxn>
                <a:cxn ang="0">
                  <a:pos x="csX3" y="csY3"/>
                </a:cxn>
                <a:cxn ang="0">
                  <a:pos x="csX4" y="csY4"/>
                </a:cxn>
              </a:cxnLst>
              <a:rect l="l" t="t" r="r" b="b"/>
              <a:pathLst>
                <a:path w="21671" h="11828">
                  <a:moveTo>
                    <a:pt x="12984" y="5000"/>
                  </a:moveTo>
                  <a:lnTo>
                    <a:pt x="-8688" y="5000"/>
                  </a:lnTo>
                  <a:lnTo>
                    <a:pt x="-8688" y="-6829"/>
                  </a:lnTo>
                  <a:lnTo>
                    <a:pt x="12984" y="-6829"/>
                  </a:lnTo>
                  <a:lnTo>
                    <a:pt x="12984" y="5000"/>
                  </a:lnTo>
                </a:path>
              </a:pathLst>
            </a:custGeom>
            <a:grpFill/>
            <a:ln w="548" cap="flat">
              <a:noFill/>
              <a:prstDash val="solid"/>
              <a:miter/>
            </a:ln>
          </p:spPr>
          <p:txBody>
            <a:bodyPr/>
            <a:lstStyle/>
            <a:p>
              <a:endParaRPr lang="en-US"/>
            </a:p>
          </p:txBody>
        </p:sp>
        <p:sp>
          <p:nvSpPr>
            <p:cNvPr id="338" name="Freeform: Shape 337">
              <a:extLst>
                <a:ext uri="{FF2B5EF4-FFF2-40B4-BE49-F238E27FC236}">
                  <a16:creationId xmlns:a16="http://schemas.microsoft.com/office/drawing/2014/main" id="{38453198-9723-2D66-E3B3-048BFF92DF4F}"/>
                </a:ext>
              </a:extLst>
            </p:cNvPr>
            <p:cNvSpPr/>
            <p:nvPr/>
          </p:nvSpPr>
          <p:spPr>
            <a:xfrm flipV="1">
              <a:off x="24074449" y="3751935"/>
              <a:ext cx="21671" cy="11828"/>
            </a:xfrm>
            <a:custGeom>
              <a:avLst/>
              <a:gdLst>
                <a:gd name="csX0" fmla="*/ 12984 w 21671"/>
                <a:gd name="csY0" fmla="*/ 5034 h 11828"/>
                <a:gd name="csX1" fmla="*/ -8688 w 21671"/>
                <a:gd name="csY1" fmla="*/ 5034 h 11828"/>
                <a:gd name="csX2" fmla="*/ -8688 w 21671"/>
                <a:gd name="csY2" fmla="*/ -6794 h 11828"/>
                <a:gd name="csX3" fmla="*/ 12984 w 21671"/>
                <a:gd name="csY3" fmla="*/ -6794 h 11828"/>
                <a:gd name="csX4" fmla="*/ 12984 w 21671"/>
                <a:gd name="csY4" fmla="*/ 5034 h 11828"/>
              </a:gdLst>
              <a:ahLst/>
              <a:cxnLst>
                <a:cxn ang="0">
                  <a:pos x="csX0" y="csY0"/>
                </a:cxn>
                <a:cxn ang="0">
                  <a:pos x="csX1" y="csY1"/>
                </a:cxn>
                <a:cxn ang="0">
                  <a:pos x="csX2" y="csY2"/>
                </a:cxn>
                <a:cxn ang="0">
                  <a:pos x="csX3" y="csY3"/>
                </a:cxn>
                <a:cxn ang="0">
                  <a:pos x="csX4" y="csY4"/>
                </a:cxn>
              </a:cxnLst>
              <a:rect l="l" t="t" r="r" b="b"/>
              <a:pathLst>
                <a:path w="21671" h="11828">
                  <a:moveTo>
                    <a:pt x="12984" y="5034"/>
                  </a:moveTo>
                  <a:lnTo>
                    <a:pt x="-8688" y="5034"/>
                  </a:lnTo>
                  <a:lnTo>
                    <a:pt x="-8688" y="-6794"/>
                  </a:lnTo>
                  <a:lnTo>
                    <a:pt x="12984" y="-6794"/>
                  </a:lnTo>
                  <a:lnTo>
                    <a:pt x="12984" y="5034"/>
                  </a:lnTo>
                </a:path>
              </a:pathLst>
            </a:custGeom>
            <a:grpFill/>
            <a:ln w="548" cap="flat">
              <a:noFill/>
              <a:prstDash val="solid"/>
              <a:miter/>
            </a:ln>
          </p:spPr>
          <p:txBody>
            <a:bodyPr/>
            <a:lstStyle/>
            <a:p>
              <a:endParaRPr lang="en-US"/>
            </a:p>
          </p:txBody>
        </p:sp>
        <p:sp>
          <p:nvSpPr>
            <p:cNvPr id="339" name="Freeform: Shape 338">
              <a:extLst>
                <a:ext uri="{FF2B5EF4-FFF2-40B4-BE49-F238E27FC236}">
                  <a16:creationId xmlns:a16="http://schemas.microsoft.com/office/drawing/2014/main" id="{5F491809-4B52-4DD6-DCEE-486D0F178D8C}"/>
                </a:ext>
              </a:extLst>
            </p:cNvPr>
            <p:cNvSpPr/>
            <p:nvPr/>
          </p:nvSpPr>
          <p:spPr>
            <a:xfrm flipV="1">
              <a:off x="24131947" y="3797220"/>
              <a:ext cx="21671" cy="11823"/>
            </a:xfrm>
            <a:custGeom>
              <a:avLst/>
              <a:gdLst>
                <a:gd name="csX0" fmla="*/ 12912 w 21671"/>
                <a:gd name="csY0" fmla="*/ 5138 h 11823"/>
                <a:gd name="csX1" fmla="*/ -8759 w 21671"/>
                <a:gd name="csY1" fmla="*/ 5138 h 11823"/>
                <a:gd name="csX2" fmla="*/ -8759 w 21671"/>
                <a:gd name="csY2" fmla="*/ -6685 h 11823"/>
                <a:gd name="csX3" fmla="*/ 12912 w 21671"/>
                <a:gd name="csY3" fmla="*/ -6685 h 11823"/>
                <a:gd name="csX4" fmla="*/ 12912 w 21671"/>
                <a:gd name="csY4" fmla="*/ 5138 h 11823"/>
              </a:gdLst>
              <a:ahLst/>
              <a:cxnLst>
                <a:cxn ang="0">
                  <a:pos x="csX0" y="csY0"/>
                </a:cxn>
                <a:cxn ang="0">
                  <a:pos x="csX1" y="csY1"/>
                </a:cxn>
                <a:cxn ang="0">
                  <a:pos x="csX2" y="csY2"/>
                </a:cxn>
                <a:cxn ang="0">
                  <a:pos x="csX3" y="csY3"/>
                </a:cxn>
                <a:cxn ang="0">
                  <a:pos x="csX4" y="csY4"/>
                </a:cxn>
              </a:cxnLst>
              <a:rect l="l" t="t" r="r" b="b"/>
              <a:pathLst>
                <a:path w="21671" h="11823">
                  <a:moveTo>
                    <a:pt x="12912" y="5138"/>
                  </a:moveTo>
                  <a:lnTo>
                    <a:pt x="-8759" y="5138"/>
                  </a:lnTo>
                  <a:lnTo>
                    <a:pt x="-8759" y="-6685"/>
                  </a:lnTo>
                  <a:lnTo>
                    <a:pt x="12912" y="-6685"/>
                  </a:lnTo>
                  <a:lnTo>
                    <a:pt x="12912" y="5138"/>
                  </a:lnTo>
                </a:path>
              </a:pathLst>
            </a:custGeom>
            <a:grpFill/>
            <a:ln w="548" cap="flat">
              <a:noFill/>
              <a:prstDash val="solid"/>
              <a:miter/>
            </a:ln>
          </p:spPr>
          <p:txBody>
            <a:bodyPr/>
            <a:lstStyle/>
            <a:p>
              <a:endParaRPr lang="en-US"/>
            </a:p>
          </p:txBody>
        </p:sp>
        <p:sp>
          <p:nvSpPr>
            <p:cNvPr id="340" name="Freeform: Shape 339">
              <a:extLst>
                <a:ext uri="{FF2B5EF4-FFF2-40B4-BE49-F238E27FC236}">
                  <a16:creationId xmlns:a16="http://schemas.microsoft.com/office/drawing/2014/main" id="{E7E822B3-F5A0-72BD-2342-2053C3245682}"/>
                </a:ext>
              </a:extLst>
            </p:cNvPr>
            <p:cNvSpPr/>
            <p:nvPr/>
          </p:nvSpPr>
          <p:spPr>
            <a:xfrm flipV="1">
              <a:off x="24131947" y="3811451"/>
              <a:ext cx="21671" cy="11828"/>
            </a:xfrm>
            <a:custGeom>
              <a:avLst/>
              <a:gdLst>
                <a:gd name="csX0" fmla="*/ 12912 w 21671"/>
                <a:gd name="csY0" fmla="*/ 5178 h 11828"/>
                <a:gd name="csX1" fmla="*/ -8759 w 21671"/>
                <a:gd name="csY1" fmla="*/ 5178 h 11828"/>
                <a:gd name="csX2" fmla="*/ -8759 w 21671"/>
                <a:gd name="csY2" fmla="*/ -6651 h 11828"/>
                <a:gd name="csX3" fmla="*/ 12912 w 21671"/>
                <a:gd name="csY3" fmla="*/ -6651 h 11828"/>
                <a:gd name="csX4" fmla="*/ 12912 w 21671"/>
                <a:gd name="csY4" fmla="*/ 5178 h 11828"/>
              </a:gdLst>
              <a:ahLst/>
              <a:cxnLst>
                <a:cxn ang="0">
                  <a:pos x="csX0" y="csY0"/>
                </a:cxn>
                <a:cxn ang="0">
                  <a:pos x="csX1" y="csY1"/>
                </a:cxn>
                <a:cxn ang="0">
                  <a:pos x="csX2" y="csY2"/>
                </a:cxn>
                <a:cxn ang="0">
                  <a:pos x="csX3" y="csY3"/>
                </a:cxn>
                <a:cxn ang="0">
                  <a:pos x="csX4" y="csY4"/>
                </a:cxn>
              </a:cxnLst>
              <a:rect l="l" t="t" r="r" b="b"/>
              <a:pathLst>
                <a:path w="21671" h="11828">
                  <a:moveTo>
                    <a:pt x="12912" y="5178"/>
                  </a:moveTo>
                  <a:lnTo>
                    <a:pt x="-8759" y="5178"/>
                  </a:lnTo>
                  <a:lnTo>
                    <a:pt x="-8759" y="-6651"/>
                  </a:lnTo>
                  <a:lnTo>
                    <a:pt x="12912" y="-6651"/>
                  </a:lnTo>
                  <a:lnTo>
                    <a:pt x="12912" y="5178"/>
                  </a:lnTo>
                </a:path>
              </a:pathLst>
            </a:custGeom>
            <a:grpFill/>
            <a:ln w="548" cap="flat">
              <a:noFill/>
              <a:prstDash val="solid"/>
              <a:miter/>
            </a:ln>
          </p:spPr>
          <p:txBody>
            <a:bodyPr/>
            <a:lstStyle/>
            <a:p>
              <a:endParaRPr lang="en-US"/>
            </a:p>
          </p:txBody>
        </p:sp>
        <p:sp>
          <p:nvSpPr>
            <p:cNvPr id="341" name="Freeform: Shape 340">
              <a:extLst>
                <a:ext uri="{FF2B5EF4-FFF2-40B4-BE49-F238E27FC236}">
                  <a16:creationId xmlns:a16="http://schemas.microsoft.com/office/drawing/2014/main" id="{83100BE9-977C-A097-FAC6-8E0EFF6203EA}"/>
                </a:ext>
              </a:extLst>
            </p:cNvPr>
            <p:cNvSpPr/>
            <p:nvPr/>
          </p:nvSpPr>
          <p:spPr>
            <a:xfrm flipV="1">
              <a:off x="24074449" y="3797220"/>
              <a:ext cx="21671" cy="11823"/>
            </a:xfrm>
            <a:custGeom>
              <a:avLst/>
              <a:gdLst>
                <a:gd name="csX0" fmla="*/ 12984 w 21671"/>
                <a:gd name="csY0" fmla="*/ 5138 h 11823"/>
                <a:gd name="csX1" fmla="*/ -8688 w 21671"/>
                <a:gd name="csY1" fmla="*/ 5138 h 11823"/>
                <a:gd name="csX2" fmla="*/ -8688 w 21671"/>
                <a:gd name="csY2" fmla="*/ -6685 h 11823"/>
                <a:gd name="csX3" fmla="*/ 12984 w 21671"/>
                <a:gd name="csY3" fmla="*/ -6685 h 11823"/>
                <a:gd name="csX4" fmla="*/ 12984 w 21671"/>
                <a:gd name="csY4" fmla="*/ 5138 h 11823"/>
              </a:gdLst>
              <a:ahLst/>
              <a:cxnLst>
                <a:cxn ang="0">
                  <a:pos x="csX0" y="csY0"/>
                </a:cxn>
                <a:cxn ang="0">
                  <a:pos x="csX1" y="csY1"/>
                </a:cxn>
                <a:cxn ang="0">
                  <a:pos x="csX2" y="csY2"/>
                </a:cxn>
                <a:cxn ang="0">
                  <a:pos x="csX3" y="csY3"/>
                </a:cxn>
                <a:cxn ang="0">
                  <a:pos x="csX4" y="csY4"/>
                </a:cxn>
              </a:cxnLst>
              <a:rect l="l" t="t" r="r" b="b"/>
              <a:pathLst>
                <a:path w="21671" h="11823">
                  <a:moveTo>
                    <a:pt x="12984" y="5138"/>
                  </a:moveTo>
                  <a:lnTo>
                    <a:pt x="-8688" y="5138"/>
                  </a:lnTo>
                  <a:lnTo>
                    <a:pt x="-8688" y="-6685"/>
                  </a:lnTo>
                  <a:lnTo>
                    <a:pt x="12984" y="-6685"/>
                  </a:lnTo>
                  <a:lnTo>
                    <a:pt x="12984" y="5138"/>
                  </a:lnTo>
                </a:path>
              </a:pathLst>
            </a:custGeom>
            <a:grpFill/>
            <a:ln w="548" cap="flat">
              <a:noFill/>
              <a:prstDash val="solid"/>
              <a:miter/>
            </a:ln>
          </p:spPr>
          <p:txBody>
            <a:bodyPr/>
            <a:lstStyle/>
            <a:p>
              <a:endParaRPr lang="en-US"/>
            </a:p>
          </p:txBody>
        </p:sp>
        <p:sp>
          <p:nvSpPr>
            <p:cNvPr id="342" name="Freeform: Shape 341">
              <a:extLst>
                <a:ext uri="{FF2B5EF4-FFF2-40B4-BE49-F238E27FC236}">
                  <a16:creationId xmlns:a16="http://schemas.microsoft.com/office/drawing/2014/main" id="{7D043930-409D-631F-4B45-D6ABE428AC22}"/>
                </a:ext>
              </a:extLst>
            </p:cNvPr>
            <p:cNvSpPr/>
            <p:nvPr/>
          </p:nvSpPr>
          <p:spPr>
            <a:xfrm flipV="1">
              <a:off x="24074449" y="3811451"/>
              <a:ext cx="21671" cy="11828"/>
            </a:xfrm>
            <a:custGeom>
              <a:avLst/>
              <a:gdLst>
                <a:gd name="csX0" fmla="*/ 12984 w 21671"/>
                <a:gd name="csY0" fmla="*/ 5178 h 11828"/>
                <a:gd name="csX1" fmla="*/ -8688 w 21671"/>
                <a:gd name="csY1" fmla="*/ 5178 h 11828"/>
                <a:gd name="csX2" fmla="*/ -8688 w 21671"/>
                <a:gd name="csY2" fmla="*/ -6651 h 11828"/>
                <a:gd name="csX3" fmla="*/ 12984 w 21671"/>
                <a:gd name="csY3" fmla="*/ -6651 h 11828"/>
                <a:gd name="csX4" fmla="*/ 12984 w 21671"/>
                <a:gd name="csY4" fmla="*/ 5178 h 11828"/>
              </a:gdLst>
              <a:ahLst/>
              <a:cxnLst>
                <a:cxn ang="0">
                  <a:pos x="csX0" y="csY0"/>
                </a:cxn>
                <a:cxn ang="0">
                  <a:pos x="csX1" y="csY1"/>
                </a:cxn>
                <a:cxn ang="0">
                  <a:pos x="csX2" y="csY2"/>
                </a:cxn>
                <a:cxn ang="0">
                  <a:pos x="csX3" y="csY3"/>
                </a:cxn>
                <a:cxn ang="0">
                  <a:pos x="csX4" y="csY4"/>
                </a:cxn>
              </a:cxnLst>
              <a:rect l="l" t="t" r="r" b="b"/>
              <a:pathLst>
                <a:path w="21671" h="11828">
                  <a:moveTo>
                    <a:pt x="12984" y="5178"/>
                  </a:moveTo>
                  <a:lnTo>
                    <a:pt x="-8688" y="5178"/>
                  </a:lnTo>
                  <a:lnTo>
                    <a:pt x="-8688" y="-6651"/>
                  </a:lnTo>
                  <a:lnTo>
                    <a:pt x="12984" y="-6651"/>
                  </a:lnTo>
                  <a:lnTo>
                    <a:pt x="12984" y="5178"/>
                  </a:lnTo>
                </a:path>
              </a:pathLst>
            </a:custGeom>
            <a:grpFill/>
            <a:ln w="548" cap="flat">
              <a:noFill/>
              <a:prstDash val="solid"/>
              <a:miter/>
            </a:ln>
          </p:spPr>
          <p:txBody>
            <a:bodyPr/>
            <a:lstStyle/>
            <a:p>
              <a:endParaRPr lang="en-US"/>
            </a:p>
          </p:txBody>
        </p:sp>
        <p:sp>
          <p:nvSpPr>
            <p:cNvPr id="343" name="Freeform: Shape 342">
              <a:extLst>
                <a:ext uri="{FF2B5EF4-FFF2-40B4-BE49-F238E27FC236}">
                  <a16:creationId xmlns:a16="http://schemas.microsoft.com/office/drawing/2014/main" id="{3020FC36-A862-AC6C-3704-95D62089E871}"/>
                </a:ext>
              </a:extLst>
            </p:cNvPr>
            <p:cNvSpPr/>
            <p:nvPr/>
          </p:nvSpPr>
          <p:spPr>
            <a:xfrm flipV="1">
              <a:off x="24131947" y="3856736"/>
              <a:ext cx="21671" cy="11828"/>
            </a:xfrm>
            <a:custGeom>
              <a:avLst/>
              <a:gdLst>
                <a:gd name="csX0" fmla="*/ 12912 w 21671"/>
                <a:gd name="csY0" fmla="*/ 5287 h 11828"/>
                <a:gd name="csX1" fmla="*/ -8759 w 21671"/>
                <a:gd name="csY1" fmla="*/ 5287 h 11828"/>
                <a:gd name="csX2" fmla="*/ -8759 w 21671"/>
                <a:gd name="csY2" fmla="*/ -6542 h 11828"/>
                <a:gd name="csX3" fmla="*/ 12912 w 21671"/>
                <a:gd name="csY3" fmla="*/ -6542 h 11828"/>
                <a:gd name="csX4" fmla="*/ 12912 w 21671"/>
                <a:gd name="csY4" fmla="*/ 5287 h 11828"/>
              </a:gdLst>
              <a:ahLst/>
              <a:cxnLst>
                <a:cxn ang="0">
                  <a:pos x="csX0" y="csY0"/>
                </a:cxn>
                <a:cxn ang="0">
                  <a:pos x="csX1" y="csY1"/>
                </a:cxn>
                <a:cxn ang="0">
                  <a:pos x="csX2" y="csY2"/>
                </a:cxn>
                <a:cxn ang="0">
                  <a:pos x="csX3" y="csY3"/>
                </a:cxn>
                <a:cxn ang="0">
                  <a:pos x="csX4" y="csY4"/>
                </a:cxn>
              </a:cxnLst>
              <a:rect l="l" t="t" r="r" b="b"/>
              <a:pathLst>
                <a:path w="21671" h="11828">
                  <a:moveTo>
                    <a:pt x="12912" y="5287"/>
                  </a:moveTo>
                  <a:lnTo>
                    <a:pt x="-8759" y="5287"/>
                  </a:lnTo>
                  <a:lnTo>
                    <a:pt x="-8759" y="-6542"/>
                  </a:lnTo>
                  <a:lnTo>
                    <a:pt x="12912" y="-6542"/>
                  </a:lnTo>
                  <a:lnTo>
                    <a:pt x="12912" y="5287"/>
                  </a:lnTo>
                </a:path>
              </a:pathLst>
            </a:custGeom>
            <a:grpFill/>
            <a:ln w="548" cap="flat">
              <a:noFill/>
              <a:prstDash val="solid"/>
              <a:miter/>
            </a:ln>
          </p:spPr>
          <p:txBody>
            <a:bodyPr/>
            <a:lstStyle/>
            <a:p>
              <a:endParaRPr lang="en-US"/>
            </a:p>
          </p:txBody>
        </p:sp>
        <p:sp>
          <p:nvSpPr>
            <p:cNvPr id="344" name="Freeform: Shape 343">
              <a:extLst>
                <a:ext uri="{FF2B5EF4-FFF2-40B4-BE49-F238E27FC236}">
                  <a16:creationId xmlns:a16="http://schemas.microsoft.com/office/drawing/2014/main" id="{249D7D3A-92C9-1D26-4DD8-84F1AE306BA9}"/>
                </a:ext>
              </a:extLst>
            </p:cNvPr>
            <p:cNvSpPr/>
            <p:nvPr/>
          </p:nvSpPr>
          <p:spPr>
            <a:xfrm flipV="1">
              <a:off x="24131947" y="3870968"/>
              <a:ext cx="21671" cy="11828"/>
            </a:xfrm>
            <a:custGeom>
              <a:avLst/>
              <a:gdLst>
                <a:gd name="csX0" fmla="*/ 12912 w 21671"/>
                <a:gd name="csY0" fmla="*/ 5321 h 11828"/>
                <a:gd name="csX1" fmla="*/ -8759 w 21671"/>
                <a:gd name="csY1" fmla="*/ 5321 h 11828"/>
                <a:gd name="csX2" fmla="*/ -8759 w 21671"/>
                <a:gd name="csY2" fmla="*/ -6508 h 11828"/>
                <a:gd name="csX3" fmla="*/ 12912 w 21671"/>
                <a:gd name="csY3" fmla="*/ -6508 h 11828"/>
                <a:gd name="csX4" fmla="*/ 12912 w 21671"/>
                <a:gd name="csY4" fmla="*/ 5321 h 11828"/>
              </a:gdLst>
              <a:ahLst/>
              <a:cxnLst>
                <a:cxn ang="0">
                  <a:pos x="csX0" y="csY0"/>
                </a:cxn>
                <a:cxn ang="0">
                  <a:pos x="csX1" y="csY1"/>
                </a:cxn>
                <a:cxn ang="0">
                  <a:pos x="csX2" y="csY2"/>
                </a:cxn>
                <a:cxn ang="0">
                  <a:pos x="csX3" y="csY3"/>
                </a:cxn>
                <a:cxn ang="0">
                  <a:pos x="csX4" y="csY4"/>
                </a:cxn>
              </a:cxnLst>
              <a:rect l="l" t="t" r="r" b="b"/>
              <a:pathLst>
                <a:path w="21671" h="11828">
                  <a:moveTo>
                    <a:pt x="12912" y="5321"/>
                  </a:moveTo>
                  <a:lnTo>
                    <a:pt x="-8759" y="5321"/>
                  </a:lnTo>
                  <a:lnTo>
                    <a:pt x="-8759" y="-6508"/>
                  </a:lnTo>
                  <a:lnTo>
                    <a:pt x="12912" y="-6508"/>
                  </a:lnTo>
                  <a:lnTo>
                    <a:pt x="12912" y="5321"/>
                  </a:lnTo>
                </a:path>
              </a:pathLst>
            </a:custGeom>
            <a:grpFill/>
            <a:ln w="548" cap="flat">
              <a:noFill/>
              <a:prstDash val="solid"/>
              <a:miter/>
            </a:ln>
          </p:spPr>
          <p:txBody>
            <a:bodyPr/>
            <a:lstStyle/>
            <a:p>
              <a:endParaRPr lang="en-US"/>
            </a:p>
          </p:txBody>
        </p:sp>
        <p:sp>
          <p:nvSpPr>
            <p:cNvPr id="345" name="Freeform: Shape 344">
              <a:extLst>
                <a:ext uri="{FF2B5EF4-FFF2-40B4-BE49-F238E27FC236}">
                  <a16:creationId xmlns:a16="http://schemas.microsoft.com/office/drawing/2014/main" id="{310C440A-6AFF-7A3A-3338-9476BA3B28A3}"/>
                </a:ext>
              </a:extLst>
            </p:cNvPr>
            <p:cNvSpPr/>
            <p:nvPr/>
          </p:nvSpPr>
          <p:spPr>
            <a:xfrm flipV="1">
              <a:off x="24074449" y="3856736"/>
              <a:ext cx="21671" cy="11828"/>
            </a:xfrm>
            <a:custGeom>
              <a:avLst/>
              <a:gdLst>
                <a:gd name="csX0" fmla="*/ 12984 w 21671"/>
                <a:gd name="csY0" fmla="*/ 5287 h 11828"/>
                <a:gd name="csX1" fmla="*/ -8688 w 21671"/>
                <a:gd name="csY1" fmla="*/ 5287 h 11828"/>
                <a:gd name="csX2" fmla="*/ -8688 w 21671"/>
                <a:gd name="csY2" fmla="*/ -6542 h 11828"/>
                <a:gd name="csX3" fmla="*/ 12984 w 21671"/>
                <a:gd name="csY3" fmla="*/ -6542 h 11828"/>
                <a:gd name="csX4" fmla="*/ 12984 w 21671"/>
                <a:gd name="csY4" fmla="*/ 5287 h 11828"/>
              </a:gdLst>
              <a:ahLst/>
              <a:cxnLst>
                <a:cxn ang="0">
                  <a:pos x="csX0" y="csY0"/>
                </a:cxn>
                <a:cxn ang="0">
                  <a:pos x="csX1" y="csY1"/>
                </a:cxn>
                <a:cxn ang="0">
                  <a:pos x="csX2" y="csY2"/>
                </a:cxn>
                <a:cxn ang="0">
                  <a:pos x="csX3" y="csY3"/>
                </a:cxn>
                <a:cxn ang="0">
                  <a:pos x="csX4" y="csY4"/>
                </a:cxn>
              </a:cxnLst>
              <a:rect l="l" t="t" r="r" b="b"/>
              <a:pathLst>
                <a:path w="21671" h="11828">
                  <a:moveTo>
                    <a:pt x="12984" y="5287"/>
                  </a:moveTo>
                  <a:lnTo>
                    <a:pt x="-8688" y="5287"/>
                  </a:lnTo>
                  <a:lnTo>
                    <a:pt x="-8688" y="-6542"/>
                  </a:lnTo>
                  <a:lnTo>
                    <a:pt x="12984" y="-6542"/>
                  </a:lnTo>
                  <a:lnTo>
                    <a:pt x="12984" y="5287"/>
                  </a:lnTo>
                </a:path>
              </a:pathLst>
            </a:custGeom>
            <a:grpFill/>
            <a:ln w="548" cap="flat">
              <a:noFill/>
              <a:prstDash val="solid"/>
              <a:miter/>
            </a:ln>
          </p:spPr>
          <p:txBody>
            <a:bodyPr/>
            <a:lstStyle/>
            <a:p>
              <a:endParaRPr lang="en-US"/>
            </a:p>
          </p:txBody>
        </p:sp>
        <p:sp>
          <p:nvSpPr>
            <p:cNvPr id="346" name="Freeform: Shape 345">
              <a:extLst>
                <a:ext uri="{FF2B5EF4-FFF2-40B4-BE49-F238E27FC236}">
                  <a16:creationId xmlns:a16="http://schemas.microsoft.com/office/drawing/2014/main" id="{F33EBA51-BCDC-FB1F-4422-878E9DC13066}"/>
                </a:ext>
              </a:extLst>
            </p:cNvPr>
            <p:cNvSpPr/>
            <p:nvPr/>
          </p:nvSpPr>
          <p:spPr>
            <a:xfrm flipV="1">
              <a:off x="24074449" y="3870968"/>
              <a:ext cx="21671" cy="11828"/>
            </a:xfrm>
            <a:custGeom>
              <a:avLst/>
              <a:gdLst>
                <a:gd name="csX0" fmla="*/ 12984 w 21671"/>
                <a:gd name="csY0" fmla="*/ 5321 h 11828"/>
                <a:gd name="csX1" fmla="*/ -8688 w 21671"/>
                <a:gd name="csY1" fmla="*/ 5321 h 11828"/>
                <a:gd name="csX2" fmla="*/ -8688 w 21671"/>
                <a:gd name="csY2" fmla="*/ -6508 h 11828"/>
                <a:gd name="csX3" fmla="*/ 12984 w 21671"/>
                <a:gd name="csY3" fmla="*/ -6508 h 11828"/>
                <a:gd name="csX4" fmla="*/ 12984 w 21671"/>
                <a:gd name="csY4" fmla="*/ 5321 h 11828"/>
              </a:gdLst>
              <a:ahLst/>
              <a:cxnLst>
                <a:cxn ang="0">
                  <a:pos x="csX0" y="csY0"/>
                </a:cxn>
                <a:cxn ang="0">
                  <a:pos x="csX1" y="csY1"/>
                </a:cxn>
                <a:cxn ang="0">
                  <a:pos x="csX2" y="csY2"/>
                </a:cxn>
                <a:cxn ang="0">
                  <a:pos x="csX3" y="csY3"/>
                </a:cxn>
                <a:cxn ang="0">
                  <a:pos x="csX4" y="csY4"/>
                </a:cxn>
              </a:cxnLst>
              <a:rect l="l" t="t" r="r" b="b"/>
              <a:pathLst>
                <a:path w="21671" h="11828">
                  <a:moveTo>
                    <a:pt x="12984" y="5321"/>
                  </a:moveTo>
                  <a:lnTo>
                    <a:pt x="-8688" y="5321"/>
                  </a:lnTo>
                  <a:lnTo>
                    <a:pt x="-8688" y="-6508"/>
                  </a:lnTo>
                  <a:lnTo>
                    <a:pt x="12984" y="-6508"/>
                  </a:lnTo>
                  <a:lnTo>
                    <a:pt x="12984" y="5321"/>
                  </a:lnTo>
                </a:path>
              </a:pathLst>
            </a:custGeom>
            <a:grpFill/>
            <a:ln w="548" cap="flat">
              <a:noFill/>
              <a:prstDash val="solid"/>
              <a:miter/>
            </a:ln>
          </p:spPr>
          <p:txBody>
            <a:bodyPr/>
            <a:lstStyle/>
            <a:p>
              <a:endParaRPr lang="en-US"/>
            </a:p>
          </p:txBody>
        </p:sp>
        <p:sp>
          <p:nvSpPr>
            <p:cNvPr id="347" name="Freeform: Shape 346">
              <a:extLst>
                <a:ext uri="{FF2B5EF4-FFF2-40B4-BE49-F238E27FC236}">
                  <a16:creationId xmlns:a16="http://schemas.microsoft.com/office/drawing/2014/main" id="{716FA239-B599-198B-D8DF-417E4C316741}"/>
                </a:ext>
              </a:extLst>
            </p:cNvPr>
            <p:cNvSpPr/>
            <p:nvPr/>
          </p:nvSpPr>
          <p:spPr>
            <a:xfrm flipV="1">
              <a:off x="24131947" y="3916253"/>
              <a:ext cx="21671" cy="11828"/>
            </a:xfrm>
            <a:custGeom>
              <a:avLst/>
              <a:gdLst>
                <a:gd name="csX0" fmla="*/ 12912 w 21671"/>
                <a:gd name="csY0" fmla="*/ 5430 h 11828"/>
                <a:gd name="csX1" fmla="*/ -8759 w 21671"/>
                <a:gd name="csY1" fmla="*/ 5430 h 11828"/>
                <a:gd name="csX2" fmla="*/ -8759 w 21671"/>
                <a:gd name="csY2" fmla="*/ -6399 h 11828"/>
                <a:gd name="csX3" fmla="*/ 12912 w 21671"/>
                <a:gd name="csY3" fmla="*/ -6399 h 11828"/>
                <a:gd name="csX4" fmla="*/ 12912 w 21671"/>
                <a:gd name="csY4" fmla="*/ 5430 h 11828"/>
              </a:gdLst>
              <a:ahLst/>
              <a:cxnLst>
                <a:cxn ang="0">
                  <a:pos x="csX0" y="csY0"/>
                </a:cxn>
                <a:cxn ang="0">
                  <a:pos x="csX1" y="csY1"/>
                </a:cxn>
                <a:cxn ang="0">
                  <a:pos x="csX2" y="csY2"/>
                </a:cxn>
                <a:cxn ang="0">
                  <a:pos x="csX3" y="csY3"/>
                </a:cxn>
                <a:cxn ang="0">
                  <a:pos x="csX4" y="csY4"/>
                </a:cxn>
              </a:cxnLst>
              <a:rect l="l" t="t" r="r" b="b"/>
              <a:pathLst>
                <a:path w="21671" h="11828">
                  <a:moveTo>
                    <a:pt x="12912" y="5430"/>
                  </a:moveTo>
                  <a:lnTo>
                    <a:pt x="-8759" y="5430"/>
                  </a:lnTo>
                  <a:lnTo>
                    <a:pt x="-8759" y="-6399"/>
                  </a:lnTo>
                  <a:lnTo>
                    <a:pt x="12912" y="-6399"/>
                  </a:lnTo>
                  <a:lnTo>
                    <a:pt x="12912" y="5430"/>
                  </a:lnTo>
                </a:path>
              </a:pathLst>
            </a:custGeom>
            <a:grpFill/>
            <a:ln w="548" cap="flat">
              <a:noFill/>
              <a:prstDash val="solid"/>
              <a:miter/>
            </a:ln>
          </p:spPr>
          <p:txBody>
            <a:bodyPr/>
            <a:lstStyle/>
            <a:p>
              <a:endParaRPr lang="en-US"/>
            </a:p>
          </p:txBody>
        </p:sp>
        <p:sp>
          <p:nvSpPr>
            <p:cNvPr id="348" name="Freeform: Shape 347">
              <a:extLst>
                <a:ext uri="{FF2B5EF4-FFF2-40B4-BE49-F238E27FC236}">
                  <a16:creationId xmlns:a16="http://schemas.microsoft.com/office/drawing/2014/main" id="{B672F46B-5BDC-373D-172D-61080395F123}"/>
                </a:ext>
              </a:extLst>
            </p:cNvPr>
            <p:cNvSpPr/>
            <p:nvPr/>
          </p:nvSpPr>
          <p:spPr>
            <a:xfrm flipV="1">
              <a:off x="24131947" y="3930484"/>
              <a:ext cx="21671" cy="11828"/>
            </a:xfrm>
            <a:custGeom>
              <a:avLst/>
              <a:gdLst>
                <a:gd name="csX0" fmla="*/ 12912 w 21671"/>
                <a:gd name="csY0" fmla="*/ 5464 h 11828"/>
                <a:gd name="csX1" fmla="*/ -8759 w 21671"/>
                <a:gd name="csY1" fmla="*/ 5464 h 11828"/>
                <a:gd name="csX2" fmla="*/ -8759 w 21671"/>
                <a:gd name="csY2" fmla="*/ -6365 h 11828"/>
                <a:gd name="csX3" fmla="*/ 12912 w 21671"/>
                <a:gd name="csY3" fmla="*/ -6365 h 11828"/>
                <a:gd name="csX4" fmla="*/ 12912 w 21671"/>
                <a:gd name="csY4" fmla="*/ 5464 h 11828"/>
              </a:gdLst>
              <a:ahLst/>
              <a:cxnLst>
                <a:cxn ang="0">
                  <a:pos x="csX0" y="csY0"/>
                </a:cxn>
                <a:cxn ang="0">
                  <a:pos x="csX1" y="csY1"/>
                </a:cxn>
                <a:cxn ang="0">
                  <a:pos x="csX2" y="csY2"/>
                </a:cxn>
                <a:cxn ang="0">
                  <a:pos x="csX3" y="csY3"/>
                </a:cxn>
                <a:cxn ang="0">
                  <a:pos x="csX4" y="csY4"/>
                </a:cxn>
              </a:cxnLst>
              <a:rect l="l" t="t" r="r" b="b"/>
              <a:pathLst>
                <a:path w="21671" h="11828">
                  <a:moveTo>
                    <a:pt x="12912" y="5464"/>
                  </a:moveTo>
                  <a:lnTo>
                    <a:pt x="-8759" y="5464"/>
                  </a:lnTo>
                  <a:lnTo>
                    <a:pt x="-8759" y="-6365"/>
                  </a:lnTo>
                  <a:lnTo>
                    <a:pt x="12912" y="-6365"/>
                  </a:lnTo>
                  <a:lnTo>
                    <a:pt x="12912" y="5464"/>
                  </a:lnTo>
                </a:path>
              </a:pathLst>
            </a:custGeom>
            <a:grpFill/>
            <a:ln w="548" cap="flat">
              <a:noFill/>
              <a:prstDash val="solid"/>
              <a:miter/>
            </a:ln>
          </p:spPr>
          <p:txBody>
            <a:bodyPr/>
            <a:lstStyle/>
            <a:p>
              <a:endParaRPr lang="en-US"/>
            </a:p>
          </p:txBody>
        </p:sp>
        <p:sp>
          <p:nvSpPr>
            <p:cNvPr id="349" name="Freeform: Shape 348">
              <a:extLst>
                <a:ext uri="{FF2B5EF4-FFF2-40B4-BE49-F238E27FC236}">
                  <a16:creationId xmlns:a16="http://schemas.microsoft.com/office/drawing/2014/main" id="{7457BAB5-8A3D-1025-872B-2E1C3F9D3293}"/>
                </a:ext>
              </a:extLst>
            </p:cNvPr>
            <p:cNvSpPr/>
            <p:nvPr/>
          </p:nvSpPr>
          <p:spPr>
            <a:xfrm flipV="1">
              <a:off x="24074449" y="3916253"/>
              <a:ext cx="21671" cy="11828"/>
            </a:xfrm>
            <a:custGeom>
              <a:avLst/>
              <a:gdLst>
                <a:gd name="csX0" fmla="*/ 12984 w 21671"/>
                <a:gd name="csY0" fmla="*/ 5430 h 11828"/>
                <a:gd name="csX1" fmla="*/ -8688 w 21671"/>
                <a:gd name="csY1" fmla="*/ 5430 h 11828"/>
                <a:gd name="csX2" fmla="*/ -8688 w 21671"/>
                <a:gd name="csY2" fmla="*/ -6399 h 11828"/>
                <a:gd name="csX3" fmla="*/ 12984 w 21671"/>
                <a:gd name="csY3" fmla="*/ -6399 h 11828"/>
                <a:gd name="csX4" fmla="*/ 12984 w 21671"/>
                <a:gd name="csY4" fmla="*/ 5430 h 11828"/>
              </a:gdLst>
              <a:ahLst/>
              <a:cxnLst>
                <a:cxn ang="0">
                  <a:pos x="csX0" y="csY0"/>
                </a:cxn>
                <a:cxn ang="0">
                  <a:pos x="csX1" y="csY1"/>
                </a:cxn>
                <a:cxn ang="0">
                  <a:pos x="csX2" y="csY2"/>
                </a:cxn>
                <a:cxn ang="0">
                  <a:pos x="csX3" y="csY3"/>
                </a:cxn>
                <a:cxn ang="0">
                  <a:pos x="csX4" y="csY4"/>
                </a:cxn>
              </a:cxnLst>
              <a:rect l="l" t="t" r="r" b="b"/>
              <a:pathLst>
                <a:path w="21671" h="11828">
                  <a:moveTo>
                    <a:pt x="12984" y="5430"/>
                  </a:moveTo>
                  <a:lnTo>
                    <a:pt x="-8688" y="5430"/>
                  </a:lnTo>
                  <a:lnTo>
                    <a:pt x="-8688" y="-6399"/>
                  </a:lnTo>
                  <a:lnTo>
                    <a:pt x="12984" y="-6399"/>
                  </a:lnTo>
                  <a:lnTo>
                    <a:pt x="12984" y="5430"/>
                  </a:lnTo>
                </a:path>
              </a:pathLst>
            </a:custGeom>
            <a:grpFill/>
            <a:ln w="548" cap="flat">
              <a:noFill/>
              <a:prstDash val="solid"/>
              <a:miter/>
            </a:ln>
          </p:spPr>
          <p:txBody>
            <a:bodyPr/>
            <a:lstStyle/>
            <a:p>
              <a:endParaRPr lang="en-US"/>
            </a:p>
          </p:txBody>
        </p:sp>
        <p:sp>
          <p:nvSpPr>
            <p:cNvPr id="350" name="Freeform: Shape 349">
              <a:extLst>
                <a:ext uri="{FF2B5EF4-FFF2-40B4-BE49-F238E27FC236}">
                  <a16:creationId xmlns:a16="http://schemas.microsoft.com/office/drawing/2014/main" id="{145A1834-7B42-9AE8-8549-8FB9EF4AA64D}"/>
                </a:ext>
              </a:extLst>
            </p:cNvPr>
            <p:cNvSpPr/>
            <p:nvPr/>
          </p:nvSpPr>
          <p:spPr>
            <a:xfrm flipV="1">
              <a:off x="24074449" y="3930484"/>
              <a:ext cx="21671" cy="11828"/>
            </a:xfrm>
            <a:custGeom>
              <a:avLst/>
              <a:gdLst>
                <a:gd name="csX0" fmla="*/ 12984 w 21671"/>
                <a:gd name="csY0" fmla="*/ 5464 h 11828"/>
                <a:gd name="csX1" fmla="*/ -8688 w 21671"/>
                <a:gd name="csY1" fmla="*/ 5464 h 11828"/>
                <a:gd name="csX2" fmla="*/ -8688 w 21671"/>
                <a:gd name="csY2" fmla="*/ -6365 h 11828"/>
                <a:gd name="csX3" fmla="*/ 12984 w 21671"/>
                <a:gd name="csY3" fmla="*/ -6365 h 11828"/>
                <a:gd name="csX4" fmla="*/ 12984 w 21671"/>
                <a:gd name="csY4" fmla="*/ 5464 h 11828"/>
              </a:gdLst>
              <a:ahLst/>
              <a:cxnLst>
                <a:cxn ang="0">
                  <a:pos x="csX0" y="csY0"/>
                </a:cxn>
                <a:cxn ang="0">
                  <a:pos x="csX1" y="csY1"/>
                </a:cxn>
                <a:cxn ang="0">
                  <a:pos x="csX2" y="csY2"/>
                </a:cxn>
                <a:cxn ang="0">
                  <a:pos x="csX3" y="csY3"/>
                </a:cxn>
                <a:cxn ang="0">
                  <a:pos x="csX4" y="csY4"/>
                </a:cxn>
              </a:cxnLst>
              <a:rect l="l" t="t" r="r" b="b"/>
              <a:pathLst>
                <a:path w="21671" h="11828">
                  <a:moveTo>
                    <a:pt x="12984" y="5464"/>
                  </a:moveTo>
                  <a:lnTo>
                    <a:pt x="-8688" y="5464"/>
                  </a:lnTo>
                  <a:lnTo>
                    <a:pt x="-8688" y="-6365"/>
                  </a:lnTo>
                  <a:lnTo>
                    <a:pt x="12984" y="-6365"/>
                  </a:lnTo>
                  <a:lnTo>
                    <a:pt x="12984" y="5464"/>
                  </a:lnTo>
                </a:path>
              </a:pathLst>
            </a:custGeom>
            <a:grpFill/>
            <a:ln w="548" cap="flat">
              <a:noFill/>
              <a:prstDash val="solid"/>
              <a:miter/>
            </a:ln>
          </p:spPr>
          <p:txBody>
            <a:bodyPr/>
            <a:lstStyle/>
            <a:p>
              <a:endParaRPr lang="en-US"/>
            </a:p>
          </p:txBody>
        </p:sp>
        <p:sp>
          <p:nvSpPr>
            <p:cNvPr id="351" name="Freeform: Shape 350">
              <a:extLst>
                <a:ext uri="{FF2B5EF4-FFF2-40B4-BE49-F238E27FC236}">
                  <a16:creationId xmlns:a16="http://schemas.microsoft.com/office/drawing/2014/main" id="{EBBF7836-2E45-2902-8A98-4CEA1D137B69}"/>
                </a:ext>
              </a:extLst>
            </p:cNvPr>
            <p:cNvSpPr/>
            <p:nvPr/>
          </p:nvSpPr>
          <p:spPr>
            <a:xfrm flipV="1">
              <a:off x="24131947" y="3975769"/>
              <a:ext cx="21671" cy="11828"/>
            </a:xfrm>
            <a:custGeom>
              <a:avLst/>
              <a:gdLst>
                <a:gd name="csX0" fmla="*/ 12912 w 21671"/>
                <a:gd name="csY0" fmla="*/ 5573 h 11828"/>
                <a:gd name="csX1" fmla="*/ -8759 w 21671"/>
                <a:gd name="csY1" fmla="*/ 5573 h 11828"/>
                <a:gd name="csX2" fmla="*/ -8759 w 21671"/>
                <a:gd name="csY2" fmla="*/ -6256 h 11828"/>
                <a:gd name="csX3" fmla="*/ 12912 w 21671"/>
                <a:gd name="csY3" fmla="*/ -6256 h 11828"/>
                <a:gd name="csX4" fmla="*/ 12912 w 21671"/>
                <a:gd name="csY4" fmla="*/ 5573 h 11828"/>
              </a:gdLst>
              <a:ahLst/>
              <a:cxnLst>
                <a:cxn ang="0">
                  <a:pos x="csX0" y="csY0"/>
                </a:cxn>
                <a:cxn ang="0">
                  <a:pos x="csX1" y="csY1"/>
                </a:cxn>
                <a:cxn ang="0">
                  <a:pos x="csX2" y="csY2"/>
                </a:cxn>
                <a:cxn ang="0">
                  <a:pos x="csX3" y="csY3"/>
                </a:cxn>
                <a:cxn ang="0">
                  <a:pos x="csX4" y="csY4"/>
                </a:cxn>
              </a:cxnLst>
              <a:rect l="l" t="t" r="r" b="b"/>
              <a:pathLst>
                <a:path w="21671" h="11828">
                  <a:moveTo>
                    <a:pt x="12912" y="5573"/>
                  </a:moveTo>
                  <a:lnTo>
                    <a:pt x="-8759" y="5573"/>
                  </a:lnTo>
                  <a:lnTo>
                    <a:pt x="-8759" y="-6256"/>
                  </a:lnTo>
                  <a:lnTo>
                    <a:pt x="12912" y="-6256"/>
                  </a:lnTo>
                  <a:lnTo>
                    <a:pt x="12912" y="5573"/>
                  </a:lnTo>
                </a:path>
              </a:pathLst>
            </a:custGeom>
            <a:grpFill/>
            <a:ln w="548" cap="flat">
              <a:noFill/>
              <a:prstDash val="solid"/>
              <a:miter/>
            </a:ln>
          </p:spPr>
          <p:txBody>
            <a:bodyPr/>
            <a:lstStyle/>
            <a:p>
              <a:endParaRPr lang="en-US"/>
            </a:p>
          </p:txBody>
        </p:sp>
        <p:sp>
          <p:nvSpPr>
            <p:cNvPr id="352" name="Freeform: Shape 351">
              <a:extLst>
                <a:ext uri="{FF2B5EF4-FFF2-40B4-BE49-F238E27FC236}">
                  <a16:creationId xmlns:a16="http://schemas.microsoft.com/office/drawing/2014/main" id="{F94F27D0-3B87-3031-692B-A7BC23555EDE}"/>
                </a:ext>
              </a:extLst>
            </p:cNvPr>
            <p:cNvSpPr/>
            <p:nvPr/>
          </p:nvSpPr>
          <p:spPr>
            <a:xfrm flipV="1">
              <a:off x="24131947" y="3990001"/>
              <a:ext cx="21671" cy="11828"/>
            </a:xfrm>
            <a:custGeom>
              <a:avLst/>
              <a:gdLst>
                <a:gd name="csX0" fmla="*/ 12912 w 21671"/>
                <a:gd name="csY0" fmla="*/ 5607 h 11828"/>
                <a:gd name="csX1" fmla="*/ -8759 w 21671"/>
                <a:gd name="csY1" fmla="*/ 5607 h 11828"/>
                <a:gd name="csX2" fmla="*/ -8759 w 21671"/>
                <a:gd name="csY2" fmla="*/ -6222 h 11828"/>
                <a:gd name="csX3" fmla="*/ 12912 w 21671"/>
                <a:gd name="csY3" fmla="*/ -6222 h 11828"/>
                <a:gd name="csX4" fmla="*/ 12912 w 21671"/>
                <a:gd name="csY4" fmla="*/ 5607 h 11828"/>
              </a:gdLst>
              <a:ahLst/>
              <a:cxnLst>
                <a:cxn ang="0">
                  <a:pos x="csX0" y="csY0"/>
                </a:cxn>
                <a:cxn ang="0">
                  <a:pos x="csX1" y="csY1"/>
                </a:cxn>
                <a:cxn ang="0">
                  <a:pos x="csX2" y="csY2"/>
                </a:cxn>
                <a:cxn ang="0">
                  <a:pos x="csX3" y="csY3"/>
                </a:cxn>
                <a:cxn ang="0">
                  <a:pos x="csX4" y="csY4"/>
                </a:cxn>
              </a:cxnLst>
              <a:rect l="l" t="t" r="r" b="b"/>
              <a:pathLst>
                <a:path w="21671" h="11828">
                  <a:moveTo>
                    <a:pt x="12912" y="5607"/>
                  </a:moveTo>
                  <a:lnTo>
                    <a:pt x="-8759" y="5607"/>
                  </a:lnTo>
                  <a:lnTo>
                    <a:pt x="-8759" y="-6222"/>
                  </a:lnTo>
                  <a:lnTo>
                    <a:pt x="12912" y="-6222"/>
                  </a:lnTo>
                  <a:lnTo>
                    <a:pt x="12912" y="5607"/>
                  </a:lnTo>
                </a:path>
              </a:pathLst>
            </a:custGeom>
            <a:grpFill/>
            <a:ln w="548" cap="flat">
              <a:noFill/>
              <a:prstDash val="solid"/>
              <a:miter/>
            </a:ln>
          </p:spPr>
          <p:txBody>
            <a:bodyPr/>
            <a:lstStyle/>
            <a:p>
              <a:endParaRPr lang="en-US"/>
            </a:p>
          </p:txBody>
        </p:sp>
        <p:sp>
          <p:nvSpPr>
            <p:cNvPr id="353" name="Freeform: Shape 352">
              <a:extLst>
                <a:ext uri="{FF2B5EF4-FFF2-40B4-BE49-F238E27FC236}">
                  <a16:creationId xmlns:a16="http://schemas.microsoft.com/office/drawing/2014/main" id="{5053B415-07CD-4844-FC99-41B918308A1E}"/>
                </a:ext>
              </a:extLst>
            </p:cNvPr>
            <p:cNvSpPr/>
            <p:nvPr/>
          </p:nvSpPr>
          <p:spPr>
            <a:xfrm flipV="1">
              <a:off x="24074449" y="3975769"/>
              <a:ext cx="21671" cy="11828"/>
            </a:xfrm>
            <a:custGeom>
              <a:avLst/>
              <a:gdLst>
                <a:gd name="csX0" fmla="*/ 12984 w 21671"/>
                <a:gd name="csY0" fmla="*/ 5573 h 11828"/>
                <a:gd name="csX1" fmla="*/ -8688 w 21671"/>
                <a:gd name="csY1" fmla="*/ 5573 h 11828"/>
                <a:gd name="csX2" fmla="*/ -8688 w 21671"/>
                <a:gd name="csY2" fmla="*/ -6256 h 11828"/>
                <a:gd name="csX3" fmla="*/ 12984 w 21671"/>
                <a:gd name="csY3" fmla="*/ -6256 h 11828"/>
                <a:gd name="csX4" fmla="*/ 12984 w 21671"/>
                <a:gd name="csY4" fmla="*/ 5573 h 11828"/>
              </a:gdLst>
              <a:ahLst/>
              <a:cxnLst>
                <a:cxn ang="0">
                  <a:pos x="csX0" y="csY0"/>
                </a:cxn>
                <a:cxn ang="0">
                  <a:pos x="csX1" y="csY1"/>
                </a:cxn>
                <a:cxn ang="0">
                  <a:pos x="csX2" y="csY2"/>
                </a:cxn>
                <a:cxn ang="0">
                  <a:pos x="csX3" y="csY3"/>
                </a:cxn>
                <a:cxn ang="0">
                  <a:pos x="csX4" y="csY4"/>
                </a:cxn>
              </a:cxnLst>
              <a:rect l="l" t="t" r="r" b="b"/>
              <a:pathLst>
                <a:path w="21671" h="11828">
                  <a:moveTo>
                    <a:pt x="12984" y="5573"/>
                  </a:moveTo>
                  <a:lnTo>
                    <a:pt x="-8688" y="5573"/>
                  </a:lnTo>
                  <a:lnTo>
                    <a:pt x="-8688" y="-6256"/>
                  </a:lnTo>
                  <a:lnTo>
                    <a:pt x="12984" y="-6256"/>
                  </a:lnTo>
                  <a:lnTo>
                    <a:pt x="12984" y="5573"/>
                  </a:lnTo>
                </a:path>
              </a:pathLst>
            </a:custGeom>
            <a:grpFill/>
            <a:ln w="548" cap="flat">
              <a:noFill/>
              <a:prstDash val="solid"/>
              <a:miter/>
            </a:ln>
          </p:spPr>
          <p:txBody>
            <a:bodyPr/>
            <a:lstStyle/>
            <a:p>
              <a:endParaRPr lang="en-US"/>
            </a:p>
          </p:txBody>
        </p:sp>
        <p:sp>
          <p:nvSpPr>
            <p:cNvPr id="354" name="Freeform: Shape 353">
              <a:extLst>
                <a:ext uri="{FF2B5EF4-FFF2-40B4-BE49-F238E27FC236}">
                  <a16:creationId xmlns:a16="http://schemas.microsoft.com/office/drawing/2014/main" id="{9CB1F976-CA19-94DF-C9B1-31501E338EC4}"/>
                </a:ext>
              </a:extLst>
            </p:cNvPr>
            <p:cNvSpPr/>
            <p:nvPr/>
          </p:nvSpPr>
          <p:spPr>
            <a:xfrm flipV="1">
              <a:off x="24074449" y="3990001"/>
              <a:ext cx="21671" cy="11828"/>
            </a:xfrm>
            <a:custGeom>
              <a:avLst/>
              <a:gdLst>
                <a:gd name="csX0" fmla="*/ 12984 w 21671"/>
                <a:gd name="csY0" fmla="*/ 5607 h 11828"/>
                <a:gd name="csX1" fmla="*/ -8688 w 21671"/>
                <a:gd name="csY1" fmla="*/ 5607 h 11828"/>
                <a:gd name="csX2" fmla="*/ -8688 w 21671"/>
                <a:gd name="csY2" fmla="*/ -6222 h 11828"/>
                <a:gd name="csX3" fmla="*/ 12984 w 21671"/>
                <a:gd name="csY3" fmla="*/ -6222 h 11828"/>
                <a:gd name="csX4" fmla="*/ 12984 w 21671"/>
                <a:gd name="csY4" fmla="*/ 5607 h 11828"/>
              </a:gdLst>
              <a:ahLst/>
              <a:cxnLst>
                <a:cxn ang="0">
                  <a:pos x="csX0" y="csY0"/>
                </a:cxn>
                <a:cxn ang="0">
                  <a:pos x="csX1" y="csY1"/>
                </a:cxn>
                <a:cxn ang="0">
                  <a:pos x="csX2" y="csY2"/>
                </a:cxn>
                <a:cxn ang="0">
                  <a:pos x="csX3" y="csY3"/>
                </a:cxn>
                <a:cxn ang="0">
                  <a:pos x="csX4" y="csY4"/>
                </a:cxn>
              </a:cxnLst>
              <a:rect l="l" t="t" r="r" b="b"/>
              <a:pathLst>
                <a:path w="21671" h="11828">
                  <a:moveTo>
                    <a:pt x="12984" y="5607"/>
                  </a:moveTo>
                  <a:lnTo>
                    <a:pt x="-8688" y="5607"/>
                  </a:lnTo>
                  <a:lnTo>
                    <a:pt x="-8688" y="-6222"/>
                  </a:lnTo>
                  <a:lnTo>
                    <a:pt x="12984" y="-6222"/>
                  </a:lnTo>
                  <a:lnTo>
                    <a:pt x="12984" y="5607"/>
                  </a:lnTo>
                </a:path>
              </a:pathLst>
            </a:custGeom>
            <a:grpFill/>
            <a:ln w="548" cap="flat">
              <a:noFill/>
              <a:prstDash val="solid"/>
              <a:miter/>
            </a:ln>
          </p:spPr>
          <p:txBody>
            <a:bodyPr/>
            <a:lstStyle/>
            <a:p>
              <a:endParaRPr lang="en-US"/>
            </a:p>
          </p:txBody>
        </p:sp>
        <p:sp>
          <p:nvSpPr>
            <p:cNvPr id="355" name="Freeform: Shape 354">
              <a:extLst>
                <a:ext uri="{FF2B5EF4-FFF2-40B4-BE49-F238E27FC236}">
                  <a16:creationId xmlns:a16="http://schemas.microsoft.com/office/drawing/2014/main" id="{EAFDCAA5-BCF9-ED7C-D694-D2899C409268}"/>
                </a:ext>
              </a:extLst>
            </p:cNvPr>
            <p:cNvSpPr/>
            <p:nvPr/>
          </p:nvSpPr>
          <p:spPr>
            <a:xfrm flipV="1">
              <a:off x="24131947" y="4049512"/>
              <a:ext cx="21671" cy="11834"/>
            </a:xfrm>
            <a:custGeom>
              <a:avLst/>
              <a:gdLst>
                <a:gd name="csX0" fmla="*/ 12912 w 21671"/>
                <a:gd name="csY0" fmla="*/ 5756 h 11834"/>
                <a:gd name="csX1" fmla="*/ -8759 w 21671"/>
                <a:gd name="csY1" fmla="*/ 5756 h 11834"/>
                <a:gd name="csX2" fmla="*/ -8759 w 21671"/>
                <a:gd name="csY2" fmla="*/ -6078 h 11834"/>
                <a:gd name="csX3" fmla="*/ 12912 w 21671"/>
                <a:gd name="csY3" fmla="*/ -6078 h 11834"/>
                <a:gd name="csX4" fmla="*/ 12912 w 21671"/>
                <a:gd name="csY4" fmla="*/ 5756 h 11834"/>
              </a:gdLst>
              <a:ahLst/>
              <a:cxnLst>
                <a:cxn ang="0">
                  <a:pos x="csX0" y="csY0"/>
                </a:cxn>
                <a:cxn ang="0">
                  <a:pos x="csX1" y="csY1"/>
                </a:cxn>
                <a:cxn ang="0">
                  <a:pos x="csX2" y="csY2"/>
                </a:cxn>
                <a:cxn ang="0">
                  <a:pos x="csX3" y="csY3"/>
                </a:cxn>
                <a:cxn ang="0">
                  <a:pos x="csX4" y="csY4"/>
                </a:cxn>
              </a:cxnLst>
              <a:rect l="l" t="t" r="r" b="b"/>
              <a:pathLst>
                <a:path w="21671" h="11834">
                  <a:moveTo>
                    <a:pt x="12912" y="5756"/>
                  </a:moveTo>
                  <a:lnTo>
                    <a:pt x="-8759" y="5756"/>
                  </a:lnTo>
                  <a:lnTo>
                    <a:pt x="-8759" y="-6078"/>
                  </a:lnTo>
                  <a:lnTo>
                    <a:pt x="12912" y="-6078"/>
                  </a:lnTo>
                  <a:lnTo>
                    <a:pt x="12912" y="5756"/>
                  </a:lnTo>
                </a:path>
              </a:pathLst>
            </a:custGeom>
            <a:grpFill/>
            <a:ln w="548" cap="flat">
              <a:noFill/>
              <a:prstDash val="solid"/>
              <a:miter/>
            </a:ln>
          </p:spPr>
          <p:txBody>
            <a:bodyPr/>
            <a:lstStyle/>
            <a:p>
              <a:endParaRPr lang="en-US"/>
            </a:p>
          </p:txBody>
        </p:sp>
        <p:sp>
          <p:nvSpPr>
            <p:cNvPr id="356" name="Freeform: Shape 355">
              <a:extLst>
                <a:ext uri="{FF2B5EF4-FFF2-40B4-BE49-F238E27FC236}">
                  <a16:creationId xmlns:a16="http://schemas.microsoft.com/office/drawing/2014/main" id="{557ED5BD-11A8-0E1B-9896-74DB93E0ED45}"/>
                </a:ext>
              </a:extLst>
            </p:cNvPr>
            <p:cNvSpPr/>
            <p:nvPr/>
          </p:nvSpPr>
          <p:spPr>
            <a:xfrm flipV="1">
              <a:off x="24131947" y="4035286"/>
              <a:ext cx="21671" cy="11828"/>
            </a:xfrm>
            <a:custGeom>
              <a:avLst/>
              <a:gdLst>
                <a:gd name="csX0" fmla="*/ 12912 w 21671"/>
                <a:gd name="csY0" fmla="*/ 5716 h 11828"/>
                <a:gd name="csX1" fmla="*/ -8759 w 21671"/>
                <a:gd name="csY1" fmla="*/ 5716 h 11828"/>
                <a:gd name="csX2" fmla="*/ -8759 w 21671"/>
                <a:gd name="csY2" fmla="*/ -6113 h 11828"/>
                <a:gd name="csX3" fmla="*/ 12912 w 21671"/>
                <a:gd name="csY3" fmla="*/ -6113 h 11828"/>
                <a:gd name="csX4" fmla="*/ 12912 w 21671"/>
                <a:gd name="csY4" fmla="*/ 5716 h 11828"/>
              </a:gdLst>
              <a:ahLst/>
              <a:cxnLst>
                <a:cxn ang="0">
                  <a:pos x="csX0" y="csY0"/>
                </a:cxn>
                <a:cxn ang="0">
                  <a:pos x="csX1" y="csY1"/>
                </a:cxn>
                <a:cxn ang="0">
                  <a:pos x="csX2" y="csY2"/>
                </a:cxn>
                <a:cxn ang="0">
                  <a:pos x="csX3" y="csY3"/>
                </a:cxn>
                <a:cxn ang="0">
                  <a:pos x="csX4" y="csY4"/>
                </a:cxn>
              </a:cxnLst>
              <a:rect l="l" t="t" r="r" b="b"/>
              <a:pathLst>
                <a:path w="21671" h="11828">
                  <a:moveTo>
                    <a:pt x="12912" y="5716"/>
                  </a:moveTo>
                  <a:lnTo>
                    <a:pt x="-8759" y="5716"/>
                  </a:lnTo>
                  <a:lnTo>
                    <a:pt x="-8759" y="-6113"/>
                  </a:lnTo>
                  <a:lnTo>
                    <a:pt x="12912" y="-6113"/>
                  </a:lnTo>
                  <a:lnTo>
                    <a:pt x="12912" y="5716"/>
                  </a:lnTo>
                </a:path>
              </a:pathLst>
            </a:custGeom>
            <a:grpFill/>
            <a:ln w="548" cap="flat">
              <a:noFill/>
              <a:prstDash val="solid"/>
              <a:miter/>
            </a:ln>
          </p:spPr>
          <p:txBody>
            <a:bodyPr/>
            <a:lstStyle/>
            <a:p>
              <a:endParaRPr lang="en-US"/>
            </a:p>
          </p:txBody>
        </p:sp>
        <p:sp>
          <p:nvSpPr>
            <p:cNvPr id="357" name="Freeform: Shape 356">
              <a:extLst>
                <a:ext uri="{FF2B5EF4-FFF2-40B4-BE49-F238E27FC236}">
                  <a16:creationId xmlns:a16="http://schemas.microsoft.com/office/drawing/2014/main" id="{6F74933F-5A93-3A6A-9829-48F0B2B6C0FC}"/>
                </a:ext>
              </a:extLst>
            </p:cNvPr>
            <p:cNvSpPr/>
            <p:nvPr/>
          </p:nvSpPr>
          <p:spPr>
            <a:xfrm flipV="1">
              <a:off x="24074449" y="4049512"/>
              <a:ext cx="21671" cy="11834"/>
            </a:xfrm>
            <a:custGeom>
              <a:avLst/>
              <a:gdLst>
                <a:gd name="csX0" fmla="*/ 12984 w 21671"/>
                <a:gd name="csY0" fmla="*/ 5756 h 11834"/>
                <a:gd name="csX1" fmla="*/ -8688 w 21671"/>
                <a:gd name="csY1" fmla="*/ 5756 h 11834"/>
                <a:gd name="csX2" fmla="*/ -8688 w 21671"/>
                <a:gd name="csY2" fmla="*/ -6078 h 11834"/>
                <a:gd name="csX3" fmla="*/ 12984 w 21671"/>
                <a:gd name="csY3" fmla="*/ -6078 h 11834"/>
                <a:gd name="csX4" fmla="*/ 12984 w 21671"/>
                <a:gd name="csY4" fmla="*/ 5756 h 11834"/>
              </a:gdLst>
              <a:ahLst/>
              <a:cxnLst>
                <a:cxn ang="0">
                  <a:pos x="csX0" y="csY0"/>
                </a:cxn>
                <a:cxn ang="0">
                  <a:pos x="csX1" y="csY1"/>
                </a:cxn>
                <a:cxn ang="0">
                  <a:pos x="csX2" y="csY2"/>
                </a:cxn>
                <a:cxn ang="0">
                  <a:pos x="csX3" y="csY3"/>
                </a:cxn>
                <a:cxn ang="0">
                  <a:pos x="csX4" y="csY4"/>
                </a:cxn>
              </a:cxnLst>
              <a:rect l="l" t="t" r="r" b="b"/>
              <a:pathLst>
                <a:path w="21671" h="11834">
                  <a:moveTo>
                    <a:pt x="12984" y="5756"/>
                  </a:moveTo>
                  <a:lnTo>
                    <a:pt x="-8688" y="5756"/>
                  </a:lnTo>
                  <a:lnTo>
                    <a:pt x="-8688" y="-6078"/>
                  </a:lnTo>
                  <a:lnTo>
                    <a:pt x="12984" y="-6078"/>
                  </a:lnTo>
                  <a:lnTo>
                    <a:pt x="12984" y="5756"/>
                  </a:lnTo>
                </a:path>
              </a:pathLst>
            </a:custGeom>
            <a:grpFill/>
            <a:ln w="548" cap="flat">
              <a:noFill/>
              <a:prstDash val="solid"/>
              <a:miter/>
            </a:ln>
          </p:spPr>
          <p:txBody>
            <a:bodyPr/>
            <a:lstStyle/>
            <a:p>
              <a:endParaRPr lang="en-US"/>
            </a:p>
          </p:txBody>
        </p:sp>
        <p:sp>
          <p:nvSpPr>
            <p:cNvPr id="358" name="Freeform: Shape 357">
              <a:extLst>
                <a:ext uri="{FF2B5EF4-FFF2-40B4-BE49-F238E27FC236}">
                  <a16:creationId xmlns:a16="http://schemas.microsoft.com/office/drawing/2014/main" id="{70EE4F13-027A-14D1-F392-E74784328CF9}"/>
                </a:ext>
              </a:extLst>
            </p:cNvPr>
            <p:cNvSpPr/>
            <p:nvPr/>
          </p:nvSpPr>
          <p:spPr>
            <a:xfrm flipV="1">
              <a:off x="24074449" y="4035286"/>
              <a:ext cx="21671" cy="11828"/>
            </a:xfrm>
            <a:custGeom>
              <a:avLst/>
              <a:gdLst>
                <a:gd name="csX0" fmla="*/ 12984 w 21671"/>
                <a:gd name="csY0" fmla="*/ 5716 h 11828"/>
                <a:gd name="csX1" fmla="*/ -8688 w 21671"/>
                <a:gd name="csY1" fmla="*/ 5716 h 11828"/>
                <a:gd name="csX2" fmla="*/ -8688 w 21671"/>
                <a:gd name="csY2" fmla="*/ -6113 h 11828"/>
                <a:gd name="csX3" fmla="*/ 12984 w 21671"/>
                <a:gd name="csY3" fmla="*/ -6113 h 11828"/>
                <a:gd name="csX4" fmla="*/ 12984 w 21671"/>
                <a:gd name="csY4" fmla="*/ 5716 h 11828"/>
              </a:gdLst>
              <a:ahLst/>
              <a:cxnLst>
                <a:cxn ang="0">
                  <a:pos x="csX0" y="csY0"/>
                </a:cxn>
                <a:cxn ang="0">
                  <a:pos x="csX1" y="csY1"/>
                </a:cxn>
                <a:cxn ang="0">
                  <a:pos x="csX2" y="csY2"/>
                </a:cxn>
                <a:cxn ang="0">
                  <a:pos x="csX3" y="csY3"/>
                </a:cxn>
                <a:cxn ang="0">
                  <a:pos x="csX4" y="csY4"/>
                </a:cxn>
              </a:cxnLst>
              <a:rect l="l" t="t" r="r" b="b"/>
              <a:pathLst>
                <a:path w="21671" h="11828">
                  <a:moveTo>
                    <a:pt x="12984" y="5716"/>
                  </a:moveTo>
                  <a:lnTo>
                    <a:pt x="-8688" y="5716"/>
                  </a:lnTo>
                  <a:lnTo>
                    <a:pt x="-8688" y="-6113"/>
                  </a:lnTo>
                  <a:lnTo>
                    <a:pt x="12984" y="-6113"/>
                  </a:lnTo>
                  <a:lnTo>
                    <a:pt x="12984" y="5716"/>
                  </a:lnTo>
                </a:path>
              </a:pathLst>
            </a:custGeom>
            <a:grpFill/>
            <a:ln w="548" cap="flat">
              <a:noFill/>
              <a:prstDash val="solid"/>
              <a:miter/>
            </a:ln>
          </p:spPr>
          <p:txBody>
            <a:bodyPr/>
            <a:lstStyle/>
            <a:p>
              <a:endParaRPr lang="en-US"/>
            </a:p>
          </p:txBody>
        </p:sp>
        <p:sp>
          <p:nvSpPr>
            <p:cNvPr id="359" name="Freeform: Shape 358">
              <a:extLst>
                <a:ext uri="{FF2B5EF4-FFF2-40B4-BE49-F238E27FC236}">
                  <a16:creationId xmlns:a16="http://schemas.microsoft.com/office/drawing/2014/main" id="{BEA2EDAE-365D-A364-A5D6-0C44BE67914B}"/>
                </a:ext>
              </a:extLst>
            </p:cNvPr>
            <p:cNvSpPr/>
            <p:nvPr/>
          </p:nvSpPr>
          <p:spPr>
            <a:xfrm flipV="1">
              <a:off x="24131947" y="4094802"/>
              <a:ext cx="21671" cy="11823"/>
            </a:xfrm>
            <a:custGeom>
              <a:avLst/>
              <a:gdLst>
                <a:gd name="csX0" fmla="*/ 12912 w 21671"/>
                <a:gd name="csY0" fmla="*/ 5854 h 11823"/>
                <a:gd name="csX1" fmla="*/ -8759 w 21671"/>
                <a:gd name="csY1" fmla="*/ 5854 h 11823"/>
                <a:gd name="csX2" fmla="*/ -8759 w 21671"/>
                <a:gd name="csY2" fmla="*/ -5969 h 11823"/>
                <a:gd name="csX3" fmla="*/ 12912 w 21671"/>
                <a:gd name="csY3" fmla="*/ -5969 h 11823"/>
                <a:gd name="csX4" fmla="*/ 12912 w 21671"/>
                <a:gd name="csY4" fmla="*/ 5854 h 11823"/>
              </a:gdLst>
              <a:ahLst/>
              <a:cxnLst>
                <a:cxn ang="0">
                  <a:pos x="csX0" y="csY0"/>
                </a:cxn>
                <a:cxn ang="0">
                  <a:pos x="csX1" y="csY1"/>
                </a:cxn>
                <a:cxn ang="0">
                  <a:pos x="csX2" y="csY2"/>
                </a:cxn>
                <a:cxn ang="0">
                  <a:pos x="csX3" y="csY3"/>
                </a:cxn>
                <a:cxn ang="0">
                  <a:pos x="csX4" y="csY4"/>
                </a:cxn>
              </a:cxnLst>
              <a:rect l="l" t="t" r="r" b="b"/>
              <a:pathLst>
                <a:path w="21671" h="11823">
                  <a:moveTo>
                    <a:pt x="12912" y="5854"/>
                  </a:moveTo>
                  <a:lnTo>
                    <a:pt x="-8759" y="5854"/>
                  </a:lnTo>
                  <a:lnTo>
                    <a:pt x="-8759" y="-5969"/>
                  </a:lnTo>
                  <a:lnTo>
                    <a:pt x="12912" y="-5969"/>
                  </a:lnTo>
                  <a:lnTo>
                    <a:pt x="12912" y="5854"/>
                  </a:lnTo>
                </a:path>
              </a:pathLst>
            </a:custGeom>
            <a:grpFill/>
            <a:ln w="548" cap="flat">
              <a:noFill/>
              <a:prstDash val="solid"/>
              <a:miter/>
            </a:ln>
          </p:spPr>
          <p:txBody>
            <a:bodyPr/>
            <a:lstStyle/>
            <a:p>
              <a:endParaRPr lang="en-US"/>
            </a:p>
          </p:txBody>
        </p:sp>
        <p:sp>
          <p:nvSpPr>
            <p:cNvPr id="360" name="Freeform: Shape 359">
              <a:extLst>
                <a:ext uri="{FF2B5EF4-FFF2-40B4-BE49-F238E27FC236}">
                  <a16:creationId xmlns:a16="http://schemas.microsoft.com/office/drawing/2014/main" id="{38DAFF7C-6ADF-A644-9DBE-F2A1A491D458}"/>
                </a:ext>
              </a:extLst>
            </p:cNvPr>
            <p:cNvSpPr/>
            <p:nvPr/>
          </p:nvSpPr>
          <p:spPr>
            <a:xfrm flipV="1">
              <a:off x="24131947" y="4109034"/>
              <a:ext cx="21671" cy="11828"/>
            </a:xfrm>
            <a:custGeom>
              <a:avLst/>
              <a:gdLst>
                <a:gd name="csX0" fmla="*/ 12912 w 21671"/>
                <a:gd name="csY0" fmla="*/ 5894 h 11828"/>
                <a:gd name="csX1" fmla="*/ -8759 w 21671"/>
                <a:gd name="csY1" fmla="*/ 5894 h 11828"/>
                <a:gd name="csX2" fmla="*/ -8759 w 21671"/>
                <a:gd name="csY2" fmla="*/ -5935 h 11828"/>
                <a:gd name="csX3" fmla="*/ 12912 w 21671"/>
                <a:gd name="csY3" fmla="*/ -5935 h 11828"/>
                <a:gd name="csX4" fmla="*/ 12912 w 21671"/>
                <a:gd name="csY4" fmla="*/ 5894 h 11828"/>
              </a:gdLst>
              <a:ahLst/>
              <a:cxnLst>
                <a:cxn ang="0">
                  <a:pos x="csX0" y="csY0"/>
                </a:cxn>
                <a:cxn ang="0">
                  <a:pos x="csX1" y="csY1"/>
                </a:cxn>
                <a:cxn ang="0">
                  <a:pos x="csX2" y="csY2"/>
                </a:cxn>
                <a:cxn ang="0">
                  <a:pos x="csX3" y="csY3"/>
                </a:cxn>
                <a:cxn ang="0">
                  <a:pos x="csX4" y="csY4"/>
                </a:cxn>
              </a:cxnLst>
              <a:rect l="l" t="t" r="r" b="b"/>
              <a:pathLst>
                <a:path w="21671" h="11828">
                  <a:moveTo>
                    <a:pt x="12912" y="5894"/>
                  </a:moveTo>
                  <a:lnTo>
                    <a:pt x="-8759" y="5894"/>
                  </a:lnTo>
                  <a:lnTo>
                    <a:pt x="-8759" y="-5935"/>
                  </a:lnTo>
                  <a:lnTo>
                    <a:pt x="12912" y="-5935"/>
                  </a:lnTo>
                  <a:lnTo>
                    <a:pt x="12912" y="5894"/>
                  </a:lnTo>
                </a:path>
              </a:pathLst>
            </a:custGeom>
            <a:grpFill/>
            <a:ln w="548" cap="flat">
              <a:noFill/>
              <a:prstDash val="solid"/>
              <a:miter/>
            </a:ln>
          </p:spPr>
          <p:txBody>
            <a:bodyPr/>
            <a:lstStyle/>
            <a:p>
              <a:endParaRPr lang="en-US"/>
            </a:p>
          </p:txBody>
        </p:sp>
        <p:sp>
          <p:nvSpPr>
            <p:cNvPr id="361" name="Freeform: Shape 360">
              <a:extLst>
                <a:ext uri="{FF2B5EF4-FFF2-40B4-BE49-F238E27FC236}">
                  <a16:creationId xmlns:a16="http://schemas.microsoft.com/office/drawing/2014/main" id="{1E1D86AD-6901-6600-9CDE-5F5BC3868D30}"/>
                </a:ext>
              </a:extLst>
            </p:cNvPr>
            <p:cNvSpPr/>
            <p:nvPr/>
          </p:nvSpPr>
          <p:spPr>
            <a:xfrm flipV="1">
              <a:off x="24074449" y="4094802"/>
              <a:ext cx="21671" cy="11823"/>
            </a:xfrm>
            <a:custGeom>
              <a:avLst/>
              <a:gdLst>
                <a:gd name="csX0" fmla="*/ 12984 w 21671"/>
                <a:gd name="csY0" fmla="*/ 5854 h 11823"/>
                <a:gd name="csX1" fmla="*/ -8688 w 21671"/>
                <a:gd name="csY1" fmla="*/ 5854 h 11823"/>
                <a:gd name="csX2" fmla="*/ -8688 w 21671"/>
                <a:gd name="csY2" fmla="*/ -5969 h 11823"/>
                <a:gd name="csX3" fmla="*/ 12984 w 21671"/>
                <a:gd name="csY3" fmla="*/ -5969 h 11823"/>
                <a:gd name="csX4" fmla="*/ 12984 w 21671"/>
                <a:gd name="csY4" fmla="*/ 5854 h 11823"/>
              </a:gdLst>
              <a:ahLst/>
              <a:cxnLst>
                <a:cxn ang="0">
                  <a:pos x="csX0" y="csY0"/>
                </a:cxn>
                <a:cxn ang="0">
                  <a:pos x="csX1" y="csY1"/>
                </a:cxn>
                <a:cxn ang="0">
                  <a:pos x="csX2" y="csY2"/>
                </a:cxn>
                <a:cxn ang="0">
                  <a:pos x="csX3" y="csY3"/>
                </a:cxn>
                <a:cxn ang="0">
                  <a:pos x="csX4" y="csY4"/>
                </a:cxn>
              </a:cxnLst>
              <a:rect l="l" t="t" r="r" b="b"/>
              <a:pathLst>
                <a:path w="21671" h="11823">
                  <a:moveTo>
                    <a:pt x="12984" y="5854"/>
                  </a:moveTo>
                  <a:lnTo>
                    <a:pt x="-8688" y="5854"/>
                  </a:lnTo>
                  <a:lnTo>
                    <a:pt x="-8688" y="-5969"/>
                  </a:lnTo>
                  <a:lnTo>
                    <a:pt x="12984" y="-5969"/>
                  </a:lnTo>
                  <a:lnTo>
                    <a:pt x="12984" y="5854"/>
                  </a:lnTo>
                </a:path>
              </a:pathLst>
            </a:custGeom>
            <a:grpFill/>
            <a:ln w="548" cap="flat">
              <a:noFill/>
              <a:prstDash val="solid"/>
              <a:miter/>
            </a:ln>
          </p:spPr>
          <p:txBody>
            <a:bodyPr/>
            <a:lstStyle/>
            <a:p>
              <a:endParaRPr lang="en-US"/>
            </a:p>
          </p:txBody>
        </p:sp>
        <p:sp>
          <p:nvSpPr>
            <p:cNvPr id="362" name="Freeform: Shape 361">
              <a:extLst>
                <a:ext uri="{FF2B5EF4-FFF2-40B4-BE49-F238E27FC236}">
                  <a16:creationId xmlns:a16="http://schemas.microsoft.com/office/drawing/2014/main" id="{09F96295-D3C4-6DB8-D2CD-417826BB2842}"/>
                </a:ext>
              </a:extLst>
            </p:cNvPr>
            <p:cNvSpPr/>
            <p:nvPr/>
          </p:nvSpPr>
          <p:spPr>
            <a:xfrm flipV="1">
              <a:off x="24074449" y="4109034"/>
              <a:ext cx="21671" cy="11828"/>
            </a:xfrm>
            <a:custGeom>
              <a:avLst/>
              <a:gdLst>
                <a:gd name="csX0" fmla="*/ 12984 w 21671"/>
                <a:gd name="csY0" fmla="*/ 5894 h 11828"/>
                <a:gd name="csX1" fmla="*/ -8688 w 21671"/>
                <a:gd name="csY1" fmla="*/ 5894 h 11828"/>
                <a:gd name="csX2" fmla="*/ -8688 w 21671"/>
                <a:gd name="csY2" fmla="*/ -5935 h 11828"/>
                <a:gd name="csX3" fmla="*/ 12984 w 21671"/>
                <a:gd name="csY3" fmla="*/ -5935 h 11828"/>
                <a:gd name="csX4" fmla="*/ 12984 w 21671"/>
                <a:gd name="csY4" fmla="*/ 5894 h 11828"/>
              </a:gdLst>
              <a:ahLst/>
              <a:cxnLst>
                <a:cxn ang="0">
                  <a:pos x="csX0" y="csY0"/>
                </a:cxn>
                <a:cxn ang="0">
                  <a:pos x="csX1" y="csY1"/>
                </a:cxn>
                <a:cxn ang="0">
                  <a:pos x="csX2" y="csY2"/>
                </a:cxn>
                <a:cxn ang="0">
                  <a:pos x="csX3" y="csY3"/>
                </a:cxn>
                <a:cxn ang="0">
                  <a:pos x="csX4" y="csY4"/>
                </a:cxn>
              </a:cxnLst>
              <a:rect l="l" t="t" r="r" b="b"/>
              <a:pathLst>
                <a:path w="21671" h="11828">
                  <a:moveTo>
                    <a:pt x="12984" y="5894"/>
                  </a:moveTo>
                  <a:lnTo>
                    <a:pt x="-8688" y="5894"/>
                  </a:lnTo>
                  <a:lnTo>
                    <a:pt x="-8688" y="-5935"/>
                  </a:lnTo>
                  <a:lnTo>
                    <a:pt x="12984" y="-5935"/>
                  </a:lnTo>
                  <a:lnTo>
                    <a:pt x="12984" y="5894"/>
                  </a:lnTo>
                </a:path>
              </a:pathLst>
            </a:custGeom>
            <a:grpFill/>
            <a:ln w="548" cap="flat">
              <a:noFill/>
              <a:prstDash val="solid"/>
              <a:miter/>
            </a:ln>
          </p:spPr>
          <p:txBody>
            <a:bodyPr/>
            <a:lstStyle/>
            <a:p>
              <a:endParaRPr lang="en-US"/>
            </a:p>
          </p:txBody>
        </p:sp>
        <p:sp>
          <p:nvSpPr>
            <p:cNvPr id="363" name="Freeform: Shape 362">
              <a:extLst>
                <a:ext uri="{FF2B5EF4-FFF2-40B4-BE49-F238E27FC236}">
                  <a16:creationId xmlns:a16="http://schemas.microsoft.com/office/drawing/2014/main" id="{FA3FD7C7-B971-2FCD-F6C5-B688C50F1402}"/>
                </a:ext>
              </a:extLst>
            </p:cNvPr>
            <p:cNvSpPr/>
            <p:nvPr/>
          </p:nvSpPr>
          <p:spPr>
            <a:xfrm flipV="1">
              <a:off x="24131947" y="4154313"/>
              <a:ext cx="21671" cy="11834"/>
            </a:xfrm>
            <a:custGeom>
              <a:avLst/>
              <a:gdLst>
                <a:gd name="csX0" fmla="*/ 12912 w 21671"/>
                <a:gd name="csY0" fmla="*/ 6008 h 11834"/>
                <a:gd name="csX1" fmla="*/ -8759 w 21671"/>
                <a:gd name="csY1" fmla="*/ 6008 h 11834"/>
                <a:gd name="csX2" fmla="*/ -8759 w 21671"/>
                <a:gd name="csY2" fmla="*/ -5826 h 11834"/>
                <a:gd name="csX3" fmla="*/ 12912 w 21671"/>
                <a:gd name="csY3" fmla="*/ -5826 h 11834"/>
                <a:gd name="csX4" fmla="*/ 12912 w 21671"/>
                <a:gd name="csY4" fmla="*/ 6008 h 11834"/>
              </a:gdLst>
              <a:ahLst/>
              <a:cxnLst>
                <a:cxn ang="0">
                  <a:pos x="csX0" y="csY0"/>
                </a:cxn>
                <a:cxn ang="0">
                  <a:pos x="csX1" y="csY1"/>
                </a:cxn>
                <a:cxn ang="0">
                  <a:pos x="csX2" y="csY2"/>
                </a:cxn>
                <a:cxn ang="0">
                  <a:pos x="csX3" y="csY3"/>
                </a:cxn>
                <a:cxn ang="0">
                  <a:pos x="csX4" y="csY4"/>
                </a:cxn>
              </a:cxnLst>
              <a:rect l="l" t="t" r="r" b="b"/>
              <a:pathLst>
                <a:path w="21671" h="11834">
                  <a:moveTo>
                    <a:pt x="12912" y="6008"/>
                  </a:moveTo>
                  <a:lnTo>
                    <a:pt x="-8759" y="6008"/>
                  </a:lnTo>
                  <a:lnTo>
                    <a:pt x="-8759" y="-5826"/>
                  </a:lnTo>
                  <a:lnTo>
                    <a:pt x="12912" y="-5826"/>
                  </a:lnTo>
                  <a:lnTo>
                    <a:pt x="12912" y="6008"/>
                  </a:lnTo>
                </a:path>
              </a:pathLst>
            </a:custGeom>
            <a:grpFill/>
            <a:ln w="548" cap="flat">
              <a:noFill/>
              <a:prstDash val="solid"/>
              <a:miter/>
            </a:ln>
          </p:spPr>
          <p:txBody>
            <a:bodyPr/>
            <a:lstStyle/>
            <a:p>
              <a:endParaRPr lang="en-US"/>
            </a:p>
          </p:txBody>
        </p:sp>
        <p:sp>
          <p:nvSpPr>
            <p:cNvPr id="364" name="Freeform: Shape 363">
              <a:extLst>
                <a:ext uri="{FF2B5EF4-FFF2-40B4-BE49-F238E27FC236}">
                  <a16:creationId xmlns:a16="http://schemas.microsoft.com/office/drawing/2014/main" id="{728B861E-9F0C-4112-CF48-70B76A216152}"/>
                </a:ext>
              </a:extLst>
            </p:cNvPr>
            <p:cNvSpPr/>
            <p:nvPr/>
          </p:nvSpPr>
          <p:spPr>
            <a:xfrm flipV="1">
              <a:off x="24131947" y="4168550"/>
              <a:ext cx="21671" cy="11828"/>
            </a:xfrm>
            <a:custGeom>
              <a:avLst/>
              <a:gdLst>
                <a:gd name="csX0" fmla="*/ 12912 w 21671"/>
                <a:gd name="csY0" fmla="*/ 6037 h 11828"/>
                <a:gd name="csX1" fmla="*/ -8759 w 21671"/>
                <a:gd name="csY1" fmla="*/ 6037 h 11828"/>
                <a:gd name="csX2" fmla="*/ -8759 w 21671"/>
                <a:gd name="csY2" fmla="*/ -5792 h 11828"/>
                <a:gd name="csX3" fmla="*/ 12912 w 21671"/>
                <a:gd name="csY3" fmla="*/ -5792 h 11828"/>
                <a:gd name="csX4" fmla="*/ 12912 w 21671"/>
                <a:gd name="csY4" fmla="*/ 6037 h 11828"/>
              </a:gdLst>
              <a:ahLst/>
              <a:cxnLst>
                <a:cxn ang="0">
                  <a:pos x="csX0" y="csY0"/>
                </a:cxn>
                <a:cxn ang="0">
                  <a:pos x="csX1" y="csY1"/>
                </a:cxn>
                <a:cxn ang="0">
                  <a:pos x="csX2" y="csY2"/>
                </a:cxn>
                <a:cxn ang="0">
                  <a:pos x="csX3" y="csY3"/>
                </a:cxn>
                <a:cxn ang="0">
                  <a:pos x="csX4" y="csY4"/>
                </a:cxn>
              </a:cxnLst>
              <a:rect l="l" t="t" r="r" b="b"/>
              <a:pathLst>
                <a:path w="21671" h="11828">
                  <a:moveTo>
                    <a:pt x="12912" y="6037"/>
                  </a:moveTo>
                  <a:lnTo>
                    <a:pt x="-8759" y="6037"/>
                  </a:lnTo>
                  <a:lnTo>
                    <a:pt x="-8759" y="-5792"/>
                  </a:lnTo>
                  <a:lnTo>
                    <a:pt x="12912" y="-5792"/>
                  </a:lnTo>
                  <a:lnTo>
                    <a:pt x="12912" y="6037"/>
                  </a:lnTo>
                </a:path>
              </a:pathLst>
            </a:custGeom>
            <a:grpFill/>
            <a:ln w="548" cap="flat">
              <a:noFill/>
              <a:prstDash val="solid"/>
              <a:miter/>
            </a:ln>
          </p:spPr>
          <p:txBody>
            <a:bodyPr/>
            <a:lstStyle/>
            <a:p>
              <a:endParaRPr lang="en-US"/>
            </a:p>
          </p:txBody>
        </p:sp>
        <p:sp>
          <p:nvSpPr>
            <p:cNvPr id="365" name="Freeform: Shape 364">
              <a:extLst>
                <a:ext uri="{FF2B5EF4-FFF2-40B4-BE49-F238E27FC236}">
                  <a16:creationId xmlns:a16="http://schemas.microsoft.com/office/drawing/2014/main" id="{48EF613D-425F-9D8F-8697-764BD1222675}"/>
                </a:ext>
              </a:extLst>
            </p:cNvPr>
            <p:cNvSpPr/>
            <p:nvPr/>
          </p:nvSpPr>
          <p:spPr>
            <a:xfrm flipV="1">
              <a:off x="24074449" y="4154313"/>
              <a:ext cx="21671" cy="11834"/>
            </a:xfrm>
            <a:custGeom>
              <a:avLst/>
              <a:gdLst>
                <a:gd name="csX0" fmla="*/ 12984 w 21671"/>
                <a:gd name="csY0" fmla="*/ 6008 h 11834"/>
                <a:gd name="csX1" fmla="*/ -8688 w 21671"/>
                <a:gd name="csY1" fmla="*/ 6008 h 11834"/>
                <a:gd name="csX2" fmla="*/ -8688 w 21671"/>
                <a:gd name="csY2" fmla="*/ -5826 h 11834"/>
                <a:gd name="csX3" fmla="*/ 12984 w 21671"/>
                <a:gd name="csY3" fmla="*/ -5826 h 11834"/>
                <a:gd name="csX4" fmla="*/ 12984 w 21671"/>
                <a:gd name="csY4" fmla="*/ 6008 h 11834"/>
              </a:gdLst>
              <a:ahLst/>
              <a:cxnLst>
                <a:cxn ang="0">
                  <a:pos x="csX0" y="csY0"/>
                </a:cxn>
                <a:cxn ang="0">
                  <a:pos x="csX1" y="csY1"/>
                </a:cxn>
                <a:cxn ang="0">
                  <a:pos x="csX2" y="csY2"/>
                </a:cxn>
                <a:cxn ang="0">
                  <a:pos x="csX3" y="csY3"/>
                </a:cxn>
                <a:cxn ang="0">
                  <a:pos x="csX4" y="csY4"/>
                </a:cxn>
              </a:cxnLst>
              <a:rect l="l" t="t" r="r" b="b"/>
              <a:pathLst>
                <a:path w="21671" h="11834">
                  <a:moveTo>
                    <a:pt x="12984" y="6008"/>
                  </a:moveTo>
                  <a:lnTo>
                    <a:pt x="-8688" y="6008"/>
                  </a:lnTo>
                  <a:lnTo>
                    <a:pt x="-8688" y="-5826"/>
                  </a:lnTo>
                  <a:lnTo>
                    <a:pt x="12984" y="-5826"/>
                  </a:lnTo>
                  <a:lnTo>
                    <a:pt x="12984" y="6008"/>
                  </a:lnTo>
                </a:path>
              </a:pathLst>
            </a:custGeom>
            <a:grpFill/>
            <a:ln w="548" cap="flat">
              <a:noFill/>
              <a:prstDash val="solid"/>
              <a:miter/>
            </a:ln>
          </p:spPr>
          <p:txBody>
            <a:bodyPr/>
            <a:lstStyle/>
            <a:p>
              <a:endParaRPr lang="en-US"/>
            </a:p>
          </p:txBody>
        </p:sp>
        <p:sp>
          <p:nvSpPr>
            <p:cNvPr id="366" name="Freeform: Shape 365">
              <a:extLst>
                <a:ext uri="{FF2B5EF4-FFF2-40B4-BE49-F238E27FC236}">
                  <a16:creationId xmlns:a16="http://schemas.microsoft.com/office/drawing/2014/main" id="{1EE3AA20-A6B5-C7CB-496B-1F98E20641A6}"/>
                </a:ext>
              </a:extLst>
            </p:cNvPr>
            <p:cNvSpPr/>
            <p:nvPr/>
          </p:nvSpPr>
          <p:spPr>
            <a:xfrm flipV="1">
              <a:off x="24074449" y="4168550"/>
              <a:ext cx="21671" cy="11828"/>
            </a:xfrm>
            <a:custGeom>
              <a:avLst/>
              <a:gdLst>
                <a:gd name="csX0" fmla="*/ 12984 w 21671"/>
                <a:gd name="csY0" fmla="*/ 6037 h 11828"/>
                <a:gd name="csX1" fmla="*/ -8688 w 21671"/>
                <a:gd name="csY1" fmla="*/ 6037 h 11828"/>
                <a:gd name="csX2" fmla="*/ -8688 w 21671"/>
                <a:gd name="csY2" fmla="*/ -5792 h 11828"/>
                <a:gd name="csX3" fmla="*/ 12984 w 21671"/>
                <a:gd name="csY3" fmla="*/ -5792 h 11828"/>
                <a:gd name="csX4" fmla="*/ 12984 w 21671"/>
                <a:gd name="csY4" fmla="*/ 6037 h 11828"/>
              </a:gdLst>
              <a:ahLst/>
              <a:cxnLst>
                <a:cxn ang="0">
                  <a:pos x="csX0" y="csY0"/>
                </a:cxn>
                <a:cxn ang="0">
                  <a:pos x="csX1" y="csY1"/>
                </a:cxn>
                <a:cxn ang="0">
                  <a:pos x="csX2" y="csY2"/>
                </a:cxn>
                <a:cxn ang="0">
                  <a:pos x="csX3" y="csY3"/>
                </a:cxn>
                <a:cxn ang="0">
                  <a:pos x="csX4" y="csY4"/>
                </a:cxn>
              </a:cxnLst>
              <a:rect l="l" t="t" r="r" b="b"/>
              <a:pathLst>
                <a:path w="21671" h="11828">
                  <a:moveTo>
                    <a:pt x="12984" y="6037"/>
                  </a:moveTo>
                  <a:lnTo>
                    <a:pt x="-8688" y="6037"/>
                  </a:lnTo>
                  <a:lnTo>
                    <a:pt x="-8688" y="-5792"/>
                  </a:lnTo>
                  <a:lnTo>
                    <a:pt x="12984" y="-5792"/>
                  </a:lnTo>
                  <a:lnTo>
                    <a:pt x="12984" y="6037"/>
                  </a:lnTo>
                </a:path>
              </a:pathLst>
            </a:custGeom>
            <a:grpFill/>
            <a:ln w="548" cap="flat">
              <a:noFill/>
              <a:prstDash val="solid"/>
              <a:miter/>
            </a:ln>
          </p:spPr>
          <p:txBody>
            <a:bodyPr/>
            <a:lstStyle/>
            <a:p>
              <a:endParaRPr lang="en-US"/>
            </a:p>
          </p:txBody>
        </p:sp>
        <p:sp>
          <p:nvSpPr>
            <p:cNvPr id="367" name="Freeform: Shape 366">
              <a:extLst>
                <a:ext uri="{FF2B5EF4-FFF2-40B4-BE49-F238E27FC236}">
                  <a16:creationId xmlns:a16="http://schemas.microsoft.com/office/drawing/2014/main" id="{B9D3605E-EBC9-75DC-0EED-54DFDA6AF1FE}"/>
                </a:ext>
              </a:extLst>
            </p:cNvPr>
            <p:cNvSpPr/>
            <p:nvPr/>
          </p:nvSpPr>
          <p:spPr>
            <a:xfrm flipV="1">
              <a:off x="24131947" y="4213830"/>
              <a:ext cx="21671" cy="11828"/>
            </a:xfrm>
            <a:custGeom>
              <a:avLst/>
              <a:gdLst>
                <a:gd name="csX0" fmla="*/ 12912 w 21671"/>
                <a:gd name="csY0" fmla="*/ 6146 h 11828"/>
                <a:gd name="csX1" fmla="*/ -8759 w 21671"/>
                <a:gd name="csY1" fmla="*/ 6146 h 11828"/>
                <a:gd name="csX2" fmla="*/ -8759 w 21671"/>
                <a:gd name="csY2" fmla="*/ -5683 h 11828"/>
                <a:gd name="csX3" fmla="*/ 12912 w 21671"/>
                <a:gd name="csY3" fmla="*/ -5683 h 11828"/>
                <a:gd name="csX4" fmla="*/ 12912 w 21671"/>
                <a:gd name="csY4" fmla="*/ 6146 h 11828"/>
              </a:gdLst>
              <a:ahLst/>
              <a:cxnLst>
                <a:cxn ang="0">
                  <a:pos x="csX0" y="csY0"/>
                </a:cxn>
                <a:cxn ang="0">
                  <a:pos x="csX1" y="csY1"/>
                </a:cxn>
                <a:cxn ang="0">
                  <a:pos x="csX2" y="csY2"/>
                </a:cxn>
                <a:cxn ang="0">
                  <a:pos x="csX3" y="csY3"/>
                </a:cxn>
                <a:cxn ang="0">
                  <a:pos x="csX4" y="csY4"/>
                </a:cxn>
              </a:cxnLst>
              <a:rect l="l" t="t" r="r" b="b"/>
              <a:pathLst>
                <a:path w="21671" h="11828">
                  <a:moveTo>
                    <a:pt x="12912" y="6146"/>
                  </a:moveTo>
                  <a:lnTo>
                    <a:pt x="-8759" y="6146"/>
                  </a:lnTo>
                  <a:lnTo>
                    <a:pt x="-8759" y="-5683"/>
                  </a:lnTo>
                  <a:lnTo>
                    <a:pt x="12912" y="-5683"/>
                  </a:lnTo>
                  <a:lnTo>
                    <a:pt x="12912" y="6146"/>
                  </a:lnTo>
                </a:path>
              </a:pathLst>
            </a:custGeom>
            <a:grpFill/>
            <a:ln w="548" cap="flat">
              <a:noFill/>
              <a:prstDash val="solid"/>
              <a:miter/>
            </a:ln>
          </p:spPr>
          <p:txBody>
            <a:bodyPr/>
            <a:lstStyle/>
            <a:p>
              <a:endParaRPr lang="en-US"/>
            </a:p>
          </p:txBody>
        </p:sp>
        <p:sp>
          <p:nvSpPr>
            <p:cNvPr id="368" name="Freeform: Shape 367">
              <a:extLst>
                <a:ext uri="{FF2B5EF4-FFF2-40B4-BE49-F238E27FC236}">
                  <a16:creationId xmlns:a16="http://schemas.microsoft.com/office/drawing/2014/main" id="{DBE9A81D-8D34-0AB0-0AC4-AB55FFDEC61F}"/>
                </a:ext>
              </a:extLst>
            </p:cNvPr>
            <p:cNvSpPr/>
            <p:nvPr/>
          </p:nvSpPr>
          <p:spPr>
            <a:xfrm flipV="1">
              <a:off x="24131947" y="4228061"/>
              <a:ext cx="21671" cy="11828"/>
            </a:xfrm>
            <a:custGeom>
              <a:avLst/>
              <a:gdLst>
                <a:gd name="csX0" fmla="*/ 12912 w 21671"/>
                <a:gd name="csY0" fmla="*/ 6180 h 11828"/>
                <a:gd name="csX1" fmla="*/ -8759 w 21671"/>
                <a:gd name="csY1" fmla="*/ 6180 h 11828"/>
                <a:gd name="csX2" fmla="*/ -8759 w 21671"/>
                <a:gd name="csY2" fmla="*/ -5649 h 11828"/>
                <a:gd name="csX3" fmla="*/ 12912 w 21671"/>
                <a:gd name="csY3" fmla="*/ -5649 h 11828"/>
                <a:gd name="csX4" fmla="*/ 12912 w 21671"/>
                <a:gd name="csY4" fmla="*/ 6180 h 11828"/>
              </a:gdLst>
              <a:ahLst/>
              <a:cxnLst>
                <a:cxn ang="0">
                  <a:pos x="csX0" y="csY0"/>
                </a:cxn>
                <a:cxn ang="0">
                  <a:pos x="csX1" y="csY1"/>
                </a:cxn>
                <a:cxn ang="0">
                  <a:pos x="csX2" y="csY2"/>
                </a:cxn>
                <a:cxn ang="0">
                  <a:pos x="csX3" y="csY3"/>
                </a:cxn>
                <a:cxn ang="0">
                  <a:pos x="csX4" y="csY4"/>
                </a:cxn>
              </a:cxnLst>
              <a:rect l="l" t="t" r="r" b="b"/>
              <a:pathLst>
                <a:path w="21671" h="11828">
                  <a:moveTo>
                    <a:pt x="12912" y="6180"/>
                  </a:moveTo>
                  <a:lnTo>
                    <a:pt x="-8759" y="6180"/>
                  </a:lnTo>
                  <a:lnTo>
                    <a:pt x="-8759" y="-5649"/>
                  </a:lnTo>
                  <a:lnTo>
                    <a:pt x="12912" y="-5649"/>
                  </a:lnTo>
                  <a:lnTo>
                    <a:pt x="12912" y="6180"/>
                  </a:lnTo>
                </a:path>
              </a:pathLst>
            </a:custGeom>
            <a:grpFill/>
            <a:ln w="548" cap="flat">
              <a:noFill/>
              <a:prstDash val="solid"/>
              <a:miter/>
            </a:ln>
          </p:spPr>
          <p:txBody>
            <a:bodyPr/>
            <a:lstStyle/>
            <a:p>
              <a:endParaRPr lang="en-US"/>
            </a:p>
          </p:txBody>
        </p:sp>
        <p:sp>
          <p:nvSpPr>
            <p:cNvPr id="369" name="Freeform: Shape 368">
              <a:extLst>
                <a:ext uri="{FF2B5EF4-FFF2-40B4-BE49-F238E27FC236}">
                  <a16:creationId xmlns:a16="http://schemas.microsoft.com/office/drawing/2014/main" id="{84C53FA4-0105-E282-75FA-EA1B608BD541}"/>
                </a:ext>
              </a:extLst>
            </p:cNvPr>
            <p:cNvSpPr/>
            <p:nvPr/>
          </p:nvSpPr>
          <p:spPr>
            <a:xfrm flipV="1">
              <a:off x="24074449" y="4213830"/>
              <a:ext cx="21671" cy="11828"/>
            </a:xfrm>
            <a:custGeom>
              <a:avLst/>
              <a:gdLst>
                <a:gd name="csX0" fmla="*/ 12984 w 21671"/>
                <a:gd name="csY0" fmla="*/ 6146 h 11828"/>
                <a:gd name="csX1" fmla="*/ -8688 w 21671"/>
                <a:gd name="csY1" fmla="*/ 6146 h 11828"/>
                <a:gd name="csX2" fmla="*/ -8688 w 21671"/>
                <a:gd name="csY2" fmla="*/ -5683 h 11828"/>
                <a:gd name="csX3" fmla="*/ 12984 w 21671"/>
                <a:gd name="csY3" fmla="*/ -5683 h 11828"/>
                <a:gd name="csX4" fmla="*/ 12984 w 21671"/>
                <a:gd name="csY4" fmla="*/ 6146 h 11828"/>
              </a:gdLst>
              <a:ahLst/>
              <a:cxnLst>
                <a:cxn ang="0">
                  <a:pos x="csX0" y="csY0"/>
                </a:cxn>
                <a:cxn ang="0">
                  <a:pos x="csX1" y="csY1"/>
                </a:cxn>
                <a:cxn ang="0">
                  <a:pos x="csX2" y="csY2"/>
                </a:cxn>
                <a:cxn ang="0">
                  <a:pos x="csX3" y="csY3"/>
                </a:cxn>
                <a:cxn ang="0">
                  <a:pos x="csX4" y="csY4"/>
                </a:cxn>
              </a:cxnLst>
              <a:rect l="l" t="t" r="r" b="b"/>
              <a:pathLst>
                <a:path w="21671" h="11828">
                  <a:moveTo>
                    <a:pt x="12984" y="6146"/>
                  </a:moveTo>
                  <a:lnTo>
                    <a:pt x="-8688" y="6146"/>
                  </a:lnTo>
                  <a:lnTo>
                    <a:pt x="-8688" y="-5683"/>
                  </a:lnTo>
                  <a:lnTo>
                    <a:pt x="12984" y="-5683"/>
                  </a:lnTo>
                  <a:lnTo>
                    <a:pt x="12984" y="6146"/>
                  </a:lnTo>
                </a:path>
              </a:pathLst>
            </a:custGeom>
            <a:grpFill/>
            <a:ln w="548" cap="flat">
              <a:noFill/>
              <a:prstDash val="solid"/>
              <a:miter/>
            </a:ln>
          </p:spPr>
          <p:txBody>
            <a:bodyPr/>
            <a:lstStyle/>
            <a:p>
              <a:endParaRPr lang="en-US"/>
            </a:p>
          </p:txBody>
        </p:sp>
        <p:sp>
          <p:nvSpPr>
            <p:cNvPr id="370" name="Freeform: Shape 369">
              <a:extLst>
                <a:ext uri="{FF2B5EF4-FFF2-40B4-BE49-F238E27FC236}">
                  <a16:creationId xmlns:a16="http://schemas.microsoft.com/office/drawing/2014/main" id="{CC62CAAE-17A6-7534-E5C2-9AD52B562AD9}"/>
                </a:ext>
              </a:extLst>
            </p:cNvPr>
            <p:cNvSpPr/>
            <p:nvPr/>
          </p:nvSpPr>
          <p:spPr>
            <a:xfrm flipV="1">
              <a:off x="24074449" y="4228061"/>
              <a:ext cx="21671" cy="11828"/>
            </a:xfrm>
            <a:custGeom>
              <a:avLst/>
              <a:gdLst>
                <a:gd name="csX0" fmla="*/ 12984 w 21671"/>
                <a:gd name="csY0" fmla="*/ 6180 h 11828"/>
                <a:gd name="csX1" fmla="*/ -8688 w 21671"/>
                <a:gd name="csY1" fmla="*/ 6180 h 11828"/>
                <a:gd name="csX2" fmla="*/ -8688 w 21671"/>
                <a:gd name="csY2" fmla="*/ -5649 h 11828"/>
                <a:gd name="csX3" fmla="*/ 12984 w 21671"/>
                <a:gd name="csY3" fmla="*/ -5649 h 11828"/>
                <a:gd name="csX4" fmla="*/ 12984 w 21671"/>
                <a:gd name="csY4" fmla="*/ 6180 h 11828"/>
              </a:gdLst>
              <a:ahLst/>
              <a:cxnLst>
                <a:cxn ang="0">
                  <a:pos x="csX0" y="csY0"/>
                </a:cxn>
                <a:cxn ang="0">
                  <a:pos x="csX1" y="csY1"/>
                </a:cxn>
                <a:cxn ang="0">
                  <a:pos x="csX2" y="csY2"/>
                </a:cxn>
                <a:cxn ang="0">
                  <a:pos x="csX3" y="csY3"/>
                </a:cxn>
                <a:cxn ang="0">
                  <a:pos x="csX4" y="csY4"/>
                </a:cxn>
              </a:cxnLst>
              <a:rect l="l" t="t" r="r" b="b"/>
              <a:pathLst>
                <a:path w="21671" h="11828">
                  <a:moveTo>
                    <a:pt x="12984" y="6180"/>
                  </a:moveTo>
                  <a:lnTo>
                    <a:pt x="-8688" y="6180"/>
                  </a:lnTo>
                  <a:lnTo>
                    <a:pt x="-8688" y="-5649"/>
                  </a:lnTo>
                  <a:lnTo>
                    <a:pt x="12984" y="-5649"/>
                  </a:lnTo>
                  <a:lnTo>
                    <a:pt x="12984" y="6180"/>
                  </a:lnTo>
                </a:path>
              </a:pathLst>
            </a:custGeom>
            <a:grpFill/>
            <a:ln w="548" cap="flat">
              <a:noFill/>
              <a:prstDash val="solid"/>
              <a:miter/>
            </a:ln>
          </p:spPr>
          <p:txBody>
            <a:bodyPr/>
            <a:lstStyle/>
            <a:p>
              <a:endParaRPr lang="en-US"/>
            </a:p>
          </p:txBody>
        </p:sp>
        <p:sp>
          <p:nvSpPr>
            <p:cNvPr id="371" name="Freeform: Shape 370">
              <a:extLst>
                <a:ext uri="{FF2B5EF4-FFF2-40B4-BE49-F238E27FC236}">
                  <a16:creationId xmlns:a16="http://schemas.microsoft.com/office/drawing/2014/main" id="{A72568EE-C974-4AD1-F5B0-35D7E87E53F0}"/>
                </a:ext>
              </a:extLst>
            </p:cNvPr>
            <p:cNvSpPr/>
            <p:nvPr/>
          </p:nvSpPr>
          <p:spPr>
            <a:xfrm flipV="1">
              <a:off x="24131947" y="4273346"/>
              <a:ext cx="21671" cy="11828"/>
            </a:xfrm>
            <a:custGeom>
              <a:avLst/>
              <a:gdLst>
                <a:gd name="csX0" fmla="*/ 12912 w 21671"/>
                <a:gd name="csY0" fmla="*/ 6289 h 11828"/>
                <a:gd name="csX1" fmla="*/ -8759 w 21671"/>
                <a:gd name="csY1" fmla="*/ 6289 h 11828"/>
                <a:gd name="csX2" fmla="*/ -8759 w 21671"/>
                <a:gd name="csY2" fmla="*/ -5540 h 11828"/>
                <a:gd name="csX3" fmla="*/ 12912 w 21671"/>
                <a:gd name="csY3" fmla="*/ -5540 h 11828"/>
                <a:gd name="csX4" fmla="*/ 12912 w 21671"/>
                <a:gd name="csY4" fmla="*/ 6289 h 11828"/>
              </a:gdLst>
              <a:ahLst/>
              <a:cxnLst>
                <a:cxn ang="0">
                  <a:pos x="csX0" y="csY0"/>
                </a:cxn>
                <a:cxn ang="0">
                  <a:pos x="csX1" y="csY1"/>
                </a:cxn>
                <a:cxn ang="0">
                  <a:pos x="csX2" y="csY2"/>
                </a:cxn>
                <a:cxn ang="0">
                  <a:pos x="csX3" y="csY3"/>
                </a:cxn>
                <a:cxn ang="0">
                  <a:pos x="csX4" y="csY4"/>
                </a:cxn>
              </a:cxnLst>
              <a:rect l="l" t="t" r="r" b="b"/>
              <a:pathLst>
                <a:path w="21671" h="11828">
                  <a:moveTo>
                    <a:pt x="12912" y="6289"/>
                  </a:moveTo>
                  <a:lnTo>
                    <a:pt x="-8759" y="6289"/>
                  </a:lnTo>
                  <a:lnTo>
                    <a:pt x="-8759" y="-5540"/>
                  </a:lnTo>
                  <a:lnTo>
                    <a:pt x="12912" y="-5540"/>
                  </a:lnTo>
                  <a:lnTo>
                    <a:pt x="12912" y="6289"/>
                  </a:lnTo>
                </a:path>
              </a:pathLst>
            </a:custGeom>
            <a:grpFill/>
            <a:ln w="548" cap="flat">
              <a:noFill/>
              <a:prstDash val="solid"/>
              <a:miter/>
            </a:ln>
          </p:spPr>
          <p:txBody>
            <a:bodyPr/>
            <a:lstStyle/>
            <a:p>
              <a:endParaRPr lang="en-US"/>
            </a:p>
          </p:txBody>
        </p:sp>
        <p:sp>
          <p:nvSpPr>
            <p:cNvPr id="372" name="Freeform: Shape 371">
              <a:extLst>
                <a:ext uri="{FF2B5EF4-FFF2-40B4-BE49-F238E27FC236}">
                  <a16:creationId xmlns:a16="http://schemas.microsoft.com/office/drawing/2014/main" id="{D0ED0E2B-22CF-8B8D-7CF5-17FD20B67223}"/>
                </a:ext>
              </a:extLst>
            </p:cNvPr>
            <p:cNvSpPr/>
            <p:nvPr/>
          </p:nvSpPr>
          <p:spPr>
            <a:xfrm flipV="1">
              <a:off x="24131947" y="4287583"/>
              <a:ext cx="21671" cy="11828"/>
            </a:xfrm>
            <a:custGeom>
              <a:avLst/>
              <a:gdLst>
                <a:gd name="csX0" fmla="*/ 12912 w 21671"/>
                <a:gd name="csY0" fmla="*/ 6323 h 11828"/>
                <a:gd name="csX1" fmla="*/ -8759 w 21671"/>
                <a:gd name="csY1" fmla="*/ 6323 h 11828"/>
                <a:gd name="csX2" fmla="*/ -8759 w 21671"/>
                <a:gd name="csY2" fmla="*/ -5506 h 11828"/>
                <a:gd name="csX3" fmla="*/ 12912 w 21671"/>
                <a:gd name="csY3" fmla="*/ -5506 h 11828"/>
                <a:gd name="csX4" fmla="*/ 12912 w 21671"/>
                <a:gd name="csY4" fmla="*/ 6323 h 11828"/>
              </a:gdLst>
              <a:ahLst/>
              <a:cxnLst>
                <a:cxn ang="0">
                  <a:pos x="csX0" y="csY0"/>
                </a:cxn>
                <a:cxn ang="0">
                  <a:pos x="csX1" y="csY1"/>
                </a:cxn>
                <a:cxn ang="0">
                  <a:pos x="csX2" y="csY2"/>
                </a:cxn>
                <a:cxn ang="0">
                  <a:pos x="csX3" y="csY3"/>
                </a:cxn>
                <a:cxn ang="0">
                  <a:pos x="csX4" y="csY4"/>
                </a:cxn>
              </a:cxnLst>
              <a:rect l="l" t="t" r="r" b="b"/>
              <a:pathLst>
                <a:path w="21671" h="11828">
                  <a:moveTo>
                    <a:pt x="12912" y="6323"/>
                  </a:moveTo>
                  <a:lnTo>
                    <a:pt x="-8759" y="6323"/>
                  </a:lnTo>
                  <a:lnTo>
                    <a:pt x="-8759" y="-5506"/>
                  </a:lnTo>
                  <a:lnTo>
                    <a:pt x="12912" y="-5506"/>
                  </a:lnTo>
                  <a:lnTo>
                    <a:pt x="12912" y="6323"/>
                  </a:lnTo>
                </a:path>
              </a:pathLst>
            </a:custGeom>
            <a:grpFill/>
            <a:ln w="548" cap="flat">
              <a:noFill/>
              <a:prstDash val="solid"/>
              <a:miter/>
            </a:ln>
          </p:spPr>
          <p:txBody>
            <a:bodyPr/>
            <a:lstStyle/>
            <a:p>
              <a:endParaRPr lang="en-US"/>
            </a:p>
          </p:txBody>
        </p:sp>
        <p:sp>
          <p:nvSpPr>
            <p:cNvPr id="373" name="Freeform: Shape 372">
              <a:extLst>
                <a:ext uri="{FF2B5EF4-FFF2-40B4-BE49-F238E27FC236}">
                  <a16:creationId xmlns:a16="http://schemas.microsoft.com/office/drawing/2014/main" id="{B3C8CF58-B4B6-AFF5-2510-7B1F82B0A679}"/>
                </a:ext>
              </a:extLst>
            </p:cNvPr>
            <p:cNvSpPr/>
            <p:nvPr/>
          </p:nvSpPr>
          <p:spPr>
            <a:xfrm flipV="1">
              <a:off x="24074449" y="4273346"/>
              <a:ext cx="21671" cy="11828"/>
            </a:xfrm>
            <a:custGeom>
              <a:avLst/>
              <a:gdLst>
                <a:gd name="csX0" fmla="*/ 12984 w 21671"/>
                <a:gd name="csY0" fmla="*/ 6289 h 11828"/>
                <a:gd name="csX1" fmla="*/ -8688 w 21671"/>
                <a:gd name="csY1" fmla="*/ 6289 h 11828"/>
                <a:gd name="csX2" fmla="*/ -8688 w 21671"/>
                <a:gd name="csY2" fmla="*/ -5540 h 11828"/>
                <a:gd name="csX3" fmla="*/ 12984 w 21671"/>
                <a:gd name="csY3" fmla="*/ -5540 h 11828"/>
                <a:gd name="csX4" fmla="*/ 12984 w 21671"/>
                <a:gd name="csY4" fmla="*/ 6289 h 11828"/>
              </a:gdLst>
              <a:ahLst/>
              <a:cxnLst>
                <a:cxn ang="0">
                  <a:pos x="csX0" y="csY0"/>
                </a:cxn>
                <a:cxn ang="0">
                  <a:pos x="csX1" y="csY1"/>
                </a:cxn>
                <a:cxn ang="0">
                  <a:pos x="csX2" y="csY2"/>
                </a:cxn>
                <a:cxn ang="0">
                  <a:pos x="csX3" y="csY3"/>
                </a:cxn>
                <a:cxn ang="0">
                  <a:pos x="csX4" y="csY4"/>
                </a:cxn>
              </a:cxnLst>
              <a:rect l="l" t="t" r="r" b="b"/>
              <a:pathLst>
                <a:path w="21671" h="11828">
                  <a:moveTo>
                    <a:pt x="12984" y="6289"/>
                  </a:moveTo>
                  <a:lnTo>
                    <a:pt x="-8688" y="6289"/>
                  </a:lnTo>
                  <a:lnTo>
                    <a:pt x="-8688" y="-5540"/>
                  </a:lnTo>
                  <a:lnTo>
                    <a:pt x="12984" y="-5540"/>
                  </a:lnTo>
                  <a:lnTo>
                    <a:pt x="12984" y="6289"/>
                  </a:lnTo>
                </a:path>
              </a:pathLst>
            </a:custGeom>
            <a:grpFill/>
            <a:ln w="548" cap="flat">
              <a:noFill/>
              <a:prstDash val="solid"/>
              <a:miter/>
            </a:ln>
          </p:spPr>
          <p:txBody>
            <a:bodyPr/>
            <a:lstStyle/>
            <a:p>
              <a:endParaRPr lang="en-US"/>
            </a:p>
          </p:txBody>
        </p:sp>
        <p:sp>
          <p:nvSpPr>
            <p:cNvPr id="374" name="Freeform: Shape 373">
              <a:extLst>
                <a:ext uri="{FF2B5EF4-FFF2-40B4-BE49-F238E27FC236}">
                  <a16:creationId xmlns:a16="http://schemas.microsoft.com/office/drawing/2014/main" id="{1906EE80-3434-2BDC-6ABF-CEF4A347919B}"/>
                </a:ext>
              </a:extLst>
            </p:cNvPr>
            <p:cNvSpPr/>
            <p:nvPr/>
          </p:nvSpPr>
          <p:spPr>
            <a:xfrm flipV="1">
              <a:off x="24074449" y="4287583"/>
              <a:ext cx="21671" cy="11828"/>
            </a:xfrm>
            <a:custGeom>
              <a:avLst/>
              <a:gdLst>
                <a:gd name="csX0" fmla="*/ 12984 w 21671"/>
                <a:gd name="csY0" fmla="*/ 6323 h 11828"/>
                <a:gd name="csX1" fmla="*/ -8688 w 21671"/>
                <a:gd name="csY1" fmla="*/ 6323 h 11828"/>
                <a:gd name="csX2" fmla="*/ -8688 w 21671"/>
                <a:gd name="csY2" fmla="*/ -5506 h 11828"/>
                <a:gd name="csX3" fmla="*/ 12984 w 21671"/>
                <a:gd name="csY3" fmla="*/ -5506 h 11828"/>
                <a:gd name="csX4" fmla="*/ 12984 w 21671"/>
                <a:gd name="csY4" fmla="*/ 6323 h 11828"/>
              </a:gdLst>
              <a:ahLst/>
              <a:cxnLst>
                <a:cxn ang="0">
                  <a:pos x="csX0" y="csY0"/>
                </a:cxn>
                <a:cxn ang="0">
                  <a:pos x="csX1" y="csY1"/>
                </a:cxn>
                <a:cxn ang="0">
                  <a:pos x="csX2" y="csY2"/>
                </a:cxn>
                <a:cxn ang="0">
                  <a:pos x="csX3" y="csY3"/>
                </a:cxn>
                <a:cxn ang="0">
                  <a:pos x="csX4" y="csY4"/>
                </a:cxn>
              </a:cxnLst>
              <a:rect l="l" t="t" r="r" b="b"/>
              <a:pathLst>
                <a:path w="21671" h="11828">
                  <a:moveTo>
                    <a:pt x="12984" y="6323"/>
                  </a:moveTo>
                  <a:lnTo>
                    <a:pt x="-8688" y="6323"/>
                  </a:lnTo>
                  <a:lnTo>
                    <a:pt x="-8688" y="-5506"/>
                  </a:lnTo>
                  <a:lnTo>
                    <a:pt x="12984" y="-5506"/>
                  </a:lnTo>
                  <a:lnTo>
                    <a:pt x="12984" y="6323"/>
                  </a:lnTo>
                </a:path>
              </a:pathLst>
            </a:custGeom>
            <a:grpFill/>
            <a:ln w="548" cap="flat">
              <a:noFill/>
              <a:prstDash val="solid"/>
              <a:miter/>
            </a:ln>
          </p:spPr>
          <p:txBody>
            <a:bodyPr/>
            <a:lstStyle/>
            <a:p>
              <a:endParaRPr lang="en-US"/>
            </a:p>
          </p:txBody>
        </p:sp>
        <p:sp>
          <p:nvSpPr>
            <p:cNvPr id="375" name="Freeform: Shape 374">
              <a:extLst>
                <a:ext uri="{FF2B5EF4-FFF2-40B4-BE49-F238E27FC236}">
                  <a16:creationId xmlns:a16="http://schemas.microsoft.com/office/drawing/2014/main" id="{E403D7B3-E8D2-3360-AB2A-A99660485BA4}"/>
                </a:ext>
              </a:extLst>
            </p:cNvPr>
            <p:cNvSpPr/>
            <p:nvPr/>
          </p:nvSpPr>
          <p:spPr>
            <a:xfrm flipV="1">
              <a:off x="24131947" y="4332868"/>
              <a:ext cx="21671" cy="11823"/>
            </a:xfrm>
            <a:custGeom>
              <a:avLst/>
              <a:gdLst>
                <a:gd name="csX0" fmla="*/ 12912 w 21671"/>
                <a:gd name="csY0" fmla="*/ 6427 h 11823"/>
                <a:gd name="csX1" fmla="*/ -8759 w 21671"/>
                <a:gd name="csY1" fmla="*/ 6427 h 11823"/>
                <a:gd name="csX2" fmla="*/ -8759 w 21671"/>
                <a:gd name="csY2" fmla="*/ -5397 h 11823"/>
                <a:gd name="csX3" fmla="*/ 12912 w 21671"/>
                <a:gd name="csY3" fmla="*/ -5397 h 11823"/>
                <a:gd name="csX4" fmla="*/ 12912 w 21671"/>
                <a:gd name="csY4" fmla="*/ 6427 h 11823"/>
              </a:gdLst>
              <a:ahLst/>
              <a:cxnLst>
                <a:cxn ang="0">
                  <a:pos x="csX0" y="csY0"/>
                </a:cxn>
                <a:cxn ang="0">
                  <a:pos x="csX1" y="csY1"/>
                </a:cxn>
                <a:cxn ang="0">
                  <a:pos x="csX2" y="csY2"/>
                </a:cxn>
                <a:cxn ang="0">
                  <a:pos x="csX3" y="csY3"/>
                </a:cxn>
                <a:cxn ang="0">
                  <a:pos x="csX4" y="csY4"/>
                </a:cxn>
              </a:cxnLst>
              <a:rect l="l" t="t" r="r" b="b"/>
              <a:pathLst>
                <a:path w="21671" h="11823">
                  <a:moveTo>
                    <a:pt x="12912" y="6427"/>
                  </a:moveTo>
                  <a:lnTo>
                    <a:pt x="-8759" y="6427"/>
                  </a:lnTo>
                  <a:lnTo>
                    <a:pt x="-8759" y="-5397"/>
                  </a:lnTo>
                  <a:lnTo>
                    <a:pt x="12912" y="-5397"/>
                  </a:lnTo>
                  <a:lnTo>
                    <a:pt x="12912" y="6427"/>
                  </a:lnTo>
                </a:path>
              </a:pathLst>
            </a:custGeom>
            <a:grpFill/>
            <a:ln w="548" cap="flat">
              <a:noFill/>
              <a:prstDash val="solid"/>
              <a:miter/>
            </a:ln>
          </p:spPr>
          <p:txBody>
            <a:bodyPr/>
            <a:lstStyle/>
            <a:p>
              <a:endParaRPr lang="en-US"/>
            </a:p>
          </p:txBody>
        </p:sp>
        <p:sp>
          <p:nvSpPr>
            <p:cNvPr id="376" name="Freeform: Shape 375">
              <a:extLst>
                <a:ext uri="{FF2B5EF4-FFF2-40B4-BE49-F238E27FC236}">
                  <a16:creationId xmlns:a16="http://schemas.microsoft.com/office/drawing/2014/main" id="{CD47C3BE-4212-F2A6-C8CA-36D377A56CF3}"/>
                </a:ext>
              </a:extLst>
            </p:cNvPr>
            <p:cNvSpPr/>
            <p:nvPr/>
          </p:nvSpPr>
          <p:spPr>
            <a:xfrm flipV="1">
              <a:off x="24131947" y="4347100"/>
              <a:ext cx="21671" cy="11828"/>
            </a:xfrm>
            <a:custGeom>
              <a:avLst/>
              <a:gdLst>
                <a:gd name="csX0" fmla="*/ 12912 w 21671"/>
                <a:gd name="csY0" fmla="*/ 6466 h 11828"/>
                <a:gd name="csX1" fmla="*/ -8759 w 21671"/>
                <a:gd name="csY1" fmla="*/ 6466 h 11828"/>
                <a:gd name="csX2" fmla="*/ -8759 w 21671"/>
                <a:gd name="csY2" fmla="*/ -5362 h 11828"/>
                <a:gd name="csX3" fmla="*/ 12912 w 21671"/>
                <a:gd name="csY3" fmla="*/ -5362 h 11828"/>
                <a:gd name="csX4" fmla="*/ 12912 w 21671"/>
                <a:gd name="csY4" fmla="*/ 6466 h 11828"/>
              </a:gdLst>
              <a:ahLst/>
              <a:cxnLst>
                <a:cxn ang="0">
                  <a:pos x="csX0" y="csY0"/>
                </a:cxn>
                <a:cxn ang="0">
                  <a:pos x="csX1" y="csY1"/>
                </a:cxn>
                <a:cxn ang="0">
                  <a:pos x="csX2" y="csY2"/>
                </a:cxn>
                <a:cxn ang="0">
                  <a:pos x="csX3" y="csY3"/>
                </a:cxn>
                <a:cxn ang="0">
                  <a:pos x="csX4" y="csY4"/>
                </a:cxn>
              </a:cxnLst>
              <a:rect l="l" t="t" r="r" b="b"/>
              <a:pathLst>
                <a:path w="21671" h="11828">
                  <a:moveTo>
                    <a:pt x="12912" y="6466"/>
                  </a:moveTo>
                  <a:lnTo>
                    <a:pt x="-8759" y="6466"/>
                  </a:lnTo>
                  <a:lnTo>
                    <a:pt x="-8759" y="-5362"/>
                  </a:lnTo>
                  <a:lnTo>
                    <a:pt x="12912" y="-5362"/>
                  </a:lnTo>
                  <a:lnTo>
                    <a:pt x="12912" y="6466"/>
                  </a:lnTo>
                </a:path>
              </a:pathLst>
            </a:custGeom>
            <a:grpFill/>
            <a:ln w="548" cap="flat">
              <a:noFill/>
              <a:prstDash val="solid"/>
              <a:miter/>
            </a:ln>
          </p:spPr>
          <p:txBody>
            <a:bodyPr/>
            <a:lstStyle/>
            <a:p>
              <a:endParaRPr lang="en-US"/>
            </a:p>
          </p:txBody>
        </p:sp>
        <p:sp>
          <p:nvSpPr>
            <p:cNvPr id="377" name="Freeform: Shape 376">
              <a:extLst>
                <a:ext uri="{FF2B5EF4-FFF2-40B4-BE49-F238E27FC236}">
                  <a16:creationId xmlns:a16="http://schemas.microsoft.com/office/drawing/2014/main" id="{A2FC3504-0E88-8232-59FC-93B2307EA3D7}"/>
                </a:ext>
              </a:extLst>
            </p:cNvPr>
            <p:cNvSpPr/>
            <p:nvPr/>
          </p:nvSpPr>
          <p:spPr>
            <a:xfrm flipV="1">
              <a:off x="24074449" y="4332868"/>
              <a:ext cx="21671" cy="11823"/>
            </a:xfrm>
            <a:custGeom>
              <a:avLst/>
              <a:gdLst>
                <a:gd name="csX0" fmla="*/ 12984 w 21671"/>
                <a:gd name="csY0" fmla="*/ 6427 h 11823"/>
                <a:gd name="csX1" fmla="*/ -8688 w 21671"/>
                <a:gd name="csY1" fmla="*/ 6427 h 11823"/>
                <a:gd name="csX2" fmla="*/ -8688 w 21671"/>
                <a:gd name="csY2" fmla="*/ -5397 h 11823"/>
                <a:gd name="csX3" fmla="*/ 12984 w 21671"/>
                <a:gd name="csY3" fmla="*/ -5397 h 11823"/>
                <a:gd name="csX4" fmla="*/ 12984 w 21671"/>
                <a:gd name="csY4" fmla="*/ 6427 h 11823"/>
              </a:gdLst>
              <a:ahLst/>
              <a:cxnLst>
                <a:cxn ang="0">
                  <a:pos x="csX0" y="csY0"/>
                </a:cxn>
                <a:cxn ang="0">
                  <a:pos x="csX1" y="csY1"/>
                </a:cxn>
                <a:cxn ang="0">
                  <a:pos x="csX2" y="csY2"/>
                </a:cxn>
                <a:cxn ang="0">
                  <a:pos x="csX3" y="csY3"/>
                </a:cxn>
                <a:cxn ang="0">
                  <a:pos x="csX4" y="csY4"/>
                </a:cxn>
              </a:cxnLst>
              <a:rect l="l" t="t" r="r" b="b"/>
              <a:pathLst>
                <a:path w="21671" h="11823">
                  <a:moveTo>
                    <a:pt x="12984" y="6427"/>
                  </a:moveTo>
                  <a:lnTo>
                    <a:pt x="-8688" y="6427"/>
                  </a:lnTo>
                  <a:lnTo>
                    <a:pt x="-8688" y="-5397"/>
                  </a:lnTo>
                  <a:lnTo>
                    <a:pt x="12984" y="-5397"/>
                  </a:lnTo>
                  <a:lnTo>
                    <a:pt x="12984" y="6427"/>
                  </a:lnTo>
                </a:path>
              </a:pathLst>
            </a:custGeom>
            <a:grpFill/>
            <a:ln w="548" cap="flat">
              <a:noFill/>
              <a:prstDash val="solid"/>
              <a:miter/>
            </a:ln>
          </p:spPr>
          <p:txBody>
            <a:bodyPr/>
            <a:lstStyle/>
            <a:p>
              <a:endParaRPr lang="en-US"/>
            </a:p>
          </p:txBody>
        </p:sp>
        <p:sp>
          <p:nvSpPr>
            <p:cNvPr id="378" name="Freeform: Shape 377">
              <a:extLst>
                <a:ext uri="{FF2B5EF4-FFF2-40B4-BE49-F238E27FC236}">
                  <a16:creationId xmlns:a16="http://schemas.microsoft.com/office/drawing/2014/main" id="{ED7CB546-5CFE-6D1D-1786-982F18E25221}"/>
                </a:ext>
              </a:extLst>
            </p:cNvPr>
            <p:cNvSpPr/>
            <p:nvPr/>
          </p:nvSpPr>
          <p:spPr>
            <a:xfrm flipV="1">
              <a:off x="24074449" y="4347100"/>
              <a:ext cx="21671" cy="11828"/>
            </a:xfrm>
            <a:custGeom>
              <a:avLst/>
              <a:gdLst>
                <a:gd name="csX0" fmla="*/ 12984 w 21671"/>
                <a:gd name="csY0" fmla="*/ 6466 h 11828"/>
                <a:gd name="csX1" fmla="*/ -8688 w 21671"/>
                <a:gd name="csY1" fmla="*/ 6466 h 11828"/>
                <a:gd name="csX2" fmla="*/ -8688 w 21671"/>
                <a:gd name="csY2" fmla="*/ -5362 h 11828"/>
                <a:gd name="csX3" fmla="*/ 12984 w 21671"/>
                <a:gd name="csY3" fmla="*/ -5362 h 11828"/>
                <a:gd name="csX4" fmla="*/ 12984 w 21671"/>
                <a:gd name="csY4" fmla="*/ 6466 h 11828"/>
              </a:gdLst>
              <a:ahLst/>
              <a:cxnLst>
                <a:cxn ang="0">
                  <a:pos x="csX0" y="csY0"/>
                </a:cxn>
                <a:cxn ang="0">
                  <a:pos x="csX1" y="csY1"/>
                </a:cxn>
                <a:cxn ang="0">
                  <a:pos x="csX2" y="csY2"/>
                </a:cxn>
                <a:cxn ang="0">
                  <a:pos x="csX3" y="csY3"/>
                </a:cxn>
                <a:cxn ang="0">
                  <a:pos x="csX4" y="csY4"/>
                </a:cxn>
              </a:cxnLst>
              <a:rect l="l" t="t" r="r" b="b"/>
              <a:pathLst>
                <a:path w="21671" h="11828">
                  <a:moveTo>
                    <a:pt x="12984" y="6466"/>
                  </a:moveTo>
                  <a:lnTo>
                    <a:pt x="-8688" y="6466"/>
                  </a:lnTo>
                  <a:lnTo>
                    <a:pt x="-8688" y="-5362"/>
                  </a:lnTo>
                  <a:lnTo>
                    <a:pt x="12984" y="-5362"/>
                  </a:lnTo>
                  <a:lnTo>
                    <a:pt x="12984" y="6466"/>
                  </a:lnTo>
                </a:path>
              </a:pathLst>
            </a:custGeom>
            <a:grpFill/>
            <a:ln w="548" cap="flat">
              <a:noFill/>
              <a:prstDash val="solid"/>
              <a:miter/>
            </a:ln>
          </p:spPr>
          <p:txBody>
            <a:bodyPr/>
            <a:lstStyle/>
            <a:p>
              <a:endParaRPr lang="en-US"/>
            </a:p>
          </p:txBody>
        </p:sp>
        <p:sp>
          <p:nvSpPr>
            <p:cNvPr id="379" name="Freeform: Shape 378">
              <a:extLst>
                <a:ext uri="{FF2B5EF4-FFF2-40B4-BE49-F238E27FC236}">
                  <a16:creationId xmlns:a16="http://schemas.microsoft.com/office/drawing/2014/main" id="{49863F07-87B8-7C9E-F58A-BE53510330D8}"/>
                </a:ext>
              </a:extLst>
            </p:cNvPr>
            <p:cNvSpPr/>
            <p:nvPr/>
          </p:nvSpPr>
          <p:spPr>
            <a:xfrm flipV="1">
              <a:off x="23859931" y="3043454"/>
              <a:ext cx="830147" cy="1880156"/>
            </a:xfrm>
            <a:custGeom>
              <a:avLst/>
              <a:gdLst>
                <a:gd name="csX0" fmla="*/ 809319 w 830147"/>
                <a:gd name="csY0" fmla="*/ 544358 h 1880156"/>
                <a:gd name="csX1" fmla="*/ 809319 w 830147"/>
                <a:gd name="csY1" fmla="*/ 1047950 h 1880156"/>
                <a:gd name="csX2" fmla="*/ 819468 w 830147"/>
                <a:gd name="csY2" fmla="*/ 1047950 h 1880156"/>
                <a:gd name="csX3" fmla="*/ 819468 w 830147"/>
                <a:gd name="csY3" fmla="*/ 1059641 h 1880156"/>
                <a:gd name="csX4" fmla="*/ 789568 w 830147"/>
                <a:gd name="csY4" fmla="*/ 1059641 h 1880156"/>
                <a:gd name="csX5" fmla="*/ 789568 w 830147"/>
                <a:gd name="csY5" fmla="*/ 1182289 h 1880156"/>
                <a:gd name="csX6" fmla="*/ 794615 w 830147"/>
                <a:gd name="csY6" fmla="*/ 1182289 h 1880156"/>
                <a:gd name="csX7" fmla="*/ 794615 w 830147"/>
                <a:gd name="csY7" fmla="*/ 1192000 h 1880156"/>
                <a:gd name="csX8" fmla="*/ 746555 w 830147"/>
                <a:gd name="csY8" fmla="*/ 1192000 h 1880156"/>
                <a:gd name="csX9" fmla="*/ 746555 w 830147"/>
                <a:gd name="csY9" fmla="*/ 1720747 h 1880156"/>
                <a:gd name="csX10" fmla="*/ 749901 w 830147"/>
                <a:gd name="csY10" fmla="*/ 1720747 h 1880156"/>
                <a:gd name="csX11" fmla="*/ 749901 w 830147"/>
                <a:gd name="csY11" fmla="*/ 1729432 h 1880156"/>
                <a:gd name="csX12" fmla="*/ 707875 w 830147"/>
                <a:gd name="csY12" fmla="*/ 1729432 h 1880156"/>
                <a:gd name="csX13" fmla="*/ 707875 w 830147"/>
                <a:gd name="csY13" fmla="*/ 1720747 h 1880156"/>
                <a:gd name="csX14" fmla="*/ 707875 w 830147"/>
                <a:gd name="csY14" fmla="*/ 1192000 h 1880156"/>
                <a:gd name="csX15" fmla="*/ 700633 w 830147"/>
                <a:gd name="csY15" fmla="*/ 1192000 h 1880156"/>
                <a:gd name="csX16" fmla="*/ 700633 w 830147"/>
                <a:gd name="csY16" fmla="*/ 1777953 h 1880156"/>
                <a:gd name="csX17" fmla="*/ 710783 w 830147"/>
                <a:gd name="csY17" fmla="*/ 1777953 h 1880156"/>
                <a:gd name="csX18" fmla="*/ 710783 w 830147"/>
                <a:gd name="csY18" fmla="*/ 1791763 h 1880156"/>
                <a:gd name="csX19" fmla="*/ 651201 w 830147"/>
                <a:gd name="csY19" fmla="*/ 1791763 h 1880156"/>
                <a:gd name="csX20" fmla="*/ 651201 w 830147"/>
                <a:gd name="csY20" fmla="*/ 1844054 h 1880156"/>
                <a:gd name="csX21" fmla="*/ 651091 w 830147"/>
                <a:gd name="csY21" fmla="*/ 1844054 h 1880156"/>
                <a:gd name="csX22" fmla="*/ 651091 w 830147"/>
                <a:gd name="csY22" fmla="*/ 1873905 h 1880156"/>
                <a:gd name="csX23" fmla="*/ 161100 w 830147"/>
                <a:gd name="csY23" fmla="*/ 1873905 h 1880156"/>
                <a:gd name="csX24" fmla="*/ 161100 w 830147"/>
                <a:gd name="csY24" fmla="*/ 1844054 h 1880156"/>
                <a:gd name="csX25" fmla="*/ 161100 w 830147"/>
                <a:gd name="csY25" fmla="*/ 1791763 h 1880156"/>
                <a:gd name="csX26" fmla="*/ 101518 w 830147"/>
                <a:gd name="csY26" fmla="*/ 1791763 h 1880156"/>
                <a:gd name="csX27" fmla="*/ 101518 w 830147"/>
                <a:gd name="csY27" fmla="*/ 1777953 h 1880156"/>
                <a:gd name="csX28" fmla="*/ 111668 w 830147"/>
                <a:gd name="csY28" fmla="*/ 1777953 h 1880156"/>
                <a:gd name="csX29" fmla="*/ 111668 w 830147"/>
                <a:gd name="csY29" fmla="*/ 1192000 h 1880156"/>
                <a:gd name="csX30" fmla="*/ 104426 w 830147"/>
                <a:gd name="csY30" fmla="*/ 1192000 h 1880156"/>
                <a:gd name="csX31" fmla="*/ 104426 w 830147"/>
                <a:gd name="csY31" fmla="*/ 1720747 h 1880156"/>
                <a:gd name="csX32" fmla="*/ 104426 w 830147"/>
                <a:gd name="csY32" fmla="*/ 1729432 h 1880156"/>
                <a:gd name="csX33" fmla="*/ 62400 w 830147"/>
                <a:gd name="csY33" fmla="*/ 1729432 h 1880156"/>
                <a:gd name="csX34" fmla="*/ 62400 w 830147"/>
                <a:gd name="csY34" fmla="*/ 1720747 h 1880156"/>
                <a:gd name="csX35" fmla="*/ 65747 w 830147"/>
                <a:gd name="csY35" fmla="*/ 1720747 h 1880156"/>
                <a:gd name="csX36" fmla="*/ 65747 w 830147"/>
                <a:gd name="csY36" fmla="*/ 1192000 h 1880156"/>
                <a:gd name="csX37" fmla="*/ 17686 w 830147"/>
                <a:gd name="csY37" fmla="*/ 1192000 h 1880156"/>
                <a:gd name="csX38" fmla="*/ 17686 w 830147"/>
                <a:gd name="csY38" fmla="*/ 1182289 h 1880156"/>
                <a:gd name="csX39" fmla="*/ 22734 w 830147"/>
                <a:gd name="csY39" fmla="*/ 1182289 h 1880156"/>
                <a:gd name="csX40" fmla="*/ 22734 w 830147"/>
                <a:gd name="csY40" fmla="*/ 1059641 h 1880156"/>
                <a:gd name="csX41" fmla="*/ -7167 w 830147"/>
                <a:gd name="csY41" fmla="*/ 1059641 h 1880156"/>
                <a:gd name="csX42" fmla="*/ -7167 w 830147"/>
                <a:gd name="csY42" fmla="*/ 1047950 h 1880156"/>
                <a:gd name="csX43" fmla="*/ 2983 w 830147"/>
                <a:gd name="csY43" fmla="*/ 1047950 h 1880156"/>
                <a:gd name="csX44" fmla="*/ 2983 w 830147"/>
                <a:gd name="csY44" fmla="*/ 544358 h 1880156"/>
                <a:gd name="csX45" fmla="*/ -8923 w 830147"/>
                <a:gd name="csY45" fmla="*/ 544358 h 1880156"/>
                <a:gd name="csX46" fmla="*/ -8923 w 830147"/>
                <a:gd name="csY46" fmla="*/ 530593 h 1880156"/>
                <a:gd name="csX47" fmla="*/ 2983 w 830147"/>
                <a:gd name="csY47" fmla="*/ 530593 h 1880156"/>
                <a:gd name="csX48" fmla="*/ 2983 w 830147"/>
                <a:gd name="csY48" fmla="*/ 184171 h 1880156"/>
                <a:gd name="csX49" fmla="*/ 2983 w 830147"/>
                <a:gd name="csY49" fmla="*/ 67162 h 1880156"/>
                <a:gd name="csX50" fmla="*/ 2983 w 830147"/>
                <a:gd name="csY50" fmla="*/ 50187 h 1880156"/>
                <a:gd name="csX51" fmla="*/ 2983 w 830147"/>
                <a:gd name="csY51" fmla="*/ -2559 h 1880156"/>
                <a:gd name="csX52" fmla="*/ 2983 w 830147"/>
                <a:gd name="csY52" fmla="*/ -6251 h 1880156"/>
                <a:gd name="csX53" fmla="*/ 20594 w 830147"/>
                <a:gd name="csY53" fmla="*/ -6251 h 1880156"/>
                <a:gd name="csX54" fmla="*/ 33707 w 830147"/>
                <a:gd name="csY54" fmla="*/ -6251 h 1880156"/>
                <a:gd name="csX55" fmla="*/ 36120 w 830147"/>
                <a:gd name="csY55" fmla="*/ -6251 h 1880156"/>
                <a:gd name="csX56" fmla="*/ 52086 w 830147"/>
                <a:gd name="csY56" fmla="*/ -6251 h 1880156"/>
                <a:gd name="csX57" fmla="*/ 54500 w 830147"/>
                <a:gd name="csY57" fmla="*/ -6251 h 1880156"/>
                <a:gd name="csX58" fmla="*/ 70410 w 830147"/>
                <a:gd name="csY58" fmla="*/ -6251 h 1880156"/>
                <a:gd name="csX59" fmla="*/ 72825 w 830147"/>
                <a:gd name="csY59" fmla="*/ -6251 h 1880156"/>
                <a:gd name="csX60" fmla="*/ 88790 w 830147"/>
                <a:gd name="csY60" fmla="*/ -6251 h 1880156"/>
                <a:gd name="csX61" fmla="*/ 91204 w 830147"/>
                <a:gd name="csY61" fmla="*/ -6251 h 1880156"/>
                <a:gd name="csX62" fmla="*/ 106566 w 830147"/>
                <a:gd name="csY62" fmla="*/ -6251 h 1880156"/>
                <a:gd name="csX63" fmla="*/ 124177 w 830147"/>
                <a:gd name="csY63" fmla="*/ -6251 h 1880156"/>
                <a:gd name="csX64" fmla="*/ 138442 w 830147"/>
                <a:gd name="csY64" fmla="*/ -6251 h 1880156"/>
                <a:gd name="csX65" fmla="*/ 140856 w 830147"/>
                <a:gd name="csY65" fmla="*/ -6251 h 1880156"/>
                <a:gd name="csX66" fmla="*/ 156821 w 830147"/>
                <a:gd name="csY66" fmla="*/ -6251 h 1880156"/>
                <a:gd name="csX67" fmla="*/ 159235 w 830147"/>
                <a:gd name="csY67" fmla="*/ -6251 h 1880156"/>
                <a:gd name="csX68" fmla="*/ 175201 w 830147"/>
                <a:gd name="csY68" fmla="*/ -6251 h 1880156"/>
                <a:gd name="csX69" fmla="*/ 177560 w 830147"/>
                <a:gd name="csY69" fmla="*/ -6251 h 1880156"/>
                <a:gd name="csX70" fmla="*/ 193525 w 830147"/>
                <a:gd name="csY70" fmla="*/ -6251 h 1880156"/>
                <a:gd name="csX71" fmla="*/ 195939 w 830147"/>
                <a:gd name="csY71" fmla="*/ -6251 h 1880156"/>
                <a:gd name="csX72" fmla="*/ 210204 w 830147"/>
                <a:gd name="csY72" fmla="*/ -6251 h 1880156"/>
                <a:gd name="csX73" fmla="*/ 227815 w 830147"/>
                <a:gd name="csY73" fmla="*/ -6251 h 1880156"/>
                <a:gd name="csX74" fmla="*/ 243232 w 830147"/>
                <a:gd name="csY74" fmla="*/ -6251 h 1880156"/>
                <a:gd name="csX75" fmla="*/ 245591 w 830147"/>
                <a:gd name="csY75" fmla="*/ -6251 h 1880156"/>
                <a:gd name="csX76" fmla="*/ 261557 w 830147"/>
                <a:gd name="csY76" fmla="*/ -6251 h 1880156"/>
                <a:gd name="csX77" fmla="*/ 263970 w 830147"/>
                <a:gd name="csY77" fmla="*/ -6251 h 1880156"/>
                <a:gd name="csX78" fmla="*/ 279936 w 830147"/>
                <a:gd name="csY78" fmla="*/ -6251 h 1880156"/>
                <a:gd name="csX79" fmla="*/ 282350 w 830147"/>
                <a:gd name="csY79" fmla="*/ -6251 h 1880156"/>
                <a:gd name="csX80" fmla="*/ 298260 w 830147"/>
                <a:gd name="csY80" fmla="*/ -6251 h 1880156"/>
                <a:gd name="csX81" fmla="*/ 300675 w 830147"/>
                <a:gd name="csY81" fmla="*/ -6251 h 1880156"/>
                <a:gd name="csX82" fmla="*/ 313787 w 830147"/>
                <a:gd name="csY82" fmla="*/ -6251 h 1880156"/>
                <a:gd name="csX83" fmla="*/ 320316 w 830147"/>
                <a:gd name="csY83" fmla="*/ -6251 h 1880156"/>
                <a:gd name="csX84" fmla="*/ 331399 w 830147"/>
                <a:gd name="csY84" fmla="*/ -6251 h 1880156"/>
                <a:gd name="csX85" fmla="*/ 480738 w 830147"/>
                <a:gd name="csY85" fmla="*/ -6251 h 1880156"/>
                <a:gd name="csX86" fmla="*/ 480738 w 830147"/>
                <a:gd name="csY86" fmla="*/ 50187 h 1880156"/>
                <a:gd name="csX87" fmla="*/ 480738 w 830147"/>
                <a:gd name="csY87" fmla="*/ 67162 h 1880156"/>
                <a:gd name="csX88" fmla="*/ 480738 w 830147"/>
                <a:gd name="csY88" fmla="*/ 186996 h 1880156"/>
                <a:gd name="csX89" fmla="*/ 480738 w 830147"/>
                <a:gd name="csY89" fmla="*/ 251439 h 1880156"/>
                <a:gd name="csX90" fmla="*/ 480738 w 830147"/>
                <a:gd name="csY90" fmla="*/ 1380892 h 1880156"/>
                <a:gd name="csX91" fmla="*/ 480903 w 830147"/>
                <a:gd name="csY91" fmla="*/ 1380892 h 1880156"/>
                <a:gd name="csX92" fmla="*/ 480903 w 830147"/>
                <a:gd name="csY92" fmla="*/ 1366188 h 1880156"/>
                <a:gd name="csX93" fmla="*/ 637430 w 830147"/>
                <a:gd name="csY93" fmla="*/ 1366188 h 1880156"/>
                <a:gd name="csX94" fmla="*/ 637430 w 830147"/>
                <a:gd name="csY94" fmla="*/ 1192000 h 1880156"/>
                <a:gd name="csX95" fmla="*/ 637430 w 830147"/>
                <a:gd name="csY95" fmla="*/ 1182289 h 1880156"/>
                <a:gd name="csX96" fmla="*/ 637430 w 830147"/>
                <a:gd name="csY96" fmla="*/ 544358 h 1880156"/>
                <a:gd name="csX97" fmla="*/ 480903 w 830147"/>
                <a:gd name="csY97" fmla="*/ 544358 h 1880156"/>
                <a:gd name="csX98" fmla="*/ 480903 w 830147"/>
                <a:gd name="csY98" fmla="*/ 530593 h 1880156"/>
                <a:gd name="csX99" fmla="*/ 645111 w 830147"/>
                <a:gd name="csY99" fmla="*/ 530593 h 1880156"/>
                <a:gd name="csX100" fmla="*/ 645111 w 830147"/>
                <a:gd name="csY100" fmla="*/ 184171 h 1880156"/>
                <a:gd name="csX101" fmla="*/ 610931 w 830147"/>
                <a:gd name="csY101" fmla="*/ 184171 h 1880156"/>
                <a:gd name="csX102" fmla="*/ 480903 w 830147"/>
                <a:gd name="csY102" fmla="*/ 184171 h 1880156"/>
                <a:gd name="csX103" fmla="*/ 480903 w 830147"/>
                <a:gd name="csY103" fmla="*/ 119727 h 1880156"/>
                <a:gd name="csX104" fmla="*/ 488968 w 830147"/>
                <a:gd name="csY104" fmla="*/ 119727 h 1880156"/>
                <a:gd name="csX105" fmla="*/ 488968 w 830147"/>
                <a:gd name="csY105" fmla="*/ 67162 h 1880156"/>
                <a:gd name="csX106" fmla="*/ 480903 w 830147"/>
                <a:gd name="csY106" fmla="*/ 67162 h 1880156"/>
                <a:gd name="csX107" fmla="*/ 480903 w 830147"/>
                <a:gd name="csY107" fmla="*/ 50187 h 1880156"/>
                <a:gd name="csX108" fmla="*/ 480903 w 830147"/>
                <a:gd name="csY108" fmla="*/ -6251 h 1880156"/>
                <a:gd name="csX109" fmla="*/ 491986 w 830147"/>
                <a:gd name="csY109" fmla="*/ -6251 h 1880156"/>
                <a:gd name="csX110" fmla="*/ 511627 w 830147"/>
                <a:gd name="csY110" fmla="*/ -6251 h 1880156"/>
                <a:gd name="csX111" fmla="*/ 514041 w 830147"/>
                <a:gd name="csY111" fmla="*/ -6251 h 1880156"/>
                <a:gd name="csX112" fmla="*/ 529952 w 830147"/>
                <a:gd name="csY112" fmla="*/ -6251 h 1880156"/>
                <a:gd name="csX113" fmla="*/ 532365 w 830147"/>
                <a:gd name="csY113" fmla="*/ -6251 h 1880156"/>
                <a:gd name="csX114" fmla="*/ 548331 w 830147"/>
                <a:gd name="csY114" fmla="*/ -6251 h 1880156"/>
                <a:gd name="csX115" fmla="*/ 550745 w 830147"/>
                <a:gd name="csY115" fmla="*/ -6251 h 1880156"/>
                <a:gd name="csX116" fmla="*/ 566710 w 830147"/>
                <a:gd name="csY116" fmla="*/ -6251 h 1880156"/>
                <a:gd name="csX117" fmla="*/ 569070 w 830147"/>
                <a:gd name="csY117" fmla="*/ -6251 h 1880156"/>
                <a:gd name="csX118" fmla="*/ 584486 w 830147"/>
                <a:gd name="csY118" fmla="*/ -6251 h 1880156"/>
                <a:gd name="csX119" fmla="*/ 602098 w 830147"/>
                <a:gd name="csY119" fmla="*/ -6251 h 1880156"/>
                <a:gd name="csX120" fmla="*/ 616362 w 830147"/>
                <a:gd name="csY120" fmla="*/ -6251 h 1880156"/>
                <a:gd name="csX121" fmla="*/ 618776 w 830147"/>
                <a:gd name="csY121" fmla="*/ -6251 h 1880156"/>
                <a:gd name="csX122" fmla="*/ 634742 w 830147"/>
                <a:gd name="csY122" fmla="*/ -6251 h 1880156"/>
                <a:gd name="csX123" fmla="*/ 637101 w 830147"/>
                <a:gd name="csY123" fmla="*/ -6251 h 1880156"/>
                <a:gd name="csX124" fmla="*/ 653066 w 830147"/>
                <a:gd name="csY124" fmla="*/ -6251 h 1880156"/>
                <a:gd name="csX125" fmla="*/ 655480 w 830147"/>
                <a:gd name="csY125" fmla="*/ -6251 h 1880156"/>
                <a:gd name="csX126" fmla="*/ 671446 w 830147"/>
                <a:gd name="csY126" fmla="*/ -6251 h 1880156"/>
                <a:gd name="csX127" fmla="*/ 673805 w 830147"/>
                <a:gd name="csY127" fmla="*/ -6251 h 1880156"/>
                <a:gd name="csX128" fmla="*/ 688124 w 830147"/>
                <a:gd name="csY128" fmla="*/ -6251 h 1880156"/>
                <a:gd name="csX129" fmla="*/ 705736 w 830147"/>
                <a:gd name="csY129" fmla="*/ -6251 h 1880156"/>
                <a:gd name="csX130" fmla="*/ 721097 w 830147"/>
                <a:gd name="csY130" fmla="*/ -6251 h 1880156"/>
                <a:gd name="csX131" fmla="*/ 723512 w 830147"/>
                <a:gd name="csY131" fmla="*/ -6251 h 1880156"/>
                <a:gd name="csX132" fmla="*/ 739477 w 830147"/>
                <a:gd name="csY132" fmla="*/ -6251 h 1880156"/>
                <a:gd name="csX133" fmla="*/ 741891 w 830147"/>
                <a:gd name="csY133" fmla="*/ -6251 h 1880156"/>
                <a:gd name="csX134" fmla="*/ 757802 w 830147"/>
                <a:gd name="csY134" fmla="*/ -6251 h 1880156"/>
                <a:gd name="csX135" fmla="*/ 760215 w 830147"/>
                <a:gd name="csY135" fmla="*/ -6251 h 1880156"/>
                <a:gd name="csX136" fmla="*/ 776181 w 830147"/>
                <a:gd name="csY136" fmla="*/ -6251 h 1880156"/>
                <a:gd name="csX137" fmla="*/ 778595 w 830147"/>
                <a:gd name="csY137" fmla="*/ -6251 h 1880156"/>
                <a:gd name="csX138" fmla="*/ 791708 w 830147"/>
                <a:gd name="csY138" fmla="*/ -6251 h 1880156"/>
                <a:gd name="csX139" fmla="*/ 809319 w 830147"/>
                <a:gd name="csY139" fmla="*/ -6251 h 1880156"/>
                <a:gd name="csX140" fmla="*/ 809319 w 830147"/>
                <a:gd name="csY140" fmla="*/ -2559 h 1880156"/>
                <a:gd name="csX141" fmla="*/ 809319 w 830147"/>
                <a:gd name="csY141" fmla="*/ 50187 h 1880156"/>
                <a:gd name="csX142" fmla="*/ 809319 w 830147"/>
                <a:gd name="csY142" fmla="*/ 67162 h 1880156"/>
                <a:gd name="csX143" fmla="*/ 809319 w 830147"/>
                <a:gd name="csY143" fmla="*/ 184171 h 1880156"/>
                <a:gd name="csX144" fmla="*/ 809319 w 830147"/>
                <a:gd name="csY144" fmla="*/ 530593 h 1880156"/>
                <a:gd name="csX145" fmla="*/ 821224 w 830147"/>
                <a:gd name="csY145" fmla="*/ 530593 h 1880156"/>
                <a:gd name="csX146" fmla="*/ 821224 w 830147"/>
                <a:gd name="csY146" fmla="*/ 544358 h 1880156"/>
                <a:gd name="csX147" fmla="*/ 581194 w 830147"/>
                <a:gd name="csY147" fmla="*/ 1791763 h 1880156"/>
                <a:gd name="csX148" fmla="*/ 574666 w 830147"/>
                <a:gd name="csY148" fmla="*/ 1791763 h 1880156"/>
                <a:gd name="csX149" fmla="*/ 574666 w 830147"/>
                <a:gd name="csY149" fmla="*/ 1815799 h 1880156"/>
                <a:gd name="csX150" fmla="*/ 581194 w 830147"/>
                <a:gd name="csY150" fmla="*/ 1815799 h 1880156"/>
                <a:gd name="csX151" fmla="*/ 583608 w 830147"/>
                <a:gd name="csY151" fmla="*/ 1815799 h 1880156"/>
                <a:gd name="csX152" fmla="*/ 590192 w 830147"/>
                <a:gd name="csY152" fmla="*/ 1815799 h 1880156"/>
                <a:gd name="csX153" fmla="*/ 590192 w 830147"/>
                <a:gd name="csY153" fmla="*/ 1791763 h 1880156"/>
                <a:gd name="csX154" fmla="*/ 583608 w 830147"/>
                <a:gd name="csY154" fmla="*/ 1791763 h 1880156"/>
                <a:gd name="csX155" fmla="*/ 613784 w 830147"/>
                <a:gd name="csY155" fmla="*/ 1791763 h 1880156"/>
                <a:gd name="csX156" fmla="*/ 607200 w 830147"/>
                <a:gd name="csY156" fmla="*/ 1791763 h 1880156"/>
                <a:gd name="csX157" fmla="*/ 607200 w 830147"/>
                <a:gd name="csY157" fmla="*/ 1815799 h 1880156"/>
                <a:gd name="csX158" fmla="*/ 613784 w 830147"/>
                <a:gd name="csY158" fmla="*/ 1815799 h 1880156"/>
                <a:gd name="csX159" fmla="*/ 616197 w 830147"/>
                <a:gd name="csY159" fmla="*/ 1815799 h 1880156"/>
                <a:gd name="csX160" fmla="*/ 622726 w 830147"/>
                <a:gd name="csY160" fmla="*/ 1815799 h 1880156"/>
                <a:gd name="csX161" fmla="*/ 622726 w 830147"/>
                <a:gd name="csY161" fmla="*/ 1791763 h 1880156"/>
                <a:gd name="csX162" fmla="*/ 616197 w 830147"/>
                <a:gd name="csY162" fmla="*/ 1791763 h 1880156"/>
                <a:gd name="csX163" fmla="*/ 419894 w 830147"/>
                <a:gd name="csY163" fmla="*/ 1844054 h 1880156"/>
                <a:gd name="csX164" fmla="*/ 419894 w 830147"/>
                <a:gd name="csY164" fmla="*/ 1205865 h 1880156"/>
                <a:gd name="csX165" fmla="*/ 392298 w 830147"/>
                <a:gd name="csY165" fmla="*/ 1205865 h 1880156"/>
                <a:gd name="csX166" fmla="*/ 392298 w 830147"/>
                <a:gd name="csY166" fmla="*/ 1844054 h 1880156"/>
                <a:gd name="csX167" fmla="*/ 388841 w 830147"/>
                <a:gd name="csY167" fmla="*/ 1196127 h 1880156"/>
                <a:gd name="csX168" fmla="*/ 388841 w 830147"/>
                <a:gd name="csY168" fmla="*/ 1156970 h 1880156"/>
                <a:gd name="csX169" fmla="*/ 357623 w 830147"/>
                <a:gd name="csY169" fmla="*/ 1156970 h 1880156"/>
                <a:gd name="csX170" fmla="*/ 357623 w 830147"/>
                <a:gd name="csY170" fmla="*/ 1196127 h 1880156"/>
                <a:gd name="csX171" fmla="*/ 357623 w 830147"/>
                <a:gd name="csY171" fmla="*/ 283497 h 1880156"/>
                <a:gd name="csX172" fmla="*/ 388841 w 830147"/>
                <a:gd name="csY172" fmla="*/ 283497 h 1880156"/>
                <a:gd name="csX173" fmla="*/ 388841 w 830147"/>
                <a:gd name="csY173" fmla="*/ 269654 h 1880156"/>
                <a:gd name="csX174" fmla="*/ 357623 w 830147"/>
                <a:gd name="csY174" fmla="*/ 269654 h 1880156"/>
                <a:gd name="csX175" fmla="*/ 421266 w 830147"/>
                <a:gd name="csY175" fmla="*/ 1084379 h 1880156"/>
                <a:gd name="csX176" fmla="*/ 391255 w 830147"/>
                <a:gd name="csY176" fmla="*/ 1084379 h 1880156"/>
                <a:gd name="csX177" fmla="*/ 391255 w 830147"/>
                <a:gd name="csY177" fmla="*/ 1123530 h 1880156"/>
                <a:gd name="csX178" fmla="*/ 421266 w 830147"/>
                <a:gd name="csY178" fmla="*/ 1123530 h 1880156"/>
                <a:gd name="csX179" fmla="*/ 421266 w 830147"/>
                <a:gd name="csY179" fmla="*/ 1011789 h 1880156"/>
                <a:gd name="csX180" fmla="*/ 391255 w 830147"/>
                <a:gd name="csY180" fmla="*/ 1011789 h 1880156"/>
                <a:gd name="csX181" fmla="*/ 391255 w 830147"/>
                <a:gd name="csY181" fmla="*/ 1050945 h 1880156"/>
                <a:gd name="csX182" fmla="*/ 421266 w 830147"/>
                <a:gd name="csY182" fmla="*/ 1050945 h 1880156"/>
                <a:gd name="csX183" fmla="*/ 421266 w 830147"/>
                <a:gd name="csY183" fmla="*/ 939204 h 1880156"/>
                <a:gd name="csX184" fmla="*/ 391255 w 830147"/>
                <a:gd name="csY184" fmla="*/ 939204 h 1880156"/>
                <a:gd name="csX185" fmla="*/ 391255 w 830147"/>
                <a:gd name="csY185" fmla="*/ 978354 h 1880156"/>
                <a:gd name="csX186" fmla="*/ 421266 w 830147"/>
                <a:gd name="csY186" fmla="*/ 978354 h 1880156"/>
                <a:gd name="csX187" fmla="*/ 421266 w 830147"/>
                <a:gd name="csY187" fmla="*/ 866613 h 1880156"/>
                <a:gd name="csX188" fmla="*/ 391255 w 830147"/>
                <a:gd name="csY188" fmla="*/ 866613 h 1880156"/>
                <a:gd name="csX189" fmla="*/ 391255 w 830147"/>
                <a:gd name="csY189" fmla="*/ 905770 h 1880156"/>
                <a:gd name="csX190" fmla="*/ 421266 w 830147"/>
                <a:gd name="csY190" fmla="*/ 905770 h 1880156"/>
                <a:gd name="csX191" fmla="*/ 421266 w 830147"/>
                <a:gd name="csY191" fmla="*/ 794022 h 1880156"/>
                <a:gd name="csX192" fmla="*/ 391255 w 830147"/>
                <a:gd name="csY192" fmla="*/ 794022 h 1880156"/>
                <a:gd name="csX193" fmla="*/ 391255 w 830147"/>
                <a:gd name="csY193" fmla="*/ 833179 h 1880156"/>
                <a:gd name="csX194" fmla="*/ 421266 w 830147"/>
                <a:gd name="csY194" fmla="*/ 833179 h 1880156"/>
                <a:gd name="csX195" fmla="*/ 421266 w 830147"/>
                <a:gd name="csY195" fmla="*/ 721432 h 1880156"/>
                <a:gd name="csX196" fmla="*/ 391255 w 830147"/>
                <a:gd name="csY196" fmla="*/ 721432 h 1880156"/>
                <a:gd name="csX197" fmla="*/ 391255 w 830147"/>
                <a:gd name="csY197" fmla="*/ 760588 h 1880156"/>
                <a:gd name="csX198" fmla="*/ 421266 w 830147"/>
                <a:gd name="csY198" fmla="*/ 760588 h 1880156"/>
                <a:gd name="csX199" fmla="*/ 421266 w 830147"/>
                <a:gd name="csY199" fmla="*/ 648841 h 1880156"/>
                <a:gd name="csX200" fmla="*/ 391255 w 830147"/>
                <a:gd name="csY200" fmla="*/ 648841 h 1880156"/>
                <a:gd name="csX201" fmla="*/ 391255 w 830147"/>
                <a:gd name="csY201" fmla="*/ 687998 h 1880156"/>
                <a:gd name="csX202" fmla="*/ 421266 w 830147"/>
                <a:gd name="csY202" fmla="*/ 687998 h 1880156"/>
                <a:gd name="csX203" fmla="*/ 421266 w 830147"/>
                <a:gd name="csY203" fmla="*/ 576251 h 1880156"/>
                <a:gd name="csX204" fmla="*/ 391255 w 830147"/>
                <a:gd name="csY204" fmla="*/ 576251 h 1880156"/>
                <a:gd name="csX205" fmla="*/ 391255 w 830147"/>
                <a:gd name="csY205" fmla="*/ 615402 h 1880156"/>
                <a:gd name="csX206" fmla="*/ 421266 w 830147"/>
                <a:gd name="csY206" fmla="*/ 615402 h 1880156"/>
                <a:gd name="csX207" fmla="*/ 421266 w 830147"/>
                <a:gd name="csY207" fmla="*/ 503666 h 1880156"/>
                <a:gd name="csX208" fmla="*/ 391255 w 830147"/>
                <a:gd name="csY208" fmla="*/ 503666 h 1880156"/>
                <a:gd name="csX209" fmla="*/ 391255 w 830147"/>
                <a:gd name="csY209" fmla="*/ 542817 h 1880156"/>
                <a:gd name="csX210" fmla="*/ 421266 w 830147"/>
                <a:gd name="csY210" fmla="*/ 542817 h 1880156"/>
                <a:gd name="csX211" fmla="*/ 421266 w 830147"/>
                <a:gd name="csY211" fmla="*/ 431075 h 1880156"/>
                <a:gd name="csX212" fmla="*/ 391255 w 830147"/>
                <a:gd name="csY212" fmla="*/ 431075 h 1880156"/>
                <a:gd name="csX213" fmla="*/ 391255 w 830147"/>
                <a:gd name="csY213" fmla="*/ 470232 h 1880156"/>
                <a:gd name="csX214" fmla="*/ 421266 w 830147"/>
                <a:gd name="csY214" fmla="*/ 470232 h 1880156"/>
                <a:gd name="csX215" fmla="*/ 421266 w 830147"/>
                <a:gd name="csY215" fmla="*/ 358485 h 1880156"/>
                <a:gd name="csX216" fmla="*/ 391255 w 830147"/>
                <a:gd name="csY216" fmla="*/ 358485 h 1880156"/>
                <a:gd name="csX217" fmla="*/ 391255 w 830147"/>
                <a:gd name="csY217" fmla="*/ 397641 h 1880156"/>
                <a:gd name="csX218" fmla="*/ 421266 w 830147"/>
                <a:gd name="csY218" fmla="*/ 397641 h 1880156"/>
                <a:gd name="csX219" fmla="*/ 391255 w 830147"/>
                <a:gd name="csY219" fmla="*/ 356081 h 1880156"/>
                <a:gd name="csX220" fmla="*/ 421266 w 830147"/>
                <a:gd name="csY220" fmla="*/ 356081 h 1880156"/>
                <a:gd name="csX221" fmla="*/ 421266 w 830147"/>
                <a:gd name="csY221" fmla="*/ 342245 h 1880156"/>
                <a:gd name="csX222" fmla="*/ 391255 w 830147"/>
                <a:gd name="csY222" fmla="*/ 342245 h 1880156"/>
                <a:gd name="csX223" fmla="*/ 391255 w 830147"/>
                <a:gd name="csY223" fmla="*/ 414836 h 1880156"/>
                <a:gd name="csX224" fmla="*/ 391255 w 830147"/>
                <a:gd name="csY224" fmla="*/ 428672 h 1880156"/>
                <a:gd name="csX225" fmla="*/ 421266 w 830147"/>
                <a:gd name="csY225" fmla="*/ 428672 h 1880156"/>
                <a:gd name="csX226" fmla="*/ 421266 w 830147"/>
                <a:gd name="csY226" fmla="*/ 414836 h 1880156"/>
                <a:gd name="csX227" fmla="*/ 391255 w 830147"/>
                <a:gd name="csY227" fmla="*/ 487421 h 1880156"/>
                <a:gd name="csX228" fmla="*/ 391255 w 830147"/>
                <a:gd name="csY228" fmla="*/ 501263 h 1880156"/>
                <a:gd name="csX229" fmla="*/ 421266 w 830147"/>
                <a:gd name="csY229" fmla="*/ 501263 h 1880156"/>
                <a:gd name="csX230" fmla="*/ 421266 w 830147"/>
                <a:gd name="csY230" fmla="*/ 487421 h 1880156"/>
                <a:gd name="csX231" fmla="*/ 391255 w 830147"/>
                <a:gd name="csY231" fmla="*/ 560011 h 1880156"/>
                <a:gd name="csX232" fmla="*/ 391255 w 830147"/>
                <a:gd name="csY232" fmla="*/ 573848 h 1880156"/>
                <a:gd name="csX233" fmla="*/ 421266 w 830147"/>
                <a:gd name="csY233" fmla="*/ 573848 h 1880156"/>
                <a:gd name="csX234" fmla="*/ 421266 w 830147"/>
                <a:gd name="csY234" fmla="*/ 560011 h 1880156"/>
                <a:gd name="csX235" fmla="*/ 391255 w 830147"/>
                <a:gd name="csY235" fmla="*/ 632602 h 1880156"/>
                <a:gd name="csX236" fmla="*/ 391255 w 830147"/>
                <a:gd name="csY236" fmla="*/ 646438 h 1880156"/>
                <a:gd name="csX237" fmla="*/ 421266 w 830147"/>
                <a:gd name="csY237" fmla="*/ 646438 h 1880156"/>
                <a:gd name="csX238" fmla="*/ 421266 w 830147"/>
                <a:gd name="csY238" fmla="*/ 632602 h 1880156"/>
                <a:gd name="csX239" fmla="*/ 391255 w 830147"/>
                <a:gd name="csY239" fmla="*/ 705192 h 1880156"/>
                <a:gd name="csX240" fmla="*/ 391255 w 830147"/>
                <a:gd name="csY240" fmla="*/ 719029 h 1880156"/>
                <a:gd name="csX241" fmla="*/ 421266 w 830147"/>
                <a:gd name="csY241" fmla="*/ 719029 h 1880156"/>
                <a:gd name="csX242" fmla="*/ 421266 w 830147"/>
                <a:gd name="csY242" fmla="*/ 705192 h 1880156"/>
                <a:gd name="csX243" fmla="*/ 391255 w 830147"/>
                <a:gd name="csY243" fmla="*/ 777777 h 1880156"/>
                <a:gd name="csX244" fmla="*/ 391255 w 830147"/>
                <a:gd name="csY244" fmla="*/ 791619 h 1880156"/>
                <a:gd name="csX245" fmla="*/ 421266 w 830147"/>
                <a:gd name="csY245" fmla="*/ 791619 h 1880156"/>
                <a:gd name="csX246" fmla="*/ 421266 w 830147"/>
                <a:gd name="csY246" fmla="*/ 777777 h 1880156"/>
                <a:gd name="csX247" fmla="*/ 391255 w 830147"/>
                <a:gd name="csY247" fmla="*/ 850368 h 1880156"/>
                <a:gd name="csX248" fmla="*/ 391255 w 830147"/>
                <a:gd name="csY248" fmla="*/ 864210 h 1880156"/>
                <a:gd name="csX249" fmla="*/ 421266 w 830147"/>
                <a:gd name="csY249" fmla="*/ 864210 h 1880156"/>
                <a:gd name="csX250" fmla="*/ 421266 w 830147"/>
                <a:gd name="csY250" fmla="*/ 850368 h 1880156"/>
                <a:gd name="csX251" fmla="*/ 391255 w 830147"/>
                <a:gd name="csY251" fmla="*/ 922953 h 1880156"/>
                <a:gd name="csX252" fmla="*/ 391255 w 830147"/>
                <a:gd name="csY252" fmla="*/ 936801 h 1880156"/>
                <a:gd name="csX253" fmla="*/ 421266 w 830147"/>
                <a:gd name="csY253" fmla="*/ 936801 h 1880156"/>
                <a:gd name="csX254" fmla="*/ 421266 w 830147"/>
                <a:gd name="csY254" fmla="*/ 922953 h 1880156"/>
                <a:gd name="csX255" fmla="*/ 391255 w 830147"/>
                <a:gd name="csY255" fmla="*/ 995549 h 1880156"/>
                <a:gd name="csX256" fmla="*/ 391255 w 830147"/>
                <a:gd name="csY256" fmla="*/ 1009386 h 1880156"/>
                <a:gd name="csX257" fmla="*/ 421266 w 830147"/>
                <a:gd name="csY257" fmla="*/ 1009386 h 1880156"/>
                <a:gd name="csX258" fmla="*/ 421266 w 830147"/>
                <a:gd name="csY258" fmla="*/ 995549 h 1880156"/>
                <a:gd name="csX259" fmla="*/ 391255 w 830147"/>
                <a:gd name="csY259" fmla="*/ 1068140 h 1880156"/>
                <a:gd name="csX260" fmla="*/ 391255 w 830147"/>
                <a:gd name="csY260" fmla="*/ 1081971 h 1880156"/>
                <a:gd name="csX261" fmla="*/ 421266 w 830147"/>
                <a:gd name="csY261" fmla="*/ 1081971 h 1880156"/>
                <a:gd name="csX262" fmla="*/ 421266 w 830147"/>
                <a:gd name="csY262" fmla="*/ 1068140 h 1880156"/>
                <a:gd name="csX263" fmla="*/ 391255 w 830147"/>
                <a:gd name="csY263" fmla="*/ 285894 h 1880156"/>
                <a:gd name="csX264" fmla="*/ 391255 w 830147"/>
                <a:gd name="csY264" fmla="*/ 325050 h 1880156"/>
                <a:gd name="csX265" fmla="*/ 421266 w 830147"/>
                <a:gd name="csY265" fmla="*/ 325050 h 1880156"/>
                <a:gd name="csX266" fmla="*/ 421266 w 830147"/>
                <a:gd name="csY266" fmla="*/ 285894 h 1880156"/>
                <a:gd name="csX267" fmla="*/ 421266 w 830147"/>
                <a:gd name="csY267" fmla="*/ 1140725 h 1880156"/>
                <a:gd name="csX268" fmla="*/ 391255 w 830147"/>
                <a:gd name="csY268" fmla="*/ 1140725 h 1880156"/>
                <a:gd name="csX269" fmla="*/ 391255 w 830147"/>
                <a:gd name="csY269" fmla="*/ 1154567 h 1880156"/>
                <a:gd name="csX270" fmla="*/ 421266 w 830147"/>
                <a:gd name="csY270" fmla="*/ 1154567 h 1880156"/>
                <a:gd name="csX271" fmla="*/ 388841 w 830147"/>
                <a:gd name="csY271" fmla="*/ 1154567 h 1880156"/>
                <a:gd name="csX272" fmla="*/ 388841 w 830147"/>
                <a:gd name="csY272" fmla="*/ 1140725 h 1880156"/>
                <a:gd name="csX273" fmla="*/ 357623 w 830147"/>
                <a:gd name="csY273" fmla="*/ 1140725 h 1880156"/>
                <a:gd name="csX274" fmla="*/ 357623 w 830147"/>
                <a:gd name="csY274" fmla="*/ 1154567 h 1880156"/>
                <a:gd name="csX275" fmla="*/ 357623 w 830147"/>
                <a:gd name="csY275" fmla="*/ 1123530 h 1880156"/>
                <a:gd name="csX276" fmla="*/ 388841 w 830147"/>
                <a:gd name="csY276" fmla="*/ 1123530 h 1880156"/>
                <a:gd name="csX277" fmla="*/ 388841 w 830147"/>
                <a:gd name="csY277" fmla="*/ 1084379 h 1880156"/>
                <a:gd name="csX278" fmla="*/ 357623 w 830147"/>
                <a:gd name="csY278" fmla="*/ 1084379 h 1880156"/>
                <a:gd name="csX279" fmla="*/ 388841 w 830147"/>
                <a:gd name="csY279" fmla="*/ 1081971 h 1880156"/>
                <a:gd name="csX280" fmla="*/ 388841 w 830147"/>
                <a:gd name="csY280" fmla="*/ 1068140 h 1880156"/>
                <a:gd name="csX281" fmla="*/ 357623 w 830147"/>
                <a:gd name="csY281" fmla="*/ 1068140 h 1880156"/>
                <a:gd name="csX282" fmla="*/ 357623 w 830147"/>
                <a:gd name="csY282" fmla="*/ 1081971 h 1880156"/>
                <a:gd name="csX283" fmla="*/ 357623 w 830147"/>
                <a:gd name="csY283" fmla="*/ 1050945 h 1880156"/>
                <a:gd name="csX284" fmla="*/ 388841 w 830147"/>
                <a:gd name="csY284" fmla="*/ 1050945 h 1880156"/>
                <a:gd name="csX285" fmla="*/ 388841 w 830147"/>
                <a:gd name="csY285" fmla="*/ 1011789 h 1880156"/>
                <a:gd name="csX286" fmla="*/ 357623 w 830147"/>
                <a:gd name="csY286" fmla="*/ 1011789 h 1880156"/>
                <a:gd name="csX287" fmla="*/ 388841 w 830147"/>
                <a:gd name="csY287" fmla="*/ 1009386 h 1880156"/>
                <a:gd name="csX288" fmla="*/ 388841 w 830147"/>
                <a:gd name="csY288" fmla="*/ 995549 h 1880156"/>
                <a:gd name="csX289" fmla="*/ 357623 w 830147"/>
                <a:gd name="csY289" fmla="*/ 995549 h 1880156"/>
                <a:gd name="csX290" fmla="*/ 357623 w 830147"/>
                <a:gd name="csY290" fmla="*/ 1009386 h 1880156"/>
                <a:gd name="csX291" fmla="*/ 357623 w 830147"/>
                <a:gd name="csY291" fmla="*/ 978354 h 1880156"/>
                <a:gd name="csX292" fmla="*/ 388841 w 830147"/>
                <a:gd name="csY292" fmla="*/ 978354 h 1880156"/>
                <a:gd name="csX293" fmla="*/ 388841 w 830147"/>
                <a:gd name="csY293" fmla="*/ 939204 h 1880156"/>
                <a:gd name="csX294" fmla="*/ 357623 w 830147"/>
                <a:gd name="csY294" fmla="*/ 939204 h 1880156"/>
                <a:gd name="csX295" fmla="*/ 388841 w 830147"/>
                <a:gd name="csY295" fmla="*/ 936801 h 1880156"/>
                <a:gd name="csX296" fmla="*/ 388841 w 830147"/>
                <a:gd name="csY296" fmla="*/ 922953 h 1880156"/>
                <a:gd name="csX297" fmla="*/ 357623 w 830147"/>
                <a:gd name="csY297" fmla="*/ 922953 h 1880156"/>
                <a:gd name="csX298" fmla="*/ 357623 w 830147"/>
                <a:gd name="csY298" fmla="*/ 936801 h 1880156"/>
                <a:gd name="csX299" fmla="*/ 357623 w 830147"/>
                <a:gd name="csY299" fmla="*/ 905770 h 1880156"/>
                <a:gd name="csX300" fmla="*/ 388841 w 830147"/>
                <a:gd name="csY300" fmla="*/ 905770 h 1880156"/>
                <a:gd name="csX301" fmla="*/ 388841 w 830147"/>
                <a:gd name="csY301" fmla="*/ 866613 h 1880156"/>
                <a:gd name="csX302" fmla="*/ 357623 w 830147"/>
                <a:gd name="csY302" fmla="*/ 866613 h 1880156"/>
                <a:gd name="csX303" fmla="*/ 388841 w 830147"/>
                <a:gd name="csY303" fmla="*/ 864210 h 1880156"/>
                <a:gd name="csX304" fmla="*/ 388841 w 830147"/>
                <a:gd name="csY304" fmla="*/ 850368 h 1880156"/>
                <a:gd name="csX305" fmla="*/ 357623 w 830147"/>
                <a:gd name="csY305" fmla="*/ 850368 h 1880156"/>
                <a:gd name="csX306" fmla="*/ 357623 w 830147"/>
                <a:gd name="csY306" fmla="*/ 864210 h 1880156"/>
                <a:gd name="csX307" fmla="*/ 357623 w 830147"/>
                <a:gd name="csY307" fmla="*/ 833179 h 1880156"/>
                <a:gd name="csX308" fmla="*/ 388841 w 830147"/>
                <a:gd name="csY308" fmla="*/ 833179 h 1880156"/>
                <a:gd name="csX309" fmla="*/ 388841 w 830147"/>
                <a:gd name="csY309" fmla="*/ 794022 h 1880156"/>
                <a:gd name="csX310" fmla="*/ 357623 w 830147"/>
                <a:gd name="csY310" fmla="*/ 794022 h 1880156"/>
                <a:gd name="csX311" fmla="*/ 388841 w 830147"/>
                <a:gd name="csY311" fmla="*/ 791619 h 1880156"/>
                <a:gd name="csX312" fmla="*/ 388841 w 830147"/>
                <a:gd name="csY312" fmla="*/ 777777 h 1880156"/>
                <a:gd name="csX313" fmla="*/ 357623 w 830147"/>
                <a:gd name="csY313" fmla="*/ 777777 h 1880156"/>
                <a:gd name="csX314" fmla="*/ 357623 w 830147"/>
                <a:gd name="csY314" fmla="*/ 791619 h 1880156"/>
                <a:gd name="csX315" fmla="*/ 357623 w 830147"/>
                <a:gd name="csY315" fmla="*/ 760588 h 1880156"/>
                <a:gd name="csX316" fmla="*/ 388841 w 830147"/>
                <a:gd name="csY316" fmla="*/ 760588 h 1880156"/>
                <a:gd name="csX317" fmla="*/ 388841 w 830147"/>
                <a:gd name="csY317" fmla="*/ 721432 h 1880156"/>
                <a:gd name="csX318" fmla="*/ 357623 w 830147"/>
                <a:gd name="csY318" fmla="*/ 721432 h 1880156"/>
                <a:gd name="csX319" fmla="*/ 388841 w 830147"/>
                <a:gd name="csY319" fmla="*/ 719029 h 1880156"/>
                <a:gd name="csX320" fmla="*/ 388841 w 830147"/>
                <a:gd name="csY320" fmla="*/ 705192 h 1880156"/>
                <a:gd name="csX321" fmla="*/ 357623 w 830147"/>
                <a:gd name="csY321" fmla="*/ 705192 h 1880156"/>
                <a:gd name="csX322" fmla="*/ 357623 w 830147"/>
                <a:gd name="csY322" fmla="*/ 719029 h 1880156"/>
                <a:gd name="csX323" fmla="*/ 357623 w 830147"/>
                <a:gd name="csY323" fmla="*/ 687998 h 1880156"/>
                <a:gd name="csX324" fmla="*/ 388841 w 830147"/>
                <a:gd name="csY324" fmla="*/ 687998 h 1880156"/>
                <a:gd name="csX325" fmla="*/ 388841 w 830147"/>
                <a:gd name="csY325" fmla="*/ 648841 h 1880156"/>
                <a:gd name="csX326" fmla="*/ 357623 w 830147"/>
                <a:gd name="csY326" fmla="*/ 648841 h 1880156"/>
                <a:gd name="csX327" fmla="*/ 388841 w 830147"/>
                <a:gd name="csY327" fmla="*/ 646438 h 1880156"/>
                <a:gd name="csX328" fmla="*/ 388841 w 830147"/>
                <a:gd name="csY328" fmla="*/ 632602 h 1880156"/>
                <a:gd name="csX329" fmla="*/ 357623 w 830147"/>
                <a:gd name="csY329" fmla="*/ 632602 h 1880156"/>
                <a:gd name="csX330" fmla="*/ 357623 w 830147"/>
                <a:gd name="csY330" fmla="*/ 646438 h 1880156"/>
                <a:gd name="csX331" fmla="*/ 357623 w 830147"/>
                <a:gd name="csY331" fmla="*/ 615402 h 1880156"/>
                <a:gd name="csX332" fmla="*/ 388841 w 830147"/>
                <a:gd name="csY332" fmla="*/ 615402 h 1880156"/>
                <a:gd name="csX333" fmla="*/ 388841 w 830147"/>
                <a:gd name="csY333" fmla="*/ 576251 h 1880156"/>
                <a:gd name="csX334" fmla="*/ 357623 w 830147"/>
                <a:gd name="csY334" fmla="*/ 576251 h 1880156"/>
                <a:gd name="csX335" fmla="*/ 388841 w 830147"/>
                <a:gd name="csY335" fmla="*/ 573848 h 1880156"/>
                <a:gd name="csX336" fmla="*/ 388841 w 830147"/>
                <a:gd name="csY336" fmla="*/ 560011 h 1880156"/>
                <a:gd name="csX337" fmla="*/ 357623 w 830147"/>
                <a:gd name="csY337" fmla="*/ 560011 h 1880156"/>
                <a:gd name="csX338" fmla="*/ 357623 w 830147"/>
                <a:gd name="csY338" fmla="*/ 573848 h 1880156"/>
                <a:gd name="csX339" fmla="*/ 357623 w 830147"/>
                <a:gd name="csY339" fmla="*/ 542817 h 1880156"/>
                <a:gd name="csX340" fmla="*/ 388841 w 830147"/>
                <a:gd name="csY340" fmla="*/ 542817 h 1880156"/>
                <a:gd name="csX341" fmla="*/ 388841 w 830147"/>
                <a:gd name="csY341" fmla="*/ 503666 h 1880156"/>
                <a:gd name="csX342" fmla="*/ 357623 w 830147"/>
                <a:gd name="csY342" fmla="*/ 503666 h 1880156"/>
                <a:gd name="csX343" fmla="*/ 388841 w 830147"/>
                <a:gd name="csY343" fmla="*/ 501263 h 1880156"/>
                <a:gd name="csX344" fmla="*/ 388841 w 830147"/>
                <a:gd name="csY344" fmla="*/ 487421 h 1880156"/>
                <a:gd name="csX345" fmla="*/ 357623 w 830147"/>
                <a:gd name="csY345" fmla="*/ 487421 h 1880156"/>
                <a:gd name="csX346" fmla="*/ 357623 w 830147"/>
                <a:gd name="csY346" fmla="*/ 501263 h 1880156"/>
                <a:gd name="csX347" fmla="*/ 357623 w 830147"/>
                <a:gd name="csY347" fmla="*/ 470232 h 1880156"/>
                <a:gd name="csX348" fmla="*/ 388841 w 830147"/>
                <a:gd name="csY348" fmla="*/ 470232 h 1880156"/>
                <a:gd name="csX349" fmla="*/ 388841 w 830147"/>
                <a:gd name="csY349" fmla="*/ 431075 h 1880156"/>
                <a:gd name="csX350" fmla="*/ 357623 w 830147"/>
                <a:gd name="csY350" fmla="*/ 431075 h 1880156"/>
                <a:gd name="csX351" fmla="*/ 388841 w 830147"/>
                <a:gd name="csY351" fmla="*/ 428672 h 1880156"/>
                <a:gd name="csX352" fmla="*/ 388841 w 830147"/>
                <a:gd name="csY352" fmla="*/ 414836 h 1880156"/>
                <a:gd name="csX353" fmla="*/ 357623 w 830147"/>
                <a:gd name="csY353" fmla="*/ 414836 h 1880156"/>
                <a:gd name="csX354" fmla="*/ 357623 w 830147"/>
                <a:gd name="csY354" fmla="*/ 428672 h 1880156"/>
                <a:gd name="csX355" fmla="*/ 357623 w 830147"/>
                <a:gd name="csY355" fmla="*/ 397641 h 1880156"/>
                <a:gd name="csX356" fmla="*/ 388841 w 830147"/>
                <a:gd name="csY356" fmla="*/ 397641 h 1880156"/>
                <a:gd name="csX357" fmla="*/ 388841 w 830147"/>
                <a:gd name="csY357" fmla="*/ 358485 h 1880156"/>
                <a:gd name="csX358" fmla="*/ 357623 w 830147"/>
                <a:gd name="csY358" fmla="*/ 358485 h 1880156"/>
                <a:gd name="csX359" fmla="*/ 388841 w 830147"/>
                <a:gd name="csY359" fmla="*/ 356081 h 1880156"/>
                <a:gd name="csX360" fmla="*/ 388841 w 830147"/>
                <a:gd name="csY360" fmla="*/ 342245 h 1880156"/>
                <a:gd name="csX361" fmla="*/ 357623 w 830147"/>
                <a:gd name="csY361" fmla="*/ 342245 h 1880156"/>
                <a:gd name="csX362" fmla="*/ 357623 w 830147"/>
                <a:gd name="csY362" fmla="*/ 356081 h 1880156"/>
                <a:gd name="csX363" fmla="*/ 357623 w 830147"/>
                <a:gd name="csY363" fmla="*/ 325050 h 1880156"/>
                <a:gd name="csX364" fmla="*/ 388841 w 830147"/>
                <a:gd name="csY364" fmla="*/ 325050 h 1880156"/>
                <a:gd name="csX365" fmla="*/ 388841 w 830147"/>
                <a:gd name="csY365" fmla="*/ 285894 h 1880156"/>
                <a:gd name="csX366" fmla="*/ 357623 w 830147"/>
                <a:gd name="csY366" fmla="*/ 285894 h 1880156"/>
                <a:gd name="csX367" fmla="*/ 391255 w 830147"/>
                <a:gd name="csY367" fmla="*/ 283497 h 1880156"/>
                <a:gd name="csX368" fmla="*/ 421266 w 830147"/>
                <a:gd name="csY368" fmla="*/ 283497 h 1880156"/>
                <a:gd name="csX369" fmla="*/ 421266 w 830147"/>
                <a:gd name="csY369" fmla="*/ 269654 h 1880156"/>
                <a:gd name="csX370" fmla="*/ 391255 w 830147"/>
                <a:gd name="csY370" fmla="*/ 269654 h 1880156"/>
                <a:gd name="csX371" fmla="*/ 423680 w 830147"/>
                <a:gd name="csY371" fmla="*/ 285894 h 1880156"/>
                <a:gd name="csX372" fmla="*/ 423680 w 830147"/>
                <a:gd name="csY372" fmla="*/ 325050 h 1880156"/>
                <a:gd name="csX373" fmla="*/ 454897 w 830147"/>
                <a:gd name="csY373" fmla="*/ 325050 h 1880156"/>
                <a:gd name="csX374" fmla="*/ 454897 w 830147"/>
                <a:gd name="csY374" fmla="*/ 285894 h 1880156"/>
                <a:gd name="csX375" fmla="*/ 454897 w 830147"/>
                <a:gd name="csY375" fmla="*/ 342245 h 1880156"/>
                <a:gd name="csX376" fmla="*/ 423680 w 830147"/>
                <a:gd name="csY376" fmla="*/ 342245 h 1880156"/>
                <a:gd name="csX377" fmla="*/ 423680 w 830147"/>
                <a:gd name="csY377" fmla="*/ 356081 h 1880156"/>
                <a:gd name="csX378" fmla="*/ 454897 w 830147"/>
                <a:gd name="csY378" fmla="*/ 356081 h 1880156"/>
                <a:gd name="csX379" fmla="*/ 423680 w 830147"/>
                <a:gd name="csY379" fmla="*/ 358485 h 1880156"/>
                <a:gd name="csX380" fmla="*/ 423680 w 830147"/>
                <a:gd name="csY380" fmla="*/ 397641 h 1880156"/>
                <a:gd name="csX381" fmla="*/ 454897 w 830147"/>
                <a:gd name="csY381" fmla="*/ 397641 h 1880156"/>
                <a:gd name="csX382" fmla="*/ 454897 w 830147"/>
                <a:gd name="csY382" fmla="*/ 358485 h 1880156"/>
                <a:gd name="csX383" fmla="*/ 454897 w 830147"/>
                <a:gd name="csY383" fmla="*/ 414836 h 1880156"/>
                <a:gd name="csX384" fmla="*/ 423680 w 830147"/>
                <a:gd name="csY384" fmla="*/ 414836 h 1880156"/>
                <a:gd name="csX385" fmla="*/ 423680 w 830147"/>
                <a:gd name="csY385" fmla="*/ 428672 h 1880156"/>
                <a:gd name="csX386" fmla="*/ 454897 w 830147"/>
                <a:gd name="csY386" fmla="*/ 428672 h 1880156"/>
                <a:gd name="csX387" fmla="*/ 423680 w 830147"/>
                <a:gd name="csY387" fmla="*/ 431075 h 1880156"/>
                <a:gd name="csX388" fmla="*/ 423680 w 830147"/>
                <a:gd name="csY388" fmla="*/ 470232 h 1880156"/>
                <a:gd name="csX389" fmla="*/ 454897 w 830147"/>
                <a:gd name="csY389" fmla="*/ 470232 h 1880156"/>
                <a:gd name="csX390" fmla="*/ 454897 w 830147"/>
                <a:gd name="csY390" fmla="*/ 431075 h 1880156"/>
                <a:gd name="csX391" fmla="*/ 454897 w 830147"/>
                <a:gd name="csY391" fmla="*/ 487421 h 1880156"/>
                <a:gd name="csX392" fmla="*/ 423680 w 830147"/>
                <a:gd name="csY392" fmla="*/ 487421 h 1880156"/>
                <a:gd name="csX393" fmla="*/ 423680 w 830147"/>
                <a:gd name="csY393" fmla="*/ 501263 h 1880156"/>
                <a:gd name="csX394" fmla="*/ 454897 w 830147"/>
                <a:gd name="csY394" fmla="*/ 501263 h 1880156"/>
                <a:gd name="csX395" fmla="*/ 423680 w 830147"/>
                <a:gd name="csY395" fmla="*/ 503666 h 1880156"/>
                <a:gd name="csX396" fmla="*/ 423680 w 830147"/>
                <a:gd name="csY396" fmla="*/ 542817 h 1880156"/>
                <a:gd name="csX397" fmla="*/ 454897 w 830147"/>
                <a:gd name="csY397" fmla="*/ 542817 h 1880156"/>
                <a:gd name="csX398" fmla="*/ 454897 w 830147"/>
                <a:gd name="csY398" fmla="*/ 503666 h 1880156"/>
                <a:gd name="csX399" fmla="*/ 454897 w 830147"/>
                <a:gd name="csY399" fmla="*/ 560011 h 1880156"/>
                <a:gd name="csX400" fmla="*/ 423680 w 830147"/>
                <a:gd name="csY400" fmla="*/ 560011 h 1880156"/>
                <a:gd name="csX401" fmla="*/ 423680 w 830147"/>
                <a:gd name="csY401" fmla="*/ 573848 h 1880156"/>
                <a:gd name="csX402" fmla="*/ 454897 w 830147"/>
                <a:gd name="csY402" fmla="*/ 573848 h 1880156"/>
                <a:gd name="csX403" fmla="*/ 423680 w 830147"/>
                <a:gd name="csY403" fmla="*/ 576251 h 1880156"/>
                <a:gd name="csX404" fmla="*/ 423680 w 830147"/>
                <a:gd name="csY404" fmla="*/ 615402 h 1880156"/>
                <a:gd name="csX405" fmla="*/ 454897 w 830147"/>
                <a:gd name="csY405" fmla="*/ 615402 h 1880156"/>
                <a:gd name="csX406" fmla="*/ 454897 w 830147"/>
                <a:gd name="csY406" fmla="*/ 576251 h 1880156"/>
                <a:gd name="csX407" fmla="*/ 454897 w 830147"/>
                <a:gd name="csY407" fmla="*/ 632602 h 1880156"/>
                <a:gd name="csX408" fmla="*/ 423680 w 830147"/>
                <a:gd name="csY408" fmla="*/ 632602 h 1880156"/>
                <a:gd name="csX409" fmla="*/ 423680 w 830147"/>
                <a:gd name="csY409" fmla="*/ 646438 h 1880156"/>
                <a:gd name="csX410" fmla="*/ 454897 w 830147"/>
                <a:gd name="csY410" fmla="*/ 646438 h 1880156"/>
                <a:gd name="csX411" fmla="*/ 423680 w 830147"/>
                <a:gd name="csY411" fmla="*/ 648841 h 1880156"/>
                <a:gd name="csX412" fmla="*/ 423680 w 830147"/>
                <a:gd name="csY412" fmla="*/ 687998 h 1880156"/>
                <a:gd name="csX413" fmla="*/ 454897 w 830147"/>
                <a:gd name="csY413" fmla="*/ 687998 h 1880156"/>
                <a:gd name="csX414" fmla="*/ 454897 w 830147"/>
                <a:gd name="csY414" fmla="*/ 648841 h 1880156"/>
                <a:gd name="csX415" fmla="*/ 454897 w 830147"/>
                <a:gd name="csY415" fmla="*/ 705192 h 1880156"/>
                <a:gd name="csX416" fmla="*/ 423680 w 830147"/>
                <a:gd name="csY416" fmla="*/ 705192 h 1880156"/>
                <a:gd name="csX417" fmla="*/ 423680 w 830147"/>
                <a:gd name="csY417" fmla="*/ 719029 h 1880156"/>
                <a:gd name="csX418" fmla="*/ 454897 w 830147"/>
                <a:gd name="csY418" fmla="*/ 719029 h 1880156"/>
                <a:gd name="csX419" fmla="*/ 423680 w 830147"/>
                <a:gd name="csY419" fmla="*/ 721432 h 1880156"/>
                <a:gd name="csX420" fmla="*/ 423680 w 830147"/>
                <a:gd name="csY420" fmla="*/ 760588 h 1880156"/>
                <a:gd name="csX421" fmla="*/ 454897 w 830147"/>
                <a:gd name="csY421" fmla="*/ 760588 h 1880156"/>
                <a:gd name="csX422" fmla="*/ 454897 w 830147"/>
                <a:gd name="csY422" fmla="*/ 721432 h 1880156"/>
                <a:gd name="csX423" fmla="*/ 454897 w 830147"/>
                <a:gd name="csY423" fmla="*/ 777777 h 1880156"/>
                <a:gd name="csX424" fmla="*/ 423680 w 830147"/>
                <a:gd name="csY424" fmla="*/ 777777 h 1880156"/>
                <a:gd name="csX425" fmla="*/ 423680 w 830147"/>
                <a:gd name="csY425" fmla="*/ 791619 h 1880156"/>
                <a:gd name="csX426" fmla="*/ 454897 w 830147"/>
                <a:gd name="csY426" fmla="*/ 791619 h 1880156"/>
                <a:gd name="csX427" fmla="*/ 423680 w 830147"/>
                <a:gd name="csY427" fmla="*/ 794022 h 1880156"/>
                <a:gd name="csX428" fmla="*/ 423680 w 830147"/>
                <a:gd name="csY428" fmla="*/ 833179 h 1880156"/>
                <a:gd name="csX429" fmla="*/ 454897 w 830147"/>
                <a:gd name="csY429" fmla="*/ 833179 h 1880156"/>
                <a:gd name="csX430" fmla="*/ 454897 w 830147"/>
                <a:gd name="csY430" fmla="*/ 794022 h 1880156"/>
                <a:gd name="csX431" fmla="*/ 454897 w 830147"/>
                <a:gd name="csY431" fmla="*/ 850368 h 1880156"/>
                <a:gd name="csX432" fmla="*/ 423680 w 830147"/>
                <a:gd name="csY432" fmla="*/ 850368 h 1880156"/>
                <a:gd name="csX433" fmla="*/ 423680 w 830147"/>
                <a:gd name="csY433" fmla="*/ 864210 h 1880156"/>
                <a:gd name="csX434" fmla="*/ 454897 w 830147"/>
                <a:gd name="csY434" fmla="*/ 864210 h 1880156"/>
                <a:gd name="csX435" fmla="*/ 423680 w 830147"/>
                <a:gd name="csY435" fmla="*/ 866613 h 1880156"/>
                <a:gd name="csX436" fmla="*/ 423680 w 830147"/>
                <a:gd name="csY436" fmla="*/ 905770 h 1880156"/>
                <a:gd name="csX437" fmla="*/ 454897 w 830147"/>
                <a:gd name="csY437" fmla="*/ 905770 h 1880156"/>
                <a:gd name="csX438" fmla="*/ 454897 w 830147"/>
                <a:gd name="csY438" fmla="*/ 866613 h 1880156"/>
                <a:gd name="csX439" fmla="*/ 454897 w 830147"/>
                <a:gd name="csY439" fmla="*/ 922953 h 1880156"/>
                <a:gd name="csX440" fmla="*/ 423680 w 830147"/>
                <a:gd name="csY440" fmla="*/ 922953 h 1880156"/>
                <a:gd name="csX441" fmla="*/ 423680 w 830147"/>
                <a:gd name="csY441" fmla="*/ 936801 h 1880156"/>
                <a:gd name="csX442" fmla="*/ 454897 w 830147"/>
                <a:gd name="csY442" fmla="*/ 936801 h 1880156"/>
                <a:gd name="csX443" fmla="*/ 423680 w 830147"/>
                <a:gd name="csY443" fmla="*/ 939204 h 1880156"/>
                <a:gd name="csX444" fmla="*/ 423680 w 830147"/>
                <a:gd name="csY444" fmla="*/ 978354 h 1880156"/>
                <a:gd name="csX445" fmla="*/ 454897 w 830147"/>
                <a:gd name="csY445" fmla="*/ 978354 h 1880156"/>
                <a:gd name="csX446" fmla="*/ 454897 w 830147"/>
                <a:gd name="csY446" fmla="*/ 939204 h 1880156"/>
                <a:gd name="csX447" fmla="*/ 454897 w 830147"/>
                <a:gd name="csY447" fmla="*/ 995549 h 1880156"/>
                <a:gd name="csX448" fmla="*/ 423680 w 830147"/>
                <a:gd name="csY448" fmla="*/ 995549 h 1880156"/>
                <a:gd name="csX449" fmla="*/ 423680 w 830147"/>
                <a:gd name="csY449" fmla="*/ 1009386 h 1880156"/>
                <a:gd name="csX450" fmla="*/ 454897 w 830147"/>
                <a:gd name="csY450" fmla="*/ 1009386 h 1880156"/>
                <a:gd name="csX451" fmla="*/ 423680 w 830147"/>
                <a:gd name="csY451" fmla="*/ 1011789 h 1880156"/>
                <a:gd name="csX452" fmla="*/ 423680 w 830147"/>
                <a:gd name="csY452" fmla="*/ 1050945 h 1880156"/>
                <a:gd name="csX453" fmla="*/ 454897 w 830147"/>
                <a:gd name="csY453" fmla="*/ 1050945 h 1880156"/>
                <a:gd name="csX454" fmla="*/ 454897 w 830147"/>
                <a:gd name="csY454" fmla="*/ 1011789 h 1880156"/>
                <a:gd name="csX455" fmla="*/ 454897 w 830147"/>
                <a:gd name="csY455" fmla="*/ 1068140 h 1880156"/>
                <a:gd name="csX456" fmla="*/ 423680 w 830147"/>
                <a:gd name="csY456" fmla="*/ 1068140 h 1880156"/>
                <a:gd name="csX457" fmla="*/ 423680 w 830147"/>
                <a:gd name="csY457" fmla="*/ 1081971 h 1880156"/>
                <a:gd name="csX458" fmla="*/ 454897 w 830147"/>
                <a:gd name="csY458" fmla="*/ 1081971 h 1880156"/>
                <a:gd name="csX459" fmla="*/ 423680 w 830147"/>
                <a:gd name="csY459" fmla="*/ 1084379 h 1880156"/>
                <a:gd name="csX460" fmla="*/ 423680 w 830147"/>
                <a:gd name="csY460" fmla="*/ 1123530 h 1880156"/>
                <a:gd name="csX461" fmla="*/ 454897 w 830147"/>
                <a:gd name="csY461" fmla="*/ 1123530 h 1880156"/>
                <a:gd name="csX462" fmla="*/ 454897 w 830147"/>
                <a:gd name="csY462" fmla="*/ 1084379 h 1880156"/>
                <a:gd name="csX463" fmla="*/ 454897 w 830147"/>
                <a:gd name="csY463" fmla="*/ 1140725 h 1880156"/>
                <a:gd name="csX464" fmla="*/ 423680 w 830147"/>
                <a:gd name="csY464" fmla="*/ 1140725 h 1880156"/>
                <a:gd name="csX465" fmla="*/ 423680 w 830147"/>
                <a:gd name="csY465" fmla="*/ 1154567 h 1880156"/>
                <a:gd name="csX466" fmla="*/ 454897 w 830147"/>
                <a:gd name="csY466" fmla="*/ 1154567 h 1880156"/>
                <a:gd name="csX467" fmla="*/ 421266 w 830147"/>
                <a:gd name="csY467" fmla="*/ 1156970 h 1880156"/>
                <a:gd name="csX468" fmla="*/ 391255 w 830147"/>
                <a:gd name="csY468" fmla="*/ 1156970 h 1880156"/>
                <a:gd name="csX469" fmla="*/ 391255 w 830147"/>
                <a:gd name="csY469" fmla="*/ 1196127 h 1880156"/>
                <a:gd name="csX470" fmla="*/ 421266 w 830147"/>
                <a:gd name="csY470" fmla="*/ 1196127 h 1880156"/>
                <a:gd name="csX471" fmla="*/ 423680 w 830147"/>
                <a:gd name="csY471" fmla="*/ 283497 h 1880156"/>
                <a:gd name="csX472" fmla="*/ 454897 w 830147"/>
                <a:gd name="csY472" fmla="*/ 283497 h 1880156"/>
                <a:gd name="csX473" fmla="*/ 454897 w 830147"/>
                <a:gd name="csY473" fmla="*/ 269654 h 1880156"/>
                <a:gd name="csX474" fmla="*/ 423680 w 830147"/>
                <a:gd name="csY474" fmla="*/ 269654 h 1880156"/>
                <a:gd name="csX475" fmla="*/ 454897 w 830147"/>
                <a:gd name="csY475" fmla="*/ 1156970 h 1880156"/>
                <a:gd name="csX476" fmla="*/ 423680 w 830147"/>
                <a:gd name="csY476" fmla="*/ 1156970 h 1880156"/>
                <a:gd name="csX477" fmla="*/ 423680 w 830147"/>
                <a:gd name="csY477" fmla="*/ 1196127 h 1880156"/>
                <a:gd name="csX478" fmla="*/ 454897 w 830147"/>
                <a:gd name="csY478" fmla="*/ 1196127 h 1880156"/>
                <a:gd name="csX479" fmla="*/ 369693 w 830147"/>
                <a:gd name="csY479" fmla="*/ 1844054 h 1880156"/>
                <a:gd name="csX480" fmla="*/ 369693 w 830147"/>
                <a:gd name="csY480" fmla="*/ 1205865 h 1880156"/>
                <a:gd name="csX481" fmla="*/ 365798 w 830147"/>
                <a:gd name="csY481" fmla="*/ 1205865 h 1880156"/>
                <a:gd name="csX482" fmla="*/ 365798 w 830147"/>
                <a:gd name="csY482" fmla="*/ 1380892 h 1880156"/>
                <a:gd name="csX483" fmla="*/ 342097 w 830147"/>
                <a:gd name="csY483" fmla="*/ 1380892 h 1880156"/>
                <a:gd name="csX484" fmla="*/ 342097 w 830147"/>
                <a:gd name="csY484" fmla="*/ 1844054 h 1880156"/>
                <a:gd name="csX485" fmla="*/ 319548 w 830147"/>
                <a:gd name="csY485" fmla="*/ 1844054 h 1880156"/>
                <a:gd name="csX486" fmla="*/ 319548 w 830147"/>
                <a:gd name="csY486" fmla="*/ 1380892 h 1880156"/>
                <a:gd name="csX487" fmla="*/ 291951 w 830147"/>
                <a:gd name="csY487" fmla="*/ 1380892 h 1880156"/>
                <a:gd name="csX488" fmla="*/ 291951 w 830147"/>
                <a:gd name="csY488" fmla="*/ 1844054 h 1880156"/>
                <a:gd name="csX489" fmla="*/ 196104 w 830147"/>
                <a:gd name="csY489" fmla="*/ 1791763 h 1880156"/>
                <a:gd name="csX490" fmla="*/ 189575 w 830147"/>
                <a:gd name="csY490" fmla="*/ 1791763 h 1880156"/>
                <a:gd name="csX491" fmla="*/ 189575 w 830147"/>
                <a:gd name="csY491" fmla="*/ 1815799 h 1880156"/>
                <a:gd name="csX492" fmla="*/ 196104 w 830147"/>
                <a:gd name="csY492" fmla="*/ 1815799 h 1880156"/>
                <a:gd name="csX493" fmla="*/ 198518 w 830147"/>
                <a:gd name="csY493" fmla="*/ 1815799 h 1880156"/>
                <a:gd name="csX494" fmla="*/ 205101 w 830147"/>
                <a:gd name="csY494" fmla="*/ 1815799 h 1880156"/>
                <a:gd name="csX495" fmla="*/ 205101 w 830147"/>
                <a:gd name="csY495" fmla="*/ 1791763 h 1880156"/>
                <a:gd name="csX496" fmla="*/ 198518 w 830147"/>
                <a:gd name="csY496" fmla="*/ 1791763 h 1880156"/>
                <a:gd name="csX497" fmla="*/ 228693 w 830147"/>
                <a:gd name="csY497" fmla="*/ 1791763 h 1880156"/>
                <a:gd name="csX498" fmla="*/ 222109 w 830147"/>
                <a:gd name="csY498" fmla="*/ 1791763 h 1880156"/>
                <a:gd name="csX499" fmla="*/ 222109 w 830147"/>
                <a:gd name="csY499" fmla="*/ 1815799 h 1880156"/>
                <a:gd name="csX500" fmla="*/ 228693 w 830147"/>
                <a:gd name="csY500" fmla="*/ 1815799 h 1880156"/>
                <a:gd name="csX501" fmla="*/ 231107 w 830147"/>
                <a:gd name="csY501" fmla="*/ 1815799 h 1880156"/>
                <a:gd name="csX502" fmla="*/ 237636 w 830147"/>
                <a:gd name="csY502" fmla="*/ 1815799 h 1880156"/>
                <a:gd name="csX503" fmla="*/ 237636 w 830147"/>
                <a:gd name="csY503" fmla="*/ 1791763 h 1880156"/>
                <a:gd name="csX504" fmla="*/ 231107 w 830147"/>
                <a:gd name="csY504" fmla="*/ 1791763 h 1880156"/>
                <a:gd name="csX505" fmla="*/ 269348 w 830147"/>
                <a:gd name="csY505" fmla="*/ 1777953 h 1880156"/>
                <a:gd name="csX506" fmla="*/ 269348 w 830147"/>
                <a:gd name="csY506" fmla="*/ 1380892 h 1880156"/>
                <a:gd name="csX507" fmla="*/ 174872 w 830147"/>
                <a:gd name="csY507" fmla="*/ 1380892 h 1880156"/>
                <a:gd name="csX508" fmla="*/ 174872 w 830147"/>
                <a:gd name="csY508" fmla="*/ 1777953 h 1880156"/>
                <a:gd name="csX509" fmla="*/ 174872 w 830147"/>
                <a:gd name="csY509" fmla="*/ 1192000 h 1880156"/>
                <a:gd name="csX510" fmla="*/ 174872 w 830147"/>
                <a:gd name="csY510" fmla="*/ 1366188 h 1880156"/>
                <a:gd name="csX511" fmla="*/ 331399 w 830147"/>
                <a:gd name="csY511" fmla="*/ 1366188 h 1880156"/>
                <a:gd name="csX512" fmla="*/ 331399 w 830147"/>
                <a:gd name="csY512" fmla="*/ 544358 h 1880156"/>
                <a:gd name="csX513" fmla="*/ 174872 w 830147"/>
                <a:gd name="csY513" fmla="*/ 544358 h 1880156"/>
                <a:gd name="csX514" fmla="*/ 174872 w 830147"/>
                <a:gd name="csY514" fmla="*/ 1182289 h 1880156"/>
                <a:gd name="csX515" fmla="*/ 56694 w 830147"/>
                <a:gd name="csY515" fmla="*/ 570260 h 1880156"/>
                <a:gd name="csX516" fmla="*/ 78366 w 830147"/>
                <a:gd name="csY516" fmla="*/ 570260 h 1880156"/>
                <a:gd name="csX517" fmla="*/ 78366 w 830147"/>
                <a:gd name="csY517" fmla="*/ 558431 h 1880156"/>
                <a:gd name="csX518" fmla="*/ 56694 w 830147"/>
                <a:gd name="csY518" fmla="*/ 558431 h 1880156"/>
                <a:gd name="csX519" fmla="*/ 78366 w 830147"/>
                <a:gd name="csY519" fmla="*/ 1165424 h 1880156"/>
                <a:gd name="csX520" fmla="*/ 78366 w 830147"/>
                <a:gd name="csY520" fmla="*/ 1153596 h 1880156"/>
                <a:gd name="csX521" fmla="*/ 56694 w 830147"/>
                <a:gd name="csY521" fmla="*/ 1153596 h 1880156"/>
                <a:gd name="csX522" fmla="*/ 56694 w 830147"/>
                <a:gd name="csY522" fmla="*/ 1165424 h 1880156"/>
                <a:gd name="csX523" fmla="*/ 56694 w 830147"/>
                <a:gd name="csY523" fmla="*/ 1120140 h 1880156"/>
                <a:gd name="csX524" fmla="*/ 78366 w 830147"/>
                <a:gd name="csY524" fmla="*/ 1120140 h 1880156"/>
                <a:gd name="csX525" fmla="*/ 78366 w 830147"/>
                <a:gd name="csY525" fmla="*/ 1108317 h 1880156"/>
                <a:gd name="csX526" fmla="*/ 56694 w 830147"/>
                <a:gd name="csY526" fmla="*/ 1108317 h 1880156"/>
                <a:gd name="csX527" fmla="*/ 78366 w 830147"/>
                <a:gd name="csY527" fmla="*/ 1105908 h 1880156"/>
                <a:gd name="csX528" fmla="*/ 78366 w 830147"/>
                <a:gd name="csY528" fmla="*/ 1094079 h 1880156"/>
                <a:gd name="csX529" fmla="*/ 56694 w 830147"/>
                <a:gd name="csY529" fmla="*/ 1094079 h 1880156"/>
                <a:gd name="csX530" fmla="*/ 56694 w 830147"/>
                <a:gd name="csY530" fmla="*/ 1105908 h 1880156"/>
                <a:gd name="csX531" fmla="*/ 56694 w 830147"/>
                <a:gd name="csY531" fmla="*/ 1060623 h 1880156"/>
                <a:gd name="csX532" fmla="*/ 78366 w 830147"/>
                <a:gd name="csY532" fmla="*/ 1060623 h 1880156"/>
                <a:gd name="csX533" fmla="*/ 78366 w 830147"/>
                <a:gd name="csY533" fmla="*/ 1048794 h 1880156"/>
                <a:gd name="csX534" fmla="*/ 56694 w 830147"/>
                <a:gd name="csY534" fmla="*/ 1048794 h 1880156"/>
                <a:gd name="csX535" fmla="*/ 78366 w 830147"/>
                <a:gd name="csY535" fmla="*/ 1046391 h 1880156"/>
                <a:gd name="csX536" fmla="*/ 78366 w 830147"/>
                <a:gd name="csY536" fmla="*/ 1034563 h 1880156"/>
                <a:gd name="csX537" fmla="*/ 56694 w 830147"/>
                <a:gd name="csY537" fmla="*/ 1034563 h 1880156"/>
                <a:gd name="csX538" fmla="*/ 56694 w 830147"/>
                <a:gd name="csY538" fmla="*/ 1046391 h 1880156"/>
                <a:gd name="csX539" fmla="*/ 56694 w 830147"/>
                <a:gd name="csY539" fmla="*/ 1001107 h 1880156"/>
                <a:gd name="csX540" fmla="*/ 78366 w 830147"/>
                <a:gd name="csY540" fmla="*/ 1001107 h 1880156"/>
                <a:gd name="csX541" fmla="*/ 78366 w 830147"/>
                <a:gd name="csY541" fmla="*/ 989278 h 1880156"/>
                <a:gd name="csX542" fmla="*/ 56694 w 830147"/>
                <a:gd name="csY542" fmla="*/ 989278 h 1880156"/>
                <a:gd name="csX543" fmla="*/ 78366 w 830147"/>
                <a:gd name="csY543" fmla="*/ 986875 h 1880156"/>
                <a:gd name="csX544" fmla="*/ 78366 w 830147"/>
                <a:gd name="csY544" fmla="*/ 975046 h 1880156"/>
                <a:gd name="csX545" fmla="*/ 56694 w 830147"/>
                <a:gd name="csY545" fmla="*/ 975046 h 1880156"/>
                <a:gd name="csX546" fmla="*/ 56694 w 830147"/>
                <a:gd name="csY546" fmla="*/ 986875 h 1880156"/>
                <a:gd name="csX547" fmla="*/ 56694 w 830147"/>
                <a:gd name="csY547" fmla="*/ 941590 h 1880156"/>
                <a:gd name="csX548" fmla="*/ 78366 w 830147"/>
                <a:gd name="csY548" fmla="*/ 941590 h 1880156"/>
                <a:gd name="csX549" fmla="*/ 78366 w 830147"/>
                <a:gd name="csY549" fmla="*/ 929762 h 1880156"/>
                <a:gd name="csX550" fmla="*/ 56694 w 830147"/>
                <a:gd name="csY550" fmla="*/ 929762 h 1880156"/>
                <a:gd name="csX551" fmla="*/ 78366 w 830147"/>
                <a:gd name="csY551" fmla="*/ 927359 h 1880156"/>
                <a:gd name="csX552" fmla="*/ 78366 w 830147"/>
                <a:gd name="csY552" fmla="*/ 915530 h 1880156"/>
                <a:gd name="csX553" fmla="*/ 56694 w 830147"/>
                <a:gd name="csY553" fmla="*/ 915530 h 1880156"/>
                <a:gd name="csX554" fmla="*/ 56694 w 830147"/>
                <a:gd name="csY554" fmla="*/ 927359 h 1880156"/>
                <a:gd name="csX555" fmla="*/ 56694 w 830147"/>
                <a:gd name="csY555" fmla="*/ 882074 h 1880156"/>
                <a:gd name="csX556" fmla="*/ 78366 w 830147"/>
                <a:gd name="csY556" fmla="*/ 882074 h 1880156"/>
                <a:gd name="csX557" fmla="*/ 78366 w 830147"/>
                <a:gd name="csY557" fmla="*/ 870245 h 1880156"/>
                <a:gd name="csX558" fmla="*/ 56694 w 830147"/>
                <a:gd name="csY558" fmla="*/ 870245 h 1880156"/>
                <a:gd name="csX559" fmla="*/ 78366 w 830147"/>
                <a:gd name="csY559" fmla="*/ 867847 h 1880156"/>
                <a:gd name="csX560" fmla="*/ 78366 w 830147"/>
                <a:gd name="csY560" fmla="*/ 856013 h 1880156"/>
                <a:gd name="csX561" fmla="*/ 56694 w 830147"/>
                <a:gd name="csY561" fmla="*/ 856013 h 1880156"/>
                <a:gd name="csX562" fmla="*/ 56694 w 830147"/>
                <a:gd name="csY562" fmla="*/ 867847 h 1880156"/>
                <a:gd name="csX563" fmla="*/ 56694 w 830147"/>
                <a:gd name="csY563" fmla="*/ 822557 h 1880156"/>
                <a:gd name="csX564" fmla="*/ 78366 w 830147"/>
                <a:gd name="csY564" fmla="*/ 822557 h 1880156"/>
                <a:gd name="csX565" fmla="*/ 78366 w 830147"/>
                <a:gd name="csY565" fmla="*/ 810734 h 1880156"/>
                <a:gd name="csX566" fmla="*/ 56694 w 830147"/>
                <a:gd name="csY566" fmla="*/ 810734 h 1880156"/>
                <a:gd name="csX567" fmla="*/ 78366 w 830147"/>
                <a:gd name="csY567" fmla="*/ 808326 h 1880156"/>
                <a:gd name="csX568" fmla="*/ 78366 w 830147"/>
                <a:gd name="csY568" fmla="*/ 796497 h 1880156"/>
                <a:gd name="csX569" fmla="*/ 56694 w 830147"/>
                <a:gd name="csY569" fmla="*/ 796497 h 1880156"/>
                <a:gd name="csX570" fmla="*/ 56694 w 830147"/>
                <a:gd name="csY570" fmla="*/ 808326 h 1880156"/>
                <a:gd name="csX571" fmla="*/ 56694 w 830147"/>
                <a:gd name="csY571" fmla="*/ 763046 h 1880156"/>
                <a:gd name="csX572" fmla="*/ 78366 w 830147"/>
                <a:gd name="csY572" fmla="*/ 763046 h 1880156"/>
                <a:gd name="csX573" fmla="*/ 78366 w 830147"/>
                <a:gd name="csY573" fmla="*/ 751212 h 1880156"/>
                <a:gd name="csX574" fmla="*/ 56694 w 830147"/>
                <a:gd name="csY574" fmla="*/ 751212 h 1880156"/>
                <a:gd name="csX575" fmla="*/ 78366 w 830147"/>
                <a:gd name="csY575" fmla="*/ 748809 h 1880156"/>
                <a:gd name="csX576" fmla="*/ 78366 w 830147"/>
                <a:gd name="csY576" fmla="*/ 736980 h 1880156"/>
                <a:gd name="csX577" fmla="*/ 56694 w 830147"/>
                <a:gd name="csY577" fmla="*/ 736980 h 1880156"/>
                <a:gd name="csX578" fmla="*/ 56694 w 830147"/>
                <a:gd name="csY578" fmla="*/ 748809 h 1880156"/>
                <a:gd name="csX579" fmla="*/ 56694 w 830147"/>
                <a:gd name="csY579" fmla="*/ 703530 h 1880156"/>
                <a:gd name="csX580" fmla="*/ 78366 w 830147"/>
                <a:gd name="csY580" fmla="*/ 703530 h 1880156"/>
                <a:gd name="csX581" fmla="*/ 78366 w 830147"/>
                <a:gd name="csY581" fmla="*/ 691701 h 1880156"/>
                <a:gd name="csX582" fmla="*/ 56694 w 830147"/>
                <a:gd name="csY582" fmla="*/ 691701 h 1880156"/>
                <a:gd name="csX583" fmla="*/ 78366 w 830147"/>
                <a:gd name="csY583" fmla="*/ 689298 h 1880156"/>
                <a:gd name="csX584" fmla="*/ 78366 w 830147"/>
                <a:gd name="csY584" fmla="*/ 677469 h 1880156"/>
                <a:gd name="csX585" fmla="*/ 56694 w 830147"/>
                <a:gd name="csY585" fmla="*/ 677469 h 1880156"/>
                <a:gd name="csX586" fmla="*/ 56694 w 830147"/>
                <a:gd name="csY586" fmla="*/ 689298 h 1880156"/>
                <a:gd name="csX587" fmla="*/ 56694 w 830147"/>
                <a:gd name="csY587" fmla="*/ 644013 h 1880156"/>
                <a:gd name="csX588" fmla="*/ 78366 w 830147"/>
                <a:gd name="csY588" fmla="*/ 644013 h 1880156"/>
                <a:gd name="csX589" fmla="*/ 78366 w 830147"/>
                <a:gd name="csY589" fmla="*/ 632185 h 1880156"/>
                <a:gd name="csX590" fmla="*/ 56694 w 830147"/>
                <a:gd name="csY590" fmla="*/ 632185 h 1880156"/>
                <a:gd name="csX591" fmla="*/ 78366 w 830147"/>
                <a:gd name="csY591" fmla="*/ 629776 h 1880156"/>
                <a:gd name="csX592" fmla="*/ 78366 w 830147"/>
                <a:gd name="csY592" fmla="*/ 617948 h 1880156"/>
                <a:gd name="csX593" fmla="*/ 56694 w 830147"/>
                <a:gd name="csY593" fmla="*/ 617948 h 1880156"/>
                <a:gd name="csX594" fmla="*/ 56694 w 830147"/>
                <a:gd name="csY594" fmla="*/ 629776 h 1880156"/>
                <a:gd name="csX595" fmla="*/ 56694 w 830147"/>
                <a:gd name="csY595" fmla="*/ 584491 h 1880156"/>
                <a:gd name="csX596" fmla="*/ 78366 w 830147"/>
                <a:gd name="csY596" fmla="*/ 584491 h 1880156"/>
                <a:gd name="csX597" fmla="*/ 78366 w 830147"/>
                <a:gd name="csY597" fmla="*/ 572668 h 1880156"/>
                <a:gd name="csX598" fmla="*/ 56694 w 830147"/>
                <a:gd name="csY598" fmla="*/ 572668 h 1880156"/>
                <a:gd name="csX599" fmla="*/ 78366 w 830147"/>
                <a:gd name="csY599" fmla="*/ 1167833 h 1880156"/>
                <a:gd name="csX600" fmla="*/ 56694 w 830147"/>
                <a:gd name="csY600" fmla="*/ 1167833 h 1880156"/>
                <a:gd name="csX601" fmla="*/ 56694 w 830147"/>
                <a:gd name="csY601" fmla="*/ 1174938 h 1880156"/>
                <a:gd name="csX602" fmla="*/ 78366 w 830147"/>
                <a:gd name="csY602" fmla="*/ 1174938 h 1880156"/>
                <a:gd name="csX603" fmla="*/ 114192 w 830147"/>
                <a:gd name="csY603" fmla="*/ 570260 h 1880156"/>
                <a:gd name="csX604" fmla="*/ 135863 w 830147"/>
                <a:gd name="csY604" fmla="*/ 570260 h 1880156"/>
                <a:gd name="csX605" fmla="*/ 135863 w 830147"/>
                <a:gd name="csY605" fmla="*/ 558431 h 1880156"/>
                <a:gd name="csX606" fmla="*/ 114192 w 830147"/>
                <a:gd name="csY606" fmla="*/ 558431 h 1880156"/>
                <a:gd name="csX607" fmla="*/ 135863 w 830147"/>
                <a:gd name="csY607" fmla="*/ 1165424 h 1880156"/>
                <a:gd name="csX608" fmla="*/ 135863 w 830147"/>
                <a:gd name="csY608" fmla="*/ 1153596 h 1880156"/>
                <a:gd name="csX609" fmla="*/ 114192 w 830147"/>
                <a:gd name="csY609" fmla="*/ 1153596 h 1880156"/>
                <a:gd name="csX610" fmla="*/ 114192 w 830147"/>
                <a:gd name="csY610" fmla="*/ 1165424 h 1880156"/>
                <a:gd name="csX611" fmla="*/ 114192 w 830147"/>
                <a:gd name="csY611" fmla="*/ 1120140 h 1880156"/>
                <a:gd name="csX612" fmla="*/ 135863 w 830147"/>
                <a:gd name="csY612" fmla="*/ 1120140 h 1880156"/>
                <a:gd name="csX613" fmla="*/ 135863 w 830147"/>
                <a:gd name="csY613" fmla="*/ 1108317 h 1880156"/>
                <a:gd name="csX614" fmla="*/ 114192 w 830147"/>
                <a:gd name="csY614" fmla="*/ 1108317 h 1880156"/>
                <a:gd name="csX615" fmla="*/ 135863 w 830147"/>
                <a:gd name="csY615" fmla="*/ 1034563 h 1880156"/>
                <a:gd name="csX616" fmla="*/ 114192 w 830147"/>
                <a:gd name="csY616" fmla="*/ 1034563 h 1880156"/>
                <a:gd name="csX617" fmla="*/ 114192 w 830147"/>
                <a:gd name="csY617" fmla="*/ 1060623 h 1880156"/>
                <a:gd name="csX618" fmla="*/ 135863 w 830147"/>
                <a:gd name="csY618" fmla="*/ 1060623 h 1880156"/>
                <a:gd name="csX619" fmla="*/ 135863 w 830147"/>
                <a:gd name="csY619" fmla="*/ 1105908 h 1880156"/>
                <a:gd name="csX620" fmla="*/ 135863 w 830147"/>
                <a:gd name="csY620" fmla="*/ 1094079 h 1880156"/>
                <a:gd name="csX621" fmla="*/ 114192 w 830147"/>
                <a:gd name="csY621" fmla="*/ 1094079 h 1880156"/>
                <a:gd name="csX622" fmla="*/ 114192 w 830147"/>
                <a:gd name="csY622" fmla="*/ 1105908 h 1880156"/>
                <a:gd name="csX623" fmla="*/ 114192 w 830147"/>
                <a:gd name="csY623" fmla="*/ 1001107 h 1880156"/>
                <a:gd name="csX624" fmla="*/ 135863 w 830147"/>
                <a:gd name="csY624" fmla="*/ 1001107 h 1880156"/>
                <a:gd name="csX625" fmla="*/ 135863 w 830147"/>
                <a:gd name="csY625" fmla="*/ 989278 h 1880156"/>
                <a:gd name="csX626" fmla="*/ 114192 w 830147"/>
                <a:gd name="csY626" fmla="*/ 989278 h 1880156"/>
                <a:gd name="csX627" fmla="*/ 135863 w 830147"/>
                <a:gd name="csY627" fmla="*/ 986875 h 1880156"/>
                <a:gd name="csX628" fmla="*/ 135863 w 830147"/>
                <a:gd name="csY628" fmla="*/ 975046 h 1880156"/>
                <a:gd name="csX629" fmla="*/ 114192 w 830147"/>
                <a:gd name="csY629" fmla="*/ 975046 h 1880156"/>
                <a:gd name="csX630" fmla="*/ 114192 w 830147"/>
                <a:gd name="csY630" fmla="*/ 986875 h 1880156"/>
                <a:gd name="csX631" fmla="*/ 114192 w 830147"/>
                <a:gd name="csY631" fmla="*/ 941590 h 1880156"/>
                <a:gd name="csX632" fmla="*/ 135863 w 830147"/>
                <a:gd name="csY632" fmla="*/ 941590 h 1880156"/>
                <a:gd name="csX633" fmla="*/ 135863 w 830147"/>
                <a:gd name="csY633" fmla="*/ 929762 h 1880156"/>
                <a:gd name="csX634" fmla="*/ 114192 w 830147"/>
                <a:gd name="csY634" fmla="*/ 929762 h 1880156"/>
                <a:gd name="csX635" fmla="*/ 135863 w 830147"/>
                <a:gd name="csY635" fmla="*/ 856013 h 1880156"/>
                <a:gd name="csX636" fmla="*/ 114192 w 830147"/>
                <a:gd name="csY636" fmla="*/ 856013 h 1880156"/>
                <a:gd name="csX637" fmla="*/ 114192 w 830147"/>
                <a:gd name="csY637" fmla="*/ 882074 h 1880156"/>
                <a:gd name="csX638" fmla="*/ 135863 w 830147"/>
                <a:gd name="csY638" fmla="*/ 882074 h 1880156"/>
                <a:gd name="csX639" fmla="*/ 135863 w 830147"/>
                <a:gd name="csY639" fmla="*/ 927359 h 1880156"/>
                <a:gd name="csX640" fmla="*/ 135863 w 830147"/>
                <a:gd name="csY640" fmla="*/ 915530 h 1880156"/>
                <a:gd name="csX641" fmla="*/ 114192 w 830147"/>
                <a:gd name="csY641" fmla="*/ 915530 h 1880156"/>
                <a:gd name="csX642" fmla="*/ 114192 w 830147"/>
                <a:gd name="csY642" fmla="*/ 927359 h 1880156"/>
                <a:gd name="csX643" fmla="*/ 114192 w 830147"/>
                <a:gd name="csY643" fmla="*/ 822557 h 1880156"/>
                <a:gd name="csX644" fmla="*/ 135863 w 830147"/>
                <a:gd name="csY644" fmla="*/ 822557 h 1880156"/>
                <a:gd name="csX645" fmla="*/ 135863 w 830147"/>
                <a:gd name="csY645" fmla="*/ 810734 h 1880156"/>
                <a:gd name="csX646" fmla="*/ 114192 w 830147"/>
                <a:gd name="csY646" fmla="*/ 810734 h 1880156"/>
                <a:gd name="csX647" fmla="*/ 135863 w 830147"/>
                <a:gd name="csY647" fmla="*/ 808326 h 1880156"/>
                <a:gd name="csX648" fmla="*/ 135863 w 830147"/>
                <a:gd name="csY648" fmla="*/ 796497 h 1880156"/>
                <a:gd name="csX649" fmla="*/ 114192 w 830147"/>
                <a:gd name="csY649" fmla="*/ 796497 h 1880156"/>
                <a:gd name="csX650" fmla="*/ 114192 w 830147"/>
                <a:gd name="csY650" fmla="*/ 808326 h 1880156"/>
                <a:gd name="csX651" fmla="*/ 114192 w 830147"/>
                <a:gd name="csY651" fmla="*/ 763046 h 1880156"/>
                <a:gd name="csX652" fmla="*/ 135863 w 830147"/>
                <a:gd name="csY652" fmla="*/ 763046 h 1880156"/>
                <a:gd name="csX653" fmla="*/ 135863 w 830147"/>
                <a:gd name="csY653" fmla="*/ 751212 h 1880156"/>
                <a:gd name="csX654" fmla="*/ 114192 w 830147"/>
                <a:gd name="csY654" fmla="*/ 751212 h 1880156"/>
                <a:gd name="csX655" fmla="*/ 135863 w 830147"/>
                <a:gd name="csY655" fmla="*/ 748809 h 1880156"/>
                <a:gd name="csX656" fmla="*/ 135863 w 830147"/>
                <a:gd name="csY656" fmla="*/ 736980 h 1880156"/>
                <a:gd name="csX657" fmla="*/ 114192 w 830147"/>
                <a:gd name="csY657" fmla="*/ 736980 h 1880156"/>
                <a:gd name="csX658" fmla="*/ 114192 w 830147"/>
                <a:gd name="csY658" fmla="*/ 748809 h 1880156"/>
                <a:gd name="csX659" fmla="*/ 114192 w 830147"/>
                <a:gd name="csY659" fmla="*/ 703530 h 1880156"/>
                <a:gd name="csX660" fmla="*/ 135863 w 830147"/>
                <a:gd name="csY660" fmla="*/ 703530 h 1880156"/>
                <a:gd name="csX661" fmla="*/ 135863 w 830147"/>
                <a:gd name="csY661" fmla="*/ 691701 h 1880156"/>
                <a:gd name="csX662" fmla="*/ 114192 w 830147"/>
                <a:gd name="csY662" fmla="*/ 691701 h 1880156"/>
                <a:gd name="csX663" fmla="*/ 135863 w 830147"/>
                <a:gd name="csY663" fmla="*/ 689298 h 1880156"/>
                <a:gd name="csX664" fmla="*/ 135863 w 830147"/>
                <a:gd name="csY664" fmla="*/ 677469 h 1880156"/>
                <a:gd name="csX665" fmla="*/ 114192 w 830147"/>
                <a:gd name="csY665" fmla="*/ 677469 h 1880156"/>
                <a:gd name="csX666" fmla="*/ 114192 w 830147"/>
                <a:gd name="csY666" fmla="*/ 689298 h 1880156"/>
                <a:gd name="csX667" fmla="*/ 114192 w 830147"/>
                <a:gd name="csY667" fmla="*/ 644013 h 1880156"/>
                <a:gd name="csX668" fmla="*/ 135863 w 830147"/>
                <a:gd name="csY668" fmla="*/ 644013 h 1880156"/>
                <a:gd name="csX669" fmla="*/ 135863 w 830147"/>
                <a:gd name="csY669" fmla="*/ 632185 h 1880156"/>
                <a:gd name="csX670" fmla="*/ 114192 w 830147"/>
                <a:gd name="csY670" fmla="*/ 632185 h 1880156"/>
                <a:gd name="csX671" fmla="*/ 135863 w 830147"/>
                <a:gd name="csY671" fmla="*/ 629776 h 1880156"/>
                <a:gd name="csX672" fmla="*/ 135863 w 830147"/>
                <a:gd name="csY672" fmla="*/ 617948 h 1880156"/>
                <a:gd name="csX673" fmla="*/ 114192 w 830147"/>
                <a:gd name="csY673" fmla="*/ 617948 h 1880156"/>
                <a:gd name="csX674" fmla="*/ 114192 w 830147"/>
                <a:gd name="csY674" fmla="*/ 629776 h 1880156"/>
                <a:gd name="csX675" fmla="*/ 114192 w 830147"/>
                <a:gd name="csY675" fmla="*/ 584491 h 1880156"/>
                <a:gd name="csX676" fmla="*/ 135863 w 830147"/>
                <a:gd name="csY676" fmla="*/ 584491 h 1880156"/>
                <a:gd name="csX677" fmla="*/ 135863 w 830147"/>
                <a:gd name="csY677" fmla="*/ 572668 h 1880156"/>
                <a:gd name="csX678" fmla="*/ 114192 w 830147"/>
                <a:gd name="csY678" fmla="*/ 572668 h 1880156"/>
                <a:gd name="csX679" fmla="*/ 135863 w 830147"/>
                <a:gd name="csY679" fmla="*/ 1167833 h 1880156"/>
                <a:gd name="csX680" fmla="*/ 114192 w 830147"/>
                <a:gd name="csY680" fmla="*/ 1167833 h 1880156"/>
                <a:gd name="csX681" fmla="*/ 114192 w 830147"/>
                <a:gd name="csY681" fmla="*/ 1174938 h 1880156"/>
                <a:gd name="csX682" fmla="*/ 135863 w 830147"/>
                <a:gd name="csY682" fmla="*/ 1174938 h 1880156"/>
                <a:gd name="csX683" fmla="*/ 50385 w 830147"/>
                <a:gd name="csY683" fmla="*/ 120775 h 1880156"/>
                <a:gd name="csX684" fmla="*/ 50385 w 830147"/>
                <a:gd name="csY684" fmla="*/ 173873 h 1880156"/>
                <a:gd name="csX685" fmla="*/ 153968 w 830147"/>
                <a:gd name="csY685" fmla="*/ 173873 h 1880156"/>
                <a:gd name="csX686" fmla="*/ 153968 w 830147"/>
                <a:gd name="csY686" fmla="*/ 120775 h 1880156"/>
                <a:gd name="csX687" fmla="*/ 153968 w 830147"/>
                <a:gd name="csY687" fmla="*/ 113144 h 1880156"/>
                <a:gd name="csX688" fmla="*/ 153968 w 830147"/>
                <a:gd name="csY688" fmla="*/ 77460 h 1880156"/>
                <a:gd name="csX689" fmla="*/ 119459 w 830147"/>
                <a:gd name="csY689" fmla="*/ 77460 h 1880156"/>
                <a:gd name="csX690" fmla="*/ 119459 w 830147"/>
                <a:gd name="csY690" fmla="*/ 113144 h 1880156"/>
                <a:gd name="csX691" fmla="*/ 113753 w 830147"/>
                <a:gd name="csY691" fmla="*/ 113144 h 1880156"/>
                <a:gd name="csX692" fmla="*/ 113753 w 830147"/>
                <a:gd name="csY692" fmla="*/ 77460 h 1880156"/>
                <a:gd name="csX693" fmla="*/ 90546 w 830147"/>
                <a:gd name="csY693" fmla="*/ 77460 h 1880156"/>
                <a:gd name="csX694" fmla="*/ 90546 w 830147"/>
                <a:gd name="csY694" fmla="*/ 113144 h 1880156"/>
                <a:gd name="csX695" fmla="*/ 84895 w 830147"/>
                <a:gd name="csY695" fmla="*/ 113144 h 1880156"/>
                <a:gd name="csX696" fmla="*/ 84895 w 830147"/>
                <a:gd name="csY696" fmla="*/ 77460 h 1880156"/>
                <a:gd name="csX697" fmla="*/ 50385 w 830147"/>
                <a:gd name="csY697" fmla="*/ 77460 h 1880156"/>
                <a:gd name="csX698" fmla="*/ 50385 w 830147"/>
                <a:gd name="csY698" fmla="*/ 113144 h 1880156"/>
                <a:gd name="csX699" fmla="*/ 279991 w 830147"/>
                <a:gd name="csY699" fmla="*/ 67162 h 1880156"/>
                <a:gd name="csX700" fmla="*/ 270993 w 830147"/>
                <a:gd name="csY700" fmla="*/ 67162 h 1880156"/>
                <a:gd name="csX701" fmla="*/ 270993 w 830147"/>
                <a:gd name="csY701" fmla="*/ 119727 h 1880156"/>
                <a:gd name="csX702" fmla="*/ 279991 w 830147"/>
                <a:gd name="csY702" fmla="*/ 119727 h 1880156"/>
                <a:gd name="csX703" fmla="*/ 227651 w 830147"/>
                <a:gd name="csY703" fmla="*/ 67162 h 1880156"/>
                <a:gd name="csX704" fmla="*/ 218598 w 830147"/>
                <a:gd name="csY704" fmla="*/ 67162 h 1880156"/>
                <a:gd name="csX705" fmla="*/ 218598 w 830147"/>
                <a:gd name="csY705" fmla="*/ 119727 h 1880156"/>
                <a:gd name="csX706" fmla="*/ 227651 w 830147"/>
                <a:gd name="csY706" fmla="*/ 119727 h 1880156"/>
                <a:gd name="csX707" fmla="*/ 175256 w 830147"/>
                <a:gd name="csY707" fmla="*/ 67162 h 1880156"/>
                <a:gd name="csX708" fmla="*/ 167191 w 830147"/>
                <a:gd name="csY708" fmla="*/ 67162 h 1880156"/>
                <a:gd name="csX709" fmla="*/ 167191 w 830147"/>
                <a:gd name="csY709" fmla="*/ 119727 h 1880156"/>
                <a:gd name="csX710" fmla="*/ 175256 w 830147"/>
                <a:gd name="csY710" fmla="*/ 119727 h 1880156"/>
                <a:gd name="csX711" fmla="*/ 45393 w 830147"/>
                <a:gd name="csY711" fmla="*/ 216293 h 1880156"/>
                <a:gd name="csX712" fmla="*/ 64375 w 830147"/>
                <a:gd name="csY712" fmla="*/ 216293 h 1880156"/>
                <a:gd name="csX713" fmla="*/ 64375 w 830147"/>
                <a:gd name="csY713" fmla="*/ 204218 h 1880156"/>
                <a:gd name="csX714" fmla="*/ 45393 w 830147"/>
                <a:gd name="csY714" fmla="*/ 204218 h 1880156"/>
                <a:gd name="csX715" fmla="*/ 45393 w 830147"/>
                <a:gd name="csY715" fmla="*/ 284287 h 1880156"/>
                <a:gd name="csX716" fmla="*/ 64375 w 830147"/>
                <a:gd name="csY716" fmla="*/ 284287 h 1880156"/>
                <a:gd name="csX717" fmla="*/ 64375 w 830147"/>
                <a:gd name="csY717" fmla="*/ 271613 h 1880156"/>
                <a:gd name="csX718" fmla="*/ 45393 w 830147"/>
                <a:gd name="csY718" fmla="*/ 271613 h 1880156"/>
                <a:gd name="csX719" fmla="*/ 45393 w 830147"/>
                <a:gd name="csY719" fmla="*/ 299358 h 1880156"/>
                <a:gd name="csX720" fmla="*/ 64375 w 830147"/>
                <a:gd name="csY720" fmla="*/ 299358 h 1880156"/>
                <a:gd name="csX721" fmla="*/ 64375 w 830147"/>
                <a:gd name="csY721" fmla="*/ 286690 h 1880156"/>
                <a:gd name="csX722" fmla="*/ 45393 w 830147"/>
                <a:gd name="csY722" fmla="*/ 286690 h 1880156"/>
                <a:gd name="csX723" fmla="*/ 45393 w 830147"/>
                <a:gd name="csY723" fmla="*/ 314434 h 1880156"/>
                <a:gd name="csX724" fmla="*/ 64375 w 830147"/>
                <a:gd name="csY724" fmla="*/ 314434 h 1880156"/>
                <a:gd name="csX725" fmla="*/ 64375 w 830147"/>
                <a:gd name="csY725" fmla="*/ 301766 h 1880156"/>
                <a:gd name="csX726" fmla="*/ 45393 w 830147"/>
                <a:gd name="csY726" fmla="*/ 301766 h 1880156"/>
                <a:gd name="csX727" fmla="*/ 45393 w 830147"/>
                <a:gd name="csY727" fmla="*/ 329511 h 1880156"/>
                <a:gd name="csX728" fmla="*/ 64375 w 830147"/>
                <a:gd name="csY728" fmla="*/ 329511 h 1880156"/>
                <a:gd name="csX729" fmla="*/ 64375 w 830147"/>
                <a:gd name="csY729" fmla="*/ 316843 h 1880156"/>
                <a:gd name="csX730" fmla="*/ 45393 w 830147"/>
                <a:gd name="csY730" fmla="*/ 316843 h 1880156"/>
                <a:gd name="csX731" fmla="*/ 64375 w 830147"/>
                <a:gd name="csY731" fmla="*/ 508603 h 1880156"/>
                <a:gd name="csX732" fmla="*/ 64375 w 830147"/>
                <a:gd name="csY732" fmla="*/ 496522 h 1880156"/>
                <a:gd name="csX733" fmla="*/ 45393 w 830147"/>
                <a:gd name="csY733" fmla="*/ 496522 h 1880156"/>
                <a:gd name="csX734" fmla="*/ 45393 w 830147"/>
                <a:gd name="csY734" fmla="*/ 508603 h 1880156"/>
                <a:gd name="csX735" fmla="*/ 45393 w 830147"/>
                <a:gd name="csY735" fmla="*/ 464290 h 1880156"/>
                <a:gd name="csX736" fmla="*/ 64375 w 830147"/>
                <a:gd name="csY736" fmla="*/ 464290 h 1880156"/>
                <a:gd name="csX737" fmla="*/ 64375 w 830147"/>
                <a:gd name="csY737" fmla="*/ 452214 h 1880156"/>
                <a:gd name="csX738" fmla="*/ 45393 w 830147"/>
                <a:gd name="csY738" fmla="*/ 452214 h 1880156"/>
                <a:gd name="csX739" fmla="*/ 64375 w 830147"/>
                <a:gd name="csY739" fmla="*/ 449811 h 1880156"/>
                <a:gd name="csX740" fmla="*/ 64375 w 830147"/>
                <a:gd name="csY740" fmla="*/ 437730 h 1880156"/>
                <a:gd name="csX741" fmla="*/ 45393 w 830147"/>
                <a:gd name="csY741" fmla="*/ 437730 h 1880156"/>
                <a:gd name="csX742" fmla="*/ 45393 w 830147"/>
                <a:gd name="csY742" fmla="*/ 449811 h 1880156"/>
                <a:gd name="csX743" fmla="*/ 45393 w 830147"/>
                <a:gd name="csY743" fmla="*/ 405498 h 1880156"/>
                <a:gd name="csX744" fmla="*/ 64375 w 830147"/>
                <a:gd name="csY744" fmla="*/ 405498 h 1880156"/>
                <a:gd name="csX745" fmla="*/ 64375 w 830147"/>
                <a:gd name="csY745" fmla="*/ 393422 h 1880156"/>
                <a:gd name="csX746" fmla="*/ 45393 w 830147"/>
                <a:gd name="csY746" fmla="*/ 393422 h 1880156"/>
                <a:gd name="csX747" fmla="*/ 64375 w 830147"/>
                <a:gd name="csY747" fmla="*/ 391019 h 1880156"/>
                <a:gd name="csX748" fmla="*/ 64375 w 830147"/>
                <a:gd name="csY748" fmla="*/ 378938 h 1880156"/>
                <a:gd name="csX749" fmla="*/ 45393 w 830147"/>
                <a:gd name="csY749" fmla="*/ 378938 h 1880156"/>
                <a:gd name="csX750" fmla="*/ 45393 w 830147"/>
                <a:gd name="csY750" fmla="*/ 391019 h 1880156"/>
                <a:gd name="csX751" fmla="*/ 45393 w 830147"/>
                <a:gd name="csY751" fmla="*/ 346705 h 1880156"/>
                <a:gd name="csX752" fmla="*/ 64375 w 830147"/>
                <a:gd name="csY752" fmla="*/ 346705 h 1880156"/>
                <a:gd name="csX753" fmla="*/ 64375 w 830147"/>
                <a:gd name="csY753" fmla="*/ 331919 h 1880156"/>
                <a:gd name="csX754" fmla="*/ 45393 w 830147"/>
                <a:gd name="csY754" fmla="*/ 331919 h 1880156"/>
                <a:gd name="csX755" fmla="*/ 64375 w 830147"/>
                <a:gd name="csY755" fmla="*/ 269210 h 1880156"/>
                <a:gd name="csX756" fmla="*/ 64375 w 830147"/>
                <a:gd name="csY756" fmla="*/ 254435 h 1880156"/>
                <a:gd name="csX757" fmla="*/ 45393 w 830147"/>
                <a:gd name="csY757" fmla="*/ 254435 h 1880156"/>
                <a:gd name="csX758" fmla="*/ 45393 w 830147"/>
                <a:gd name="csY758" fmla="*/ 269210 h 1880156"/>
                <a:gd name="csX759" fmla="*/ 45393 w 830147"/>
                <a:gd name="csY759" fmla="*/ 230778 h 1880156"/>
                <a:gd name="csX760" fmla="*/ 64375 w 830147"/>
                <a:gd name="csY760" fmla="*/ 230778 h 1880156"/>
                <a:gd name="csX761" fmla="*/ 64375 w 830147"/>
                <a:gd name="csY761" fmla="*/ 218697 h 1880156"/>
                <a:gd name="csX762" fmla="*/ 45393 w 830147"/>
                <a:gd name="csY762" fmla="*/ 218697 h 1880156"/>
                <a:gd name="csX763" fmla="*/ 64375 w 830147"/>
                <a:gd name="csY763" fmla="*/ 511012 h 1880156"/>
                <a:gd name="csX764" fmla="*/ 45393 w 830147"/>
                <a:gd name="csY764" fmla="*/ 511012 h 1880156"/>
                <a:gd name="csX765" fmla="*/ 45393 w 830147"/>
                <a:gd name="csY765" fmla="*/ 523082 h 1880156"/>
                <a:gd name="csX766" fmla="*/ 64375 w 830147"/>
                <a:gd name="csY766" fmla="*/ 523082 h 1880156"/>
                <a:gd name="csX767" fmla="*/ 102231 w 830147"/>
                <a:gd name="csY767" fmla="*/ 216293 h 1880156"/>
                <a:gd name="csX768" fmla="*/ 121215 w 830147"/>
                <a:gd name="csY768" fmla="*/ 216293 h 1880156"/>
                <a:gd name="csX769" fmla="*/ 121215 w 830147"/>
                <a:gd name="csY769" fmla="*/ 204218 h 1880156"/>
                <a:gd name="csX770" fmla="*/ 102231 w 830147"/>
                <a:gd name="csY770" fmla="*/ 204218 h 1880156"/>
                <a:gd name="csX771" fmla="*/ 102231 w 830147"/>
                <a:gd name="csY771" fmla="*/ 284287 h 1880156"/>
                <a:gd name="csX772" fmla="*/ 121215 w 830147"/>
                <a:gd name="csY772" fmla="*/ 284287 h 1880156"/>
                <a:gd name="csX773" fmla="*/ 121215 w 830147"/>
                <a:gd name="csY773" fmla="*/ 271613 h 1880156"/>
                <a:gd name="csX774" fmla="*/ 102231 w 830147"/>
                <a:gd name="csY774" fmla="*/ 271613 h 1880156"/>
                <a:gd name="csX775" fmla="*/ 102231 w 830147"/>
                <a:gd name="csY775" fmla="*/ 299358 h 1880156"/>
                <a:gd name="csX776" fmla="*/ 121215 w 830147"/>
                <a:gd name="csY776" fmla="*/ 299358 h 1880156"/>
                <a:gd name="csX777" fmla="*/ 121215 w 830147"/>
                <a:gd name="csY777" fmla="*/ 286690 h 1880156"/>
                <a:gd name="csX778" fmla="*/ 102231 w 830147"/>
                <a:gd name="csY778" fmla="*/ 286690 h 1880156"/>
                <a:gd name="csX779" fmla="*/ 102231 w 830147"/>
                <a:gd name="csY779" fmla="*/ 314434 h 1880156"/>
                <a:gd name="csX780" fmla="*/ 121215 w 830147"/>
                <a:gd name="csY780" fmla="*/ 314434 h 1880156"/>
                <a:gd name="csX781" fmla="*/ 121215 w 830147"/>
                <a:gd name="csY781" fmla="*/ 301766 h 1880156"/>
                <a:gd name="csX782" fmla="*/ 102231 w 830147"/>
                <a:gd name="csY782" fmla="*/ 301766 h 1880156"/>
                <a:gd name="csX783" fmla="*/ 102231 w 830147"/>
                <a:gd name="csY783" fmla="*/ 329511 h 1880156"/>
                <a:gd name="csX784" fmla="*/ 121215 w 830147"/>
                <a:gd name="csY784" fmla="*/ 329511 h 1880156"/>
                <a:gd name="csX785" fmla="*/ 121215 w 830147"/>
                <a:gd name="csY785" fmla="*/ 316843 h 1880156"/>
                <a:gd name="csX786" fmla="*/ 102231 w 830147"/>
                <a:gd name="csY786" fmla="*/ 316843 h 1880156"/>
                <a:gd name="csX787" fmla="*/ 121215 w 830147"/>
                <a:gd name="csY787" fmla="*/ 508603 h 1880156"/>
                <a:gd name="csX788" fmla="*/ 121215 w 830147"/>
                <a:gd name="csY788" fmla="*/ 496522 h 1880156"/>
                <a:gd name="csX789" fmla="*/ 102231 w 830147"/>
                <a:gd name="csY789" fmla="*/ 496522 h 1880156"/>
                <a:gd name="csX790" fmla="*/ 102231 w 830147"/>
                <a:gd name="csY790" fmla="*/ 508603 h 1880156"/>
                <a:gd name="csX791" fmla="*/ 102231 w 830147"/>
                <a:gd name="csY791" fmla="*/ 464290 h 1880156"/>
                <a:gd name="csX792" fmla="*/ 121215 w 830147"/>
                <a:gd name="csY792" fmla="*/ 464290 h 1880156"/>
                <a:gd name="csX793" fmla="*/ 121215 w 830147"/>
                <a:gd name="csY793" fmla="*/ 452214 h 1880156"/>
                <a:gd name="csX794" fmla="*/ 102231 w 830147"/>
                <a:gd name="csY794" fmla="*/ 452214 h 1880156"/>
                <a:gd name="csX795" fmla="*/ 121215 w 830147"/>
                <a:gd name="csY795" fmla="*/ 449811 h 1880156"/>
                <a:gd name="csX796" fmla="*/ 121215 w 830147"/>
                <a:gd name="csY796" fmla="*/ 437730 h 1880156"/>
                <a:gd name="csX797" fmla="*/ 102231 w 830147"/>
                <a:gd name="csY797" fmla="*/ 437730 h 1880156"/>
                <a:gd name="csX798" fmla="*/ 102231 w 830147"/>
                <a:gd name="csY798" fmla="*/ 449811 h 1880156"/>
                <a:gd name="csX799" fmla="*/ 102231 w 830147"/>
                <a:gd name="csY799" fmla="*/ 405498 h 1880156"/>
                <a:gd name="csX800" fmla="*/ 121215 w 830147"/>
                <a:gd name="csY800" fmla="*/ 405498 h 1880156"/>
                <a:gd name="csX801" fmla="*/ 121215 w 830147"/>
                <a:gd name="csY801" fmla="*/ 393422 h 1880156"/>
                <a:gd name="csX802" fmla="*/ 102231 w 830147"/>
                <a:gd name="csY802" fmla="*/ 393422 h 1880156"/>
                <a:gd name="csX803" fmla="*/ 121215 w 830147"/>
                <a:gd name="csY803" fmla="*/ 391019 h 1880156"/>
                <a:gd name="csX804" fmla="*/ 121215 w 830147"/>
                <a:gd name="csY804" fmla="*/ 378938 h 1880156"/>
                <a:gd name="csX805" fmla="*/ 102231 w 830147"/>
                <a:gd name="csY805" fmla="*/ 378938 h 1880156"/>
                <a:gd name="csX806" fmla="*/ 102231 w 830147"/>
                <a:gd name="csY806" fmla="*/ 391019 h 1880156"/>
                <a:gd name="csX807" fmla="*/ 102231 w 830147"/>
                <a:gd name="csY807" fmla="*/ 346705 h 1880156"/>
                <a:gd name="csX808" fmla="*/ 121215 w 830147"/>
                <a:gd name="csY808" fmla="*/ 346705 h 1880156"/>
                <a:gd name="csX809" fmla="*/ 121215 w 830147"/>
                <a:gd name="csY809" fmla="*/ 331919 h 1880156"/>
                <a:gd name="csX810" fmla="*/ 102231 w 830147"/>
                <a:gd name="csY810" fmla="*/ 331919 h 1880156"/>
                <a:gd name="csX811" fmla="*/ 121215 w 830147"/>
                <a:gd name="csY811" fmla="*/ 269210 h 1880156"/>
                <a:gd name="csX812" fmla="*/ 121215 w 830147"/>
                <a:gd name="csY812" fmla="*/ 254435 h 1880156"/>
                <a:gd name="csX813" fmla="*/ 102231 w 830147"/>
                <a:gd name="csY813" fmla="*/ 254435 h 1880156"/>
                <a:gd name="csX814" fmla="*/ 102231 w 830147"/>
                <a:gd name="csY814" fmla="*/ 269210 h 1880156"/>
                <a:gd name="csX815" fmla="*/ 102231 w 830147"/>
                <a:gd name="csY815" fmla="*/ 230778 h 1880156"/>
                <a:gd name="csX816" fmla="*/ 121215 w 830147"/>
                <a:gd name="csY816" fmla="*/ 230778 h 1880156"/>
                <a:gd name="csX817" fmla="*/ 121215 w 830147"/>
                <a:gd name="csY817" fmla="*/ 218697 h 1880156"/>
                <a:gd name="csX818" fmla="*/ 102231 w 830147"/>
                <a:gd name="csY818" fmla="*/ 218697 h 1880156"/>
                <a:gd name="csX819" fmla="*/ 121215 w 830147"/>
                <a:gd name="csY819" fmla="*/ 511012 h 1880156"/>
                <a:gd name="csX820" fmla="*/ 102231 w 830147"/>
                <a:gd name="csY820" fmla="*/ 511012 h 1880156"/>
                <a:gd name="csX821" fmla="*/ 102231 w 830147"/>
                <a:gd name="csY821" fmla="*/ 523082 h 1880156"/>
                <a:gd name="csX822" fmla="*/ 121215 w 830147"/>
                <a:gd name="csY822" fmla="*/ 523082 h 1880156"/>
                <a:gd name="csX823" fmla="*/ 323333 w 830147"/>
                <a:gd name="csY823" fmla="*/ 67162 h 1880156"/>
                <a:gd name="csX824" fmla="*/ 323333 w 830147"/>
                <a:gd name="csY824" fmla="*/ 119727 h 1880156"/>
                <a:gd name="csX825" fmla="*/ 331399 w 830147"/>
                <a:gd name="csY825" fmla="*/ 119727 h 1880156"/>
                <a:gd name="csX826" fmla="*/ 331399 w 830147"/>
                <a:gd name="csY826" fmla="*/ 67162 h 1880156"/>
                <a:gd name="csX827" fmla="*/ 331399 w 830147"/>
                <a:gd name="csY827" fmla="*/ 184171 h 1880156"/>
                <a:gd name="csX828" fmla="*/ 167191 w 830147"/>
                <a:gd name="csY828" fmla="*/ 184171 h 1880156"/>
                <a:gd name="csX829" fmla="*/ 167191 w 830147"/>
                <a:gd name="csY829" fmla="*/ 530593 h 1880156"/>
                <a:gd name="csX830" fmla="*/ 331399 w 830147"/>
                <a:gd name="csY830" fmla="*/ 530593 h 1880156"/>
                <a:gd name="csX831" fmla="*/ 331399 w 830147"/>
                <a:gd name="csY831" fmla="*/ 251439 h 1880156"/>
                <a:gd name="csX832" fmla="*/ 331399 w 830147"/>
                <a:gd name="csY832" fmla="*/ 186996 h 1880156"/>
                <a:gd name="csX833" fmla="*/ 446339 w 830147"/>
                <a:gd name="csY833" fmla="*/ 1380892 h 1880156"/>
                <a:gd name="csX834" fmla="*/ 446339 w 830147"/>
                <a:gd name="csY834" fmla="*/ 1205865 h 1880156"/>
                <a:gd name="csX835" fmla="*/ 442443 w 830147"/>
                <a:gd name="csY835" fmla="*/ 1205865 h 1880156"/>
                <a:gd name="csX836" fmla="*/ 442443 w 830147"/>
                <a:gd name="csY836" fmla="*/ 1844054 h 1880156"/>
                <a:gd name="csX837" fmla="*/ 470040 w 830147"/>
                <a:gd name="csY837" fmla="*/ 1844054 h 1880156"/>
                <a:gd name="csX838" fmla="*/ 470040 w 830147"/>
                <a:gd name="csY838" fmla="*/ 1380892 h 1880156"/>
                <a:gd name="csX839" fmla="*/ 492589 w 830147"/>
                <a:gd name="csY839" fmla="*/ 1380892 h 1880156"/>
                <a:gd name="csX840" fmla="*/ 492589 w 830147"/>
                <a:gd name="csY840" fmla="*/ 1844054 h 1880156"/>
                <a:gd name="csX841" fmla="*/ 520185 w 830147"/>
                <a:gd name="csY841" fmla="*/ 1844054 h 1880156"/>
                <a:gd name="csX842" fmla="*/ 520185 w 830147"/>
                <a:gd name="csY842" fmla="*/ 1380892 h 1880156"/>
                <a:gd name="csX843" fmla="*/ 542789 w 830147"/>
                <a:gd name="csY843" fmla="*/ 1380892 h 1880156"/>
                <a:gd name="csX844" fmla="*/ 542789 w 830147"/>
                <a:gd name="csY844" fmla="*/ 1844054 h 1880156"/>
                <a:gd name="csX845" fmla="*/ 542954 w 830147"/>
                <a:gd name="csY845" fmla="*/ 1844054 h 1880156"/>
                <a:gd name="csX846" fmla="*/ 542954 w 830147"/>
                <a:gd name="csY846" fmla="*/ 1777953 h 1880156"/>
                <a:gd name="csX847" fmla="*/ 637430 w 830147"/>
                <a:gd name="csY847" fmla="*/ 1777953 h 1880156"/>
                <a:gd name="csX848" fmla="*/ 637430 w 830147"/>
                <a:gd name="csY848" fmla="*/ 1380892 h 1880156"/>
                <a:gd name="csX849" fmla="*/ 766909 w 830147"/>
                <a:gd name="csY849" fmla="*/ 511012 h 1880156"/>
                <a:gd name="csX850" fmla="*/ 747926 w 830147"/>
                <a:gd name="csY850" fmla="*/ 511012 h 1880156"/>
                <a:gd name="csX851" fmla="*/ 747926 w 830147"/>
                <a:gd name="csY851" fmla="*/ 523082 h 1880156"/>
                <a:gd name="csX852" fmla="*/ 766909 w 830147"/>
                <a:gd name="csY852" fmla="*/ 523082 h 1880156"/>
                <a:gd name="csX853" fmla="*/ 766909 w 830147"/>
                <a:gd name="csY853" fmla="*/ 316843 h 1880156"/>
                <a:gd name="csX854" fmla="*/ 747926 w 830147"/>
                <a:gd name="csY854" fmla="*/ 316843 h 1880156"/>
                <a:gd name="csX855" fmla="*/ 747926 w 830147"/>
                <a:gd name="csY855" fmla="*/ 329511 h 1880156"/>
                <a:gd name="csX856" fmla="*/ 766909 w 830147"/>
                <a:gd name="csY856" fmla="*/ 329511 h 1880156"/>
                <a:gd name="csX857" fmla="*/ 766909 w 830147"/>
                <a:gd name="csY857" fmla="*/ 301766 h 1880156"/>
                <a:gd name="csX858" fmla="*/ 747926 w 830147"/>
                <a:gd name="csY858" fmla="*/ 301766 h 1880156"/>
                <a:gd name="csX859" fmla="*/ 747926 w 830147"/>
                <a:gd name="csY859" fmla="*/ 314434 h 1880156"/>
                <a:gd name="csX860" fmla="*/ 766909 w 830147"/>
                <a:gd name="csY860" fmla="*/ 314434 h 1880156"/>
                <a:gd name="csX861" fmla="*/ 766909 w 830147"/>
                <a:gd name="csY861" fmla="*/ 286690 h 1880156"/>
                <a:gd name="csX862" fmla="*/ 747926 w 830147"/>
                <a:gd name="csY862" fmla="*/ 286690 h 1880156"/>
                <a:gd name="csX863" fmla="*/ 747926 w 830147"/>
                <a:gd name="csY863" fmla="*/ 299358 h 1880156"/>
                <a:gd name="csX864" fmla="*/ 766909 w 830147"/>
                <a:gd name="csY864" fmla="*/ 299358 h 1880156"/>
                <a:gd name="csX865" fmla="*/ 766909 w 830147"/>
                <a:gd name="csY865" fmla="*/ 271613 h 1880156"/>
                <a:gd name="csX866" fmla="*/ 747926 w 830147"/>
                <a:gd name="csY866" fmla="*/ 271613 h 1880156"/>
                <a:gd name="csX867" fmla="*/ 747926 w 830147"/>
                <a:gd name="csY867" fmla="*/ 284287 h 1880156"/>
                <a:gd name="csX868" fmla="*/ 766909 w 830147"/>
                <a:gd name="csY868" fmla="*/ 284287 h 1880156"/>
                <a:gd name="csX869" fmla="*/ 747926 w 830147"/>
                <a:gd name="csY869" fmla="*/ 218697 h 1880156"/>
                <a:gd name="csX870" fmla="*/ 747926 w 830147"/>
                <a:gd name="csY870" fmla="*/ 230778 h 1880156"/>
                <a:gd name="csX871" fmla="*/ 766909 w 830147"/>
                <a:gd name="csY871" fmla="*/ 230778 h 1880156"/>
                <a:gd name="csX872" fmla="*/ 766909 w 830147"/>
                <a:gd name="csY872" fmla="*/ 218697 h 1880156"/>
                <a:gd name="csX873" fmla="*/ 766909 w 830147"/>
                <a:gd name="csY873" fmla="*/ 254435 h 1880156"/>
                <a:gd name="csX874" fmla="*/ 747926 w 830147"/>
                <a:gd name="csY874" fmla="*/ 254435 h 1880156"/>
                <a:gd name="csX875" fmla="*/ 747926 w 830147"/>
                <a:gd name="csY875" fmla="*/ 269210 h 1880156"/>
                <a:gd name="csX876" fmla="*/ 766909 w 830147"/>
                <a:gd name="csY876" fmla="*/ 269210 h 1880156"/>
                <a:gd name="csX877" fmla="*/ 747926 w 830147"/>
                <a:gd name="csY877" fmla="*/ 331919 h 1880156"/>
                <a:gd name="csX878" fmla="*/ 747926 w 830147"/>
                <a:gd name="csY878" fmla="*/ 346705 h 1880156"/>
                <a:gd name="csX879" fmla="*/ 766909 w 830147"/>
                <a:gd name="csY879" fmla="*/ 346705 h 1880156"/>
                <a:gd name="csX880" fmla="*/ 766909 w 830147"/>
                <a:gd name="csY880" fmla="*/ 331919 h 1880156"/>
                <a:gd name="csX881" fmla="*/ 766909 w 830147"/>
                <a:gd name="csY881" fmla="*/ 378938 h 1880156"/>
                <a:gd name="csX882" fmla="*/ 747926 w 830147"/>
                <a:gd name="csY882" fmla="*/ 378938 h 1880156"/>
                <a:gd name="csX883" fmla="*/ 747926 w 830147"/>
                <a:gd name="csY883" fmla="*/ 391019 h 1880156"/>
                <a:gd name="csX884" fmla="*/ 766909 w 830147"/>
                <a:gd name="csY884" fmla="*/ 391019 h 1880156"/>
                <a:gd name="csX885" fmla="*/ 747926 w 830147"/>
                <a:gd name="csY885" fmla="*/ 393422 h 1880156"/>
                <a:gd name="csX886" fmla="*/ 747926 w 830147"/>
                <a:gd name="csY886" fmla="*/ 405498 h 1880156"/>
                <a:gd name="csX887" fmla="*/ 766909 w 830147"/>
                <a:gd name="csY887" fmla="*/ 405498 h 1880156"/>
                <a:gd name="csX888" fmla="*/ 766909 w 830147"/>
                <a:gd name="csY888" fmla="*/ 393422 h 1880156"/>
                <a:gd name="csX889" fmla="*/ 766909 w 830147"/>
                <a:gd name="csY889" fmla="*/ 437730 h 1880156"/>
                <a:gd name="csX890" fmla="*/ 747926 w 830147"/>
                <a:gd name="csY890" fmla="*/ 437730 h 1880156"/>
                <a:gd name="csX891" fmla="*/ 747926 w 830147"/>
                <a:gd name="csY891" fmla="*/ 449811 h 1880156"/>
                <a:gd name="csX892" fmla="*/ 766909 w 830147"/>
                <a:gd name="csY892" fmla="*/ 449811 h 1880156"/>
                <a:gd name="csX893" fmla="*/ 747926 w 830147"/>
                <a:gd name="csY893" fmla="*/ 452214 h 1880156"/>
                <a:gd name="csX894" fmla="*/ 747926 w 830147"/>
                <a:gd name="csY894" fmla="*/ 464290 h 1880156"/>
                <a:gd name="csX895" fmla="*/ 766909 w 830147"/>
                <a:gd name="csY895" fmla="*/ 464290 h 1880156"/>
                <a:gd name="csX896" fmla="*/ 766909 w 830147"/>
                <a:gd name="csY896" fmla="*/ 452214 h 1880156"/>
                <a:gd name="csX897" fmla="*/ 766909 w 830147"/>
                <a:gd name="csY897" fmla="*/ 496522 h 1880156"/>
                <a:gd name="csX898" fmla="*/ 747926 w 830147"/>
                <a:gd name="csY898" fmla="*/ 496522 h 1880156"/>
                <a:gd name="csX899" fmla="*/ 747926 w 830147"/>
                <a:gd name="csY899" fmla="*/ 508603 h 1880156"/>
                <a:gd name="csX900" fmla="*/ 766909 w 830147"/>
                <a:gd name="csY900" fmla="*/ 508603 h 1880156"/>
                <a:gd name="csX901" fmla="*/ 747926 w 830147"/>
                <a:gd name="csY901" fmla="*/ 216293 h 1880156"/>
                <a:gd name="csX902" fmla="*/ 766909 w 830147"/>
                <a:gd name="csY902" fmla="*/ 216293 h 1880156"/>
                <a:gd name="csX903" fmla="*/ 766909 w 830147"/>
                <a:gd name="csY903" fmla="*/ 204218 h 1880156"/>
                <a:gd name="csX904" fmla="*/ 747926 w 830147"/>
                <a:gd name="csY904" fmla="*/ 204218 h 1880156"/>
                <a:gd name="csX905" fmla="*/ 710070 w 830147"/>
                <a:gd name="csY905" fmla="*/ 511012 h 1880156"/>
                <a:gd name="csX906" fmla="*/ 691087 w 830147"/>
                <a:gd name="csY906" fmla="*/ 511012 h 1880156"/>
                <a:gd name="csX907" fmla="*/ 691087 w 830147"/>
                <a:gd name="csY907" fmla="*/ 523082 h 1880156"/>
                <a:gd name="csX908" fmla="*/ 710070 w 830147"/>
                <a:gd name="csY908" fmla="*/ 523082 h 1880156"/>
                <a:gd name="csX909" fmla="*/ 710070 w 830147"/>
                <a:gd name="csY909" fmla="*/ 316843 h 1880156"/>
                <a:gd name="csX910" fmla="*/ 691087 w 830147"/>
                <a:gd name="csY910" fmla="*/ 316843 h 1880156"/>
                <a:gd name="csX911" fmla="*/ 691087 w 830147"/>
                <a:gd name="csY911" fmla="*/ 329511 h 1880156"/>
                <a:gd name="csX912" fmla="*/ 710070 w 830147"/>
                <a:gd name="csY912" fmla="*/ 329511 h 1880156"/>
                <a:gd name="csX913" fmla="*/ 710070 w 830147"/>
                <a:gd name="csY913" fmla="*/ 301766 h 1880156"/>
                <a:gd name="csX914" fmla="*/ 691087 w 830147"/>
                <a:gd name="csY914" fmla="*/ 301766 h 1880156"/>
                <a:gd name="csX915" fmla="*/ 691087 w 830147"/>
                <a:gd name="csY915" fmla="*/ 314434 h 1880156"/>
                <a:gd name="csX916" fmla="*/ 710070 w 830147"/>
                <a:gd name="csY916" fmla="*/ 314434 h 1880156"/>
                <a:gd name="csX917" fmla="*/ 710070 w 830147"/>
                <a:gd name="csY917" fmla="*/ 286690 h 1880156"/>
                <a:gd name="csX918" fmla="*/ 691087 w 830147"/>
                <a:gd name="csY918" fmla="*/ 286690 h 1880156"/>
                <a:gd name="csX919" fmla="*/ 691087 w 830147"/>
                <a:gd name="csY919" fmla="*/ 299358 h 1880156"/>
                <a:gd name="csX920" fmla="*/ 710070 w 830147"/>
                <a:gd name="csY920" fmla="*/ 299358 h 1880156"/>
                <a:gd name="csX921" fmla="*/ 710070 w 830147"/>
                <a:gd name="csY921" fmla="*/ 271613 h 1880156"/>
                <a:gd name="csX922" fmla="*/ 691087 w 830147"/>
                <a:gd name="csY922" fmla="*/ 271613 h 1880156"/>
                <a:gd name="csX923" fmla="*/ 691087 w 830147"/>
                <a:gd name="csY923" fmla="*/ 284287 h 1880156"/>
                <a:gd name="csX924" fmla="*/ 710070 w 830147"/>
                <a:gd name="csY924" fmla="*/ 284287 h 1880156"/>
                <a:gd name="csX925" fmla="*/ 691087 w 830147"/>
                <a:gd name="csY925" fmla="*/ 218697 h 1880156"/>
                <a:gd name="csX926" fmla="*/ 691087 w 830147"/>
                <a:gd name="csY926" fmla="*/ 230778 h 1880156"/>
                <a:gd name="csX927" fmla="*/ 710070 w 830147"/>
                <a:gd name="csY927" fmla="*/ 230778 h 1880156"/>
                <a:gd name="csX928" fmla="*/ 710070 w 830147"/>
                <a:gd name="csY928" fmla="*/ 218697 h 1880156"/>
                <a:gd name="csX929" fmla="*/ 710070 w 830147"/>
                <a:gd name="csY929" fmla="*/ 254435 h 1880156"/>
                <a:gd name="csX930" fmla="*/ 691087 w 830147"/>
                <a:gd name="csY930" fmla="*/ 254435 h 1880156"/>
                <a:gd name="csX931" fmla="*/ 691087 w 830147"/>
                <a:gd name="csY931" fmla="*/ 269210 h 1880156"/>
                <a:gd name="csX932" fmla="*/ 710070 w 830147"/>
                <a:gd name="csY932" fmla="*/ 269210 h 1880156"/>
                <a:gd name="csX933" fmla="*/ 691087 w 830147"/>
                <a:gd name="csY933" fmla="*/ 331919 h 1880156"/>
                <a:gd name="csX934" fmla="*/ 691087 w 830147"/>
                <a:gd name="csY934" fmla="*/ 346705 h 1880156"/>
                <a:gd name="csX935" fmla="*/ 710070 w 830147"/>
                <a:gd name="csY935" fmla="*/ 346705 h 1880156"/>
                <a:gd name="csX936" fmla="*/ 710070 w 830147"/>
                <a:gd name="csY936" fmla="*/ 331919 h 1880156"/>
                <a:gd name="csX937" fmla="*/ 710070 w 830147"/>
                <a:gd name="csY937" fmla="*/ 378938 h 1880156"/>
                <a:gd name="csX938" fmla="*/ 691087 w 830147"/>
                <a:gd name="csY938" fmla="*/ 378938 h 1880156"/>
                <a:gd name="csX939" fmla="*/ 691087 w 830147"/>
                <a:gd name="csY939" fmla="*/ 391019 h 1880156"/>
                <a:gd name="csX940" fmla="*/ 710070 w 830147"/>
                <a:gd name="csY940" fmla="*/ 391019 h 1880156"/>
                <a:gd name="csX941" fmla="*/ 691087 w 830147"/>
                <a:gd name="csY941" fmla="*/ 393422 h 1880156"/>
                <a:gd name="csX942" fmla="*/ 691087 w 830147"/>
                <a:gd name="csY942" fmla="*/ 405498 h 1880156"/>
                <a:gd name="csX943" fmla="*/ 710070 w 830147"/>
                <a:gd name="csY943" fmla="*/ 405498 h 1880156"/>
                <a:gd name="csX944" fmla="*/ 710070 w 830147"/>
                <a:gd name="csY944" fmla="*/ 393422 h 1880156"/>
                <a:gd name="csX945" fmla="*/ 710070 w 830147"/>
                <a:gd name="csY945" fmla="*/ 437730 h 1880156"/>
                <a:gd name="csX946" fmla="*/ 691087 w 830147"/>
                <a:gd name="csY946" fmla="*/ 437730 h 1880156"/>
                <a:gd name="csX947" fmla="*/ 691087 w 830147"/>
                <a:gd name="csY947" fmla="*/ 449811 h 1880156"/>
                <a:gd name="csX948" fmla="*/ 710070 w 830147"/>
                <a:gd name="csY948" fmla="*/ 449811 h 1880156"/>
                <a:gd name="csX949" fmla="*/ 691087 w 830147"/>
                <a:gd name="csY949" fmla="*/ 452214 h 1880156"/>
                <a:gd name="csX950" fmla="*/ 691087 w 830147"/>
                <a:gd name="csY950" fmla="*/ 464290 h 1880156"/>
                <a:gd name="csX951" fmla="*/ 710070 w 830147"/>
                <a:gd name="csY951" fmla="*/ 464290 h 1880156"/>
                <a:gd name="csX952" fmla="*/ 710070 w 830147"/>
                <a:gd name="csY952" fmla="*/ 452214 h 1880156"/>
                <a:gd name="csX953" fmla="*/ 710070 w 830147"/>
                <a:gd name="csY953" fmla="*/ 496522 h 1880156"/>
                <a:gd name="csX954" fmla="*/ 691087 w 830147"/>
                <a:gd name="csY954" fmla="*/ 496522 h 1880156"/>
                <a:gd name="csX955" fmla="*/ 691087 w 830147"/>
                <a:gd name="csY955" fmla="*/ 508603 h 1880156"/>
                <a:gd name="csX956" fmla="*/ 710070 w 830147"/>
                <a:gd name="csY956" fmla="*/ 508603 h 1880156"/>
                <a:gd name="csX957" fmla="*/ 691087 w 830147"/>
                <a:gd name="csY957" fmla="*/ 216293 h 1880156"/>
                <a:gd name="csX958" fmla="*/ 710070 w 830147"/>
                <a:gd name="csY958" fmla="*/ 216293 h 1880156"/>
                <a:gd name="csX959" fmla="*/ 710070 w 830147"/>
                <a:gd name="csY959" fmla="*/ 204218 h 1880156"/>
                <a:gd name="csX960" fmla="*/ 691087 w 830147"/>
                <a:gd name="csY960" fmla="*/ 204218 h 1880156"/>
                <a:gd name="csX961" fmla="*/ 658333 w 830147"/>
                <a:gd name="csY961" fmla="*/ 77460 h 1880156"/>
                <a:gd name="csX962" fmla="*/ 658333 w 830147"/>
                <a:gd name="csY962" fmla="*/ 113144 h 1880156"/>
                <a:gd name="csX963" fmla="*/ 692842 w 830147"/>
                <a:gd name="csY963" fmla="*/ 113144 h 1880156"/>
                <a:gd name="csX964" fmla="*/ 692842 w 830147"/>
                <a:gd name="csY964" fmla="*/ 77460 h 1880156"/>
                <a:gd name="csX965" fmla="*/ 698549 w 830147"/>
                <a:gd name="csY965" fmla="*/ 77460 h 1880156"/>
                <a:gd name="csX966" fmla="*/ 698549 w 830147"/>
                <a:gd name="csY966" fmla="*/ 113144 h 1880156"/>
                <a:gd name="csX967" fmla="*/ 721756 w 830147"/>
                <a:gd name="csY967" fmla="*/ 113144 h 1880156"/>
                <a:gd name="csX968" fmla="*/ 721756 w 830147"/>
                <a:gd name="csY968" fmla="*/ 77460 h 1880156"/>
                <a:gd name="csX969" fmla="*/ 727407 w 830147"/>
                <a:gd name="csY969" fmla="*/ 77460 h 1880156"/>
                <a:gd name="csX970" fmla="*/ 727407 w 830147"/>
                <a:gd name="csY970" fmla="*/ 113144 h 1880156"/>
                <a:gd name="csX971" fmla="*/ 761916 w 830147"/>
                <a:gd name="csY971" fmla="*/ 113144 h 1880156"/>
                <a:gd name="csX972" fmla="*/ 761916 w 830147"/>
                <a:gd name="csY972" fmla="*/ 77460 h 1880156"/>
                <a:gd name="csX973" fmla="*/ 761916 w 830147"/>
                <a:gd name="csY973" fmla="*/ 120775 h 1880156"/>
                <a:gd name="csX974" fmla="*/ 658333 w 830147"/>
                <a:gd name="csY974" fmla="*/ 120775 h 1880156"/>
                <a:gd name="csX975" fmla="*/ 658333 w 830147"/>
                <a:gd name="csY975" fmla="*/ 173873 h 1880156"/>
                <a:gd name="csX976" fmla="*/ 761916 w 830147"/>
                <a:gd name="csY976" fmla="*/ 173873 h 1880156"/>
                <a:gd name="csX977" fmla="*/ 645111 w 830147"/>
                <a:gd name="csY977" fmla="*/ 119727 h 1880156"/>
                <a:gd name="csX978" fmla="*/ 645111 w 830147"/>
                <a:gd name="csY978" fmla="*/ 67162 h 1880156"/>
                <a:gd name="csX979" fmla="*/ 637046 w 830147"/>
                <a:gd name="csY979" fmla="*/ 67162 h 1880156"/>
                <a:gd name="csX980" fmla="*/ 637046 w 830147"/>
                <a:gd name="csY980" fmla="*/ 119727 h 1880156"/>
                <a:gd name="csX981" fmla="*/ 593703 w 830147"/>
                <a:gd name="csY981" fmla="*/ 119727 h 1880156"/>
                <a:gd name="csX982" fmla="*/ 593703 w 830147"/>
                <a:gd name="csY982" fmla="*/ 67162 h 1880156"/>
                <a:gd name="csX983" fmla="*/ 584651 w 830147"/>
                <a:gd name="csY983" fmla="*/ 67162 h 1880156"/>
                <a:gd name="csX984" fmla="*/ 584651 w 830147"/>
                <a:gd name="csY984" fmla="*/ 119727 h 1880156"/>
                <a:gd name="csX985" fmla="*/ 532311 w 830147"/>
                <a:gd name="csY985" fmla="*/ 119727 h 1880156"/>
                <a:gd name="csX986" fmla="*/ 541308 w 830147"/>
                <a:gd name="csY986" fmla="*/ 119727 h 1880156"/>
                <a:gd name="csX987" fmla="*/ 541308 w 830147"/>
                <a:gd name="csY987" fmla="*/ 67162 h 1880156"/>
                <a:gd name="csX988" fmla="*/ 532311 w 830147"/>
                <a:gd name="csY988" fmla="*/ 67162 h 1880156"/>
                <a:gd name="csX989" fmla="*/ 676438 w 830147"/>
                <a:gd name="csY989" fmla="*/ 570260 h 1880156"/>
                <a:gd name="csX990" fmla="*/ 698055 w 830147"/>
                <a:gd name="csY990" fmla="*/ 570260 h 1880156"/>
                <a:gd name="csX991" fmla="*/ 698055 w 830147"/>
                <a:gd name="csY991" fmla="*/ 558431 h 1880156"/>
                <a:gd name="csX992" fmla="*/ 676438 w 830147"/>
                <a:gd name="csY992" fmla="*/ 558431 h 1880156"/>
                <a:gd name="csX993" fmla="*/ 698055 w 830147"/>
                <a:gd name="csY993" fmla="*/ 1165424 h 1880156"/>
                <a:gd name="csX994" fmla="*/ 698055 w 830147"/>
                <a:gd name="csY994" fmla="*/ 1153596 h 1880156"/>
                <a:gd name="csX995" fmla="*/ 676438 w 830147"/>
                <a:gd name="csY995" fmla="*/ 1153596 h 1880156"/>
                <a:gd name="csX996" fmla="*/ 676438 w 830147"/>
                <a:gd name="csY996" fmla="*/ 1165424 h 1880156"/>
                <a:gd name="csX997" fmla="*/ 676438 w 830147"/>
                <a:gd name="csY997" fmla="*/ 1120140 h 1880156"/>
                <a:gd name="csX998" fmla="*/ 698055 w 830147"/>
                <a:gd name="csY998" fmla="*/ 1120140 h 1880156"/>
                <a:gd name="csX999" fmla="*/ 698055 w 830147"/>
                <a:gd name="csY999" fmla="*/ 1108317 h 1880156"/>
                <a:gd name="csX1000" fmla="*/ 676438 w 830147"/>
                <a:gd name="csY1000" fmla="*/ 1108317 h 1880156"/>
                <a:gd name="csX1001" fmla="*/ 698055 w 830147"/>
                <a:gd name="csY1001" fmla="*/ 1034563 h 1880156"/>
                <a:gd name="csX1002" fmla="*/ 676438 w 830147"/>
                <a:gd name="csY1002" fmla="*/ 1034563 h 1880156"/>
                <a:gd name="csX1003" fmla="*/ 676438 w 830147"/>
                <a:gd name="csY1003" fmla="*/ 1060623 h 1880156"/>
                <a:gd name="csX1004" fmla="*/ 698055 w 830147"/>
                <a:gd name="csY1004" fmla="*/ 1060623 h 1880156"/>
                <a:gd name="csX1005" fmla="*/ 698055 w 830147"/>
                <a:gd name="csY1005" fmla="*/ 1105908 h 1880156"/>
                <a:gd name="csX1006" fmla="*/ 698055 w 830147"/>
                <a:gd name="csY1006" fmla="*/ 1094079 h 1880156"/>
                <a:gd name="csX1007" fmla="*/ 676438 w 830147"/>
                <a:gd name="csY1007" fmla="*/ 1094079 h 1880156"/>
                <a:gd name="csX1008" fmla="*/ 676438 w 830147"/>
                <a:gd name="csY1008" fmla="*/ 1105908 h 1880156"/>
                <a:gd name="csX1009" fmla="*/ 676438 w 830147"/>
                <a:gd name="csY1009" fmla="*/ 1001107 h 1880156"/>
                <a:gd name="csX1010" fmla="*/ 698055 w 830147"/>
                <a:gd name="csY1010" fmla="*/ 1001107 h 1880156"/>
                <a:gd name="csX1011" fmla="*/ 698055 w 830147"/>
                <a:gd name="csY1011" fmla="*/ 989278 h 1880156"/>
                <a:gd name="csX1012" fmla="*/ 676438 w 830147"/>
                <a:gd name="csY1012" fmla="*/ 989278 h 1880156"/>
                <a:gd name="csX1013" fmla="*/ 698055 w 830147"/>
                <a:gd name="csY1013" fmla="*/ 986875 h 1880156"/>
                <a:gd name="csX1014" fmla="*/ 698055 w 830147"/>
                <a:gd name="csY1014" fmla="*/ 975046 h 1880156"/>
                <a:gd name="csX1015" fmla="*/ 676438 w 830147"/>
                <a:gd name="csY1015" fmla="*/ 975046 h 1880156"/>
                <a:gd name="csX1016" fmla="*/ 676438 w 830147"/>
                <a:gd name="csY1016" fmla="*/ 986875 h 1880156"/>
                <a:gd name="csX1017" fmla="*/ 676438 w 830147"/>
                <a:gd name="csY1017" fmla="*/ 941590 h 1880156"/>
                <a:gd name="csX1018" fmla="*/ 698055 w 830147"/>
                <a:gd name="csY1018" fmla="*/ 941590 h 1880156"/>
                <a:gd name="csX1019" fmla="*/ 698055 w 830147"/>
                <a:gd name="csY1019" fmla="*/ 929762 h 1880156"/>
                <a:gd name="csX1020" fmla="*/ 676438 w 830147"/>
                <a:gd name="csY1020" fmla="*/ 929762 h 1880156"/>
                <a:gd name="csX1021" fmla="*/ 698055 w 830147"/>
                <a:gd name="csY1021" fmla="*/ 856013 h 1880156"/>
                <a:gd name="csX1022" fmla="*/ 676438 w 830147"/>
                <a:gd name="csY1022" fmla="*/ 856013 h 1880156"/>
                <a:gd name="csX1023" fmla="*/ 676438 w 830147"/>
                <a:gd name="csY1023" fmla="*/ 882074 h 1880156"/>
                <a:gd name="csX1024" fmla="*/ 698055 w 830147"/>
                <a:gd name="csY1024" fmla="*/ 882074 h 1880156"/>
                <a:gd name="csX1025" fmla="*/ 698055 w 830147"/>
                <a:gd name="csY1025" fmla="*/ 927359 h 1880156"/>
                <a:gd name="csX1026" fmla="*/ 698055 w 830147"/>
                <a:gd name="csY1026" fmla="*/ 915530 h 1880156"/>
                <a:gd name="csX1027" fmla="*/ 676438 w 830147"/>
                <a:gd name="csY1027" fmla="*/ 915530 h 1880156"/>
                <a:gd name="csX1028" fmla="*/ 676438 w 830147"/>
                <a:gd name="csY1028" fmla="*/ 927359 h 1880156"/>
                <a:gd name="csX1029" fmla="*/ 676438 w 830147"/>
                <a:gd name="csY1029" fmla="*/ 822557 h 1880156"/>
                <a:gd name="csX1030" fmla="*/ 698055 w 830147"/>
                <a:gd name="csY1030" fmla="*/ 822557 h 1880156"/>
                <a:gd name="csX1031" fmla="*/ 698055 w 830147"/>
                <a:gd name="csY1031" fmla="*/ 810734 h 1880156"/>
                <a:gd name="csX1032" fmla="*/ 676438 w 830147"/>
                <a:gd name="csY1032" fmla="*/ 810734 h 1880156"/>
                <a:gd name="csX1033" fmla="*/ 698055 w 830147"/>
                <a:gd name="csY1033" fmla="*/ 808326 h 1880156"/>
                <a:gd name="csX1034" fmla="*/ 698055 w 830147"/>
                <a:gd name="csY1034" fmla="*/ 796497 h 1880156"/>
                <a:gd name="csX1035" fmla="*/ 676438 w 830147"/>
                <a:gd name="csY1035" fmla="*/ 796497 h 1880156"/>
                <a:gd name="csX1036" fmla="*/ 676438 w 830147"/>
                <a:gd name="csY1036" fmla="*/ 808326 h 1880156"/>
                <a:gd name="csX1037" fmla="*/ 676438 w 830147"/>
                <a:gd name="csY1037" fmla="*/ 763046 h 1880156"/>
                <a:gd name="csX1038" fmla="*/ 698055 w 830147"/>
                <a:gd name="csY1038" fmla="*/ 763046 h 1880156"/>
                <a:gd name="csX1039" fmla="*/ 698055 w 830147"/>
                <a:gd name="csY1039" fmla="*/ 751212 h 1880156"/>
                <a:gd name="csX1040" fmla="*/ 676438 w 830147"/>
                <a:gd name="csY1040" fmla="*/ 751212 h 1880156"/>
                <a:gd name="csX1041" fmla="*/ 698055 w 830147"/>
                <a:gd name="csY1041" fmla="*/ 748809 h 1880156"/>
                <a:gd name="csX1042" fmla="*/ 698055 w 830147"/>
                <a:gd name="csY1042" fmla="*/ 736980 h 1880156"/>
                <a:gd name="csX1043" fmla="*/ 676438 w 830147"/>
                <a:gd name="csY1043" fmla="*/ 736980 h 1880156"/>
                <a:gd name="csX1044" fmla="*/ 676438 w 830147"/>
                <a:gd name="csY1044" fmla="*/ 748809 h 1880156"/>
                <a:gd name="csX1045" fmla="*/ 676438 w 830147"/>
                <a:gd name="csY1045" fmla="*/ 703530 h 1880156"/>
                <a:gd name="csX1046" fmla="*/ 698055 w 830147"/>
                <a:gd name="csY1046" fmla="*/ 703530 h 1880156"/>
                <a:gd name="csX1047" fmla="*/ 698055 w 830147"/>
                <a:gd name="csY1047" fmla="*/ 691701 h 1880156"/>
                <a:gd name="csX1048" fmla="*/ 676438 w 830147"/>
                <a:gd name="csY1048" fmla="*/ 691701 h 1880156"/>
                <a:gd name="csX1049" fmla="*/ 698055 w 830147"/>
                <a:gd name="csY1049" fmla="*/ 689298 h 1880156"/>
                <a:gd name="csX1050" fmla="*/ 698055 w 830147"/>
                <a:gd name="csY1050" fmla="*/ 677469 h 1880156"/>
                <a:gd name="csX1051" fmla="*/ 676438 w 830147"/>
                <a:gd name="csY1051" fmla="*/ 677469 h 1880156"/>
                <a:gd name="csX1052" fmla="*/ 676438 w 830147"/>
                <a:gd name="csY1052" fmla="*/ 689298 h 1880156"/>
                <a:gd name="csX1053" fmla="*/ 676438 w 830147"/>
                <a:gd name="csY1053" fmla="*/ 644013 h 1880156"/>
                <a:gd name="csX1054" fmla="*/ 698055 w 830147"/>
                <a:gd name="csY1054" fmla="*/ 644013 h 1880156"/>
                <a:gd name="csX1055" fmla="*/ 698055 w 830147"/>
                <a:gd name="csY1055" fmla="*/ 632185 h 1880156"/>
                <a:gd name="csX1056" fmla="*/ 676438 w 830147"/>
                <a:gd name="csY1056" fmla="*/ 632185 h 1880156"/>
                <a:gd name="csX1057" fmla="*/ 698055 w 830147"/>
                <a:gd name="csY1057" fmla="*/ 629776 h 1880156"/>
                <a:gd name="csX1058" fmla="*/ 698055 w 830147"/>
                <a:gd name="csY1058" fmla="*/ 617948 h 1880156"/>
                <a:gd name="csX1059" fmla="*/ 676438 w 830147"/>
                <a:gd name="csY1059" fmla="*/ 617948 h 1880156"/>
                <a:gd name="csX1060" fmla="*/ 676438 w 830147"/>
                <a:gd name="csY1060" fmla="*/ 629776 h 1880156"/>
                <a:gd name="csX1061" fmla="*/ 676438 w 830147"/>
                <a:gd name="csY1061" fmla="*/ 584491 h 1880156"/>
                <a:gd name="csX1062" fmla="*/ 698055 w 830147"/>
                <a:gd name="csY1062" fmla="*/ 584491 h 1880156"/>
                <a:gd name="csX1063" fmla="*/ 698055 w 830147"/>
                <a:gd name="csY1063" fmla="*/ 572668 h 1880156"/>
                <a:gd name="csX1064" fmla="*/ 676438 w 830147"/>
                <a:gd name="csY1064" fmla="*/ 572668 h 1880156"/>
                <a:gd name="csX1065" fmla="*/ 698055 w 830147"/>
                <a:gd name="csY1065" fmla="*/ 1167833 h 1880156"/>
                <a:gd name="csX1066" fmla="*/ 676438 w 830147"/>
                <a:gd name="csY1066" fmla="*/ 1167833 h 1880156"/>
                <a:gd name="csX1067" fmla="*/ 676438 w 830147"/>
                <a:gd name="csY1067" fmla="*/ 1174938 h 1880156"/>
                <a:gd name="csX1068" fmla="*/ 698055 w 830147"/>
                <a:gd name="csY1068" fmla="*/ 1174938 h 1880156"/>
                <a:gd name="csX1069" fmla="*/ 733936 w 830147"/>
                <a:gd name="csY1069" fmla="*/ 570260 h 1880156"/>
                <a:gd name="csX1070" fmla="*/ 755607 w 830147"/>
                <a:gd name="csY1070" fmla="*/ 570260 h 1880156"/>
                <a:gd name="csX1071" fmla="*/ 755607 w 830147"/>
                <a:gd name="csY1071" fmla="*/ 558431 h 1880156"/>
                <a:gd name="csX1072" fmla="*/ 733936 w 830147"/>
                <a:gd name="csY1072" fmla="*/ 558431 h 1880156"/>
                <a:gd name="csX1073" fmla="*/ 755607 w 830147"/>
                <a:gd name="csY1073" fmla="*/ 1165424 h 1880156"/>
                <a:gd name="csX1074" fmla="*/ 755607 w 830147"/>
                <a:gd name="csY1074" fmla="*/ 1153596 h 1880156"/>
                <a:gd name="csX1075" fmla="*/ 733936 w 830147"/>
                <a:gd name="csY1075" fmla="*/ 1153596 h 1880156"/>
                <a:gd name="csX1076" fmla="*/ 733936 w 830147"/>
                <a:gd name="csY1076" fmla="*/ 1165424 h 1880156"/>
                <a:gd name="csX1077" fmla="*/ 733936 w 830147"/>
                <a:gd name="csY1077" fmla="*/ 1120140 h 1880156"/>
                <a:gd name="csX1078" fmla="*/ 755607 w 830147"/>
                <a:gd name="csY1078" fmla="*/ 1120140 h 1880156"/>
                <a:gd name="csX1079" fmla="*/ 755607 w 830147"/>
                <a:gd name="csY1079" fmla="*/ 1108317 h 1880156"/>
                <a:gd name="csX1080" fmla="*/ 733936 w 830147"/>
                <a:gd name="csY1080" fmla="*/ 1108317 h 1880156"/>
                <a:gd name="csX1081" fmla="*/ 755607 w 830147"/>
                <a:gd name="csY1081" fmla="*/ 1105908 h 1880156"/>
                <a:gd name="csX1082" fmla="*/ 755607 w 830147"/>
                <a:gd name="csY1082" fmla="*/ 1094079 h 1880156"/>
                <a:gd name="csX1083" fmla="*/ 733936 w 830147"/>
                <a:gd name="csY1083" fmla="*/ 1094079 h 1880156"/>
                <a:gd name="csX1084" fmla="*/ 733936 w 830147"/>
                <a:gd name="csY1084" fmla="*/ 1105908 h 1880156"/>
                <a:gd name="csX1085" fmla="*/ 733936 w 830147"/>
                <a:gd name="csY1085" fmla="*/ 1060623 h 1880156"/>
                <a:gd name="csX1086" fmla="*/ 755607 w 830147"/>
                <a:gd name="csY1086" fmla="*/ 1060623 h 1880156"/>
                <a:gd name="csX1087" fmla="*/ 755607 w 830147"/>
                <a:gd name="csY1087" fmla="*/ 1048794 h 1880156"/>
                <a:gd name="csX1088" fmla="*/ 733936 w 830147"/>
                <a:gd name="csY1088" fmla="*/ 1048794 h 1880156"/>
                <a:gd name="csX1089" fmla="*/ 755607 w 830147"/>
                <a:gd name="csY1089" fmla="*/ 1046391 h 1880156"/>
                <a:gd name="csX1090" fmla="*/ 755607 w 830147"/>
                <a:gd name="csY1090" fmla="*/ 1034563 h 1880156"/>
                <a:gd name="csX1091" fmla="*/ 733936 w 830147"/>
                <a:gd name="csY1091" fmla="*/ 1034563 h 1880156"/>
                <a:gd name="csX1092" fmla="*/ 733936 w 830147"/>
                <a:gd name="csY1092" fmla="*/ 1046391 h 1880156"/>
                <a:gd name="csX1093" fmla="*/ 733936 w 830147"/>
                <a:gd name="csY1093" fmla="*/ 1001107 h 1880156"/>
                <a:gd name="csX1094" fmla="*/ 755607 w 830147"/>
                <a:gd name="csY1094" fmla="*/ 1001107 h 1880156"/>
                <a:gd name="csX1095" fmla="*/ 755607 w 830147"/>
                <a:gd name="csY1095" fmla="*/ 989278 h 1880156"/>
                <a:gd name="csX1096" fmla="*/ 733936 w 830147"/>
                <a:gd name="csY1096" fmla="*/ 989278 h 1880156"/>
                <a:gd name="csX1097" fmla="*/ 755607 w 830147"/>
                <a:gd name="csY1097" fmla="*/ 986875 h 1880156"/>
                <a:gd name="csX1098" fmla="*/ 755607 w 830147"/>
                <a:gd name="csY1098" fmla="*/ 975046 h 1880156"/>
                <a:gd name="csX1099" fmla="*/ 733936 w 830147"/>
                <a:gd name="csY1099" fmla="*/ 975046 h 1880156"/>
                <a:gd name="csX1100" fmla="*/ 733936 w 830147"/>
                <a:gd name="csY1100" fmla="*/ 986875 h 1880156"/>
                <a:gd name="csX1101" fmla="*/ 733936 w 830147"/>
                <a:gd name="csY1101" fmla="*/ 941590 h 1880156"/>
                <a:gd name="csX1102" fmla="*/ 755607 w 830147"/>
                <a:gd name="csY1102" fmla="*/ 941590 h 1880156"/>
                <a:gd name="csX1103" fmla="*/ 755607 w 830147"/>
                <a:gd name="csY1103" fmla="*/ 929762 h 1880156"/>
                <a:gd name="csX1104" fmla="*/ 733936 w 830147"/>
                <a:gd name="csY1104" fmla="*/ 929762 h 1880156"/>
                <a:gd name="csX1105" fmla="*/ 755607 w 830147"/>
                <a:gd name="csY1105" fmla="*/ 927359 h 1880156"/>
                <a:gd name="csX1106" fmla="*/ 755607 w 830147"/>
                <a:gd name="csY1106" fmla="*/ 915530 h 1880156"/>
                <a:gd name="csX1107" fmla="*/ 733936 w 830147"/>
                <a:gd name="csY1107" fmla="*/ 915530 h 1880156"/>
                <a:gd name="csX1108" fmla="*/ 733936 w 830147"/>
                <a:gd name="csY1108" fmla="*/ 927359 h 1880156"/>
                <a:gd name="csX1109" fmla="*/ 733936 w 830147"/>
                <a:gd name="csY1109" fmla="*/ 882074 h 1880156"/>
                <a:gd name="csX1110" fmla="*/ 755607 w 830147"/>
                <a:gd name="csY1110" fmla="*/ 882074 h 1880156"/>
                <a:gd name="csX1111" fmla="*/ 755607 w 830147"/>
                <a:gd name="csY1111" fmla="*/ 870245 h 1880156"/>
                <a:gd name="csX1112" fmla="*/ 733936 w 830147"/>
                <a:gd name="csY1112" fmla="*/ 870245 h 1880156"/>
                <a:gd name="csX1113" fmla="*/ 755607 w 830147"/>
                <a:gd name="csY1113" fmla="*/ 867847 h 1880156"/>
                <a:gd name="csX1114" fmla="*/ 755607 w 830147"/>
                <a:gd name="csY1114" fmla="*/ 856013 h 1880156"/>
                <a:gd name="csX1115" fmla="*/ 733936 w 830147"/>
                <a:gd name="csY1115" fmla="*/ 856013 h 1880156"/>
                <a:gd name="csX1116" fmla="*/ 733936 w 830147"/>
                <a:gd name="csY1116" fmla="*/ 867847 h 1880156"/>
                <a:gd name="csX1117" fmla="*/ 733936 w 830147"/>
                <a:gd name="csY1117" fmla="*/ 822557 h 1880156"/>
                <a:gd name="csX1118" fmla="*/ 755607 w 830147"/>
                <a:gd name="csY1118" fmla="*/ 822557 h 1880156"/>
                <a:gd name="csX1119" fmla="*/ 755607 w 830147"/>
                <a:gd name="csY1119" fmla="*/ 810734 h 1880156"/>
                <a:gd name="csX1120" fmla="*/ 733936 w 830147"/>
                <a:gd name="csY1120" fmla="*/ 810734 h 1880156"/>
                <a:gd name="csX1121" fmla="*/ 755607 w 830147"/>
                <a:gd name="csY1121" fmla="*/ 808326 h 1880156"/>
                <a:gd name="csX1122" fmla="*/ 755607 w 830147"/>
                <a:gd name="csY1122" fmla="*/ 796497 h 1880156"/>
                <a:gd name="csX1123" fmla="*/ 733936 w 830147"/>
                <a:gd name="csY1123" fmla="*/ 796497 h 1880156"/>
                <a:gd name="csX1124" fmla="*/ 733936 w 830147"/>
                <a:gd name="csY1124" fmla="*/ 808326 h 1880156"/>
                <a:gd name="csX1125" fmla="*/ 733936 w 830147"/>
                <a:gd name="csY1125" fmla="*/ 763046 h 1880156"/>
                <a:gd name="csX1126" fmla="*/ 755607 w 830147"/>
                <a:gd name="csY1126" fmla="*/ 763046 h 1880156"/>
                <a:gd name="csX1127" fmla="*/ 755607 w 830147"/>
                <a:gd name="csY1127" fmla="*/ 751212 h 1880156"/>
                <a:gd name="csX1128" fmla="*/ 733936 w 830147"/>
                <a:gd name="csY1128" fmla="*/ 751212 h 1880156"/>
                <a:gd name="csX1129" fmla="*/ 755607 w 830147"/>
                <a:gd name="csY1129" fmla="*/ 748809 h 1880156"/>
                <a:gd name="csX1130" fmla="*/ 755607 w 830147"/>
                <a:gd name="csY1130" fmla="*/ 736980 h 1880156"/>
                <a:gd name="csX1131" fmla="*/ 733936 w 830147"/>
                <a:gd name="csY1131" fmla="*/ 736980 h 1880156"/>
                <a:gd name="csX1132" fmla="*/ 733936 w 830147"/>
                <a:gd name="csY1132" fmla="*/ 748809 h 1880156"/>
                <a:gd name="csX1133" fmla="*/ 733936 w 830147"/>
                <a:gd name="csY1133" fmla="*/ 703530 h 1880156"/>
                <a:gd name="csX1134" fmla="*/ 755607 w 830147"/>
                <a:gd name="csY1134" fmla="*/ 703530 h 1880156"/>
                <a:gd name="csX1135" fmla="*/ 755607 w 830147"/>
                <a:gd name="csY1135" fmla="*/ 691701 h 1880156"/>
                <a:gd name="csX1136" fmla="*/ 733936 w 830147"/>
                <a:gd name="csY1136" fmla="*/ 691701 h 1880156"/>
                <a:gd name="csX1137" fmla="*/ 755607 w 830147"/>
                <a:gd name="csY1137" fmla="*/ 689298 h 1880156"/>
                <a:gd name="csX1138" fmla="*/ 755607 w 830147"/>
                <a:gd name="csY1138" fmla="*/ 677469 h 1880156"/>
                <a:gd name="csX1139" fmla="*/ 733936 w 830147"/>
                <a:gd name="csY1139" fmla="*/ 677469 h 1880156"/>
                <a:gd name="csX1140" fmla="*/ 733936 w 830147"/>
                <a:gd name="csY1140" fmla="*/ 689298 h 1880156"/>
                <a:gd name="csX1141" fmla="*/ 733936 w 830147"/>
                <a:gd name="csY1141" fmla="*/ 644013 h 1880156"/>
                <a:gd name="csX1142" fmla="*/ 755607 w 830147"/>
                <a:gd name="csY1142" fmla="*/ 644013 h 1880156"/>
                <a:gd name="csX1143" fmla="*/ 755607 w 830147"/>
                <a:gd name="csY1143" fmla="*/ 632185 h 1880156"/>
                <a:gd name="csX1144" fmla="*/ 733936 w 830147"/>
                <a:gd name="csY1144" fmla="*/ 632185 h 1880156"/>
                <a:gd name="csX1145" fmla="*/ 755607 w 830147"/>
                <a:gd name="csY1145" fmla="*/ 629776 h 1880156"/>
                <a:gd name="csX1146" fmla="*/ 755607 w 830147"/>
                <a:gd name="csY1146" fmla="*/ 617948 h 1880156"/>
                <a:gd name="csX1147" fmla="*/ 733936 w 830147"/>
                <a:gd name="csY1147" fmla="*/ 617948 h 1880156"/>
                <a:gd name="csX1148" fmla="*/ 733936 w 830147"/>
                <a:gd name="csY1148" fmla="*/ 629776 h 1880156"/>
                <a:gd name="csX1149" fmla="*/ 733936 w 830147"/>
                <a:gd name="csY1149" fmla="*/ 584491 h 1880156"/>
                <a:gd name="csX1150" fmla="*/ 755607 w 830147"/>
                <a:gd name="csY1150" fmla="*/ 584491 h 1880156"/>
                <a:gd name="csX1151" fmla="*/ 755607 w 830147"/>
                <a:gd name="csY1151" fmla="*/ 572668 h 1880156"/>
                <a:gd name="csX1152" fmla="*/ 733936 w 830147"/>
                <a:gd name="csY1152" fmla="*/ 572668 h 1880156"/>
                <a:gd name="csX1153" fmla="*/ 755607 w 830147"/>
                <a:gd name="csY1153" fmla="*/ 1167833 h 1880156"/>
                <a:gd name="csX1154" fmla="*/ 733936 w 830147"/>
                <a:gd name="csY1154" fmla="*/ 1167833 h 1880156"/>
                <a:gd name="csX1155" fmla="*/ 733936 w 830147"/>
                <a:gd name="csY1155" fmla="*/ 1174938 h 1880156"/>
                <a:gd name="csX1156" fmla="*/ 755607 w 830147"/>
                <a:gd name="csY1156" fmla="*/ 1174938 h 1880156"/>
                <a:gd name="csX1157" fmla="*/ 755607 w 830147"/>
                <a:gd name="csY1157" fmla="*/ 1167833 h 188015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 ang="0">
                  <a:pos x="csX97" y="csY97"/>
                </a:cxn>
                <a:cxn ang="0">
                  <a:pos x="csX98" y="csY98"/>
                </a:cxn>
                <a:cxn ang="0">
                  <a:pos x="csX99" y="csY99"/>
                </a:cxn>
                <a:cxn ang="0">
                  <a:pos x="csX100" y="csY100"/>
                </a:cxn>
                <a:cxn ang="0">
                  <a:pos x="csX101" y="csY101"/>
                </a:cxn>
                <a:cxn ang="0">
                  <a:pos x="csX102" y="csY102"/>
                </a:cxn>
                <a:cxn ang="0">
                  <a:pos x="csX103" y="csY103"/>
                </a:cxn>
                <a:cxn ang="0">
                  <a:pos x="csX104" y="csY104"/>
                </a:cxn>
                <a:cxn ang="0">
                  <a:pos x="csX105" y="csY105"/>
                </a:cxn>
                <a:cxn ang="0">
                  <a:pos x="csX106" y="csY106"/>
                </a:cxn>
                <a:cxn ang="0">
                  <a:pos x="csX107" y="csY107"/>
                </a:cxn>
                <a:cxn ang="0">
                  <a:pos x="csX108" y="csY108"/>
                </a:cxn>
                <a:cxn ang="0">
                  <a:pos x="csX109" y="csY109"/>
                </a:cxn>
                <a:cxn ang="0">
                  <a:pos x="csX110" y="csY110"/>
                </a:cxn>
                <a:cxn ang="0">
                  <a:pos x="csX111" y="csY111"/>
                </a:cxn>
                <a:cxn ang="0">
                  <a:pos x="csX112" y="csY112"/>
                </a:cxn>
                <a:cxn ang="0">
                  <a:pos x="csX113" y="csY113"/>
                </a:cxn>
                <a:cxn ang="0">
                  <a:pos x="csX114" y="csY114"/>
                </a:cxn>
                <a:cxn ang="0">
                  <a:pos x="csX115" y="csY115"/>
                </a:cxn>
                <a:cxn ang="0">
                  <a:pos x="csX116" y="csY116"/>
                </a:cxn>
                <a:cxn ang="0">
                  <a:pos x="csX117" y="csY117"/>
                </a:cxn>
                <a:cxn ang="0">
                  <a:pos x="csX118" y="csY118"/>
                </a:cxn>
                <a:cxn ang="0">
                  <a:pos x="csX119" y="csY119"/>
                </a:cxn>
                <a:cxn ang="0">
                  <a:pos x="csX120" y="csY120"/>
                </a:cxn>
                <a:cxn ang="0">
                  <a:pos x="csX121" y="csY121"/>
                </a:cxn>
                <a:cxn ang="0">
                  <a:pos x="csX122" y="csY122"/>
                </a:cxn>
                <a:cxn ang="0">
                  <a:pos x="csX123" y="csY123"/>
                </a:cxn>
                <a:cxn ang="0">
                  <a:pos x="csX124" y="csY124"/>
                </a:cxn>
                <a:cxn ang="0">
                  <a:pos x="csX125" y="csY125"/>
                </a:cxn>
                <a:cxn ang="0">
                  <a:pos x="csX126" y="csY126"/>
                </a:cxn>
                <a:cxn ang="0">
                  <a:pos x="csX127" y="csY127"/>
                </a:cxn>
                <a:cxn ang="0">
                  <a:pos x="csX128" y="csY128"/>
                </a:cxn>
                <a:cxn ang="0">
                  <a:pos x="csX129" y="csY129"/>
                </a:cxn>
                <a:cxn ang="0">
                  <a:pos x="csX130" y="csY130"/>
                </a:cxn>
                <a:cxn ang="0">
                  <a:pos x="csX131" y="csY131"/>
                </a:cxn>
                <a:cxn ang="0">
                  <a:pos x="csX132" y="csY132"/>
                </a:cxn>
                <a:cxn ang="0">
                  <a:pos x="csX133" y="csY133"/>
                </a:cxn>
                <a:cxn ang="0">
                  <a:pos x="csX134" y="csY134"/>
                </a:cxn>
                <a:cxn ang="0">
                  <a:pos x="csX135" y="csY135"/>
                </a:cxn>
                <a:cxn ang="0">
                  <a:pos x="csX136" y="csY136"/>
                </a:cxn>
                <a:cxn ang="0">
                  <a:pos x="csX137" y="csY137"/>
                </a:cxn>
                <a:cxn ang="0">
                  <a:pos x="csX138" y="csY138"/>
                </a:cxn>
                <a:cxn ang="0">
                  <a:pos x="csX139" y="csY139"/>
                </a:cxn>
                <a:cxn ang="0">
                  <a:pos x="csX140" y="csY140"/>
                </a:cxn>
                <a:cxn ang="0">
                  <a:pos x="csX141" y="csY141"/>
                </a:cxn>
                <a:cxn ang="0">
                  <a:pos x="csX142" y="csY142"/>
                </a:cxn>
                <a:cxn ang="0">
                  <a:pos x="csX143" y="csY143"/>
                </a:cxn>
                <a:cxn ang="0">
                  <a:pos x="csX144" y="csY144"/>
                </a:cxn>
                <a:cxn ang="0">
                  <a:pos x="csX145" y="csY145"/>
                </a:cxn>
                <a:cxn ang="0">
                  <a:pos x="csX146" y="csY146"/>
                </a:cxn>
                <a:cxn ang="0">
                  <a:pos x="csX147" y="csY147"/>
                </a:cxn>
                <a:cxn ang="0">
                  <a:pos x="csX148" y="csY148"/>
                </a:cxn>
                <a:cxn ang="0">
                  <a:pos x="csX149" y="csY149"/>
                </a:cxn>
                <a:cxn ang="0">
                  <a:pos x="csX150" y="csY150"/>
                </a:cxn>
                <a:cxn ang="0">
                  <a:pos x="csX151" y="csY151"/>
                </a:cxn>
                <a:cxn ang="0">
                  <a:pos x="csX152" y="csY152"/>
                </a:cxn>
                <a:cxn ang="0">
                  <a:pos x="csX153" y="csY153"/>
                </a:cxn>
                <a:cxn ang="0">
                  <a:pos x="csX154" y="csY154"/>
                </a:cxn>
                <a:cxn ang="0">
                  <a:pos x="csX155" y="csY155"/>
                </a:cxn>
                <a:cxn ang="0">
                  <a:pos x="csX156" y="csY156"/>
                </a:cxn>
                <a:cxn ang="0">
                  <a:pos x="csX157" y="csY157"/>
                </a:cxn>
                <a:cxn ang="0">
                  <a:pos x="csX158" y="csY158"/>
                </a:cxn>
                <a:cxn ang="0">
                  <a:pos x="csX159" y="csY159"/>
                </a:cxn>
                <a:cxn ang="0">
                  <a:pos x="csX160" y="csY160"/>
                </a:cxn>
                <a:cxn ang="0">
                  <a:pos x="csX161" y="csY161"/>
                </a:cxn>
                <a:cxn ang="0">
                  <a:pos x="csX162" y="csY162"/>
                </a:cxn>
                <a:cxn ang="0">
                  <a:pos x="csX163" y="csY163"/>
                </a:cxn>
                <a:cxn ang="0">
                  <a:pos x="csX164" y="csY164"/>
                </a:cxn>
                <a:cxn ang="0">
                  <a:pos x="csX165" y="csY165"/>
                </a:cxn>
                <a:cxn ang="0">
                  <a:pos x="csX166" y="csY166"/>
                </a:cxn>
                <a:cxn ang="0">
                  <a:pos x="csX167" y="csY167"/>
                </a:cxn>
                <a:cxn ang="0">
                  <a:pos x="csX168" y="csY168"/>
                </a:cxn>
                <a:cxn ang="0">
                  <a:pos x="csX169" y="csY169"/>
                </a:cxn>
                <a:cxn ang="0">
                  <a:pos x="csX170" y="csY170"/>
                </a:cxn>
                <a:cxn ang="0">
                  <a:pos x="csX171" y="csY171"/>
                </a:cxn>
                <a:cxn ang="0">
                  <a:pos x="csX172" y="csY172"/>
                </a:cxn>
                <a:cxn ang="0">
                  <a:pos x="csX173" y="csY173"/>
                </a:cxn>
                <a:cxn ang="0">
                  <a:pos x="csX174" y="csY174"/>
                </a:cxn>
                <a:cxn ang="0">
                  <a:pos x="csX175" y="csY175"/>
                </a:cxn>
                <a:cxn ang="0">
                  <a:pos x="csX176" y="csY176"/>
                </a:cxn>
                <a:cxn ang="0">
                  <a:pos x="csX177" y="csY177"/>
                </a:cxn>
                <a:cxn ang="0">
                  <a:pos x="csX178" y="csY178"/>
                </a:cxn>
                <a:cxn ang="0">
                  <a:pos x="csX179" y="csY179"/>
                </a:cxn>
                <a:cxn ang="0">
                  <a:pos x="csX180" y="csY180"/>
                </a:cxn>
                <a:cxn ang="0">
                  <a:pos x="csX181" y="csY181"/>
                </a:cxn>
                <a:cxn ang="0">
                  <a:pos x="csX182" y="csY182"/>
                </a:cxn>
                <a:cxn ang="0">
                  <a:pos x="csX183" y="csY183"/>
                </a:cxn>
                <a:cxn ang="0">
                  <a:pos x="csX184" y="csY184"/>
                </a:cxn>
                <a:cxn ang="0">
                  <a:pos x="csX185" y="csY185"/>
                </a:cxn>
                <a:cxn ang="0">
                  <a:pos x="csX186" y="csY186"/>
                </a:cxn>
                <a:cxn ang="0">
                  <a:pos x="csX187" y="csY187"/>
                </a:cxn>
                <a:cxn ang="0">
                  <a:pos x="csX188" y="csY188"/>
                </a:cxn>
                <a:cxn ang="0">
                  <a:pos x="csX189" y="csY189"/>
                </a:cxn>
                <a:cxn ang="0">
                  <a:pos x="csX190" y="csY190"/>
                </a:cxn>
                <a:cxn ang="0">
                  <a:pos x="csX191" y="csY191"/>
                </a:cxn>
                <a:cxn ang="0">
                  <a:pos x="csX192" y="csY192"/>
                </a:cxn>
                <a:cxn ang="0">
                  <a:pos x="csX193" y="csY193"/>
                </a:cxn>
                <a:cxn ang="0">
                  <a:pos x="csX194" y="csY194"/>
                </a:cxn>
                <a:cxn ang="0">
                  <a:pos x="csX195" y="csY195"/>
                </a:cxn>
                <a:cxn ang="0">
                  <a:pos x="csX196" y="csY196"/>
                </a:cxn>
                <a:cxn ang="0">
                  <a:pos x="csX197" y="csY197"/>
                </a:cxn>
                <a:cxn ang="0">
                  <a:pos x="csX198" y="csY198"/>
                </a:cxn>
                <a:cxn ang="0">
                  <a:pos x="csX199" y="csY199"/>
                </a:cxn>
                <a:cxn ang="0">
                  <a:pos x="csX200" y="csY200"/>
                </a:cxn>
                <a:cxn ang="0">
                  <a:pos x="csX201" y="csY201"/>
                </a:cxn>
                <a:cxn ang="0">
                  <a:pos x="csX202" y="csY202"/>
                </a:cxn>
                <a:cxn ang="0">
                  <a:pos x="csX203" y="csY203"/>
                </a:cxn>
                <a:cxn ang="0">
                  <a:pos x="csX204" y="csY204"/>
                </a:cxn>
                <a:cxn ang="0">
                  <a:pos x="csX205" y="csY205"/>
                </a:cxn>
                <a:cxn ang="0">
                  <a:pos x="csX206" y="csY206"/>
                </a:cxn>
                <a:cxn ang="0">
                  <a:pos x="csX207" y="csY207"/>
                </a:cxn>
                <a:cxn ang="0">
                  <a:pos x="csX208" y="csY208"/>
                </a:cxn>
                <a:cxn ang="0">
                  <a:pos x="csX209" y="csY209"/>
                </a:cxn>
                <a:cxn ang="0">
                  <a:pos x="csX210" y="csY210"/>
                </a:cxn>
                <a:cxn ang="0">
                  <a:pos x="csX211" y="csY211"/>
                </a:cxn>
                <a:cxn ang="0">
                  <a:pos x="csX212" y="csY212"/>
                </a:cxn>
                <a:cxn ang="0">
                  <a:pos x="csX213" y="csY213"/>
                </a:cxn>
                <a:cxn ang="0">
                  <a:pos x="csX214" y="csY214"/>
                </a:cxn>
                <a:cxn ang="0">
                  <a:pos x="csX215" y="csY215"/>
                </a:cxn>
                <a:cxn ang="0">
                  <a:pos x="csX216" y="csY216"/>
                </a:cxn>
                <a:cxn ang="0">
                  <a:pos x="csX217" y="csY217"/>
                </a:cxn>
                <a:cxn ang="0">
                  <a:pos x="csX218" y="csY218"/>
                </a:cxn>
                <a:cxn ang="0">
                  <a:pos x="csX219" y="csY219"/>
                </a:cxn>
                <a:cxn ang="0">
                  <a:pos x="csX220" y="csY220"/>
                </a:cxn>
                <a:cxn ang="0">
                  <a:pos x="csX221" y="csY221"/>
                </a:cxn>
                <a:cxn ang="0">
                  <a:pos x="csX222" y="csY222"/>
                </a:cxn>
                <a:cxn ang="0">
                  <a:pos x="csX223" y="csY223"/>
                </a:cxn>
                <a:cxn ang="0">
                  <a:pos x="csX224" y="csY224"/>
                </a:cxn>
                <a:cxn ang="0">
                  <a:pos x="csX225" y="csY225"/>
                </a:cxn>
                <a:cxn ang="0">
                  <a:pos x="csX226" y="csY226"/>
                </a:cxn>
                <a:cxn ang="0">
                  <a:pos x="csX227" y="csY227"/>
                </a:cxn>
                <a:cxn ang="0">
                  <a:pos x="csX228" y="csY228"/>
                </a:cxn>
                <a:cxn ang="0">
                  <a:pos x="csX229" y="csY229"/>
                </a:cxn>
                <a:cxn ang="0">
                  <a:pos x="csX230" y="csY230"/>
                </a:cxn>
                <a:cxn ang="0">
                  <a:pos x="csX231" y="csY231"/>
                </a:cxn>
                <a:cxn ang="0">
                  <a:pos x="csX232" y="csY232"/>
                </a:cxn>
                <a:cxn ang="0">
                  <a:pos x="csX233" y="csY233"/>
                </a:cxn>
                <a:cxn ang="0">
                  <a:pos x="csX234" y="csY234"/>
                </a:cxn>
                <a:cxn ang="0">
                  <a:pos x="csX235" y="csY235"/>
                </a:cxn>
                <a:cxn ang="0">
                  <a:pos x="csX236" y="csY236"/>
                </a:cxn>
                <a:cxn ang="0">
                  <a:pos x="csX237" y="csY237"/>
                </a:cxn>
                <a:cxn ang="0">
                  <a:pos x="csX238" y="csY238"/>
                </a:cxn>
                <a:cxn ang="0">
                  <a:pos x="csX239" y="csY239"/>
                </a:cxn>
                <a:cxn ang="0">
                  <a:pos x="csX240" y="csY240"/>
                </a:cxn>
                <a:cxn ang="0">
                  <a:pos x="csX241" y="csY241"/>
                </a:cxn>
                <a:cxn ang="0">
                  <a:pos x="csX242" y="csY242"/>
                </a:cxn>
                <a:cxn ang="0">
                  <a:pos x="csX243" y="csY243"/>
                </a:cxn>
                <a:cxn ang="0">
                  <a:pos x="csX244" y="csY244"/>
                </a:cxn>
                <a:cxn ang="0">
                  <a:pos x="csX245" y="csY245"/>
                </a:cxn>
                <a:cxn ang="0">
                  <a:pos x="csX246" y="csY246"/>
                </a:cxn>
                <a:cxn ang="0">
                  <a:pos x="csX247" y="csY247"/>
                </a:cxn>
                <a:cxn ang="0">
                  <a:pos x="csX248" y="csY248"/>
                </a:cxn>
                <a:cxn ang="0">
                  <a:pos x="csX249" y="csY249"/>
                </a:cxn>
                <a:cxn ang="0">
                  <a:pos x="csX250" y="csY250"/>
                </a:cxn>
                <a:cxn ang="0">
                  <a:pos x="csX251" y="csY251"/>
                </a:cxn>
                <a:cxn ang="0">
                  <a:pos x="csX252" y="csY252"/>
                </a:cxn>
                <a:cxn ang="0">
                  <a:pos x="csX253" y="csY253"/>
                </a:cxn>
                <a:cxn ang="0">
                  <a:pos x="csX254" y="csY254"/>
                </a:cxn>
                <a:cxn ang="0">
                  <a:pos x="csX255" y="csY255"/>
                </a:cxn>
                <a:cxn ang="0">
                  <a:pos x="csX256" y="csY256"/>
                </a:cxn>
                <a:cxn ang="0">
                  <a:pos x="csX257" y="csY257"/>
                </a:cxn>
                <a:cxn ang="0">
                  <a:pos x="csX258" y="csY258"/>
                </a:cxn>
                <a:cxn ang="0">
                  <a:pos x="csX259" y="csY259"/>
                </a:cxn>
                <a:cxn ang="0">
                  <a:pos x="csX260" y="csY260"/>
                </a:cxn>
                <a:cxn ang="0">
                  <a:pos x="csX261" y="csY261"/>
                </a:cxn>
                <a:cxn ang="0">
                  <a:pos x="csX262" y="csY262"/>
                </a:cxn>
                <a:cxn ang="0">
                  <a:pos x="csX263" y="csY263"/>
                </a:cxn>
                <a:cxn ang="0">
                  <a:pos x="csX264" y="csY264"/>
                </a:cxn>
                <a:cxn ang="0">
                  <a:pos x="csX265" y="csY265"/>
                </a:cxn>
                <a:cxn ang="0">
                  <a:pos x="csX266" y="csY266"/>
                </a:cxn>
                <a:cxn ang="0">
                  <a:pos x="csX267" y="csY267"/>
                </a:cxn>
                <a:cxn ang="0">
                  <a:pos x="csX268" y="csY268"/>
                </a:cxn>
                <a:cxn ang="0">
                  <a:pos x="csX269" y="csY269"/>
                </a:cxn>
                <a:cxn ang="0">
                  <a:pos x="csX270" y="csY270"/>
                </a:cxn>
                <a:cxn ang="0">
                  <a:pos x="csX271" y="csY271"/>
                </a:cxn>
                <a:cxn ang="0">
                  <a:pos x="csX272" y="csY272"/>
                </a:cxn>
                <a:cxn ang="0">
                  <a:pos x="csX273" y="csY273"/>
                </a:cxn>
                <a:cxn ang="0">
                  <a:pos x="csX274" y="csY274"/>
                </a:cxn>
                <a:cxn ang="0">
                  <a:pos x="csX275" y="csY275"/>
                </a:cxn>
                <a:cxn ang="0">
                  <a:pos x="csX276" y="csY276"/>
                </a:cxn>
                <a:cxn ang="0">
                  <a:pos x="csX277" y="csY277"/>
                </a:cxn>
                <a:cxn ang="0">
                  <a:pos x="csX278" y="csY278"/>
                </a:cxn>
                <a:cxn ang="0">
                  <a:pos x="csX279" y="csY279"/>
                </a:cxn>
                <a:cxn ang="0">
                  <a:pos x="csX280" y="csY280"/>
                </a:cxn>
                <a:cxn ang="0">
                  <a:pos x="csX281" y="csY281"/>
                </a:cxn>
                <a:cxn ang="0">
                  <a:pos x="csX282" y="csY282"/>
                </a:cxn>
                <a:cxn ang="0">
                  <a:pos x="csX283" y="csY283"/>
                </a:cxn>
                <a:cxn ang="0">
                  <a:pos x="csX284" y="csY284"/>
                </a:cxn>
                <a:cxn ang="0">
                  <a:pos x="csX285" y="csY285"/>
                </a:cxn>
                <a:cxn ang="0">
                  <a:pos x="csX286" y="csY286"/>
                </a:cxn>
                <a:cxn ang="0">
                  <a:pos x="csX287" y="csY287"/>
                </a:cxn>
                <a:cxn ang="0">
                  <a:pos x="csX288" y="csY288"/>
                </a:cxn>
                <a:cxn ang="0">
                  <a:pos x="csX289" y="csY289"/>
                </a:cxn>
                <a:cxn ang="0">
                  <a:pos x="csX290" y="csY290"/>
                </a:cxn>
                <a:cxn ang="0">
                  <a:pos x="csX291" y="csY291"/>
                </a:cxn>
                <a:cxn ang="0">
                  <a:pos x="csX292" y="csY292"/>
                </a:cxn>
                <a:cxn ang="0">
                  <a:pos x="csX293" y="csY293"/>
                </a:cxn>
                <a:cxn ang="0">
                  <a:pos x="csX294" y="csY294"/>
                </a:cxn>
                <a:cxn ang="0">
                  <a:pos x="csX295" y="csY295"/>
                </a:cxn>
                <a:cxn ang="0">
                  <a:pos x="csX296" y="csY296"/>
                </a:cxn>
                <a:cxn ang="0">
                  <a:pos x="csX297" y="csY297"/>
                </a:cxn>
                <a:cxn ang="0">
                  <a:pos x="csX298" y="csY298"/>
                </a:cxn>
                <a:cxn ang="0">
                  <a:pos x="csX299" y="csY299"/>
                </a:cxn>
                <a:cxn ang="0">
                  <a:pos x="csX300" y="csY300"/>
                </a:cxn>
                <a:cxn ang="0">
                  <a:pos x="csX301" y="csY301"/>
                </a:cxn>
                <a:cxn ang="0">
                  <a:pos x="csX302" y="csY302"/>
                </a:cxn>
                <a:cxn ang="0">
                  <a:pos x="csX303" y="csY303"/>
                </a:cxn>
                <a:cxn ang="0">
                  <a:pos x="csX304" y="csY304"/>
                </a:cxn>
                <a:cxn ang="0">
                  <a:pos x="csX305" y="csY305"/>
                </a:cxn>
                <a:cxn ang="0">
                  <a:pos x="csX306" y="csY306"/>
                </a:cxn>
                <a:cxn ang="0">
                  <a:pos x="csX307" y="csY307"/>
                </a:cxn>
                <a:cxn ang="0">
                  <a:pos x="csX308" y="csY308"/>
                </a:cxn>
                <a:cxn ang="0">
                  <a:pos x="csX309" y="csY309"/>
                </a:cxn>
                <a:cxn ang="0">
                  <a:pos x="csX310" y="csY310"/>
                </a:cxn>
                <a:cxn ang="0">
                  <a:pos x="csX311" y="csY311"/>
                </a:cxn>
                <a:cxn ang="0">
                  <a:pos x="csX312" y="csY312"/>
                </a:cxn>
                <a:cxn ang="0">
                  <a:pos x="csX313" y="csY313"/>
                </a:cxn>
                <a:cxn ang="0">
                  <a:pos x="csX314" y="csY314"/>
                </a:cxn>
                <a:cxn ang="0">
                  <a:pos x="csX315" y="csY315"/>
                </a:cxn>
                <a:cxn ang="0">
                  <a:pos x="csX316" y="csY316"/>
                </a:cxn>
                <a:cxn ang="0">
                  <a:pos x="csX317" y="csY317"/>
                </a:cxn>
                <a:cxn ang="0">
                  <a:pos x="csX318" y="csY318"/>
                </a:cxn>
                <a:cxn ang="0">
                  <a:pos x="csX319" y="csY319"/>
                </a:cxn>
                <a:cxn ang="0">
                  <a:pos x="csX320" y="csY320"/>
                </a:cxn>
                <a:cxn ang="0">
                  <a:pos x="csX321" y="csY321"/>
                </a:cxn>
                <a:cxn ang="0">
                  <a:pos x="csX322" y="csY322"/>
                </a:cxn>
                <a:cxn ang="0">
                  <a:pos x="csX323" y="csY323"/>
                </a:cxn>
                <a:cxn ang="0">
                  <a:pos x="csX324" y="csY324"/>
                </a:cxn>
                <a:cxn ang="0">
                  <a:pos x="csX325" y="csY325"/>
                </a:cxn>
                <a:cxn ang="0">
                  <a:pos x="csX326" y="csY326"/>
                </a:cxn>
                <a:cxn ang="0">
                  <a:pos x="csX327" y="csY327"/>
                </a:cxn>
                <a:cxn ang="0">
                  <a:pos x="csX328" y="csY328"/>
                </a:cxn>
                <a:cxn ang="0">
                  <a:pos x="csX329" y="csY329"/>
                </a:cxn>
                <a:cxn ang="0">
                  <a:pos x="csX330" y="csY330"/>
                </a:cxn>
                <a:cxn ang="0">
                  <a:pos x="csX331" y="csY331"/>
                </a:cxn>
                <a:cxn ang="0">
                  <a:pos x="csX332" y="csY332"/>
                </a:cxn>
                <a:cxn ang="0">
                  <a:pos x="csX333" y="csY333"/>
                </a:cxn>
                <a:cxn ang="0">
                  <a:pos x="csX334" y="csY334"/>
                </a:cxn>
                <a:cxn ang="0">
                  <a:pos x="csX335" y="csY335"/>
                </a:cxn>
                <a:cxn ang="0">
                  <a:pos x="csX336" y="csY336"/>
                </a:cxn>
                <a:cxn ang="0">
                  <a:pos x="csX337" y="csY337"/>
                </a:cxn>
                <a:cxn ang="0">
                  <a:pos x="csX338" y="csY338"/>
                </a:cxn>
                <a:cxn ang="0">
                  <a:pos x="csX339" y="csY339"/>
                </a:cxn>
                <a:cxn ang="0">
                  <a:pos x="csX340" y="csY340"/>
                </a:cxn>
                <a:cxn ang="0">
                  <a:pos x="csX341" y="csY341"/>
                </a:cxn>
                <a:cxn ang="0">
                  <a:pos x="csX342" y="csY342"/>
                </a:cxn>
                <a:cxn ang="0">
                  <a:pos x="csX343" y="csY343"/>
                </a:cxn>
                <a:cxn ang="0">
                  <a:pos x="csX344" y="csY344"/>
                </a:cxn>
                <a:cxn ang="0">
                  <a:pos x="csX345" y="csY345"/>
                </a:cxn>
                <a:cxn ang="0">
                  <a:pos x="csX346" y="csY346"/>
                </a:cxn>
                <a:cxn ang="0">
                  <a:pos x="csX347" y="csY347"/>
                </a:cxn>
                <a:cxn ang="0">
                  <a:pos x="csX348" y="csY348"/>
                </a:cxn>
                <a:cxn ang="0">
                  <a:pos x="csX349" y="csY349"/>
                </a:cxn>
                <a:cxn ang="0">
                  <a:pos x="csX350" y="csY350"/>
                </a:cxn>
                <a:cxn ang="0">
                  <a:pos x="csX351" y="csY351"/>
                </a:cxn>
                <a:cxn ang="0">
                  <a:pos x="csX352" y="csY352"/>
                </a:cxn>
                <a:cxn ang="0">
                  <a:pos x="csX353" y="csY353"/>
                </a:cxn>
                <a:cxn ang="0">
                  <a:pos x="csX354" y="csY354"/>
                </a:cxn>
                <a:cxn ang="0">
                  <a:pos x="csX355" y="csY355"/>
                </a:cxn>
                <a:cxn ang="0">
                  <a:pos x="csX356" y="csY356"/>
                </a:cxn>
                <a:cxn ang="0">
                  <a:pos x="csX357" y="csY357"/>
                </a:cxn>
                <a:cxn ang="0">
                  <a:pos x="csX358" y="csY358"/>
                </a:cxn>
                <a:cxn ang="0">
                  <a:pos x="csX359" y="csY359"/>
                </a:cxn>
                <a:cxn ang="0">
                  <a:pos x="csX360" y="csY360"/>
                </a:cxn>
                <a:cxn ang="0">
                  <a:pos x="csX361" y="csY361"/>
                </a:cxn>
                <a:cxn ang="0">
                  <a:pos x="csX362" y="csY362"/>
                </a:cxn>
                <a:cxn ang="0">
                  <a:pos x="csX363" y="csY363"/>
                </a:cxn>
                <a:cxn ang="0">
                  <a:pos x="csX364" y="csY364"/>
                </a:cxn>
                <a:cxn ang="0">
                  <a:pos x="csX365" y="csY365"/>
                </a:cxn>
                <a:cxn ang="0">
                  <a:pos x="csX366" y="csY366"/>
                </a:cxn>
                <a:cxn ang="0">
                  <a:pos x="csX367" y="csY367"/>
                </a:cxn>
                <a:cxn ang="0">
                  <a:pos x="csX368" y="csY368"/>
                </a:cxn>
                <a:cxn ang="0">
                  <a:pos x="csX369" y="csY369"/>
                </a:cxn>
                <a:cxn ang="0">
                  <a:pos x="csX370" y="csY370"/>
                </a:cxn>
                <a:cxn ang="0">
                  <a:pos x="csX371" y="csY371"/>
                </a:cxn>
                <a:cxn ang="0">
                  <a:pos x="csX372" y="csY372"/>
                </a:cxn>
                <a:cxn ang="0">
                  <a:pos x="csX373" y="csY373"/>
                </a:cxn>
                <a:cxn ang="0">
                  <a:pos x="csX374" y="csY374"/>
                </a:cxn>
                <a:cxn ang="0">
                  <a:pos x="csX375" y="csY375"/>
                </a:cxn>
                <a:cxn ang="0">
                  <a:pos x="csX376" y="csY376"/>
                </a:cxn>
                <a:cxn ang="0">
                  <a:pos x="csX377" y="csY377"/>
                </a:cxn>
                <a:cxn ang="0">
                  <a:pos x="csX378" y="csY378"/>
                </a:cxn>
                <a:cxn ang="0">
                  <a:pos x="csX379" y="csY379"/>
                </a:cxn>
                <a:cxn ang="0">
                  <a:pos x="csX380" y="csY380"/>
                </a:cxn>
                <a:cxn ang="0">
                  <a:pos x="csX381" y="csY381"/>
                </a:cxn>
                <a:cxn ang="0">
                  <a:pos x="csX382" y="csY382"/>
                </a:cxn>
                <a:cxn ang="0">
                  <a:pos x="csX383" y="csY383"/>
                </a:cxn>
                <a:cxn ang="0">
                  <a:pos x="csX384" y="csY384"/>
                </a:cxn>
                <a:cxn ang="0">
                  <a:pos x="csX385" y="csY385"/>
                </a:cxn>
                <a:cxn ang="0">
                  <a:pos x="csX386" y="csY386"/>
                </a:cxn>
                <a:cxn ang="0">
                  <a:pos x="csX387" y="csY387"/>
                </a:cxn>
                <a:cxn ang="0">
                  <a:pos x="csX388" y="csY388"/>
                </a:cxn>
                <a:cxn ang="0">
                  <a:pos x="csX389" y="csY389"/>
                </a:cxn>
                <a:cxn ang="0">
                  <a:pos x="csX390" y="csY390"/>
                </a:cxn>
                <a:cxn ang="0">
                  <a:pos x="csX391" y="csY391"/>
                </a:cxn>
                <a:cxn ang="0">
                  <a:pos x="csX392" y="csY392"/>
                </a:cxn>
                <a:cxn ang="0">
                  <a:pos x="csX393" y="csY393"/>
                </a:cxn>
                <a:cxn ang="0">
                  <a:pos x="csX394" y="csY394"/>
                </a:cxn>
                <a:cxn ang="0">
                  <a:pos x="csX395" y="csY395"/>
                </a:cxn>
                <a:cxn ang="0">
                  <a:pos x="csX396" y="csY396"/>
                </a:cxn>
                <a:cxn ang="0">
                  <a:pos x="csX397" y="csY397"/>
                </a:cxn>
                <a:cxn ang="0">
                  <a:pos x="csX398" y="csY398"/>
                </a:cxn>
                <a:cxn ang="0">
                  <a:pos x="csX399" y="csY399"/>
                </a:cxn>
                <a:cxn ang="0">
                  <a:pos x="csX400" y="csY400"/>
                </a:cxn>
                <a:cxn ang="0">
                  <a:pos x="csX401" y="csY401"/>
                </a:cxn>
                <a:cxn ang="0">
                  <a:pos x="csX402" y="csY402"/>
                </a:cxn>
                <a:cxn ang="0">
                  <a:pos x="csX403" y="csY403"/>
                </a:cxn>
                <a:cxn ang="0">
                  <a:pos x="csX404" y="csY404"/>
                </a:cxn>
                <a:cxn ang="0">
                  <a:pos x="csX405" y="csY405"/>
                </a:cxn>
                <a:cxn ang="0">
                  <a:pos x="csX406" y="csY406"/>
                </a:cxn>
                <a:cxn ang="0">
                  <a:pos x="csX407" y="csY407"/>
                </a:cxn>
                <a:cxn ang="0">
                  <a:pos x="csX408" y="csY408"/>
                </a:cxn>
                <a:cxn ang="0">
                  <a:pos x="csX409" y="csY409"/>
                </a:cxn>
                <a:cxn ang="0">
                  <a:pos x="csX410" y="csY410"/>
                </a:cxn>
                <a:cxn ang="0">
                  <a:pos x="csX411" y="csY411"/>
                </a:cxn>
                <a:cxn ang="0">
                  <a:pos x="csX412" y="csY412"/>
                </a:cxn>
                <a:cxn ang="0">
                  <a:pos x="csX413" y="csY413"/>
                </a:cxn>
                <a:cxn ang="0">
                  <a:pos x="csX414" y="csY414"/>
                </a:cxn>
                <a:cxn ang="0">
                  <a:pos x="csX415" y="csY415"/>
                </a:cxn>
                <a:cxn ang="0">
                  <a:pos x="csX416" y="csY416"/>
                </a:cxn>
                <a:cxn ang="0">
                  <a:pos x="csX417" y="csY417"/>
                </a:cxn>
                <a:cxn ang="0">
                  <a:pos x="csX418" y="csY418"/>
                </a:cxn>
                <a:cxn ang="0">
                  <a:pos x="csX419" y="csY419"/>
                </a:cxn>
                <a:cxn ang="0">
                  <a:pos x="csX420" y="csY420"/>
                </a:cxn>
                <a:cxn ang="0">
                  <a:pos x="csX421" y="csY421"/>
                </a:cxn>
                <a:cxn ang="0">
                  <a:pos x="csX422" y="csY422"/>
                </a:cxn>
                <a:cxn ang="0">
                  <a:pos x="csX423" y="csY423"/>
                </a:cxn>
                <a:cxn ang="0">
                  <a:pos x="csX424" y="csY424"/>
                </a:cxn>
                <a:cxn ang="0">
                  <a:pos x="csX425" y="csY425"/>
                </a:cxn>
                <a:cxn ang="0">
                  <a:pos x="csX426" y="csY426"/>
                </a:cxn>
                <a:cxn ang="0">
                  <a:pos x="csX427" y="csY427"/>
                </a:cxn>
                <a:cxn ang="0">
                  <a:pos x="csX428" y="csY428"/>
                </a:cxn>
                <a:cxn ang="0">
                  <a:pos x="csX429" y="csY429"/>
                </a:cxn>
                <a:cxn ang="0">
                  <a:pos x="csX430" y="csY430"/>
                </a:cxn>
                <a:cxn ang="0">
                  <a:pos x="csX431" y="csY431"/>
                </a:cxn>
                <a:cxn ang="0">
                  <a:pos x="csX432" y="csY432"/>
                </a:cxn>
                <a:cxn ang="0">
                  <a:pos x="csX433" y="csY433"/>
                </a:cxn>
                <a:cxn ang="0">
                  <a:pos x="csX434" y="csY434"/>
                </a:cxn>
                <a:cxn ang="0">
                  <a:pos x="csX435" y="csY435"/>
                </a:cxn>
                <a:cxn ang="0">
                  <a:pos x="csX436" y="csY436"/>
                </a:cxn>
                <a:cxn ang="0">
                  <a:pos x="csX437" y="csY437"/>
                </a:cxn>
                <a:cxn ang="0">
                  <a:pos x="csX438" y="csY438"/>
                </a:cxn>
                <a:cxn ang="0">
                  <a:pos x="csX439" y="csY439"/>
                </a:cxn>
                <a:cxn ang="0">
                  <a:pos x="csX440" y="csY440"/>
                </a:cxn>
                <a:cxn ang="0">
                  <a:pos x="csX441" y="csY441"/>
                </a:cxn>
                <a:cxn ang="0">
                  <a:pos x="csX442" y="csY442"/>
                </a:cxn>
                <a:cxn ang="0">
                  <a:pos x="csX443" y="csY443"/>
                </a:cxn>
                <a:cxn ang="0">
                  <a:pos x="csX444" y="csY444"/>
                </a:cxn>
                <a:cxn ang="0">
                  <a:pos x="csX445" y="csY445"/>
                </a:cxn>
                <a:cxn ang="0">
                  <a:pos x="csX446" y="csY446"/>
                </a:cxn>
                <a:cxn ang="0">
                  <a:pos x="csX447" y="csY447"/>
                </a:cxn>
                <a:cxn ang="0">
                  <a:pos x="csX448" y="csY448"/>
                </a:cxn>
                <a:cxn ang="0">
                  <a:pos x="csX449" y="csY449"/>
                </a:cxn>
                <a:cxn ang="0">
                  <a:pos x="csX450" y="csY450"/>
                </a:cxn>
                <a:cxn ang="0">
                  <a:pos x="csX451" y="csY451"/>
                </a:cxn>
                <a:cxn ang="0">
                  <a:pos x="csX452" y="csY452"/>
                </a:cxn>
                <a:cxn ang="0">
                  <a:pos x="csX453" y="csY453"/>
                </a:cxn>
                <a:cxn ang="0">
                  <a:pos x="csX454" y="csY454"/>
                </a:cxn>
                <a:cxn ang="0">
                  <a:pos x="csX455" y="csY455"/>
                </a:cxn>
                <a:cxn ang="0">
                  <a:pos x="csX456" y="csY456"/>
                </a:cxn>
                <a:cxn ang="0">
                  <a:pos x="csX457" y="csY457"/>
                </a:cxn>
                <a:cxn ang="0">
                  <a:pos x="csX458" y="csY458"/>
                </a:cxn>
                <a:cxn ang="0">
                  <a:pos x="csX459" y="csY459"/>
                </a:cxn>
                <a:cxn ang="0">
                  <a:pos x="csX460" y="csY460"/>
                </a:cxn>
                <a:cxn ang="0">
                  <a:pos x="csX461" y="csY461"/>
                </a:cxn>
                <a:cxn ang="0">
                  <a:pos x="csX462" y="csY462"/>
                </a:cxn>
                <a:cxn ang="0">
                  <a:pos x="csX463" y="csY463"/>
                </a:cxn>
                <a:cxn ang="0">
                  <a:pos x="csX464" y="csY464"/>
                </a:cxn>
                <a:cxn ang="0">
                  <a:pos x="csX465" y="csY465"/>
                </a:cxn>
                <a:cxn ang="0">
                  <a:pos x="csX466" y="csY466"/>
                </a:cxn>
                <a:cxn ang="0">
                  <a:pos x="csX467" y="csY467"/>
                </a:cxn>
                <a:cxn ang="0">
                  <a:pos x="csX468" y="csY468"/>
                </a:cxn>
                <a:cxn ang="0">
                  <a:pos x="csX469" y="csY469"/>
                </a:cxn>
                <a:cxn ang="0">
                  <a:pos x="csX470" y="csY470"/>
                </a:cxn>
                <a:cxn ang="0">
                  <a:pos x="csX471" y="csY471"/>
                </a:cxn>
                <a:cxn ang="0">
                  <a:pos x="csX472" y="csY472"/>
                </a:cxn>
                <a:cxn ang="0">
                  <a:pos x="csX473" y="csY473"/>
                </a:cxn>
                <a:cxn ang="0">
                  <a:pos x="csX474" y="csY474"/>
                </a:cxn>
                <a:cxn ang="0">
                  <a:pos x="csX475" y="csY475"/>
                </a:cxn>
                <a:cxn ang="0">
                  <a:pos x="csX476" y="csY476"/>
                </a:cxn>
                <a:cxn ang="0">
                  <a:pos x="csX477" y="csY477"/>
                </a:cxn>
                <a:cxn ang="0">
                  <a:pos x="csX478" y="csY478"/>
                </a:cxn>
                <a:cxn ang="0">
                  <a:pos x="csX479" y="csY479"/>
                </a:cxn>
                <a:cxn ang="0">
                  <a:pos x="csX480" y="csY480"/>
                </a:cxn>
                <a:cxn ang="0">
                  <a:pos x="csX481" y="csY481"/>
                </a:cxn>
                <a:cxn ang="0">
                  <a:pos x="csX482" y="csY482"/>
                </a:cxn>
                <a:cxn ang="0">
                  <a:pos x="csX483" y="csY483"/>
                </a:cxn>
                <a:cxn ang="0">
                  <a:pos x="csX484" y="csY484"/>
                </a:cxn>
                <a:cxn ang="0">
                  <a:pos x="csX485" y="csY485"/>
                </a:cxn>
                <a:cxn ang="0">
                  <a:pos x="csX486" y="csY486"/>
                </a:cxn>
                <a:cxn ang="0">
                  <a:pos x="csX487" y="csY487"/>
                </a:cxn>
                <a:cxn ang="0">
                  <a:pos x="csX488" y="csY488"/>
                </a:cxn>
                <a:cxn ang="0">
                  <a:pos x="csX489" y="csY489"/>
                </a:cxn>
                <a:cxn ang="0">
                  <a:pos x="csX490" y="csY490"/>
                </a:cxn>
                <a:cxn ang="0">
                  <a:pos x="csX491" y="csY491"/>
                </a:cxn>
                <a:cxn ang="0">
                  <a:pos x="csX492" y="csY492"/>
                </a:cxn>
                <a:cxn ang="0">
                  <a:pos x="csX493" y="csY493"/>
                </a:cxn>
                <a:cxn ang="0">
                  <a:pos x="csX494" y="csY494"/>
                </a:cxn>
                <a:cxn ang="0">
                  <a:pos x="csX495" y="csY495"/>
                </a:cxn>
                <a:cxn ang="0">
                  <a:pos x="csX496" y="csY496"/>
                </a:cxn>
                <a:cxn ang="0">
                  <a:pos x="csX497" y="csY497"/>
                </a:cxn>
                <a:cxn ang="0">
                  <a:pos x="csX498" y="csY498"/>
                </a:cxn>
                <a:cxn ang="0">
                  <a:pos x="csX499" y="csY499"/>
                </a:cxn>
                <a:cxn ang="0">
                  <a:pos x="csX500" y="csY500"/>
                </a:cxn>
                <a:cxn ang="0">
                  <a:pos x="csX501" y="csY501"/>
                </a:cxn>
                <a:cxn ang="0">
                  <a:pos x="csX502" y="csY502"/>
                </a:cxn>
                <a:cxn ang="0">
                  <a:pos x="csX503" y="csY503"/>
                </a:cxn>
                <a:cxn ang="0">
                  <a:pos x="csX504" y="csY504"/>
                </a:cxn>
                <a:cxn ang="0">
                  <a:pos x="csX505" y="csY505"/>
                </a:cxn>
                <a:cxn ang="0">
                  <a:pos x="csX506" y="csY506"/>
                </a:cxn>
                <a:cxn ang="0">
                  <a:pos x="csX507" y="csY507"/>
                </a:cxn>
                <a:cxn ang="0">
                  <a:pos x="csX508" y="csY508"/>
                </a:cxn>
                <a:cxn ang="0">
                  <a:pos x="csX509" y="csY509"/>
                </a:cxn>
                <a:cxn ang="0">
                  <a:pos x="csX510" y="csY510"/>
                </a:cxn>
                <a:cxn ang="0">
                  <a:pos x="csX511" y="csY511"/>
                </a:cxn>
                <a:cxn ang="0">
                  <a:pos x="csX512" y="csY512"/>
                </a:cxn>
                <a:cxn ang="0">
                  <a:pos x="csX513" y="csY513"/>
                </a:cxn>
                <a:cxn ang="0">
                  <a:pos x="csX514" y="csY514"/>
                </a:cxn>
                <a:cxn ang="0">
                  <a:pos x="csX515" y="csY515"/>
                </a:cxn>
                <a:cxn ang="0">
                  <a:pos x="csX516" y="csY516"/>
                </a:cxn>
                <a:cxn ang="0">
                  <a:pos x="csX517" y="csY517"/>
                </a:cxn>
                <a:cxn ang="0">
                  <a:pos x="csX518" y="csY518"/>
                </a:cxn>
                <a:cxn ang="0">
                  <a:pos x="csX519" y="csY519"/>
                </a:cxn>
                <a:cxn ang="0">
                  <a:pos x="csX520" y="csY520"/>
                </a:cxn>
                <a:cxn ang="0">
                  <a:pos x="csX521" y="csY521"/>
                </a:cxn>
                <a:cxn ang="0">
                  <a:pos x="csX522" y="csY522"/>
                </a:cxn>
                <a:cxn ang="0">
                  <a:pos x="csX523" y="csY523"/>
                </a:cxn>
                <a:cxn ang="0">
                  <a:pos x="csX524" y="csY524"/>
                </a:cxn>
                <a:cxn ang="0">
                  <a:pos x="csX525" y="csY525"/>
                </a:cxn>
                <a:cxn ang="0">
                  <a:pos x="csX526" y="csY526"/>
                </a:cxn>
                <a:cxn ang="0">
                  <a:pos x="csX527" y="csY527"/>
                </a:cxn>
                <a:cxn ang="0">
                  <a:pos x="csX528" y="csY528"/>
                </a:cxn>
                <a:cxn ang="0">
                  <a:pos x="csX529" y="csY529"/>
                </a:cxn>
                <a:cxn ang="0">
                  <a:pos x="csX530" y="csY530"/>
                </a:cxn>
                <a:cxn ang="0">
                  <a:pos x="csX531" y="csY531"/>
                </a:cxn>
                <a:cxn ang="0">
                  <a:pos x="csX532" y="csY532"/>
                </a:cxn>
                <a:cxn ang="0">
                  <a:pos x="csX533" y="csY533"/>
                </a:cxn>
                <a:cxn ang="0">
                  <a:pos x="csX534" y="csY534"/>
                </a:cxn>
                <a:cxn ang="0">
                  <a:pos x="csX535" y="csY535"/>
                </a:cxn>
                <a:cxn ang="0">
                  <a:pos x="csX536" y="csY536"/>
                </a:cxn>
                <a:cxn ang="0">
                  <a:pos x="csX537" y="csY537"/>
                </a:cxn>
                <a:cxn ang="0">
                  <a:pos x="csX538" y="csY538"/>
                </a:cxn>
                <a:cxn ang="0">
                  <a:pos x="csX539" y="csY539"/>
                </a:cxn>
                <a:cxn ang="0">
                  <a:pos x="csX540" y="csY540"/>
                </a:cxn>
                <a:cxn ang="0">
                  <a:pos x="csX541" y="csY541"/>
                </a:cxn>
                <a:cxn ang="0">
                  <a:pos x="csX542" y="csY542"/>
                </a:cxn>
                <a:cxn ang="0">
                  <a:pos x="csX543" y="csY543"/>
                </a:cxn>
                <a:cxn ang="0">
                  <a:pos x="csX544" y="csY544"/>
                </a:cxn>
                <a:cxn ang="0">
                  <a:pos x="csX545" y="csY545"/>
                </a:cxn>
                <a:cxn ang="0">
                  <a:pos x="csX546" y="csY546"/>
                </a:cxn>
                <a:cxn ang="0">
                  <a:pos x="csX547" y="csY547"/>
                </a:cxn>
                <a:cxn ang="0">
                  <a:pos x="csX548" y="csY548"/>
                </a:cxn>
                <a:cxn ang="0">
                  <a:pos x="csX549" y="csY549"/>
                </a:cxn>
                <a:cxn ang="0">
                  <a:pos x="csX550" y="csY550"/>
                </a:cxn>
                <a:cxn ang="0">
                  <a:pos x="csX551" y="csY551"/>
                </a:cxn>
                <a:cxn ang="0">
                  <a:pos x="csX552" y="csY552"/>
                </a:cxn>
                <a:cxn ang="0">
                  <a:pos x="csX553" y="csY553"/>
                </a:cxn>
                <a:cxn ang="0">
                  <a:pos x="csX554" y="csY554"/>
                </a:cxn>
                <a:cxn ang="0">
                  <a:pos x="csX555" y="csY555"/>
                </a:cxn>
                <a:cxn ang="0">
                  <a:pos x="csX556" y="csY556"/>
                </a:cxn>
                <a:cxn ang="0">
                  <a:pos x="csX557" y="csY557"/>
                </a:cxn>
                <a:cxn ang="0">
                  <a:pos x="csX558" y="csY558"/>
                </a:cxn>
                <a:cxn ang="0">
                  <a:pos x="csX559" y="csY559"/>
                </a:cxn>
                <a:cxn ang="0">
                  <a:pos x="csX560" y="csY560"/>
                </a:cxn>
                <a:cxn ang="0">
                  <a:pos x="csX561" y="csY561"/>
                </a:cxn>
                <a:cxn ang="0">
                  <a:pos x="csX562" y="csY562"/>
                </a:cxn>
                <a:cxn ang="0">
                  <a:pos x="csX563" y="csY563"/>
                </a:cxn>
                <a:cxn ang="0">
                  <a:pos x="csX564" y="csY564"/>
                </a:cxn>
                <a:cxn ang="0">
                  <a:pos x="csX565" y="csY565"/>
                </a:cxn>
                <a:cxn ang="0">
                  <a:pos x="csX566" y="csY566"/>
                </a:cxn>
                <a:cxn ang="0">
                  <a:pos x="csX567" y="csY567"/>
                </a:cxn>
                <a:cxn ang="0">
                  <a:pos x="csX568" y="csY568"/>
                </a:cxn>
                <a:cxn ang="0">
                  <a:pos x="csX569" y="csY569"/>
                </a:cxn>
                <a:cxn ang="0">
                  <a:pos x="csX570" y="csY570"/>
                </a:cxn>
                <a:cxn ang="0">
                  <a:pos x="csX571" y="csY571"/>
                </a:cxn>
                <a:cxn ang="0">
                  <a:pos x="csX572" y="csY572"/>
                </a:cxn>
                <a:cxn ang="0">
                  <a:pos x="csX573" y="csY573"/>
                </a:cxn>
                <a:cxn ang="0">
                  <a:pos x="csX574" y="csY574"/>
                </a:cxn>
                <a:cxn ang="0">
                  <a:pos x="csX575" y="csY575"/>
                </a:cxn>
                <a:cxn ang="0">
                  <a:pos x="csX576" y="csY576"/>
                </a:cxn>
                <a:cxn ang="0">
                  <a:pos x="csX577" y="csY577"/>
                </a:cxn>
                <a:cxn ang="0">
                  <a:pos x="csX578" y="csY578"/>
                </a:cxn>
                <a:cxn ang="0">
                  <a:pos x="csX579" y="csY579"/>
                </a:cxn>
                <a:cxn ang="0">
                  <a:pos x="csX580" y="csY580"/>
                </a:cxn>
                <a:cxn ang="0">
                  <a:pos x="csX581" y="csY581"/>
                </a:cxn>
                <a:cxn ang="0">
                  <a:pos x="csX582" y="csY582"/>
                </a:cxn>
                <a:cxn ang="0">
                  <a:pos x="csX583" y="csY583"/>
                </a:cxn>
                <a:cxn ang="0">
                  <a:pos x="csX584" y="csY584"/>
                </a:cxn>
                <a:cxn ang="0">
                  <a:pos x="csX585" y="csY585"/>
                </a:cxn>
                <a:cxn ang="0">
                  <a:pos x="csX586" y="csY586"/>
                </a:cxn>
                <a:cxn ang="0">
                  <a:pos x="csX587" y="csY587"/>
                </a:cxn>
                <a:cxn ang="0">
                  <a:pos x="csX588" y="csY588"/>
                </a:cxn>
                <a:cxn ang="0">
                  <a:pos x="csX589" y="csY589"/>
                </a:cxn>
                <a:cxn ang="0">
                  <a:pos x="csX590" y="csY590"/>
                </a:cxn>
                <a:cxn ang="0">
                  <a:pos x="csX591" y="csY591"/>
                </a:cxn>
                <a:cxn ang="0">
                  <a:pos x="csX592" y="csY592"/>
                </a:cxn>
                <a:cxn ang="0">
                  <a:pos x="csX593" y="csY593"/>
                </a:cxn>
                <a:cxn ang="0">
                  <a:pos x="csX594" y="csY594"/>
                </a:cxn>
                <a:cxn ang="0">
                  <a:pos x="csX595" y="csY595"/>
                </a:cxn>
                <a:cxn ang="0">
                  <a:pos x="csX596" y="csY596"/>
                </a:cxn>
                <a:cxn ang="0">
                  <a:pos x="csX597" y="csY597"/>
                </a:cxn>
                <a:cxn ang="0">
                  <a:pos x="csX598" y="csY598"/>
                </a:cxn>
                <a:cxn ang="0">
                  <a:pos x="csX599" y="csY599"/>
                </a:cxn>
                <a:cxn ang="0">
                  <a:pos x="csX600" y="csY600"/>
                </a:cxn>
                <a:cxn ang="0">
                  <a:pos x="csX601" y="csY601"/>
                </a:cxn>
                <a:cxn ang="0">
                  <a:pos x="csX602" y="csY602"/>
                </a:cxn>
                <a:cxn ang="0">
                  <a:pos x="csX603" y="csY603"/>
                </a:cxn>
                <a:cxn ang="0">
                  <a:pos x="csX604" y="csY604"/>
                </a:cxn>
                <a:cxn ang="0">
                  <a:pos x="csX605" y="csY605"/>
                </a:cxn>
                <a:cxn ang="0">
                  <a:pos x="csX606" y="csY606"/>
                </a:cxn>
                <a:cxn ang="0">
                  <a:pos x="csX607" y="csY607"/>
                </a:cxn>
                <a:cxn ang="0">
                  <a:pos x="csX608" y="csY608"/>
                </a:cxn>
                <a:cxn ang="0">
                  <a:pos x="csX609" y="csY609"/>
                </a:cxn>
                <a:cxn ang="0">
                  <a:pos x="csX610" y="csY610"/>
                </a:cxn>
                <a:cxn ang="0">
                  <a:pos x="csX611" y="csY611"/>
                </a:cxn>
                <a:cxn ang="0">
                  <a:pos x="csX612" y="csY612"/>
                </a:cxn>
                <a:cxn ang="0">
                  <a:pos x="csX613" y="csY613"/>
                </a:cxn>
                <a:cxn ang="0">
                  <a:pos x="csX614" y="csY614"/>
                </a:cxn>
                <a:cxn ang="0">
                  <a:pos x="csX615" y="csY615"/>
                </a:cxn>
                <a:cxn ang="0">
                  <a:pos x="csX616" y="csY616"/>
                </a:cxn>
                <a:cxn ang="0">
                  <a:pos x="csX617" y="csY617"/>
                </a:cxn>
                <a:cxn ang="0">
                  <a:pos x="csX618" y="csY618"/>
                </a:cxn>
                <a:cxn ang="0">
                  <a:pos x="csX619" y="csY619"/>
                </a:cxn>
                <a:cxn ang="0">
                  <a:pos x="csX620" y="csY620"/>
                </a:cxn>
                <a:cxn ang="0">
                  <a:pos x="csX621" y="csY621"/>
                </a:cxn>
                <a:cxn ang="0">
                  <a:pos x="csX622" y="csY622"/>
                </a:cxn>
                <a:cxn ang="0">
                  <a:pos x="csX623" y="csY623"/>
                </a:cxn>
                <a:cxn ang="0">
                  <a:pos x="csX624" y="csY624"/>
                </a:cxn>
                <a:cxn ang="0">
                  <a:pos x="csX625" y="csY625"/>
                </a:cxn>
                <a:cxn ang="0">
                  <a:pos x="csX626" y="csY626"/>
                </a:cxn>
                <a:cxn ang="0">
                  <a:pos x="csX627" y="csY627"/>
                </a:cxn>
                <a:cxn ang="0">
                  <a:pos x="csX628" y="csY628"/>
                </a:cxn>
                <a:cxn ang="0">
                  <a:pos x="csX629" y="csY629"/>
                </a:cxn>
                <a:cxn ang="0">
                  <a:pos x="csX630" y="csY630"/>
                </a:cxn>
                <a:cxn ang="0">
                  <a:pos x="csX631" y="csY631"/>
                </a:cxn>
                <a:cxn ang="0">
                  <a:pos x="csX632" y="csY632"/>
                </a:cxn>
                <a:cxn ang="0">
                  <a:pos x="csX633" y="csY633"/>
                </a:cxn>
                <a:cxn ang="0">
                  <a:pos x="csX634" y="csY634"/>
                </a:cxn>
                <a:cxn ang="0">
                  <a:pos x="csX635" y="csY635"/>
                </a:cxn>
                <a:cxn ang="0">
                  <a:pos x="csX636" y="csY636"/>
                </a:cxn>
                <a:cxn ang="0">
                  <a:pos x="csX637" y="csY637"/>
                </a:cxn>
                <a:cxn ang="0">
                  <a:pos x="csX638" y="csY638"/>
                </a:cxn>
                <a:cxn ang="0">
                  <a:pos x="csX639" y="csY639"/>
                </a:cxn>
                <a:cxn ang="0">
                  <a:pos x="csX640" y="csY640"/>
                </a:cxn>
                <a:cxn ang="0">
                  <a:pos x="csX641" y="csY641"/>
                </a:cxn>
                <a:cxn ang="0">
                  <a:pos x="csX642" y="csY642"/>
                </a:cxn>
                <a:cxn ang="0">
                  <a:pos x="csX643" y="csY643"/>
                </a:cxn>
                <a:cxn ang="0">
                  <a:pos x="csX644" y="csY644"/>
                </a:cxn>
                <a:cxn ang="0">
                  <a:pos x="csX645" y="csY645"/>
                </a:cxn>
                <a:cxn ang="0">
                  <a:pos x="csX646" y="csY646"/>
                </a:cxn>
                <a:cxn ang="0">
                  <a:pos x="csX647" y="csY647"/>
                </a:cxn>
                <a:cxn ang="0">
                  <a:pos x="csX648" y="csY648"/>
                </a:cxn>
                <a:cxn ang="0">
                  <a:pos x="csX649" y="csY649"/>
                </a:cxn>
                <a:cxn ang="0">
                  <a:pos x="csX650" y="csY650"/>
                </a:cxn>
                <a:cxn ang="0">
                  <a:pos x="csX651" y="csY651"/>
                </a:cxn>
                <a:cxn ang="0">
                  <a:pos x="csX652" y="csY652"/>
                </a:cxn>
                <a:cxn ang="0">
                  <a:pos x="csX653" y="csY653"/>
                </a:cxn>
                <a:cxn ang="0">
                  <a:pos x="csX654" y="csY654"/>
                </a:cxn>
                <a:cxn ang="0">
                  <a:pos x="csX655" y="csY655"/>
                </a:cxn>
                <a:cxn ang="0">
                  <a:pos x="csX656" y="csY656"/>
                </a:cxn>
                <a:cxn ang="0">
                  <a:pos x="csX657" y="csY657"/>
                </a:cxn>
                <a:cxn ang="0">
                  <a:pos x="csX658" y="csY658"/>
                </a:cxn>
                <a:cxn ang="0">
                  <a:pos x="csX659" y="csY659"/>
                </a:cxn>
                <a:cxn ang="0">
                  <a:pos x="csX660" y="csY660"/>
                </a:cxn>
                <a:cxn ang="0">
                  <a:pos x="csX661" y="csY661"/>
                </a:cxn>
                <a:cxn ang="0">
                  <a:pos x="csX662" y="csY662"/>
                </a:cxn>
                <a:cxn ang="0">
                  <a:pos x="csX663" y="csY663"/>
                </a:cxn>
                <a:cxn ang="0">
                  <a:pos x="csX664" y="csY664"/>
                </a:cxn>
                <a:cxn ang="0">
                  <a:pos x="csX665" y="csY665"/>
                </a:cxn>
                <a:cxn ang="0">
                  <a:pos x="csX666" y="csY666"/>
                </a:cxn>
                <a:cxn ang="0">
                  <a:pos x="csX667" y="csY667"/>
                </a:cxn>
                <a:cxn ang="0">
                  <a:pos x="csX668" y="csY668"/>
                </a:cxn>
                <a:cxn ang="0">
                  <a:pos x="csX669" y="csY669"/>
                </a:cxn>
                <a:cxn ang="0">
                  <a:pos x="csX670" y="csY670"/>
                </a:cxn>
                <a:cxn ang="0">
                  <a:pos x="csX671" y="csY671"/>
                </a:cxn>
                <a:cxn ang="0">
                  <a:pos x="csX672" y="csY672"/>
                </a:cxn>
                <a:cxn ang="0">
                  <a:pos x="csX673" y="csY673"/>
                </a:cxn>
                <a:cxn ang="0">
                  <a:pos x="csX674" y="csY674"/>
                </a:cxn>
                <a:cxn ang="0">
                  <a:pos x="csX675" y="csY675"/>
                </a:cxn>
                <a:cxn ang="0">
                  <a:pos x="csX676" y="csY676"/>
                </a:cxn>
                <a:cxn ang="0">
                  <a:pos x="csX677" y="csY677"/>
                </a:cxn>
                <a:cxn ang="0">
                  <a:pos x="csX678" y="csY678"/>
                </a:cxn>
                <a:cxn ang="0">
                  <a:pos x="csX679" y="csY679"/>
                </a:cxn>
                <a:cxn ang="0">
                  <a:pos x="csX680" y="csY680"/>
                </a:cxn>
                <a:cxn ang="0">
                  <a:pos x="csX681" y="csY681"/>
                </a:cxn>
                <a:cxn ang="0">
                  <a:pos x="csX682" y="csY682"/>
                </a:cxn>
                <a:cxn ang="0">
                  <a:pos x="csX683" y="csY683"/>
                </a:cxn>
                <a:cxn ang="0">
                  <a:pos x="csX684" y="csY684"/>
                </a:cxn>
                <a:cxn ang="0">
                  <a:pos x="csX685" y="csY685"/>
                </a:cxn>
                <a:cxn ang="0">
                  <a:pos x="csX686" y="csY686"/>
                </a:cxn>
                <a:cxn ang="0">
                  <a:pos x="csX687" y="csY687"/>
                </a:cxn>
                <a:cxn ang="0">
                  <a:pos x="csX688" y="csY688"/>
                </a:cxn>
                <a:cxn ang="0">
                  <a:pos x="csX689" y="csY689"/>
                </a:cxn>
                <a:cxn ang="0">
                  <a:pos x="csX690" y="csY690"/>
                </a:cxn>
                <a:cxn ang="0">
                  <a:pos x="csX691" y="csY691"/>
                </a:cxn>
                <a:cxn ang="0">
                  <a:pos x="csX692" y="csY692"/>
                </a:cxn>
                <a:cxn ang="0">
                  <a:pos x="csX693" y="csY693"/>
                </a:cxn>
                <a:cxn ang="0">
                  <a:pos x="csX694" y="csY694"/>
                </a:cxn>
                <a:cxn ang="0">
                  <a:pos x="csX695" y="csY695"/>
                </a:cxn>
                <a:cxn ang="0">
                  <a:pos x="csX696" y="csY696"/>
                </a:cxn>
                <a:cxn ang="0">
                  <a:pos x="csX697" y="csY697"/>
                </a:cxn>
                <a:cxn ang="0">
                  <a:pos x="csX698" y="csY698"/>
                </a:cxn>
                <a:cxn ang="0">
                  <a:pos x="csX699" y="csY699"/>
                </a:cxn>
                <a:cxn ang="0">
                  <a:pos x="csX700" y="csY700"/>
                </a:cxn>
                <a:cxn ang="0">
                  <a:pos x="csX701" y="csY701"/>
                </a:cxn>
                <a:cxn ang="0">
                  <a:pos x="csX702" y="csY702"/>
                </a:cxn>
                <a:cxn ang="0">
                  <a:pos x="csX703" y="csY703"/>
                </a:cxn>
                <a:cxn ang="0">
                  <a:pos x="csX704" y="csY704"/>
                </a:cxn>
                <a:cxn ang="0">
                  <a:pos x="csX705" y="csY705"/>
                </a:cxn>
                <a:cxn ang="0">
                  <a:pos x="csX706" y="csY706"/>
                </a:cxn>
                <a:cxn ang="0">
                  <a:pos x="csX707" y="csY707"/>
                </a:cxn>
                <a:cxn ang="0">
                  <a:pos x="csX708" y="csY708"/>
                </a:cxn>
                <a:cxn ang="0">
                  <a:pos x="csX709" y="csY709"/>
                </a:cxn>
                <a:cxn ang="0">
                  <a:pos x="csX710" y="csY710"/>
                </a:cxn>
                <a:cxn ang="0">
                  <a:pos x="csX711" y="csY711"/>
                </a:cxn>
                <a:cxn ang="0">
                  <a:pos x="csX712" y="csY712"/>
                </a:cxn>
                <a:cxn ang="0">
                  <a:pos x="csX713" y="csY713"/>
                </a:cxn>
                <a:cxn ang="0">
                  <a:pos x="csX714" y="csY714"/>
                </a:cxn>
                <a:cxn ang="0">
                  <a:pos x="csX715" y="csY715"/>
                </a:cxn>
                <a:cxn ang="0">
                  <a:pos x="csX716" y="csY716"/>
                </a:cxn>
                <a:cxn ang="0">
                  <a:pos x="csX717" y="csY717"/>
                </a:cxn>
                <a:cxn ang="0">
                  <a:pos x="csX718" y="csY718"/>
                </a:cxn>
                <a:cxn ang="0">
                  <a:pos x="csX719" y="csY719"/>
                </a:cxn>
                <a:cxn ang="0">
                  <a:pos x="csX720" y="csY720"/>
                </a:cxn>
                <a:cxn ang="0">
                  <a:pos x="csX721" y="csY721"/>
                </a:cxn>
                <a:cxn ang="0">
                  <a:pos x="csX722" y="csY722"/>
                </a:cxn>
                <a:cxn ang="0">
                  <a:pos x="csX723" y="csY723"/>
                </a:cxn>
                <a:cxn ang="0">
                  <a:pos x="csX724" y="csY724"/>
                </a:cxn>
                <a:cxn ang="0">
                  <a:pos x="csX725" y="csY725"/>
                </a:cxn>
                <a:cxn ang="0">
                  <a:pos x="csX726" y="csY726"/>
                </a:cxn>
                <a:cxn ang="0">
                  <a:pos x="csX727" y="csY727"/>
                </a:cxn>
                <a:cxn ang="0">
                  <a:pos x="csX728" y="csY728"/>
                </a:cxn>
                <a:cxn ang="0">
                  <a:pos x="csX729" y="csY729"/>
                </a:cxn>
                <a:cxn ang="0">
                  <a:pos x="csX730" y="csY730"/>
                </a:cxn>
                <a:cxn ang="0">
                  <a:pos x="csX731" y="csY731"/>
                </a:cxn>
                <a:cxn ang="0">
                  <a:pos x="csX732" y="csY732"/>
                </a:cxn>
                <a:cxn ang="0">
                  <a:pos x="csX733" y="csY733"/>
                </a:cxn>
                <a:cxn ang="0">
                  <a:pos x="csX734" y="csY734"/>
                </a:cxn>
                <a:cxn ang="0">
                  <a:pos x="csX735" y="csY735"/>
                </a:cxn>
                <a:cxn ang="0">
                  <a:pos x="csX736" y="csY736"/>
                </a:cxn>
                <a:cxn ang="0">
                  <a:pos x="csX737" y="csY737"/>
                </a:cxn>
                <a:cxn ang="0">
                  <a:pos x="csX738" y="csY738"/>
                </a:cxn>
                <a:cxn ang="0">
                  <a:pos x="csX739" y="csY739"/>
                </a:cxn>
                <a:cxn ang="0">
                  <a:pos x="csX740" y="csY740"/>
                </a:cxn>
                <a:cxn ang="0">
                  <a:pos x="csX741" y="csY741"/>
                </a:cxn>
                <a:cxn ang="0">
                  <a:pos x="csX742" y="csY742"/>
                </a:cxn>
                <a:cxn ang="0">
                  <a:pos x="csX743" y="csY743"/>
                </a:cxn>
                <a:cxn ang="0">
                  <a:pos x="csX744" y="csY744"/>
                </a:cxn>
                <a:cxn ang="0">
                  <a:pos x="csX745" y="csY745"/>
                </a:cxn>
                <a:cxn ang="0">
                  <a:pos x="csX746" y="csY746"/>
                </a:cxn>
                <a:cxn ang="0">
                  <a:pos x="csX747" y="csY747"/>
                </a:cxn>
                <a:cxn ang="0">
                  <a:pos x="csX748" y="csY748"/>
                </a:cxn>
                <a:cxn ang="0">
                  <a:pos x="csX749" y="csY749"/>
                </a:cxn>
                <a:cxn ang="0">
                  <a:pos x="csX750" y="csY750"/>
                </a:cxn>
                <a:cxn ang="0">
                  <a:pos x="csX751" y="csY751"/>
                </a:cxn>
                <a:cxn ang="0">
                  <a:pos x="csX752" y="csY752"/>
                </a:cxn>
                <a:cxn ang="0">
                  <a:pos x="csX753" y="csY753"/>
                </a:cxn>
                <a:cxn ang="0">
                  <a:pos x="csX754" y="csY754"/>
                </a:cxn>
                <a:cxn ang="0">
                  <a:pos x="csX755" y="csY755"/>
                </a:cxn>
                <a:cxn ang="0">
                  <a:pos x="csX756" y="csY756"/>
                </a:cxn>
                <a:cxn ang="0">
                  <a:pos x="csX757" y="csY757"/>
                </a:cxn>
                <a:cxn ang="0">
                  <a:pos x="csX758" y="csY758"/>
                </a:cxn>
                <a:cxn ang="0">
                  <a:pos x="csX759" y="csY759"/>
                </a:cxn>
                <a:cxn ang="0">
                  <a:pos x="csX760" y="csY760"/>
                </a:cxn>
                <a:cxn ang="0">
                  <a:pos x="csX761" y="csY761"/>
                </a:cxn>
                <a:cxn ang="0">
                  <a:pos x="csX762" y="csY762"/>
                </a:cxn>
                <a:cxn ang="0">
                  <a:pos x="csX763" y="csY763"/>
                </a:cxn>
                <a:cxn ang="0">
                  <a:pos x="csX764" y="csY764"/>
                </a:cxn>
                <a:cxn ang="0">
                  <a:pos x="csX765" y="csY765"/>
                </a:cxn>
                <a:cxn ang="0">
                  <a:pos x="csX766" y="csY766"/>
                </a:cxn>
                <a:cxn ang="0">
                  <a:pos x="csX767" y="csY767"/>
                </a:cxn>
                <a:cxn ang="0">
                  <a:pos x="csX768" y="csY768"/>
                </a:cxn>
                <a:cxn ang="0">
                  <a:pos x="csX769" y="csY769"/>
                </a:cxn>
                <a:cxn ang="0">
                  <a:pos x="csX770" y="csY770"/>
                </a:cxn>
                <a:cxn ang="0">
                  <a:pos x="csX771" y="csY771"/>
                </a:cxn>
                <a:cxn ang="0">
                  <a:pos x="csX772" y="csY772"/>
                </a:cxn>
                <a:cxn ang="0">
                  <a:pos x="csX773" y="csY773"/>
                </a:cxn>
                <a:cxn ang="0">
                  <a:pos x="csX774" y="csY774"/>
                </a:cxn>
                <a:cxn ang="0">
                  <a:pos x="csX775" y="csY775"/>
                </a:cxn>
                <a:cxn ang="0">
                  <a:pos x="csX776" y="csY776"/>
                </a:cxn>
                <a:cxn ang="0">
                  <a:pos x="csX777" y="csY777"/>
                </a:cxn>
                <a:cxn ang="0">
                  <a:pos x="csX778" y="csY778"/>
                </a:cxn>
                <a:cxn ang="0">
                  <a:pos x="csX779" y="csY779"/>
                </a:cxn>
                <a:cxn ang="0">
                  <a:pos x="csX780" y="csY780"/>
                </a:cxn>
                <a:cxn ang="0">
                  <a:pos x="csX781" y="csY781"/>
                </a:cxn>
                <a:cxn ang="0">
                  <a:pos x="csX782" y="csY782"/>
                </a:cxn>
                <a:cxn ang="0">
                  <a:pos x="csX783" y="csY783"/>
                </a:cxn>
                <a:cxn ang="0">
                  <a:pos x="csX784" y="csY784"/>
                </a:cxn>
                <a:cxn ang="0">
                  <a:pos x="csX785" y="csY785"/>
                </a:cxn>
                <a:cxn ang="0">
                  <a:pos x="csX786" y="csY786"/>
                </a:cxn>
                <a:cxn ang="0">
                  <a:pos x="csX787" y="csY787"/>
                </a:cxn>
                <a:cxn ang="0">
                  <a:pos x="csX788" y="csY788"/>
                </a:cxn>
                <a:cxn ang="0">
                  <a:pos x="csX789" y="csY789"/>
                </a:cxn>
                <a:cxn ang="0">
                  <a:pos x="csX790" y="csY790"/>
                </a:cxn>
                <a:cxn ang="0">
                  <a:pos x="csX791" y="csY791"/>
                </a:cxn>
                <a:cxn ang="0">
                  <a:pos x="csX792" y="csY792"/>
                </a:cxn>
                <a:cxn ang="0">
                  <a:pos x="csX793" y="csY793"/>
                </a:cxn>
                <a:cxn ang="0">
                  <a:pos x="csX794" y="csY794"/>
                </a:cxn>
                <a:cxn ang="0">
                  <a:pos x="csX795" y="csY795"/>
                </a:cxn>
                <a:cxn ang="0">
                  <a:pos x="csX796" y="csY796"/>
                </a:cxn>
                <a:cxn ang="0">
                  <a:pos x="csX797" y="csY797"/>
                </a:cxn>
                <a:cxn ang="0">
                  <a:pos x="csX798" y="csY798"/>
                </a:cxn>
                <a:cxn ang="0">
                  <a:pos x="csX799" y="csY799"/>
                </a:cxn>
                <a:cxn ang="0">
                  <a:pos x="csX800" y="csY800"/>
                </a:cxn>
                <a:cxn ang="0">
                  <a:pos x="csX801" y="csY801"/>
                </a:cxn>
                <a:cxn ang="0">
                  <a:pos x="csX802" y="csY802"/>
                </a:cxn>
                <a:cxn ang="0">
                  <a:pos x="csX803" y="csY803"/>
                </a:cxn>
                <a:cxn ang="0">
                  <a:pos x="csX804" y="csY804"/>
                </a:cxn>
                <a:cxn ang="0">
                  <a:pos x="csX805" y="csY805"/>
                </a:cxn>
                <a:cxn ang="0">
                  <a:pos x="csX806" y="csY806"/>
                </a:cxn>
                <a:cxn ang="0">
                  <a:pos x="csX807" y="csY807"/>
                </a:cxn>
                <a:cxn ang="0">
                  <a:pos x="csX808" y="csY808"/>
                </a:cxn>
                <a:cxn ang="0">
                  <a:pos x="csX809" y="csY809"/>
                </a:cxn>
                <a:cxn ang="0">
                  <a:pos x="csX810" y="csY810"/>
                </a:cxn>
                <a:cxn ang="0">
                  <a:pos x="csX811" y="csY811"/>
                </a:cxn>
                <a:cxn ang="0">
                  <a:pos x="csX812" y="csY812"/>
                </a:cxn>
                <a:cxn ang="0">
                  <a:pos x="csX813" y="csY813"/>
                </a:cxn>
                <a:cxn ang="0">
                  <a:pos x="csX814" y="csY814"/>
                </a:cxn>
                <a:cxn ang="0">
                  <a:pos x="csX815" y="csY815"/>
                </a:cxn>
                <a:cxn ang="0">
                  <a:pos x="csX816" y="csY816"/>
                </a:cxn>
                <a:cxn ang="0">
                  <a:pos x="csX817" y="csY817"/>
                </a:cxn>
                <a:cxn ang="0">
                  <a:pos x="csX818" y="csY818"/>
                </a:cxn>
                <a:cxn ang="0">
                  <a:pos x="csX819" y="csY819"/>
                </a:cxn>
                <a:cxn ang="0">
                  <a:pos x="csX820" y="csY820"/>
                </a:cxn>
                <a:cxn ang="0">
                  <a:pos x="csX821" y="csY821"/>
                </a:cxn>
                <a:cxn ang="0">
                  <a:pos x="csX822" y="csY822"/>
                </a:cxn>
                <a:cxn ang="0">
                  <a:pos x="csX823" y="csY823"/>
                </a:cxn>
                <a:cxn ang="0">
                  <a:pos x="csX824" y="csY824"/>
                </a:cxn>
                <a:cxn ang="0">
                  <a:pos x="csX825" y="csY825"/>
                </a:cxn>
                <a:cxn ang="0">
                  <a:pos x="csX826" y="csY826"/>
                </a:cxn>
                <a:cxn ang="0">
                  <a:pos x="csX827" y="csY827"/>
                </a:cxn>
                <a:cxn ang="0">
                  <a:pos x="csX828" y="csY828"/>
                </a:cxn>
                <a:cxn ang="0">
                  <a:pos x="csX829" y="csY829"/>
                </a:cxn>
                <a:cxn ang="0">
                  <a:pos x="csX830" y="csY830"/>
                </a:cxn>
                <a:cxn ang="0">
                  <a:pos x="csX831" y="csY831"/>
                </a:cxn>
                <a:cxn ang="0">
                  <a:pos x="csX832" y="csY832"/>
                </a:cxn>
                <a:cxn ang="0">
                  <a:pos x="csX833" y="csY833"/>
                </a:cxn>
                <a:cxn ang="0">
                  <a:pos x="csX834" y="csY834"/>
                </a:cxn>
                <a:cxn ang="0">
                  <a:pos x="csX835" y="csY835"/>
                </a:cxn>
                <a:cxn ang="0">
                  <a:pos x="csX836" y="csY836"/>
                </a:cxn>
                <a:cxn ang="0">
                  <a:pos x="csX837" y="csY837"/>
                </a:cxn>
                <a:cxn ang="0">
                  <a:pos x="csX838" y="csY838"/>
                </a:cxn>
                <a:cxn ang="0">
                  <a:pos x="csX839" y="csY839"/>
                </a:cxn>
                <a:cxn ang="0">
                  <a:pos x="csX840" y="csY840"/>
                </a:cxn>
                <a:cxn ang="0">
                  <a:pos x="csX841" y="csY841"/>
                </a:cxn>
                <a:cxn ang="0">
                  <a:pos x="csX842" y="csY842"/>
                </a:cxn>
                <a:cxn ang="0">
                  <a:pos x="csX843" y="csY843"/>
                </a:cxn>
                <a:cxn ang="0">
                  <a:pos x="csX844" y="csY844"/>
                </a:cxn>
                <a:cxn ang="0">
                  <a:pos x="csX845" y="csY845"/>
                </a:cxn>
                <a:cxn ang="0">
                  <a:pos x="csX846" y="csY846"/>
                </a:cxn>
                <a:cxn ang="0">
                  <a:pos x="csX847" y="csY847"/>
                </a:cxn>
                <a:cxn ang="0">
                  <a:pos x="csX848" y="csY848"/>
                </a:cxn>
                <a:cxn ang="0">
                  <a:pos x="csX849" y="csY849"/>
                </a:cxn>
                <a:cxn ang="0">
                  <a:pos x="csX850" y="csY850"/>
                </a:cxn>
                <a:cxn ang="0">
                  <a:pos x="csX851" y="csY851"/>
                </a:cxn>
                <a:cxn ang="0">
                  <a:pos x="csX852" y="csY852"/>
                </a:cxn>
                <a:cxn ang="0">
                  <a:pos x="csX853" y="csY853"/>
                </a:cxn>
                <a:cxn ang="0">
                  <a:pos x="csX854" y="csY854"/>
                </a:cxn>
                <a:cxn ang="0">
                  <a:pos x="csX855" y="csY855"/>
                </a:cxn>
                <a:cxn ang="0">
                  <a:pos x="csX856" y="csY856"/>
                </a:cxn>
                <a:cxn ang="0">
                  <a:pos x="csX857" y="csY857"/>
                </a:cxn>
                <a:cxn ang="0">
                  <a:pos x="csX858" y="csY858"/>
                </a:cxn>
                <a:cxn ang="0">
                  <a:pos x="csX859" y="csY859"/>
                </a:cxn>
                <a:cxn ang="0">
                  <a:pos x="csX860" y="csY860"/>
                </a:cxn>
                <a:cxn ang="0">
                  <a:pos x="csX861" y="csY861"/>
                </a:cxn>
                <a:cxn ang="0">
                  <a:pos x="csX862" y="csY862"/>
                </a:cxn>
                <a:cxn ang="0">
                  <a:pos x="csX863" y="csY863"/>
                </a:cxn>
                <a:cxn ang="0">
                  <a:pos x="csX864" y="csY864"/>
                </a:cxn>
                <a:cxn ang="0">
                  <a:pos x="csX865" y="csY865"/>
                </a:cxn>
                <a:cxn ang="0">
                  <a:pos x="csX866" y="csY866"/>
                </a:cxn>
                <a:cxn ang="0">
                  <a:pos x="csX867" y="csY867"/>
                </a:cxn>
                <a:cxn ang="0">
                  <a:pos x="csX868" y="csY868"/>
                </a:cxn>
                <a:cxn ang="0">
                  <a:pos x="csX869" y="csY869"/>
                </a:cxn>
                <a:cxn ang="0">
                  <a:pos x="csX870" y="csY870"/>
                </a:cxn>
                <a:cxn ang="0">
                  <a:pos x="csX871" y="csY871"/>
                </a:cxn>
                <a:cxn ang="0">
                  <a:pos x="csX872" y="csY872"/>
                </a:cxn>
                <a:cxn ang="0">
                  <a:pos x="csX873" y="csY873"/>
                </a:cxn>
                <a:cxn ang="0">
                  <a:pos x="csX874" y="csY874"/>
                </a:cxn>
                <a:cxn ang="0">
                  <a:pos x="csX875" y="csY875"/>
                </a:cxn>
                <a:cxn ang="0">
                  <a:pos x="csX876" y="csY876"/>
                </a:cxn>
                <a:cxn ang="0">
                  <a:pos x="csX877" y="csY877"/>
                </a:cxn>
                <a:cxn ang="0">
                  <a:pos x="csX878" y="csY878"/>
                </a:cxn>
                <a:cxn ang="0">
                  <a:pos x="csX879" y="csY879"/>
                </a:cxn>
                <a:cxn ang="0">
                  <a:pos x="csX880" y="csY880"/>
                </a:cxn>
                <a:cxn ang="0">
                  <a:pos x="csX881" y="csY881"/>
                </a:cxn>
                <a:cxn ang="0">
                  <a:pos x="csX882" y="csY882"/>
                </a:cxn>
                <a:cxn ang="0">
                  <a:pos x="csX883" y="csY883"/>
                </a:cxn>
                <a:cxn ang="0">
                  <a:pos x="csX884" y="csY884"/>
                </a:cxn>
                <a:cxn ang="0">
                  <a:pos x="csX885" y="csY885"/>
                </a:cxn>
                <a:cxn ang="0">
                  <a:pos x="csX886" y="csY886"/>
                </a:cxn>
                <a:cxn ang="0">
                  <a:pos x="csX887" y="csY887"/>
                </a:cxn>
                <a:cxn ang="0">
                  <a:pos x="csX888" y="csY888"/>
                </a:cxn>
                <a:cxn ang="0">
                  <a:pos x="csX889" y="csY889"/>
                </a:cxn>
                <a:cxn ang="0">
                  <a:pos x="csX890" y="csY890"/>
                </a:cxn>
                <a:cxn ang="0">
                  <a:pos x="csX891" y="csY891"/>
                </a:cxn>
                <a:cxn ang="0">
                  <a:pos x="csX892" y="csY892"/>
                </a:cxn>
                <a:cxn ang="0">
                  <a:pos x="csX893" y="csY893"/>
                </a:cxn>
                <a:cxn ang="0">
                  <a:pos x="csX894" y="csY894"/>
                </a:cxn>
                <a:cxn ang="0">
                  <a:pos x="csX895" y="csY895"/>
                </a:cxn>
                <a:cxn ang="0">
                  <a:pos x="csX896" y="csY896"/>
                </a:cxn>
                <a:cxn ang="0">
                  <a:pos x="csX897" y="csY897"/>
                </a:cxn>
                <a:cxn ang="0">
                  <a:pos x="csX898" y="csY898"/>
                </a:cxn>
                <a:cxn ang="0">
                  <a:pos x="csX899" y="csY899"/>
                </a:cxn>
                <a:cxn ang="0">
                  <a:pos x="csX900" y="csY900"/>
                </a:cxn>
                <a:cxn ang="0">
                  <a:pos x="csX901" y="csY901"/>
                </a:cxn>
                <a:cxn ang="0">
                  <a:pos x="csX902" y="csY902"/>
                </a:cxn>
                <a:cxn ang="0">
                  <a:pos x="csX903" y="csY903"/>
                </a:cxn>
                <a:cxn ang="0">
                  <a:pos x="csX904" y="csY904"/>
                </a:cxn>
                <a:cxn ang="0">
                  <a:pos x="csX905" y="csY905"/>
                </a:cxn>
                <a:cxn ang="0">
                  <a:pos x="csX906" y="csY906"/>
                </a:cxn>
                <a:cxn ang="0">
                  <a:pos x="csX907" y="csY907"/>
                </a:cxn>
                <a:cxn ang="0">
                  <a:pos x="csX908" y="csY908"/>
                </a:cxn>
                <a:cxn ang="0">
                  <a:pos x="csX909" y="csY909"/>
                </a:cxn>
                <a:cxn ang="0">
                  <a:pos x="csX910" y="csY910"/>
                </a:cxn>
                <a:cxn ang="0">
                  <a:pos x="csX911" y="csY911"/>
                </a:cxn>
                <a:cxn ang="0">
                  <a:pos x="csX912" y="csY912"/>
                </a:cxn>
                <a:cxn ang="0">
                  <a:pos x="csX913" y="csY913"/>
                </a:cxn>
                <a:cxn ang="0">
                  <a:pos x="csX914" y="csY914"/>
                </a:cxn>
                <a:cxn ang="0">
                  <a:pos x="csX915" y="csY915"/>
                </a:cxn>
                <a:cxn ang="0">
                  <a:pos x="csX916" y="csY916"/>
                </a:cxn>
                <a:cxn ang="0">
                  <a:pos x="csX917" y="csY917"/>
                </a:cxn>
                <a:cxn ang="0">
                  <a:pos x="csX918" y="csY918"/>
                </a:cxn>
                <a:cxn ang="0">
                  <a:pos x="csX919" y="csY919"/>
                </a:cxn>
                <a:cxn ang="0">
                  <a:pos x="csX920" y="csY920"/>
                </a:cxn>
                <a:cxn ang="0">
                  <a:pos x="csX921" y="csY921"/>
                </a:cxn>
                <a:cxn ang="0">
                  <a:pos x="csX922" y="csY922"/>
                </a:cxn>
                <a:cxn ang="0">
                  <a:pos x="csX923" y="csY923"/>
                </a:cxn>
                <a:cxn ang="0">
                  <a:pos x="csX924" y="csY924"/>
                </a:cxn>
                <a:cxn ang="0">
                  <a:pos x="csX925" y="csY925"/>
                </a:cxn>
                <a:cxn ang="0">
                  <a:pos x="csX926" y="csY926"/>
                </a:cxn>
                <a:cxn ang="0">
                  <a:pos x="csX927" y="csY927"/>
                </a:cxn>
                <a:cxn ang="0">
                  <a:pos x="csX928" y="csY928"/>
                </a:cxn>
                <a:cxn ang="0">
                  <a:pos x="csX929" y="csY929"/>
                </a:cxn>
                <a:cxn ang="0">
                  <a:pos x="csX930" y="csY930"/>
                </a:cxn>
                <a:cxn ang="0">
                  <a:pos x="csX931" y="csY931"/>
                </a:cxn>
                <a:cxn ang="0">
                  <a:pos x="csX932" y="csY932"/>
                </a:cxn>
                <a:cxn ang="0">
                  <a:pos x="csX933" y="csY933"/>
                </a:cxn>
                <a:cxn ang="0">
                  <a:pos x="csX934" y="csY934"/>
                </a:cxn>
                <a:cxn ang="0">
                  <a:pos x="csX935" y="csY935"/>
                </a:cxn>
                <a:cxn ang="0">
                  <a:pos x="csX936" y="csY936"/>
                </a:cxn>
                <a:cxn ang="0">
                  <a:pos x="csX937" y="csY937"/>
                </a:cxn>
                <a:cxn ang="0">
                  <a:pos x="csX938" y="csY938"/>
                </a:cxn>
                <a:cxn ang="0">
                  <a:pos x="csX939" y="csY939"/>
                </a:cxn>
                <a:cxn ang="0">
                  <a:pos x="csX940" y="csY940"/>
                </a:cxn>
                <a:cxn ang="0">
                  <a:pos x="csX941" y="csY941"/>
                </a:cxn>
                <a:cxn ang="0">
                  <a:pos x="csX942" y="csY942"/>
                </a:cxn>
                <a:cxn ang="0">
                  <a:pos x="csX943" y="csY943"/>
                </a:cxn>
                <a:cxn ang="0">
                  <a:pos x="csX944" y="csY944"/>
                </a:cxn>
                <a:cxn ang="0">
                  <a:pos x="csX945" y="csY945"/>
                </a:cxn>
                <a:cxn ang="0">
                  <a:pos x="csX946" y="csY946"/>
                </a:cxn>
                <a:cxn ang="0">
                  <a:pos x="csX947" y="csY947"/>
                </a:cxn>
                <a:cxn ang="0">
                  <a:pos x="csX948" y="csY948"/>
                </a:cxn>
                <a:cxn ang="0">
                  <a:pos x="csX949" y="csY949"/>
                </a:cxn>
                <a:cxn ang="0">
                  <a:pos x="csX950" y="csY950"/>
                </a:cxn>
                <a:cxn ang="0">
                  <a:pos x="csX951" y="csY951"/>
                </a:cxn>
                <a:cxn ang="0">
                  <a:pos x="csX952" y="csY952"/>
                </a:cxn>
                <a:cxn ang="0">
                  <a:pos x="csX953" y="csY953"/>
                </a:cxn>
                <a:cxn ang="0">
                  <a:pos x="csX954" y="csY954"/>
                </a:cxn>
                <a:cxn ang="0">
                  <a:pos x="csX955" y="csY955"/>
                </a:cxn>
                <a:cxn ang="0">
                  <a:pos x="csX956" y="csY956"/>
                </a:cxn>
                <a:cxn ang="0">
                  <a:pos x="csX957" y="csY957"/>
                </a:cxn>
                <a:cxn ang="0">
                  <a:pos x="csX958" y="csY958"/>
                </a:cxn>
                <a:cxn ang="0">
                  <a:pos x="csX959" y="csY959"/>
                </a:cxn>
                <a:cxn ang="0">
                  <a:pos x="csX960" y="csY960"/>
                </a:cxn>
                <a:cxn ang="0">
                  <a:pos x="csX961" y="csY961"/>
                </a:cxn>
                <a:cxn ang="0">
                  <a:pos x="csX962" y="csY962"/>
                </a:cxn>
                <a:cxn ang="0">
                  <a:pos x="csX963" y="csY963"/>
                </a:cxn>
                <a:cxn ang="0">
                  <a:pos x="csX964" y="csY964"/>
                </a:cxn>
                <a:cxn ang="0">
                  <a:pos x="csX965" y="csY965"/>
                </a:cxn>
                <a:cxn ang="0">
                  <a:pos x="csX966" y="csY966"/>
                </a:cxn>
                <a:cxn ang="0">
                  <a:pos x="csX967" y="csY967"/>
                </a:cxn>
                <a:cxn ang="0">
                  <a:pos x="csX968" y="csY968"/>
                </a:cxn>
                <a:cxn ang="0">
                  <a:pos x="csX969" y="csY969"/>
                </a:cxn>
                <a:cxn ang="0">
                  <a:pos x="csX970" y="csY970"/>
                </a:cxn>
                <a:cxn ang="0">
                  <a:pos x="csX971" y="csY971"/>
                </a:cxn>
                <a:cxn ang="0">
                  <a:pos x="csX972" y="csY972"/>
                </a:cxn>
                <a:cxn ang="0">
                  <a:pos x="csX973" y="csY973"/>
                </a:cxn>
                <a:cxn ang="0">
                  <a:pos x="csX974" y="csY974"/>
                </a:cxn>
                <a:cxn ang="0">
                  <a:pos x="csX975" y="csY975"/>
                </a:cxn>
                <a:cxn ang="0">
                  <a:pos x="csX976" y="csY976"/>
                </a:cxn>
                <a:cxn ang="0">
                  <a:pos x="csX977" y="csY977"/>
                </a:cxn>
                <a:cxn ang="0">
                  <a:pos x="csX978" y="csY978"/>
                </a:cxn>
                <a:cxn ang="0">
                  <a:pos x="csX979" y="csY979"/>
                </a:cxn>
                <a:cxn ang="0">
                  <a:pos x="csX980" y="csY980"/>
                </a:cxn>
                <a:cxn ang="0">
                  <a:pos x="csX981" y="csY981"/>
                </a:cxn>
                <a:cxn ang="0">
                  <a:pos x="csX982" y="csY982"/>
                </a:cxn>
                <a:cxn ang="0">
                  <a:pos x="csX983" y="csY983"/>
                </a:cxn>
                <a:cxn ang="0">
                  <a:pos x="csX984" y="csY984"/>
                </a:cxn>
                <a:cxn ang="0">
                  <a:pos x="csX985" y="csY985"/>
                </a:cxn>
                <a:cxn ang="0">
                  <a:pos x="csX986" y="csY986"/>
                </a:cxn>
                <a:cxn ang="0">
                  <a:pos x="csX987" y="csY987"/>
                </a:cxn>
                <a:cxn ang="0">
                  <a:pos x="csX988" y="csY988"/>
                </a:cxn>
                <a:cxn ang="0">
                  <a:pos x="csX989" y="csY989"/>
                </a:cxn>
                <a:cxn ang="0">
                  <a:pos x="csX990" y="csY990"/>
                </a:cxn>
                <a:cxn ang="0">
                  <a:pos x="csX991" y="csY991"/>
                </a:cxn>
                <a:cxn ang="0">
                  <a:pos x="csX992" y="csY992"/>
                </a:cxn>
                <a:cxn ang="0">
                  <a:pos x="csX993" y="csY993"/>
                </a:cxn>
                <a:cxn ang="0">
                  <a:pos x="csX994" y="csY994"/>
                </a:cxn>
                <a:cxn ang="0">
                  <a:pos x="csX995" y="csY995"/>
                </a:cxn>
                <a:cxn ang="0">
                  <a:pos x="csX996" y="csY996"/>
                </a:cxn>
                <a:cxn ang="0">
                  <a:pos x="csX997" y="csY997"/>
                </a:cxn>
                <a:cxn ang="0">
                  <a:pos x="csX998" y="csY998"/>
                </a:cxn>
                <a:cxn ang="0">
                  <a:pos x="csX999" y="csY999"/>
                </a:cxn>
                <a:cxn ang="0">
                  <a:pos x="csX1000" y="csY1000"/>
                </a:cxn>
                <a:cxn ang="0">
                  <a:pos x="csX1001" y="csY1001"/>
                </a:cxn>
                <a:cxn ang="0">
                  <a:pos x="csX1002" y="csY1002"/>
                </a:cxn>
                <a:cxn ang="0">
                  <a:pos x="csX1003" y="csY1003"/>
                </a:cxn>
                <a:cxn ang="0">
                  <a:pos x="csX1004" y="csY1004"/>
                </a:cxn>
                <a:cxn ang="0">
                  <a:pos x="csX1005" y="csY1005"/>
                </a:cxn>
                <a:cxn ang="0">
                  <a:pos x="csX1006" y="csY1006"/>
                </a:cxn>
                <a:cxn ang="0">
                  <a:pos x="csX1007" y="csY1007"/>
                </a:cxn>
                <a:cxn ang="0">
                  <a:pos x="csX1008" y="csY1008"/>
                </a:cxn>
                <a:cxn ang="0">
                  <a:pos x="csX1009" y="csY1009"/>
                </a:cxn>
                <a:cxn ang="0">
                  <a:pos x="csX1010" y="csY1010"/>
                </a:cxn>
                <a:cxn ang="0">
                  <a:pos x="csX1011" y="csY1011"/>
                </a:cxn>
                <a:cxn ang="0">
                  <a:pos x="csX1012" y="csY1012"/>
                </a:cxn>
                <a:cxn ang="0">
                  <a:pos x="csX1013" y="csY1013"/>
                </a:cxn>
                <a:cxn ang="0">
                  <a:pos x="csX1014" y="csY1014"/>
                </a:cxn>
                <a:cxn ang="0">
                  <a:pos x="csX1015" y="csY1015"/>
                </a:cxn>
                <a:cxn ang="0">
                  <a:pos x="csX1016" y="csY1016"/>
                </a:cxn>
                <a:cxn ang="0">
                  <a:pos x="csX1017" y="csY1017"/>
                </a:cxn>
                <a:cxn ang="0">
                  <a:pos x="csX1018" y="csY1018"/>
                </a:cxn>
                <a:cxn ang="0">
                  <a:pos x="csX1019" y="csY1019"/>
                </a:cxn>
                <a:cxn ang="0">
                  <a:pos x="csX1020" y="csY1020"/>
                </a:cxn>
                <a:cxn ang="0">
                  <a:pos x="csX1021" y="csY1021"/>
                </a:cxn>
                <a:cxn ang="0">
                  <a:pos x="csX1022" y="csY1022"/>
                </a:cxn>
                <a:cxn ang="0">
                  <a:pos x="csX1023" y="csY1023"/>
                </a:cxn>
                <a:cxn ang="0">
                  <a:pos x="csX1024" y="csY1024"/>
                </a:cxn>
                <a:cxn ang="0">
                  <a:pos x="csX1025" y="csY1025"/>
                </a:cxn>
                <a:cxn ang="0">
                  <a:pos x="csX1026" y="csY1026"/>
                </a:cxn>
                <a:cxn ang="0">
                  <a:pos x="csX1027" y="csY1027"/>
                </a:cxn>
                <a:cxn ang="0">
                  <a:pos x="csX1028" y="csY1028"/>
                </a:cxn>
                <a:cxn ang="0">
                  <a:pos x="csX1029" y="csY1029"/>
                </a:cxn>
                <a:cxn ang="0">
                  <a:pos x="csX1030" y="csY1030"/>
                </a:cxn>
                <a:cxn ang="0">
                  <a:pos x="csX1031" y="csY1031"/>
                </a:cxn>
                <a:cxn ang="0">
                  <a:pos x="csX1032" y="csY1032"/>
                </a:cxn>
                <a:cxn ang="0">
                  <a:pos x="csX1033" y="csY1033"/>
                </a:cxn>
                <a:cxn ang="0">
                  <a:pos x="csX1034" y="csY1034"/>
                </a:cxn>
                <a:cxn ang="0">
                  <a:pos x="csX1035" y="csY1035"/>
                </a:cxn>
                <a:cxn ang="0">
                  <a:pos x="csX1036" y="csY1036"/>
                </a:cxn>
                <a:cxn ang="0">
                  <a:pos x="csX1037" y="csY1037"/>
                </a:cxn>
                <a:cxn ang="0">
                  <a:pos x="csX1038" y="csY1038"/>
                </a:cxn>
                <a:cxn ang="0">
                  <a:pos x="csX1039" y="csY1039"/>
                </a:cxn>
                <a:cxn ang="0">
                  <a:pos x="csX1040" y="csY1040"/>
                </a:cxn>
                <a:cxn ang="0">
                  <a:pos x="csX1041" y="csY1041"/>
                </a:cxn>
                <a:cxn ang="0">
                  <a:pos x="csX1042" y="csY1042"/>
                </a:cxn>
                <a:cxn ang="0">
                  <a:pos x="csX1043" y="csY1043"/>
                </a:cxn>
                <a:cxn ang="0">
                  <a:pos x="csX1044" y="csY1044"/>
                </a:cxn>
                <a:cxn ang="0">
                  <a:pos x="csX1045" y="csY1045"/>
                </a:cxn>
                <a:cxn ang="0">
                  <a:pos x="csX1046" y="csY1046"/>
                </a:cxn>
                <a:cxn ang="0">
                  <a:pos x="csX1047" y="csY1047"/>
                </a:cxn>
                <a:cxn ang="0">
                  <a:pos x="csX1048" y="csY1048"/>
                </a:cxn>
                <a:cxn ang="0">
                  <a:pos x="csX1049" y="csY1049"/>
                </a:cxn>
                <a:cxn ang="0">
                  <a:pos x="csX1050" y="csY1050"/>
                </a:cxn>
                <a:cxn ang="0">
                  <a:pos x="csX1051" y="csY1051"/>
                </a:cxn>
                <a:cxn ang="0">
                  <a:pos x="csX1052" y="csY1052"/>
                </a:cxn>
                <a:cxn ang="0">
                  <a:pos x="csX1053" y="csY1053"/>
                </a:cxn>
                <a:cxn ang="0">
                  <a:pos x="csX1054" y="csY1054"/>
                </a:cxn>
                <a:cxn ang="0">
                  <a:pos x="csX1055" y="csY1055"/>
                </a:cxn>
                <a:cxn ang="0">
                  <a:pos x="csX1056" y="csY1056"/>
                </a:cxn>
                <a:cxn ang="0">
                  <a:pos x="csX1057" y="csY1057"/>
                </a:cxn>
                <a:cxn ang="0">
                  <a:pos x="csX1058" y="csY1058"/>
                </a:cxn>
                <a:cxn ang="0">
                  <a:pos x="csX1059" y="csY1059"/>
                </a:cxn>
                <a:cxn ang="0">
                  <a:pos x="csX1060" y="csY1060"/>
                </a:cxn>
                <a:cxn ang="0">
                  <a:pos x="csX1061" y="csY1061"/>
                </a:cxn>
                <a:cxn ang="0">
                  <a:pos x="csX1062" y="csY1062"/>
                </a:cxn>
                <a:cxn ang="0">
                  <a:pos x="csX1063" y="csY1063"/>
                </a:cxn>
                <a:cxn ang="0">
                  <a:pos x="csX1064" y="csY1064"/>
                </a:cxn>
                <a:cxn ang="0">
                  <a:pos x="csX1065" y="csY1065"/>
                </a:cxn>
                <a:cxn ang="0">
                  <a:pos x="csX1066" y="csY1066"/>
                </a:cxn>
                <a:cxn ang="0">
                  <a:pos x="csX1067" y="csY1067"/>
                </a:cxn>
                <a:cxn ang="0">
                  <a:pos x="csX1068" y="csY1068"/>
                </a:cxn>
                <a:cxn ang="0">
                  <a:pos x="csX1069" y="csY1069"/>
                </a:cxn>
                <a:cxn ang="0">
                  <a:pos x="csX1070" y="csY1070"/>
                </a:cxn>
                <a:cxn ang="0">
                  <a:pos x="csX1071" y="csY1071"/>
                </a:cxn>
                <a:cxn ang="0">
                  <a:pos x="csX1072" y="csY1072"/>
                </a:cxn>
                <a:cxn ang="0">
                  <a:pos x="csX1073" y="csY1073"/>
                </a:cxn>
                <a:cxn ang="0">
                  <a:pos x="csX1074" y="csY1074"/>
                </a:cxn>
                <a:cxn ang="0">
                  <a:pos x="csX1075" y="csY1075"/>
                </a:cxn>
                <a:cxn ang="0">
                  <a:pos x="csX1076" y="csY1076"/>
                </a:cxn>
                <a:cxn ang="0">
                  <a:pos x="csX1077" y="csY1077"/>
                </a:cxn>
                <a:cxn ang="0">
                  <a:pos x="csX1078" y="csY1078"/>
                </a:cxn>
                <a:cxn ang="0">
                  <a:pos x="csX1079" y="csY1079"/>
                </a:cxn>
                <a:cxn ang="0">
                  <a:pos x="csX1080" y="csY1080"/>
                </a:cxn>
                <a:cxn ang="0">
                  <a:pos x="csX1081" y="csY1081"/>
                </a:cxn>
                <a:cxn ang="0">
                  <a:pos x="csX1082" y="csY1082"/>
                </a:cxn>
                <a:cxn ang="0">
                  <a:pos x="csX1083" y="csY1083"/>
                </a:cxn>
                <a:cxn ang="0">
                  <a:pos x="csX1084" y="csY1084"/>
                </a:cxn>
                <a:cxn ang="0">
                  <a:pos x="csX1085" y="csY1085"/>
                </a:cxn>
                <a:cxn ang="0">
                  <a:pos x="csX1086" y="csY1086"/>
                </a:cxn>
                <a:cxn ang="0">
                  <a:pos x="csX1087" y="csY1087"/>
                </a:cxn>
                <a:cxn ang="0">
                  <a:pos x="csX1088" y="csY1088"/>
                </a:cxn>
                <a:cxn ang="0">
                  <a:pos x="csX1089" y="csY1089"/>
                </a:cxn>
                <a:cxn ang="0">
                  <a:pos x="csX1090" y="csY1090"/>
                </a:cxn>
                <a:cxn ang="0">
                  <a:pos x="csX1091" y="csY1091"/>
                </a:cxn>
                <a:cxn ang="0">
                  <a:pos x="csX1092" y="csY1092"/>
                </a:cxn>
                <a:cxn ang="0">
                  <a:pos x="csX1093" y="csY1093"/>
                </a:cxn>
                <a:cxn ang="0">
                  <a:pos x="csX1094" y="csY1094"/>
                </a:cxn>
                <a:cxn ang="0">
                  <a:pos x="csX1095" y="csY1095"/>
                </a:cxn>
                <a:cxn ang="0">
                  <a:pos x="csX1096" y="csY1096"/>
                </a:cxn>
                <a:cxn ang="0">
                  <a:pos x="csX1097" y="csY1097"/>
                </a:cxn>
                <a:cxn ang="0">
                  <a:pos x="csX1098" y="csY1098"/>
                </a:cxn>
                <a:cxn ang="0">
                  <a:pos x="csX1099" y="csY1099"/>
                </a:cxn>
                <a:cxn ang="0">
                  <a:pos x="csX1100" y="csY1100"/>
                </a:cxn>
                <a:cxn ang="0">
                  <a:pos x="csX1101" y="csY1101"/>
                </a:cxn>
                <a:cxn ang="0">
                  <a:pos x="csX1102" y="csY1102"/>
                </a:cxn>
                <a:cxn ang="0">
                  <a:pos x="csX1103" y="csY1103"/>
                </a:cxn>
                <a:cxn ang="0">
                  <a:pos x="csX1104" y="csY1104"/>
                </a:cxn>
                <a:cxn ang="0">
                  <a:pos x="csX1105" y="csY1105"/>
                </a:cxn>
                <a:cxn ang="0">
                  <a:pos x="csX1106" y="csY1106"/>
                </a:cxn>
                <a:cxn ang="0">
                  <a:pos x="csX1107" y="csY1107"/>
                </a:cxn>
                <a:cxn ang="0">
                  <a:pos x="csX1108" y="csY1108"/>
                </a:cxn>
                <a:cxn ang="0">
                  <a:pos x="csX1109" y="csY1109"/>
                </a:cxn>
                <a:cxn ang="0">
                  <a:pos x="csX1110" y="csY1110"/>
                </a:cxn>
                <a:cxn ang="0">
                  <a:pos x="csX1111" y="csY1111"/>
                </a:cxn>
                <a:cxn ang="0">
                  <a:pos x="csX1112" y="csY1112"/>
                </a:cxn>
                <a:cxn ang="0">
                  <a:pos x="csX1113" y="csY1113"/>
                </a:cxn>
                <a:cxn ang="0">
                  <a:pos x="csX1114" y="csY1114"/>
                </a:cxn>
                <a:cxn ang="0">
                  <a:pos x="csX1115" y="csY1115"/>
                </a:cxn>
                <a:cxn ang="0">
                  <a:pos x="csX1116" y="csY1116"/>
                </a:cxn>
                <a:cxn ang="0">
                  <a:pos x="csX1117" y="csY1117"/>
                </a:cxn>
                <a:cxn ang="0">
                  <a:pos x="csX1118" y="csY1118"/>
                </a:cxn>
                <a:cxn ang="0">
                  <a:pos x="csX1119" y="csY1119"/>
                </a:cxn>
                <a:cxn ang="0">
                  <a:pos x="csX1120" y="csY1120"/>
                </a:cxn>
                <a:cxn ang="0">
                  <a:pos x="csX1121" y="csY1121"/>
                </a:cxn>
                <a:cxn ang="0">
                  <a:pos x="csX1122" y="csY1122"/>
                </a:cxn>
                <a:cxn ang="0">
                  <a:pos x="csX1123" y="csY1123"/>
                </a:cxn>
                <a:cxn ang="0">
                  <a:pos x="csX1124" y="csY1124"/>
                </a:cxn>
                <a:cxn ang="0">
                  <a:pos x="csX1125" y="csY1125"/>
                </a:cxn>
                <a:cxn ang="0">
                  <a:pos x="csX1126" y="csY1126"/>
                </a:cxn>
                <a:cxn ang="0">
                  <a:pos x="csX1127" y="csY1127"/>
                </a:cxn>
                <a:cxn ang="0">
                  <a:pos x="csX1128" y="csY1128"/>
                </a:cxn>
                <a:cxn ang="0">
                  <a:pos x="csX1129" y="csY1129"/>
                </a:cxn>
                <a:cxn ang="0">
                  <a:pos x="csX1130" y="csY1130"/>
                </a:cxn>
                <a:cxn ang="0">
                  <a:pos x="csX1131" y="csY1131"/>
                </a:cxn>
                <a:cxn ang="0">
                  <a:pos x="csX1132" y="csY1132"/>
                </a:cxn>
                <a:cxn ang="0">
                  <a:pos x="csX1133" y="csY1133"/>
                </a:cxn>
                <a:cxn ang="0">
                  <a:pos x="csX1134" y="csY1134"/>
                </a:cxn>
                <a:cxn ang="0">
                  <a:pos x="csX1135" y="csY1135"/>
                </a:cxn>
                <a:cxn ang="0">
                  <a:pos x="csX1136" y="csY1136"/>
                </a:cxn>
                <a:cxn ang="0">
                  <a:pos x="csX1137" y="csY1137"/>
                </a:cxn>
                <a:cxn ang="0">
                  <a:pos x="csX1138" y="csY1138"/>
                </a:cxn>
                <a:cxn ang="0">
                  <a:pos x="csX1139" y="csY1139"/>
                </a:cxn>
                <a:cxn ang="0">
                  <a:pos x="csX1140" y="csY1140"/>
                </a:cxn>
                <a:cxn ang="0">
                  <a:pos x="csX1141" y="csY1141"/>
                </a:cxn>
                <a:cxn ang="0">
                  <a:pos x="csX1142" y="csY1142"/>
                </a:cxn>
                <a:cxn ang="0">
                  <a:pos x="csX1143" y="csY1143"/>
                </a:cxn>
                <a:cxn ang="0">
                  <a:pos x="csX1144" y="csY1144"/>
                </a:cxn>
                <a:cxn ang="0">
                  <a:pos x="csX1145" y="csY1145"/>
                </a:cxn>
                <a:cxn ang="0">
                  <a:pos x="csX1146" y="csY1146"/>
                </a:cxn>
                <a:cxn ang="0">
                  <a:pos x="csX1147" y="csY1147"/>
                </a:cxn>
                <a:cxn ang="0">
                  <a:pos x="csX1148" y="csY1148"/>
                </a:cxn>
                <a:cxn ang="0">
                  <a:pos x="csX1149" y="csY1149"/>
                </a:cxn>
                <a:cxn ang="0">
                  <a:pos x="csX1150" y="csY1150"/>
                </a:cxn>
                <a:cxn ang="0">
                  <a:pos x="csX1151" y="csY1151"/>
                </a:cxn>
                <a:cxn ang="0">
                  <a:pos x="csX1152" y="csY1152"/>
                </a:cxn>
                <a:cxn ang="0">
                  <a:pos x="csX1153" y="csY1153"/>
                </a:cxn>
                <a:cxn ang="0">
                  <a:pos x="csX1154" y="csY1154"/>
                </a:cxn>
                <a:cxn ang="0">
                  <a:pos x="csX1155" y="csY1155"/>
                </a:cxn>
                <a:cxn ang="0">
                  <a:pos x="csX1156" y="csY1156"/>
                </a:cxn>
                <a:cxn ang="0">
                  <a:pos x="csX1157" y="csY1157"/>
                </a:cxn>
              </a:cxnLst>
              <a:rect l="l" t="t" r="r" b="b"/>
              <a:pathLst>
                <a:path w="830147" h="1880156">
                  <a:moveTo>
                    <a:pt x="809319" y="544358"/>
                  </a:moveTo>
                  <a:lnTo>
                    <a:pt x="809319" y="1047950"/>
                  </a:lnTo>
                  <a:lnTo>
                    <a:pt x="819468" y="1047950"/>
                  </a:lnTo>
                  <a:lnTo>
                    <a:pt x="819468" y="1059641"/>
                  </a:lnTo>
                  <a:lnTo>
                    <a:pt x="789568" y="1059641"/>
                  </a:lnTo>
                  <a:lnTo>
                    <a:pt x="789568" y="1182289"/>
                  </a:lnTo>
                  <a:lnTo>
                    <a:pt x="794615" y="1182289"/>
                  </a:lnTo>
                  <a:lnTo>
                    <a:pt x="794615" y="1192000"/>
                  </a:lnTo>
                  <a:lnTo>
                    <a:pt x="746555" y="1192000"/>
                  </a:lnTo>
                  <a:lnTo>
                    <a:pt x="746555" y="1720747"/>
                  </a:lnTo>
                  <a:lnTo>
                    <a:pt x="749901" y="1720747"/>
                  </a:lnTo>
                  <a:lnTo>
                    <a:pt x="749901" y="1729432"/>
                  </a:lnTo>
                  <a:lnTo>
                    <a:pt x="707875" y="1729432"/>
                  </a:lnTo>
                  <a:lnTo>
                    <a:pt x="707875" y="1720747"/>
                  </a:lnTo>
                  <a:lnTo>
                    <a:pt x="707875" y="1192000"/>
                  </a:lnTo>
                  <a:lnTo>
                    <a:pt x="700633" y="1192000"/>
                  </a:lnTo>
                  <a:lnTo>
                    <a:pt x="700633" y="1777953"/>
                  </a:lnTo>
                  <a:lnTo>
                    <a:pt x="710783" y="1777953"/>
                  </a:lnTo>
                  <a:lnTo>
                    <a:pt x="710783" y="1791763"/>
                  </a:lnTo>
                  <a:lnTo>
                    <a:pt x="651201" y="1791763"/>
                  </a:lnTo>
                  <a:lnTo>
                    <a:pt x="651201" y="1844054"/>
                  </a:lnTo>
                  <a:lnTo>
                    <a:pt x="651091" y="1844054"/>
                  </a:lnTo>
                  <a:lnTo>
                    <a:pt x="651091" y="1873905"/>
                  </a:lnTo>
                  <a:lnTo>
                    <a:pt x="161100" y="1873905"/>
                  </a:lnTo>
                  <a:lnTo>
                    <a:pt x="161100" y="1844054"/>
                  </a:lnTo>
                  <a:lnTo>
                    <a:pt x="161100" y="1791763"/>
                  </a:lnTo>
                  <a:lnTo>
                    <a:pt x="101518" y="1791763"/>
                  </a:lnTo>
                  <a:lnTo>
                    <a:pt x="101518" y="1777953"/>
                  </a:lnTo>
                  <a:lnTo>
                    <a:pt x="111668" y="1777953"/>
                  </a:lnTo>
                  <a:lnTo>
                    <a:pt x="111668" y="1192000"/>
                  </a:lnTo>
                  <a:lnTo>
                    <a:pt x="104426" y="1192000"/>
                  </a:lnTo>
                  <a:lnTo>
                    <a:pt x="104426" y="1720747"/>
                  </a:lnTo>
                  <a:lnTo>
                    <a:pt x="104426" y="1729432"/>
                  </a:lnTo>
                  <a:lnTo>
                    <a:pt x="62400" y="1729432"/>
                  </a:lnTo>
                  <a:lnTo>
                    <a:pt x="62400" y="1720747"/>
                  </a:lnTo>
                  <a:lnTo>
                    <a:pt x="65747" y="1720747"/>
                  </a:lnTo>
                  <a:lnTo>
                    <a:pt x="65747" y="1192000"/>
                  </a:lnTo>
                  <a:lnTo>
                    <a:pt x="17686" y="1192000"/>
                  </a:lnTo>
                  <a:lnTo>
                    <a:pt x="17686" y="1182289"/>
                  </a:lnTo>
                  <a:lnTo>
                    <a:pt x="22734" y="1182289"/>
                  </a:lnTo>
                  <a:lnTo>
                    <a:pt x="22734" y="1059641"/>
                  </a:lnTo>
                  <a:lnTo>
                    <a:pt x="-7167" y="1059641"/>
                  </a:lnTo>
                  <a:lnTo>
                    <a:pt x="-7167" y="1047950"/>
                  </a:lnTo>
                  <a:lnTo>
                    <a:pt x="2983" y="1047950"/>
                  </a:lnTo>
                  <a:lnTo>
                    <a:pt x="2983" y="544358"/>
                  </a:lnTo>
                  <a:lnTo>
                    <a:pt x="-8923" y="544358"/>
                  </a:lnTo>
                  <a:lnTo>
                    <a:pt x="-8923" y="530593"/>
                  </a:lnTo>
                  <a:lnTo>
                    <a:pt x="2983" y="530593"/>
                  </a:lnTo>
                  <a:lnTo>
                    <a:pt x="2983" y="184171"/>
                  </a:lnTo>
                  <a:lnTo>
                    <a:pt x="2983" y="67162"/>
                  </a:lnTo>
                  <a:lnTo>
                    <a:pt x="2983" y="50187"/>
                  </a:lnTo>
                  <a:lnTo>
                    <a:pt x="2983" y="-2559"/>
                  </a:lnTo>
                  <a:lnTo>
                    <a:pt x="2983" y="-6251"/>
                  </a:lnTo>
                  <a:lnTo>
                    <a:pt x="20594" y="-6251"/>
                  </a:lnTo>
                  <a:lnTo>
                    <a:pt x="33707" y="-6251"/>
                  </a:lnTo>
                  <a:lnTo>
                    <a:pt x="36120" y="-6251"/>
                  </a:lnTo>
                  <a:lnTo>
                    <a:pt x="52086" y="-6251"/>
                  </a:lnTo>
                  <a:lnTo>
                    <a:pt x="54500" y="-6251"/>
                  </a:lnTo>
                  <a:lnTo>
                    <a:pt x="70410" y="-6251"/>
                  </a:lnTo>
                  <a:lnTo>
                    <a:pt x="72825" y="-6251"/>
                  </a:lnTo>
                  <a:lnTo>
                    <a:pt x="88790" y="-6251"/>
                  </a:lnTo>
                  <a:lnTo>
                    <a:pt x="91204" y="-6251"/>
                  </a:lnTo>
                  <a:lnTo>
                    <a:pt x="106566" y="-6251"/>
                  </a:lnTo>
                  <a:lnTo>
                    <a:pt x="124177" y="-6251"/>
                  </a:lnTo>
                  <a:lnTo>
                    <a:pt x="138442" y="-6251"/>
                  </a:lnTo>
                  <a:lnTo>
                    <a:pt x="140856" y="-6251"/>
                  </a:lnTo>
                  <a:lnTo>
                    <a:pt x="156821" y="-6251"/>
                  </a:lnTo>
                  <a:lnTo>
                    <a:pt x="159235" y="-6251"/>
                  </a:lnTo>
                  <a:lnTo>
                    <a:pt x="175201" y="-6251"/>
                  </a:lnTo>
                  <a:lnTo>
                    <a:pt x="177560" y="-6251"/>
                  </a:lnTo>
                  <a:lnTo>
                    <a:pt x="193525" y="-6251"/>
                  </a:lnTo>
                  <a:lnTo>
                    <a:pt x="195939" y="-6251"/>
                  </a:lnTo>
                  <a:lnTo>
                    <a:pt x="210204" y="-6251"/>
                  </a:lnTo>
                  <a:lnTo>
                    <a:pt x="227815" y="-6251"/>
                  </a:lnTo>
                  <a:lnTo>
                    <a:pt x="243232" y="-6251"/>
                  </a:lnTo>
                  <a:lnTo>
                    <a:pt x="245591" y="-6251"/>
                  </a:lnTo>
                  <a:lnTo>
                    <a:pt x="261557" y="-6251"/>
                  </a:lnTo>
                  <a:lnTo>
                    <a:pt x="263970" y="-6251"/>
                  </a:lnTo>
                  <a:lnTo>
                    <a:pt x="279936" y="-6251"/>
                  </a:lnTo>
                  <a:lnTo>
                    <a:pt x="282350" y="-6251"/>
                  </a:lnTo>
                  <a:lnTo>
                    <a:pt x="298260" y="-6251"/>
                  </a:lnTo>
                  <a:lnTo>
                    <a:pt x="300675" y="-6251"/>
                  </a:lnTo>
                  <a:lnTo>
                    <a:pt x="313787" y="-6251"/>
                  </a:lnTo>
                  <a:lnTo>
                    <a:pt x="320316" y="-6251"/>
                  </a:lnTo>
                  <a:lnTo>
                    <a:pt x="331399" y="-6251"/>
                  </a:lnTo>
                  <a:lnTo>
                    <a:pt x="480738" y="-6251"/>
                  </a:lnTo>
                  <a:lnTo>
                    <a:pt x="480738" y="50187"/>
                  </a:lnTo>
                  <a:lnTo>
                    <a:pt x="480738" y="67162"/>
                  </a:lnTo>
                  <a:lnTo>
                    <a:pt x="480738" y="186996"/>
                  </a:lnTo>
                  <a:lnTo>
                    <a:pt x="480738" y="251439"/>
                  </a:lnTo>
                  <a:lnTo>
                    <a:pt x="480738" y="1380892"/>
                  </a:lnTo>
                  <a:lnTo>
                    <a:pt x="480903" y="1380892"/>
                  </a:lnTo>
                  <a:lnTo>
                    <a:pt x="480903" y="1366188"/>
                  </a:lnTo>
                  <a:lnTo>
                    <a:pt x="637430" y="1366188"/>
                  </a:lnTo>
                  <a:lnTo>
                    <a:pt x="637430" y="1192000"/>
                  </a:lnTo>
                  <a:lnTo>
                    <a:pt x="637430" y="1182289"/>
                  </a:lnTo>
                  <a:lnTo>
                    <a:pt x="637430" y="544358"/>
                  </a:lnTo>
                  <a:lnTo>
                    <a:pt x="480903" y="544358"/>
                  </a:lnTo>
                  <a:lnTo>
                    <a:pt x="480903" y="530593"/>
                  </a:lnTo>
                  <a:lnTo>
                    <a:pt x="645111" y="530593"/>
                  </a:lnTo>
                  <a:lnTo>
                    <a:pt x="645111" y="184171"/>
                  </a:lnTo>
                  <a:lnTo>
                    <a:pt x="610931" y="184171"/>
                  </a:lnTo>
                  <a:lnTo>
                    <a:pt x="480903" y="184171"/>
                  </a:lnTo>
                  <a:lnTo>
                    <a:pt x="480903" y="119727"/>
                  </a:lnTo>
                  <a:lnTo>
                    <a:pt x="488968" y="119727"/>
                  </a:lnTo>
                  <a:lnTo>
                    <a:pt x="488968" y="67162"/>
                  </a:lnTo>
                  <a:lnTo>
                    <a:pt x="480903" y="67162"/>
                  </a:lnTo>
                  <a:lnTo>
                    <a:pt x="480903" y="50187"/>
                  </a:lnTo>
                  <a:lnTo>
                    <a:pt x="480903" y="-6251"/>
                  </a:lnTo>
                  <a:lnTo>
                    <a:pt x="491986" y="-6251"/>
                  </a:lnTo>
                  <a:lnTo>
                    <a:pt x="511627" y="-6251"/>
                  </a:lnTo>
                  <a:lnTo>
                    <a:pt x="514041" y="-6251"/>
                  </a:lnTo>
                  <a:lnTo>
                    <a:pt x="529952" y="-6251"/>
                  </a:lnTo>
                  <a:lnTo>
                    <a:pt x="532365" y="-6251"/>
                  </a:lnTo>
                  <a:lnTo>
                    <a:pt x="548331" y="-6251"/>
                  </a:lnTo>
                  <a:lnTo>
                    <a:pt x="550745" y="-6251"/>
                  </a:lnTo>
                  <a:lnTo>
                    <a:pt x="566710" y="-6251"/>
                  </a:lnTo>
                  <a:lnTo>
                    <a:pt x="569070" y="-6251"/>
                  </a:lnTo>
                  <a:lnTo>
                    <a:pt x="584486" y="-6251"/>
                  </a:lnTo>
                  <a:lnTo>
                    <a:pt x="602098" y="-6251"/>
                  </a:lnTo>
                  <a:lnTo>
                    <a:pt x="616362" y="-6251"/>
                  </a:lnTo>
                  <a:lnTo>
                    <a:pt x="618776" y="-6251"/>
                  </a:lnTo>
                  <a:lnTo>
                    <a:pt x="634742" y="-6251"/>
                  </a:lnTo>
                  <a:lnTo>
                    <a:pt x="637101" y="-6251"/>
                  </a:lnTo>
                  <a:lnTo>
                    <a:pt x="653066" y="-6251"/>
                  </a:lnTo>
                  <a:lnTo>
                    <a:pt x="655480" y="-6251"/>
                  </a:lnTo>
                  <a:lnTo>
                    <a:pt x="671446" y="-6251"/>
                  </a:lnTo>
                  <a:lnTo>
                    <a:pt x="673805" y="-6251"/>
                  </a:lnTo>
                  <a:lnTo>
                    <a:pt x="688124" y="-6251"/>
                  </a:lnTo>
                  <a:lnTo>
                    <a:pt x="705736" y="-6251"/>
                  </a:lnTo>
                  <a:lnTo>
                    <a:pt x="721097" y="-6251"/>
                  </a:lnTo>
                  <a:lnTo>
                    <a:pt x="723512" y="-6251"/>
                  </a:lnTo>
                  <a:lnTo>
                    <a:pt x="739477" y="-6251"/>
                  </a:lnTo>
                  <a:lnTo>
                    <a:pt x="741891" y="-6251"/>
                  </a:lnTo>
                  <a:lnTo>
                    <a:pt x="757802" y="-6251"/>
                  </a:lnTo>
                  <a:lnTo>
                    <a:pt x="760215" y="-6251"/>
                  </a:lnTo>
                  <a:lnTo>
                    <a:pt x="776181" y="-6251"/>
                  </a:lnTo>
                  <a:lnTo>
                    <a:pt x="778595" y="-6251"/>
                  </a:lnTo>
                  <a:lnTo>
                    <a:pt x="791708" y="-6251"/>
                  </a:lnTo>
                  <a:lnTo>
                    <a:pt x="809319" y="-6251"/>
                  </a:lnTo>
                  <a:lnTo>
                    <a:pt x="809319" y="-2559"/>
                  </a:lnTo>
                  <a:lnTo>
                    <a:pt x="809319" y="50187"/>
                  </a:lnTo>
                  <a:lnTo>
                    <a:pt x="809319" y="67162"/>
                  </a:lnTo>
                  <a:lnTo>
                    <a:pt x="809319" y="184171"/>
                  </a:lnTo>
                  <a:lnTo>
                    <a:pt x="809319" y="530593"/>
                  </a:lnTo>
                  <a:lnTo>
                    <a:pt x="821224" y="530593"/>
                  </a:lnTo>
                  <a:lnTo>
                    <a:pt x="821224" y="544358"/>
                  </a:lnTo>
                  <a:close/>
                  <a:moveTo>
                    <a:pt x="581194" y="1791763"/>
                  </a:moveTo>
                  <a:lnTo>
                    <a:pt x="574666" y="1791763"/>
                  </a:lnTo>
                  <a:lnTo>
                    <a:pt x="574666" y="1815799"/>
                  </a:lnTo>
                  <a:lnTo>
                    <a:pt x="581194" y="1815799"/>
                  </a:lnTo>
                  <a:close/>
                  <a:moveTo>
                    <a:pt x="583608" y="1815799"/>
                  </a:moveTo>
                  <a:lnTo>
                    <a:pt x="590192" y="1815799"/>
                  </a:lnTo>
                  <a:lnTo>
                    <a:pt x="590192" y="1791763"/>
                  </a:lnTo>
                  <a:lnTo>
                    <a:pt x="583608" y="1791763"/>
                  </a:lnTo>
                  <a:close/>
                  <a:moveTo>
                    <a:pt x="613784" y="1791763"/>
                  </a:moveTo>
                  <a:lnTo>
                    <a:pt x="607200" y="1791763"/>
                  </a:lnTo>
                  <a:lnTo>
                    <a:pt x="607200" y="1815799"/>
                  </a:lnTo>
                  <a:lnTo>
                    <a:pt x="613784" y="1815799"/>
                  </a:lnTo>
                  <a:close/>
                  <a:moveTo>
                    <a:pt x="616197" y="1815799"/>
                  </a:moveTo>
                  <a:lnTo>
                    <a:pt x="622726" y="1815799"/>
                  </a:lnTo>
                  <a:lnTo>
                    <a:pt x="622726" y="1791763"/>
                  </a:lnTo>
                  <a:lnTo>
                    <a:pt x="616197" y="1791763"/>
                  </a:lnTo>
                  <a:close/>
                  <a:moveTo>
                    <a:pt x="419894" y="1844054"/>
                  </a:moveTo>
                  <a:lnTo>
                    <a:pt x="419894" y="1205865"/>
                  </a:lnTo>
                  <a:lnTo>
                    <a:pt x="392298" y="1205865"/>
                  </a:lnTo>
                  <a:lnTo>
                    <a:pt x="392298" y="1844054"/>
                  </a:lnTo>
                  <a:close/>
                  <a:moveTo>
                    <a:pt x="388841" y="1196127"/>
                  </a:moveTo>
                  <a:lnTo>
                    <a:pt x="388841" y="1156970"/>
                  </a:lnTo>
                  <a:lnTo>
                    <a:pt x="357623" y="1156970"/>
                  </a:lnTo>
                  <a:lnTo>
                    <a:pt x="357623" y="1196127"/>
                  </a:lnTo>
                  <a:close/>
                  <a:moveTo>
                    <a:pt x="357623" y="283497"/>
                  </a:moveTo>
                  <a:lnTo>
                    <a:pt x="388841" y="283497"/>
                  </a:lnTo>
                  <a:lnTo>
                    <a:pt x="388841" y="269654"/>
                  </a:lnTo>
                  <a:lnTo>
                    <a:pt x="357623" y="269654"/>
                  </a:lnTo>
                  <a:close/>
                  <a:moveTo>
                    <a:pt x="421266" y="1084379"/>
                  </a:moveTo>
                  <a:lnTo>
                    <a:pt x="391255" y="1084379"/>
                  </a:lnTo>
                  <a:lnTo>
                    <a:pt x="391255" y="1123530"/>
                  </a:lnTo>
                  <a:lnTo>
                    <a:pt x="421266" y="1123530"/>
                  </a:lnTo>
                  <a:close/>
                  <a:moveTo>
                    <a:pt x="421266" y="1011789"/>
                  </a:moveTo>
                  <a:lnTo>
                    <a:pt x="391255" y="1011789"/>
                  </a:lnTo>
                  <a:lnTo>
                    <a:pt x="391255" y="1050945"/>
                  </a:lnTo>
                  <a:lnTo>
                    <a:pt x="421266" y="1050945"/>
                  </a:lnTo>
                  <a:close/>
                  <a:moveTo>
                    <a:pt x="421266" y="939204"/>
                  </a:moveTo>
                  <a:lnTo>
                    <a:pt x="391255" y="939204"/>
                  </a:lnTo>
                  <a:lnTo>
                    <a:pt x="391255" y="978354"/>
                  </a:lnTo>
                  <a:lnTo>
                    <a:pt x="421266" y="978354"/>
                  </a:lnTo>
                  <a:close/>
                  <a:moveTo>
                    <a:pt x="421266" y="866613"/>
                  </a:moveTo>
                  <a:lnTo>
                    <a:pt x="391255" y="866613"/>
                  </a:lnTo>
                  <a:lnTo>
                    <a:pt x="391255" y="905770"/>
                  </a:lnTo>
                  <a:lnTo>
                    <a:pt x="421266" y="905770"/>
                  </a:lnTo>
                  <a:close/>
                  <a:moveTo>
                    <a:pt x="421266" y="794022"/>
                  </a:moveTo>
                  <a:lnTo>
                    <a:pt x="391255" y="794022"/>
                  </a:lnTo>
                  <a:lnTo>
                    <a:pt x="391255" y="833179"/>
                  </a:lnTo>
                  <a:lnTo>
                    <a:pt x="421266" y="833179"/>
                  </a:lnTo>
                  <a:close/>
                  <a:moveTo>
                    <a:pt x="421266" y="721432"/>
                  </a:moveTo>
                  <a:lnTo>
                    <a:pt x="391255" y="721432"/>
                  </a:lnTo>
                  <a:lnTo>
                    <a:pt x="391255" y="760588"/>
                  </a:lnTo>
                  <a:lnTo>
                    <a:pt x="421266" y="760588"/>
                  </a:lnTo>
                  <a:close/>
                  <a:moveTo>
                    <a:pt x="421266" y="648841"/>
                  </a:moveTo>
                  <a:lnTo>
                    <a:pt x="391255" y="648841"/>
                  </a:lnTo>
                  <a:lnTo>
                    <a:pt x="391255" y="687998"/>
                  </a:lnTo>
                  <a:lnTo>
                    <a:pt x="421266" y="687998"/>
                  </a:lnTo>
                  <a:close/>
                  <a:moveTo>
                    <a:pt x="421266" y="576251"/>
                  </a:moveTo>
                  <a:lnTo>
                    <a:pt x="391255" y="576251"/>
                  </a:lnTo>
                  <a:lnTo>
                    <a:pt x="391255" y="615402"/>
                  </a:lnTo>
                  <a:lnTo>
                    <a:pt x="421266" y="615402"/>
                  </a:lnTo>
                  <a:close/>
                  <a:moveTo>
                    <a:pt x="421266" y="503666"/>
                  </a:moveTo>
                  <a:lnTo>
                    <a:pt x="391255" y="503666"/>
                  </a:lnTo>
                  <a:lnTo>
                    <a:pt x="391255" y="542817"/>
                  </a:lnTo>
                  <a:lnTo>
                    <a:pt x="421266" y="542817"/>
                  </a:lnTo>
                  <a:close/>
                  <a:moveTo>
                    <a:pt x="421266" y="431075"/>
                  </a:moveTo>
                  <a:lnTo>
                    <a:pt x="391255" y="431075"/>
                  </a:lnTo>
                  <a:lnTo>
                    <a:pt x="391255" y="470232"/>
                  </a:lnTo>
                  <a:lnTo>
                    <a:pt x="421266" y="470232"/>
                  </a:lnTo>
                  <a:close/>
                  <a:moveTo>
                    <a:pt x="421266" y="358485"/>
                  </a:moveTo>
                  <a:lnTo>
                    <a:pt x="391255" y="358485"/>
                  </a:lnTo>
                  <a:lnTo>
                    <a:pt x="391255" y="397641"/>
                  </a:lnTo>
                  <a:lnTo>
                    <a:pt x="421266" y="397641"/>
                  </a:lnTo>
                  <a:close/>
                  <a:moveTo>
                    <a:pt x="391255" y="356081"/>
                  </a:moveTo>
                  <a:lnTo>
                    <a:pt x="421266" y="356081"/>
                  </a:lnTo>
                  <a:lnTo>
                    <a:pt x="421266" y="342245"/>
                  </a:lnTo>
                  <a:lnTo>
                    <a:pt x="391255" y="342245"/>
                  </a:lnTo>
                  <a:close/>
                  <a:moveTo>
                    <a:pt x="391255" y="414836"/>
                  </a:moveTo>
                  <a:lnTo>
                    <a:pt x="391255" y="428672"/>
                  </a:lnTo>
                  <a:lnTo>
                    <a:pt x="421266" y="428672"/>
                  </a:lnTo>
                  <a:lnTo>
                    <a:pt x="421266" y="414836"/>
                  </a:lnTo>
                  <a:close/>
                  <a:moveTo>
                    <a:pt x="391255" y="487421"/>
                  </a:moveTo>
                  <a:lnTo>
                    <a:pt x="391255" y="501263"/>
                  </a:lnTo>
                  <a:lnTo>
                    <a:pt x="421266" y="501263"/>
                  </a:lnTo>
                  <a:lnTo>
                    <a:pt x="421266" y="487421"/>
                  </a:lnTo>
                  <a:close/>
                  <a:moveTo>
                    <a:pt x="391255" y="560011"/>
                  </a:moveTo>
                  <a:lnTo>
                    <a:pt x="391255" y="573848"/>
                  </a:lnTo>
                  <a:lnTo>
                    <a:pt x="421266" y="573848"/>
                  </a:lnTo>
                  <a:lnTo>
                    <a:pt x="421266" y="560011"/>
                  </a:lnTo>
                  <a:close/>
                  <a:moveTo>
                    <a:pt x="391255" y="632602"/>
                  </a:moveTo>
                  <a:lnTo>
                    <a:pt x="391255" y="646438"/>
                  </a:lnTo>
                  <a:lnTo>
                    <a:pt x="421266" y="646438"/>
                  </a:lnTo>
                  <a:lnTo>
                    <a:pt x="421266" y="632602"/>
                  </a:lnTo>
                  <a:close/>
                  <a:moveTo>
                    <a:pt x="391255" y="705192"/>
                  </a:moveTo>
                  <a:lnTo>
                    <a:pt x="391255" y="719029"/>
                  </a:lnTo>
                  <a:lnTo>
                    <a:pt x="421266" y="719029"/>
                  </a:lnTo>
                  <a:lnTo>
                    <a:pt x="421266" y="705192"/>
                  </a:lnTo>
                  <a:close/>
                  <a:moveTo>
                    <a:pt x="391255" y="777777"/>
                  </a:moveTo>
                  <a:lnTo>
                    <a:pt x="391255" y="791619"/>
                  </a:lnTo>
                  <a:lnTo>
                    <a:pt x="421266" y="791619"/>
                  </a:lnTo>
                  <a:lnTo>
                    <a:pt x="421266" y="777777"/>
                  </a:lnTo>
                  <a:close/>
                  <a:moveTo>
                    <a:pt x="391255" y="850368"/>
                  </a:moveTo>
                  <a:lnTo>
                    <a:pt x="391255" y="864210"/>
                  </a:lnTo>
                  <a:lnTo>
                    <a:pt x="421266" y="864210"/>
                  </a:lnTo>
                  <a:lnTo>
                    <a:pt x="421266" y="850368"/>
                  </a:lnTo>
                  <a:close/>
                  <a:moveTo>
                    <a:pt x="391255" y="922953"/>
                  </a:moveTo>
                  <a:lnTo>
                    <a:pt x="391255" y="936801"/>
                  </a:lnTo>
                  <a:lnTo>
                    <a:pt x="421266" y="936801"/>
                  </a:lnTo>
                  <a:lnTo>
                    <a:pt x="421266" y="922953"/>
                  </a:lnTo>
                  <a:close/>
                  <a:moveTo>
                    <a:pt x="391255" y="995549"/>
                  </a:moveTo>
                  <a:lnTo>
                    <a:pt x="391255" y="1009386"/>
                  </a:lnTo>
                  <a:lnTo>
                    <a:pt x="421266" y="1009386"/>
                  </a:lnTo>
                  <a:lnTo>
                    <a:pt x="421266" y="995549"/>
                  </a:lnTo>
                  <a:close/>
                  <a:moveTo>
                    <a:pt x="391255" y="1068140"/>
                  </a:moveTo>
                  <a:lnTo>
                    <a:pt x="391255" y="1081971"/>
                  </a:lnTo>
                  <a:lnTo>
                    <a:pt x="421266" y="1081971"/>
                  </a:lnTo>
                  <a:lnTo>
                    <a:pt x="421266" y="1068140"/>
                  </a:lnTo>
                  <a:close/>
                  <a:moveTo>
                    <a:pt x="391255" y="285894"/>
                  </a:moveTo>
                  <a:lnTo>
                    <a:pt x="391255" y="325050"/>
                  </a:lnTo>
                  <a:lnTo>
                    <a:pt x="421266" y="325050"/>
                  </a:lnTo>
                  <a:lnTo>
                    <a:pt x="421266" y="285894"/>
                  </a:lnTo>
                  <a:close/>
                  <a:moveTo>
                    <a:pt x="421266" y="1140725"/>
                  </a:moveTo>
                  <a:lnTo>
                    <a:pt x="391255" y="1140725"/>
                  </a:lnTo>
                  <a:lnTo>
                    <a:pt x="391255" y="1154567"/>
                  </a:lnTo>
                  <a:lnTo>
                    <a:pt x="421266" y="1154567"/>
                  </a:lnTo>
                  <a:close/>
                  <a:moveTo>
                    <a:pt x="388841" y="1154567"/>
                  </a:moveTo>
                  <a:lnTo>
                    <a:pt x="388841" y="1140725"/>
                  </a:lnTo>
                  <a:lnTo>
                    <a:pt x="357623" y="1140725"/>
                  </a:lnTo>
                  <a:lnTo>
                    <a:pt x="357623" y="1154567"/>
                  </a:lnTo>
                  <a:close/>
                  <a:moveTo>
                    <a:pt x="357623" y="1123530"/>
                  </a:moveTo>
                  <a:lnTo>
                    <a:pt x="388841" y="1123530"/>
                  </a:lnTo>
                  <a:lnTo>
                    <a:pt x="388841" y="1084379"/>
                  </a:lnTo>
                  <a:lnTo>
                    <a:pt x="357623" y="1084379"/>
                  </a:lnTo>
                  <a:close/>
                  <a:moveTo>
                    <a:pt x="388841" y="1081971"/>
                  </a:moveTo>
                  <a:lnTo>
                    <a:pt x="388841" y="1068140"/>
                  </a:lnTo>
                  <a:lnTo>
                    <a:pt x="357623" y="1068140"/>
                  </a:lnTo>
                  <a:lnTo>
                    <a:pt x="357623" y="1081971"/>
                  </a:lnTo>
                  <a:close/>
                  <a:moveTo>
                    <a:pt x="357623" y="1050945"/>
                  </a:moveTo>
                  <a:lnTo>
                    <a:pt x="388841" y="1050945"/>
                  </a:lnTo>
                  <a:lnTo>
                    <a:pt x="388841" y="1011789"/>
                  </a:lnTo>
                  <a:lnTo>
                    <a:pt x="357623" y="1011789"/>
                  </a:lnTo>
                  <a:close/>
                  <a:moveTo>
                    <a:pt x="388841" y="1009386"/>
                  </a:moveTo>
                  <a:lnTo>
                    <a:pt x="388841" y="995549"/>
                  </a:lnTo>
                  <a:lnTo>
                    <a:pt x="357623" y="995549"/>
                  </a:lnTo>
                  <a:lnTo>
                    <a:pt x="357623" y="1009386"/>
                  </a:lnTo>
                  <a:close/>
                  <a:moveTo>
                    <a:pt x="357623" y="978354"/>
                  </a:moveTo>
                  <a:lnTo>
                    <a:pt x="388841" y="978354"/>
                  </a:lnTo>
                  <a:lnTo>
                    <a:pt x="388841" y="939204"/>
                  </a:lnTo>
                  <a:lnTo>
                    <a:pt x="357623" y="939204"/>
                  </a:lnTo>
                  <a:close/>
                  <a:moveTo>
                    <a:pt x="388841" y="936801"/>
                  </a:moveTo>
                  <a:lnTo>
                    <a:pt x="388841" y="922953"/>
                  </a:lnTo>
                  <a:lnTo>
                    <a:pt x="357623" y="922953"/>
                  </a:lnTo>
                  <a:lnTo>
                    <a:pt x="357623" y="936801"/>
                  </a:lnTo>
                  <a:close/>
                  <a:moveTo>
                    <a:pt x="357623" y="905770"/>
                  </a:moveTo>
                  <a:lnTo>
                    <a:pt x="388841" y="905770"/>
                  </a:lnTo>
                  <a:lnTo>
                    <a:pt x="388841" y="866613"/>
                  </a:lnTo>
                  <a:lnTo>
                    <a:pt x="357623" y="866613"/>
                  </a:lnTo>
                  <a:close/>
                  <a:moveTo>
                    <a:pt x="388841" y="864210"/>
                  </a:moveTo>
                  <a:lnTo>
                    <a:pt x="388841" y="850368"/>
                  </a:lnTo>
                  <a:lnTo>
                    <a:pt x="357623" y="850368"/>
                  </a:lnTo>
                  <a:lnTo>
                    <a:pt x="357623" y="864210"/>
                  </a:lnTo>
                  <a:close/>
                  <a:moveTo>
                    <a:pt x="357623" y="833179"/>
                  </a:moveTo>
                  <a:lnTo>
                    <a:pt x="388841" y="833179"/>
                  </a:lnTo>
                  <a:lnTo>
                    <a:pt x="388841" y="794022"/>
                  </a:lnTo>
                  <a:lnTo>
                    <a:pt x="357623" y="794022"/>
                  </a:lnTo>
                  <a:close/>
                  <a:moveTo>
                    <a:pt x="388841" y="791619"/>
                  </a:moveTo>
                  <a:lnTo>
                    <a:pt x="388841" y="777777"/>
                  </a:lnTo>
                  <a:lnTo>
                    <a:pt x="357623" y="777777"/>
                  </a:lnTo>
                  <a:lnTo>
                    <a:pt x="357623" y="791619"/>
                  </a:lnTo>
                  <a:close/>
                  <a:moveTo>
                    <a:pt x="357623" y="760588"/>
                  </a:moveTo>
                  <a:lnTo>
                    <a:pt x="388841" y="760588"/>
                  </a:lnTo>
                  <a:lnTo>
                    <a:pt x="388841" y="721432"/>
                  </a:lnTo>
                  <a:lnTo>
                    <a:pt x="357623" y="721432"/>
                  </a:lnTo>
                  <a:close/>
                  <a:moveTo>
                    <a:pt x="388841" y="719029"/>
                  </a:moveTo>
                  <a:lnTo>
                    <a:pt x="388841" y="705192"/>
                  </a:lnTo>
                  <a:lnTo>
                    <a:pt x="357623" y="705192"/>
                  </a:lnTo>
                  <a:lnTo>
                    <a:pt x="357623" y="719029"/>
                  </a:lnTo>
                  <a:close/>
                  <a:moveTo>
                    <a:pt x="357623" y="687998"/>
                  </a:moveTo>
                  <a:lnTo>
                    <a:pt x="388841" y="687998"/>
                  </a:lnTo>
                  <a:lnTo>
                    <a:pt x="388841" y="648841"/>
                  </a:lnTo>
                  <a:lnTo>
                    <a:pt x="357623" y="648841"/>
                  </a:lnTo>
                  <a:close/>
                  <a:moveTo>
                    <a:pt x="388841" y="646438"/>
                  </a:moveTo>
                  <a:lnTo>
                    <a:pt x="388841" y="632602"/>
                  </a:lnTo>
                  <a:lnTo>
                    <a:pt x="357623" y="632602"/>
                  </a:lnTo>
                  <a:lnTo>
                    <a:pt x="357623" y="646438"/>
                  </a:lnTo>
                  <a:close/>
                  <a:moveTo>
                    <a:pt x="357623" y="615402"/>
                  </a:moveTo>
                  <a:lnTo>
                    <a:pt x="388841" y="615402"/>
                  </a:lnTo>
                  <a:lnTo>
                    <a:pt x="388841" y="576251"/>
                  </a:lnTo>
                  <a:lnTo>
                    <a:pt x="357623" y="576251"/>
                  </a:lnTo>
                  <a:close/>
                  <a:moveTo>
                    <a:pt x="388841" y="573848"/>
                  </a:moveTo>
                  <a:lnTo>
                    <a:pt x="388841" y="560011"/>
                  </a:lnTo>
                  <a:lnTo>
                    <a:pt x="357623" y="560011"/>
                  </a:lnTo>
                  <a:lnTo>
                    <a:pt x="357623" y="573848"/>
                  </a:lnTo>
                  <a:close/>
                  <a:moveTo>
                    <a:pt x="357623" y="542817"/>
                  </a:moveTo>
                  <a:lnTo>
                    <a:pt x="388841" y="542817"/>
                  </a:lnTo>
                  <a:lnTo>
                    <a:pt x="388841" y="503666"/>
                  </a:lnTo>
                  <a:lnTo>
                    <a:pt x="357623" y="503666"/>
                  </a:lnTo>
                  <a:close/>
                  <a:moveTo>
                    <a:pt x="388841" y="501263"/>
                  </a:moveTo>
                  <a:lnTo>
                    <a:pt x="388841" y="487421"/>
                  </a:lnTo>
                  <a:lnTo>
                    <a:pt x="357623" y="487421"/>
                  </a:lnTo>
                  <a:lnTo>
                    <a:pt x="357623" y="501263"/>
                  </a:lnTo>
                  <a:close/>
                  <a:moveTo>
                    <a:pt x="357623" y="470232"/>
                  </a:moveTo>
                  <a:lnTo>
                    <a:pt x="388841" y="470232"/>
                  </a:lnTo>
                  <a:lnTo>
                    <a:pt x="388841" y="431075"/>
                  </a:lnTo>
                  <a:lnTo>
                    <a:pt x="357623" y="431075"/>
                  </a:lnTo>
                  <a:close/>
                  <a:moveTo>
                    <a:pt x="388841" y="428672"/>
                  </a:moveTo>
                  <a:lnTo>
                    <a:pt x="388841" y="414836"/>
                  </a:lnTo>
                  <a:lnTo>
                    <a:pt x="357623" y="414836"/>
                  </a:lnTo>
                  <a:lnTo>
                    <a:pt x="357623" y="428672"/>
                  </a:lnTo>
                  <a:close/>
                  <a:moveTo>
                    <a:pt x="357623" y="397641"/>
                  </a:moveTo>
                  <a:lnTo>
                    <a:pt x="388841" y="397641"/>
                  </a:lnTo>
                  <a:lnTo>
                    <a:pt x="388841" y="358485"/>
                  </a:lnTo>
                  <a:lnTo>
                    <a:pt x="357623" y="358485"/>
                  </a:lnTo>
                  <a:close/>
                  <a:moveTo>
                    <a:pt x="388841" y="356081"/>
                  </a:moveTo>
                  <a:lnTo>
                    <a:pt x="388841" y="342245"/>
                  </a:lnTo>
                  <a:lnTo>
                    <a:pt x="357623" y="342245"/>
                  </a:lnTo>
                  <a:lnTo>
                    <a:pt x="357623" y="356081"/>
                  </a:lnTo>
                  <a:close/>
                  <a:moveTo>
                    <a:pt x="357623" y="325050"/>
                  </a:moveTo>
                  <a:lnTo>
                    <a:pt x="388841" y="325050"/>
                  </a:lnTo>
                  <a:lnTo>
                    <a:pt x="388841" y="285894"/>
                  </a:lnTo>
                  <a:lnTo>
                    <a:pt x="357623" y="285894"/>
                  </a:lnTo>
                  <a:close/>
                  <a:moveTo>
                    <a:pt x="391255" y="283497"/>
                  </a:moveTo>
                  <a:lnTo>
                    <a:pt x="421266" y="283497"/>
                  </a:lnTo>
                  <a:lnTo>
                    <a:pt x="421266" y="269654"/>
                  </a:lnTo>
                  <a:lnTo>
                    <a:pt x="391255" y="269654"/>
                  </a:lnTo>
                  <a:close/>
                  <a:moveTo>
                    <a:pt x="423680" y="285894"/>
                  </a:moveTo>
                  <a:lnTo>
                    <a:pt x="423680" y="325050"/>
                  </a:lnTo>
                  <a:lnTo>
                    <a:pt x="454897" y="325050"/>
                  </a:lnTo>
                  <a:lnTo>
                    <a:pt x="454897" y="285894"/>
                  </a:lnTo>
                  <a:close/>
                  <a:moveTo>
                    <a:pt x="454897" y="342245"/>
                  </a:moveTo>
                  <a:lnTo>
                    <a:pt x="423680" y="342245"/>
                  </a:lnTo>
                  <a:lnTo>
                    <a:pt x="423680" y="356081"/>
                  </a:lnTo>
                  <a:lnTo>
                    <a:pt x="454897" y="356081"/>
                  </a:lnTo>
                  <a:close/>
                  <a:moveTo>
                    <a:pt x="423680" y="358485"/>
                  </a:moveTo>
                  <a:lnTo>
                    <a:pt x="423680" y="397641"/>
                  </a:lnTo>
                  <a:lnTo>
                    <a:pt x="454897" y="397641"/>
                  </a:lnTo>
                  <a:lnTo>
                    <a:pt x="454897" y="358485"/>
                  </a:lnTo>
                  <a:close/>
                  <a:moveTo>
                    <a:pt x="454897" y="414836"/>
                  </a:moveTo>
                  <a:lnTo>
                    <a:pt x="423680" y="414836"/>
                  </a:lnTo>
                  <a:lnTo>
                    <a:pt x="423680" y="428672"/>
                  </a:lnTo>
                  <a:lnTo>
                    <a:pt x="454897" y="428672"/>
                  </a:lnTo>
                  <a:close/>
                  <a:moveTo>
                    <a:pt x="423680" y="431075"/>
                  </a:moveTo>
                  <a:lnTo>
                    <a:pt x="423680" y="470232"/>
                  </a:lnTo>
                  <a:lnTo>
                    <a:pt x="454897" y="470232"/>
                  </a:lnTo>
                  <a:lnTo>
                    <a:pt x="454897" y="431075"/>
                  </a:lnTo>
                  <a:close/>
                  <a:moveTo>
                    <a:pt x="454897" y="487421"/>
                  </a:moveTo>
                  <a:lnTo>
                    <a:pt x="423680" y="487421"/>
                  </a:lnTo>
                  <a:lnTo>
                    <a:pt x="423680" y="501263"/>
                  </a:lnTo>
                  <a:lnTo>
                    <a:pt x="454897" y="501263"/>
                  </a:lnTo>
                  <a:close/>
                  <a:moveTo>
                    <a:pt x="423680" y="503666"/>
                  </a:moveTo>
                  <a:lnTo>
                    <a:pt x="423680" y="542817"/>
                  </a:lnTo>
                  <a:lnTo>
                    <a:pt x="454897" y="542817"/>
                  </a:lnTo>
                  <a:lnTo>
                    <a:pt x="454897" y="503666"/>
                  </a:lnTo>
                  <a:close/>
                  <a:moveTo>
                    <a:pt x="454897" y="560011"/>
                  </a:moveTo>
                  <a:lnTo>
                    <a:pt x="423680" y="560011"/>
                  </a:lnTo>
                  <a:lnTo>
                    <a:pt x="423680" y="573848"/>
                  </a:lnTo>
                  <a:lnTo>
                    <a:pt x="454897" y="573848"/>
                  </a:lnTo>
                  <a:close/>
                  <a:moveTo>
                    <a:pt x="423680" y="576251"/>
                  </a:moveTo>
                  <a:lnTo>
                    <a:pt x="423680" y="615402"/>
                  </a:lnTo>
                  <a:lnTo>
                    <a:pt x="454897" y="615402"/>
                  </a:lnTo>
                  <a:lnTo>
                    <a:pt x="454897" y="576251"/>
                  </a:lnTo>
                  <a:close/>
                  <a:moveTo>
                    <a:pt x="454897" y="632602"/>
                  </a:moveTo>
                  <a:lnTo>
                    <a:pt x="423680" y="632602"/>
                  </a:lnTo>
                  <a:lnTo>
                    <a:pt x="423680" y="646438"/>
                  </a:lnTo>
                  <a:lnTo>
                    <a:pt x="454897" y="646438"/>
                  </a:lnTo>
                  <a:close/>
                  <a:moveTo>
                    <a:pt x="423680" y="648841"/>
                  </a:moveTo>
                  <a:lnTo>
                    <a:pt x="423680" y="687998"/>
                  </a:lnTo>
                  <a:lnTo>
                    <a:pt x="454897" y="687998"/>
                  </a:lnTo>
                  <a:lnTo>
                    <a:pt x="454897" y="648841"/>
                  </a:lnTo>
                  <a:close/>
                  <a:moveTo>
                    <a:pt x="454897" y="705192"/>
                  </a:moveTo>
                  <a:lnTo>
                    <a:pt x="423680" y="705192"/>
                  </a:lnTo>
                  <a:lnTo>
                    <a:pt x="423680" y="719029"/>
                  </a:lnTo>
                  <a:lnTo>
                    <a:pt x="454897" y="719029"/>
                  </a:lnTo>
                  <a:close/>
                  <a:moveTo>
                    <a:pt x="423680" y="721432"/>
                  </a:moveTo>
                  <a:lnTo>
                    <a:pt x="423680" y="760588"/>
                  </a:lnTo>
                  <a:lnTo>
                    <a:pt x="454897" y="760588"/>
                  </a:lnTo>
                  <a:lnTo>
                    <a:pt x="454897" y="721432"/>
                  </a:lnTo>
                  <a:close/>
                  <a:moveTo>
                    <a:pt x="454897" y="777777"/>
                  </a:moveTo>
                  <a:lnTo>
                    <a:pt x="423680" y="777777"/>
                  </a:lnTo>
                  <a:lnTo>
                    <a:pt x="423680" y="791619"/>
                  </a:lnTo>
                  <a:lnTo>
                    <a:pt x="454897" y="791619"/>
                  </a:lnTo>
                  <a:close/>
                  <a:moveTo>
                    <a:pt x="423680" y="794022"/>
                  </a:moveTo>
                  <a:lnTo>
                    <a:pt x="423680" y="833179"/>
                  </a:lnTo>
                  <a:lnTo>
                    <a:pt x="454897" y="833179"/>
                  </a:lnTo>
                  <a:lnTo>
                    <a:pt x="454897" y="794022"/>
                  </a:lnTo>
                  <a:close/>
                  <a:moveTo>
                    <a:pt x="454897" y="850368"/>
                  </a:moveTo>
                  <a:lnTo>
                    <a:pt x="423680" y="850368"/>
                  </a:lnTo>
                  <a:lnTo>
                    <a:pt x="423680" y="864210"/>
                  </a:lnTo>
                  <a:lnTo>
                    <a:pt x="454897" y="864210"/>
                  </a:lnTo>
                  <a:close/>
                  <a:moveTo>
                    <a:pt x="423680" y="866613"/>
                  </a:moveTo>
                  <a:lnTo>
                    <a:pt x="423680" y="905770"/>
                  </a:lnTo>
                  <a:lnTo>
                    <a:pt x="454897" y="905770"/>
                  </a:lnTo>
                  <a:lnTo>
                    <a:pt x="454897" y="866613"/>
                  </a:lnTo>
                  <a:close/>
                  <a:moveTo>
                    <a:pt x="454897" y="922953"/>
                  </a:moveTo>
                  <a:lnTo>
                    <a:pt x="423680" y="922953"/>
                  </a:lnTo>
                  <a:lnTo>
                    <a:pt x="423680" y="936801"/>
                  </a:lnTo>
                  <a:lnTo>
                    <a:pt x="454897" y="936801"/>
                  </a:lnTo>
                  <a:close/>
                  <a:moveTo>
                    <a:pt x="423680" y="939204"/>
                  </a:moveTo>
                  <a:lnTo>
                    <a:pt x="423680" y="978354"/>
                  </a:lnTo>
                  <a:lnTo>
                    <a:pt x="454897" y="978354"/>
                  </a:lnTo>
                  <a:lnTo>
                    <a:pt x="454897" y="939204"/>
                  </a:lnTo>
                  <a:close/>
                  <a:moveTo>
                    <a:pt x="454897" y="995549"/>
                  </a:moveTo>
                  <a:lnTo>
                    <a:pt x="423680" y="995549"/>
                  </a:lnTo>
                  <a:lnTo>
                    <a:pt x="423680" y="1009386"/>
                  </a:lnTo>
                  <a:lnTo>
                    <a:pt x="454897" y="1009386"/>
                  </a:lnTo>
                  <a:close/>
                  <a:moveTo>
                    <a:pt x="423680" y="1011789"/>
                  </a:moveTo>
                  <a:lnTo>
                    <a:pt x="423680" y="1050945"/>
                  </a:lnTo>
                  <a:lnTo>
                    <a:pt x="454897" y="1050945"/>
                  </a:lnTo>
                  <a:lnTo>
                    <a:pt x="454897" y="1011789"/>
                  </a:lnTo>
                  <a:close/>
                  <a:moveTo>
                    <a:pt x="454897" y="1068140"/>
                  </a:moveTo>
                  <a:lnTo>
                    <a:pt x="423680" y="1068140"/>
                  </a:lnTo>
                  <a:lnTo>
                    <a:pt x="423680" y="1081971"/>
                  </a:lnTo>
                  <a:lnTo>
                    <a:pt x="454897" y="1081971"/>
                  </a:lnTo>
                  <a:close/>
                  <a:moveTo>
                    <a:pt x="423680" y="1084379"/>
                  </a:moveTo>
                  <a:lnTo>
                    <a:pt x="423680" y="1123530"/>
                  </a:lnTo>
                  <a:lnTo>
                    <a:pt x="454897" y="1123530"/>
                  </a:lnTo>
                  <a:lnTo>
                    <a:pt x="454897" y="1084379"/>
                  </a:lnTo>
                  <a:close/>
                  <a:moveTo>
                    <a:pt x="454897" y="1140725"/>
                  </a:moveTo>
                  <a:lnTo>
                    <a:pt x="423680" y="1140725"/>
                  </a:lnTo>
                  <a:lnTo>
                    <a:pt x="423680" y="1154567"/>
                  </a:lnTo>
                  <a:lnTo>
                    <a:pt x="454897" y="1154567"/>
                  </a:lnTo>
                  <a:close/>
                  <a:moveTo>
                    <a:pt x="421266" y="1156970"/>
                  </a:moveTo>
                  <a:lnTo>
                    <a:pt x="391255" y="1156970"/>
                  </a:lnTo>
                  <a:lnTo>
                    <a:pt x="391255" y="1196127"/>
                  </a:lnTo>
                  <a:lnTo>
                    <a:pt x="421266" y="1196127"/>
                  </a:lnTo>
                  <a:close/>
                  <a:moveTo>
                    <a:pt x="423680" y="283497"/>
                  </a:moveTo>
                  <a:lnTo>
                    <a:pt x="454897" y="283497"/>
                  </a:lnTo>
                  <a:lnTo>
                    <a:pt x="454897" y="269654"/>
                  </a:lnTo>
                  <a:lnTo>
                    <a:pt x="423680" y="269654"/>
                  </a:lnTo>
                  <a:close/>
                  <a:moveTo>
                    <a:pt x="454897" y="1156970"/>
                  </a:moveTo>
                  <a:lnTo>
                    <a:pt x="423680" y="1156970"/>
                  </a:lnTo>
                  <a:lnTo>
                    <a:pt x="423680" y="1196127"/>
                  </a:lnTo>
                  <a:lnTo>
                    <a:pt x="454897" y="1196127"/>
                  </a:lnTo>
                  <a:close/>
                  <a:moveTo>
                    <a:pt x="369693" y="1844054"/>
                  </a:moveTo>
                  <a:lnTo>
                    <a:pt x="369693" y="1205865"/>
                  </a:lnTo>
                  <a:lnTo>
                    <a:pt x="365798" y="1205865"/>
                  </a:lnTo>
                  <a:lnTo>
                    <a:pt x="365798" y="1380892"/>
                  </a:lnTo>
                  <a:lnTo>
                    <a:pt x="342097" y="1380892"/>
                  </a:lnTo>
                  <a:lnTo>
                    <a:pt x="342097" y="1844054"/>
                  </a:lnTo>
                  <a:close/>
                  <a:moveTo>
                    <a:pt x="319548" y="1844054"/>
                  </a:moveTo>
                  <a:lnTo>
                    <a:pt x="319548" y="1380892"/>
                  </a:lnTo>
                  <a:lnTo>
                    <a:pt x="291951" y="1380892"/>
                  </a:lnTo>
                  <a:lnTo>
                    <a:pt x="291951" y="1844054"/>
                  </a:lnTo>
                  <a:close/>
                  <a:moveTo>
                    <a:pt x="196104" y="1791763"/>
                  </a:moveTo>
                  <a:lnTo>
                    <a:pt x="189575" y="1791763"/>
                  </a:lnTo>
                  <a:lnTo>
                    <a:pt x="189575" y="1815799"/>
                  </a:lnTo>
                  <a:lnTo>
                    <a:pt x="196104" y="1815799"/>
                  </a:lnTo>
                  <a:close/>
                  <a:moveTo>
                    <a:pt x="198518" y="1815799"/>
                  </a:moveTo>
                  <a:lnTo>
                    <a:pt x="205101" y="1815799"/>
                  </a:lnTo>
                  <a:lnTo>
                    <a:pt x="205101" y="1791763"/>
                  </a:lnTo>
                  <a:lnTo>
                    <a:pt x="198518" y="1791763"/>
                  </a:lnTo>
                  <a:close/>
                  <a:moveTo>
                    <a:pt x="228693" y="1791763"/>
                  </a:moveTo>
                  <a:lnTo>
                    <a:pt x="222109" y="1791763"/>
                  </a:lnTo>
                  <a:lnTo>
                    <a:pt x="222109" y="1815799"/>
                  </a:lnTo>
                  <a:lnTo>
                    <a:pt x="228693" y="1815799"/>
                  </a:lnTo>
                  <a:close/>
                  <a:moveTo>
                    <a:pt x="231107" y="1815799"/>
                  </a:moveTo>
                  <a:lnTo>
                    <a:pt x="237636" y="1815799"/>
                  </a:lnTo>
                  <a:lnTo>
                    <a:pt x="237636" y="1791763"/>
                  </a:lnTo>
                  <a:lnTo>
                    <a:pt x="231107" y="1791763"/>
                  </a:lnTo>
                  <a:close/>
                  <a:moveTo>
                    <a:pt x="269348" y="1777953"/>
                  </a:moveTo>
                  <a:lnTo>
                    <a:pt x="269348" y="1380892"/>
                  </a:lnTo>
                  <a:lnTo>
                    <a:pt x="174872" y="1380892"/>
                  </a:lnTo>
                  <a:lnTo>
                    <a:pt x="174872" y="1777953"/>
                  </a:lnTo>
                  <a:close/>
                  <a:moveTo>
                    <a:pt x="174872" y="1192000"/>
                  </a:moveTo>
                  <a:lnTo>
                    <a:pt x="174872" y="1366188"/>
                  </a:lnTo>
                  <a:lnTo>
                    <a:pt x="331399" y="1366188"/>
                  </a:lnTo>
                  <a:lnTo>
                    <a:pt x="331399" y="544358"/>
                  </a:lnTo>
                  <a:lnTo>
                    <a:pt x="174872" y="544358"/>
                  </a:lnTo>
                  <a:lnTo>
                    <a:pt x="174872" y="1182289"/>
                  </a:lnTo>
                  <a:close/>
                  <a:moveTo>
                    <a:pt x="56694" y="570260"/>
                  </a:moveTo>
                  <a:lnTo>
                    <a:pt x="78366" y="570260"/>
                  </a:lnTo>
                  <a:lnTo>
                    <a:pt x="78366" y="558431"/>
                  </a:lnTo>
                  <a:lnTo>
                    <a:pt x="56694" y="558431"/>
                  </a:lnTo>
                  <a:close/>
                  <a:moveTo>
                    <a:pt x="78366" y="1165424"/>
                  </a:moveTo>
                  <a:lnTo>
                    <a:pt x="78366" y="1153596"/>
                  </a:lnTo>
                  <a:lnTo>
                    <a:pt x="56694" y="1153596"/>
                  </a:lnTo>
                  <a:lnTo>
                    <a:pt x="56694" y="1165424"/>
                  </a:lnTo>
                  <a:close/>
                  <a:moveTo>
                    <a:pt x="56694" y="1120140"/>
                  </a:moveTo>
                  <a:lnTo>
                    <a:pt x="78366" y="1120140"/>
                  </a:lnTo>
                  <a:lnTo>
                    <a:pt x="78366" y="1108317"/>
                  </a:lnTo>
                  <a:lnTo>
                    <a:pt x="56694" y="1108317"/>
                  </a:lnTo>
                  <a:close/>
                  <a:moveTo>
                    <a:pt x="78366" y="1105908"/>
                  </a:moveTo>
                  <a:lnTo>
                    <a:pt x="78366" y="1094079"/>
                  </a:lnTo>
                  <a:lnTo>
                    <a:pt x="56694" y="1094079"/>
                  </a:lnTo>
                  <a:lnTo>
                    <a:pt x="56694" y="1105908"/>
                  </a:lnTo>
                  <a:close/>
                  <a:moveTo>
                    <a:pt x="56694" y="1060623"/>
                  </a:moveTo>
                  <a:lnTo>
                    <a:pt x="78366" y="1060623"/>
                  </a:lnTo>
                  <a:lnTo>
                    <a:pt x="78366" y="1048794"/>
                  </a:lnTo>
                  <a:lnTo>
                    <a:pt x="56694" y="1048794"/>
                  </a:lnTo>
                  <a:close/>
                  <a:moveTo>
                    <a:pt x="78366" y="1046391"/>
                  </a:moveTo>
                  <a:lnTo>
                    <a:pt x="78366" y="1034563"/>
                  </a:lnTo>
                  <a:lnTo>
                    <a:pt x="56694" y="1034563"/>
                  </a:lnTo>
                  <a:lnTo>
                    <a:pt x="56694" y="1046391"/>
                  </a:lnTo>
                  <a:close/>
                  <a:moveTo>
                    <a:pt x="56694" y="1001107"/>
                  </a:moveTo>
                  <a:lnTo>
                    <a:pt x="78366" y="1001107"/>
                  </a:lnTo>
                  <a:lnTo>
                    <a:pt x="78366" y="989278"/>
                  </a:lnTo>
                  <a:lnTo>
                    <a:pt x="56694" y="989278"/>
                  </a:lnTo>
                  <a:close/>
                  <a:moveTo>
                    <a:pt x="78366" y="986875"/>
                  </a:moveTo>
                  <a:lnTo>
                    <a:pt x="78366" y="975046"/>
                  </a:lnTo>
                  <a:lnTo>
                    <a:pt x="56694" y="975046"/>
                  </a:lnTo>
                  <a:lnTo>
                    <a:pt x="56694" y="986875"/>
                  </a:lnTo>
                  <a:close/>
                  <a:moveTo>
                    <a:pt x="56694" y="941590"/>
                  </a:moveTo>
                  <a:lnTo>
                    <a:pt x="78366" y="941590"/>
                  </a:lnTo>
                  <a:lnTo>
                    <a:pt x="78366" y="929762"/>
                  </a:lnTo>
                  <a:lnTo>
                    <a:pt x="56694" y="929762"/>
                  </a:lnTo>
                  <a:close/>
                  <a:moveTo>
                    <a:pt x="78366" y="927359"/>
                  </a:moveTo>
                  <a:lnTo>
                    <a:pt x="78366" y="915530"/>
                  </a:lnTo>
                  <a:lnTo>
                    <a:pt x="56694" y="915530"/>
                  </a:lnTo>
                  <a:lnTo>
                    <a:pt x="56694" y="927359"/>
                  </a:lnTo>
                  <a:close/>
                  <a:moveTo>
                    <a:pt x="56694" y="882074"/>
                  </a:moveTo>
                  <a:lnTo>
                    <a:pt x="78366" y="882074"/>
                  </a:lnTo>
                  <a:lnTo>
                    <a:pt x="78366" y="870245"/>
                  </a:lnTo>
                  <a:lnTo>
                    <a:pt x="56694" y="870245"/>
                  </a:lnTo>
                  <a:close/>
                  <a:moveTo>
                    <a:pt x="78366" y="867847"/>
                  </a:moveTo>
                  <a:lnTo>
                    <a:pt x="78366" y="856013"/>
                  </a:lnTo>
                  <a:lnTo>
                    <a:pt x="56694" y="856013"/>
                  </a:lnTo>
                  <a:lnTo>
                    <a:pt x="56694" y="867847"/>
                  </a:lnTo>
                  <a:close/>
                  <a:moveTo>
                    <a:pt x="56694" y="822557"/>
                  </a:moveTo>
                  <a:lnTo>
                    <a:pt x="78366" y="822557"/>
                  </a:lnTo>
                  <a:lnTo>
                    <a:pt x="78366" y="810734"/>
                  </a:lnTo>
                  <a:lnTo>
                    <a:pt x="56694" y="810734"/>
                  </a:lnTo>
                  <a:close/>
                  <a:moveTo>
                    <a:pt x="78366" y="808326"/>
                  </a:moveTo>
                  <a:lnTo>
                    <a:pt x="78366" y="796497"/>
                  </a:lnTo>
                  <a:lnTo>
                    <a:pt x="56694" y="796497"/>
                  </a:lnTo>
                  <a:lnTo>
                    <a:pt x="56694" y="808326"/>
                  </a:lnTo>
                  <a:close/>
                  <a:moveTo>
                    <a:pt x="56694" y="763046"/>
                  </a:moveTo>
                  <a:lnTo>
                    <a:pt x="78366" y="763046"/>
                  </a:lnTo>
                  <a:lnTo>
                    <a:pt x="78366" y="751212"/>
                  </a:lnTo>
                  <a:lnTo>
                    <a:pt x="56694" y="751212"/>
                  </a:lnTo>
                  <a:close/>
                  <a:moveTo>
                    <a:pt x="78366" y="748809"/>
                  </a:moveTo>
                  <a:lnTo>
                    <a:pt x="78366" y="736980"/>
                  </a:lnTo>
                  <a:lnTo>
                    <a:pt x="56694" y="736980"/>
                  </a:lnTo>
                  <a:lnTo>
                    <a:pt x="56694" y="748809"/>
                  </a:lnTo>
                  <a:close/>
                  <a:moveTo>
                    <a:pt x="56694" y="703530"/>
                  </a:moveTo>
                  <a:lnTo>
                    <a:pt x="78366" y="703530"/>
                  </a:lnTo>
                  <a:lnTo>
                    <a:pt x="78366" y="691701"/>
                  </a:lnTo>
                  <a:lnTo>
                    <a:pt x="56694" y="691701"/>
                  </a:lnTo>
                  <a:close/>
                  <a:moveTo>
                    <a:pt x="78366" y="689298"/>
                  </a:moveTo>
                  <a:lnTo>
                    <a:pt x="78366" y="677469"/>
                  </a:lnTo>
                  <a:lnTo>
                    <a:pt x="56694" y="677469"/>
                  </a:lnTo>
                  <a:lnTo>
                    <a:pt x="56694" y="689298"/>
                  </a:lnTo>
                  <a:close/>
                  <a:moveTo>
                    <a:pt x="56694" y="644013"/>
                  </a:moveTo>
                  <a:lnTo>
                    <a:pt x="78366" y="644013"/>
                  </a:lnTo>
                  <a:lnTo>
                    <a:pt x="78366" y="632185"/>
                  </a:lnTo>
                  <a:lnTo>
                    <a:pt x="56694" y="632185"/>
                  </a:lnTo>
                  <a:close/>
                  <a:moveTo>
                    <a:pt x="78366" y="629776"/>
                  </a:moveTo>
                  <a:lnTo>
                    <a:pt x="78366" y="617948"/>
                  </a:lnTo>
                  <a:lnTo>
                    <a:pt x="56694" y="617948"/>
                  </a:lnTo>
                  <a:lnTo>
                    <a:pt x="56694" y="629776"/>
                  </a:lnTo>
                  <a:close/>
                  <a:moveTo>
                    <a:pt x="56694" y="584491"/>
                  </a:moveTo>
                  <a:lnTo>
                    <a:pt x="78366" y="584491"/>
                  </a:lnTo>
                  <a:lnTo>
                    <a:pt x="78366" y="572668"/>
                  </a:lnTo>
                  <a:lnTo>
                    <a:pt x="56694" y="572668"/>
                  </a:lnTo>
                  <a:close/>
                  <a:moveTo>
                    <a:pt x="78366" y="1167833"/>
                  </a:moveTo>
                  <a:lnTo>
                    <a:pt x="56694" y="1167833"/>
                  </a:lnTo>
                  <a:lnTo>
                    <a:pt x="56694" y="1174938"/>
                  </a:lnTo>
                  <a:lnTo>
                    <a:pt x="78366" y="1174938"/>
                  </a:lnTo>
                  <a:close/>
                  <a:moveTo>
                    <a:pt x="114192" y="570260"/>
                  </a:moveTo>
                  <a:lnTo>
                    <a:pt x="135863" y="570260"/>
                  </a:lnTo>
                  <a:lnTo>
                    <a:pt x="135863" y="558431"/>
                  </a:lnTo>
                  <a:lnTo>
                    <a:pt x="114192" y="558431"/>
                  </a:lnTo>
                  <a:close/>
                  <a:moveTo>
                    <a:pt x="135863" y="1165424"/>
                  </a:moveTo>
                  <a:lnTo>
                    <a:pt x="135863" y="1153596"/>
                  </a:lnTo>
                  <a:lnTo>
                    <a:pt x="114192" y="1153596"/>
                  </a:lnTo>
                  <a:lnTo>
                    <a:pt x="114192" y="1165424"/>
                  </a:lnTo>
                  <a:close/>
                  <a:moveTo>
                    <a:pt x="114192" y="1120140"/>
                  </a:moveTo>
                  <a:lnTo>
                    <a:pt x="135863" y="1120140"/>
                  </a:lnTo>
                  <a:lnTo>
                    <a:pt x="135863" y="1108317"/>
                  </a:lnTo>
                  <a:lnTo>
                    <a:pt x="114192" y="1108317"/>
                  </a:lnTo>
                  <a:close/>
                  <a:moveTo>
                    <a:pt x="135863" y="1034563"/>
                  </a:moveTo>
                  <a:lnTo>
                    <a:pt x="114192" y="1034563"/>
                  </a:lnTo>
                  <a:lnTo>
                    <a:pt x="114192" y="1060623"/>
                  </a:lnTo>
                  <a:lnTo>
                    <a:pt x="135863" y="1060623"/>
                  </a:lnTo>
                  <a:close/>
                  <a:moveTo>
                    <a:pt x="135863" y="1105908"/>
                  </a:moveTo>
                  <a:lnTo>
                    <a:pt x="135863" y="1094079"/>
                  </a:lnTo>
                  <a:lnTo>
                    <a:pt x="114192" y="1094079"/>
                  </a:lnTo>
                  <a:lnTo>
                    <a:pt x="114192" y="1105908"/>
                  </a:lnTo>
                  <a:close/>
                  <a:moveTo>
                    <a:pt x="114192" y="1001107"/>
                  </a:moveTo>
                  <a:lnTo>
                    <a:pt x="135863" y="1001107"/>
                  </a:lnTo>
                  <a:lnTo>
                    <a:pt x="135863" y="989278"/>
                  </a:lnTo>
                  <a:lnTo>
                    <a:pt x="114192" y="989278"/>
                  </a:lnTo>
                  <a:close/>
                  <a:moveTo>
                    <a:pt x="135863" y="986875"/>
                  </a:moveTo>
                  <a:lnTo>
                    <a:pt x="135863" y="975046"/>
                  </a:lnTo>
                  <a:lnTo>
                    <a:pt x="114192" y="975046"/>
                  </a:lnTo>
                  <a:lnTo>
                    <a:pt x="114192" y="986875"/>
                  </a:lnTo>
                  <a:close/>
                  <a:moveTo>
                    <a:pt x="114192" y="941590"/>
                  </a:moveTo>
                  <a:lnTo>
                    <a:pt x="135863" y="941590"/>
                  </a:lnTo>
                  <a:lnTo>
                    <a:pt x="135863" y="929762"/>
                  </a:lnTo>
                  <a:lnTo>
                    <a:pt x="114192" y="929762"/>
                  </a:lnTo>
                  <a:close/>
                  <a:moveTo>
                    <a:pt x="135863" y="856013"/>
                  </a:moveTo>
                  <a:lnTo>
                    <a:pt x="114192" y="856013"/>
                  </a:lnTo>
                  <a:lnTo>
                    <a:pt x="114192" y="882074"/>
                  </a:lnTo>
                  <a:lnTo>
                    <a:pt x="135863" y="882074"/>
                  </a:lnTo>
                  <a:close/>
                  <a:moveTo>
                    <a:pt x="135863" y="927359"/>
                  </a:moveTo>
                  <a:lnTo>
                    <a:pt x="135863" y="915530"/>
                  </a:lnTo>
                  <a:lnTo>
                    <a:pt x="114192" y="915530"/>
                  </a:lnTo>
                  <a:lnTo>
                    <a:pt x="114192" y="927359"/>
                  </a:lnTo>
                  <a:close/>
                  <a:moveTo>
                    <a:pt x="114192" y="822557"/>
                  </a:moveTo>
                  <a:lnTo>
                    <a:pt x="135863" y="822557"/>
                  </a:lnTo>
                  <a:lnTo>
                    <a:pt x="135863" y="810734"/>
                  </a:lnTo>
                  <a:lnTo>
                    <a:pt x="114192" y="810734"/>
                  </a:lnTo>
                  <a:close/>
                  <a:moveTo>
                    <a:pt x="135863" y="808326"/>
                  </a:moveTo>
                  <a:lnTo>
                    <a:pt x="135863" y="796497"/>
                  </a:lnTo>
                  <a:lnTo>
                    <a:pt x="114192" y="796497"/>
                  </a:lnTo>
                  <a:lnTo>
                    <a:pt x="114192" y="808326"/>
                  </a:lnTo>
                  <a:close/>
                  <a:moveTo>
                    <a:pt x="114192" y="763046"/>
                  </a:moveTo>
                  <a:lnTo>
                    <a:pt x="135863" y="763046"/>
                  </a:lnTo>
                  <a:lnTo>
                    <a:pt x="135863" y="751212"/>
                  </a:lnTo>
                  <a:lnTo>
                    <a:pt x="114192" y="751212"/>
                  </a:lnTo>
                  <a:close/>
                  <a:moveTo>
                    <a:pt x="135863" y="748809"/>
                  </a:moveTo>
                  <a:lnTo>
                    <a:pt x="135863" y="736980"/>
                  </a:lnTo>
                  <a:lnTo>
                    <a:pt x="114192" y="736980"/>
                  </a:lnTo>
                  <a:lnTo>
                    <a:pt x="114192" y="748809"/>
                  </a:lnTo>
                  <a:close/>
                  <a:moveTo>
                    <a:pt x="114192" y="703530"/>
                  </a:moveTo>
                  <a:lnTo>
                    <a:pt x="135863" y="703530"/>
                  </a:lnTo>
                  <a:lnTo>
                    <a:pt x="135863" y="691701"/>
                  </a:lnTo>
                  <a:lnTo>
                    <a:pt x="114192" y="691701"/>
                  </a:lnTo>
                  <a:close/>
                  <a:moveTo>
                    <a:pt x="135863" y="689298"/>
                  </a:moveTo>
                  <a:lnTo>
                    <a:pt x="135863" y="677469"/>
                  </a:lnTo>
                  <a:lnTo>
                    <a:pt x="114192" y="677469"/>
                  </a:lnTo>
                  <a:lnTo>
                    <a:pt x="114192" y="689298"/>
                  </a:lnTo>
                  <a:close/>
                  <a:moveTo>
                    <a:pt x="114192" y="644013"/>
                  </a:moveTo>
                  <a:lnTo>
                    <a:pt x="135863" y="644013"/>
                  </a:lnTo>
                  <a:lnTo>
                    <a:pt x="135863" y="632185"/>
                  </a:lnTo>
                  <a:lnTo>
                    <a:pt x="114192" y="632185"/>
                  </a:lnTo>
                  <a:close/>
                  <a:moveTo>
                    <a:pt x="135863" y="629776"/>
                  </a:moveTo>
                  <a:lnTo>
                    <a:pt x="135863" y="617948"/>
                  </a:lnTo>
                  <a:lnTo>
                    <a:pt x="114192" y="617948"/>
                  </a:lnTo>
                  <a:lnTo>
                    <a:pt x="114192" y="629776"/>
                  </a:lnTo>
                  <a:close/>
                  <a:moveTo>
                    <a:pt x="114192" y="584491"/>
                  </a:moveTo>
                  <a:lnTo>
                    <a:pt x="135863" y="584491"/>
                  </a:lnTo>
                  <a:lnTo>
                    <a:pt x="135863" y="572668"/>
                  </a:lnTo>
                  <a:lnTo>
                    <a:pt x="114192" y="572668"/>
                  </a:lnTo>
                  <a:close/>
                  <a:moveTo>
                    <a:pt x="135863" y="1167833"/>
                  </a:moveTo>
                  <a:lnTo>
                    <a:pt x="114192" y="1167833"/>
                  </a:lnTo>
                  <a:lnTo>
                    <a:pt x="114192" y="1174938"/>
                  </a:lnTo>
                  <a:lnTo>
                    <a:pt x="135863" y="1174938"/>
                  </a:lnTo>
                  <a:close/>
                  <a:moveTo>
                    <a:pt x="50385" y="120775"/>
                  </a:moveTo>
                  <a:lnTo>
                    <a:pt x="50385" y="173873"/>
                  </a:lnTo>
                  <a:lnTo>
                    <a:pt x="153968" y="173873"/>
                  </a:lnTo>
                  <a:lnTo>
                    <a:pt x="153968" y="120775"/>
                  </a:lnTo>
                  <a:close/>
                  <a:moveTo>
                    <a:pt x="153968" y="113144"/>
                  </a:moveTo>
                  <a:lnTo>
                    <a:pt x="153968" y="77460"/>
                  </a:lnTo>
                  <a:lnTo>
                    <a:pt x="119459" y="77460"/>
                  </a:lnTo>
                  <a:lnTo>
                    <a:pt x="119459" y="113144"/>
                  </a:lnTo>
                  <a:close/>
                  <a:moveTo>
                    <a:pt x="113753" y="113144"/>
                  </a:moveTo>
                  <a:lnTo>
                    <a:pt x="113753" y="77460"/>
                  </a:lnTo>
                  <a:lnTo>
                    <a:pt x="90546" y="77460"/>
                  </a:lnTo>
                  <a:lnTo>
                    <a:pt x="90546" y="113144"/>
                  </a:lnTo>
                  <a:close/>
                  <a:moveTo>
                    <a:pt x="84895" y="113144"/>
                  </a:moveTo>
                  <a:lnTo>
                    <a:pt x="84895" y="77460"/>
                  </a:lnTo>
                  <a:lnTo>
                    <a:pt x="50385" y="77460"/>
                  </a:lnTo>
                  <a:lnTo>
                    <a:pt x="50385" y="113144"/>
                  </a:lnTo>
                  <a:close/>
                  <a:moveTo>
                    <a:pt x="279991" y="67162"/>
                  </a:moveTo>
                  <a:lnTo>
                    <a:pt x="270993" y="67162"/>
                  </a:lnTo>
                  <a:lnTo>
                    <a:pt x="270993" y="119727"/>
                  </a:lnTo>
                  <a:lnTo>
                    <a:pt x="279991" y="119727"/>
                  </a:lnTo>
                  <a:close/>
                  <a:moveTo>
                    <a:pt x="227651" y="67162"/>
                  </a:moveTo>
                  <a:lnTo>
                    <a:pt x="218598" y="67162"/>
                  </a:lnTo>
                  <a:lnTo>
                    <a:pt x="218598" y="119727"/>
                  </a:lnTo>
                  <a:lnTo>
                    <a:pt x="227651" y="119727"/>
                  </a:lnTo>
                  <a:close/>
                  <a:moveTo>
                    <a:pt x="175256" y="67162"/>
                  </a:moveTo>
                  <a:lnTo>
                    <a:pt x="167191" y="67162"/>
                  </a:lnTo>
                  <a:lnTo>
                    <a:pt x="167191" y="119727"/>
                  </a:lnTo>
                  <a:lnTo>
                    <a:pt x="175256" y="119727"/>
                  </a:lnTo>
                  <a:close/>
                  <a:moveTo>
                    <a:pt x="45393" y="216293"/>
                  </a:moveTo>
                  <a:lnTo>
                    <a:pt x="64375" y="216293"/>
                  </a:lnTo>
                  <a:lnTo>
                    <a:pt x="64375" y="204218"/>
                  </a:lnTo>
                  <a:lnTo>
                    <a:pt x="45393" y="204218"/>
                  </a:lnTo>
                  <a:close/>
                  <a:moveTo>
                    <a:pt x="45393" y="284287"/>
                  </a:moveTo>
                  <a:lnTo>
                    <a:pt x="64375" y="284287"/>
                  </a:lnTo>
                  <a:lnTo>
                    <a:pt x="64375" y="271613"/>
                  </a:lnTo>
                  <a:lnTo>
                    <a:pt x="45393" y="271613"/>
                  </a:lnTo>
                  <a:close/>
                  <a:moveTo>
                    <a:pt x="45393" y="299358"/>
                  </a:moveTo>
                  <a:lnTo>
                    <a:pt x="64375" y="299358"/>
                  </a:lnTo>
                  <a:lnTo>
                    <a:pt x="64375" y="286690"/>
                  </a:lnTo>
                  <a:lnTo>
                    <a:pt x="45393" y="286690"/>
                  </a:lnTo>
                  <a:close/>
                  <a:moveTo>
                    <a:pt x="45393" y="314434"/>
                  </a:moveTo>
                  <a:lnTo>
                    <a:pt x="64375" y="314434"/>
                  </a:lnTo>
                  <a:lnTo>
                    <a:pt x="64375" y="301766"/>
                  </a:lnTo>
                  <a:lnTo>
                    <a:pt x="45393" y="301766"/>
                  </a:lnTo>
                  <a:close/>
                  <a:moveTo>
                    <a:pt x="45393" y="329511"/>
                  </a:moveTo>
                  <a:lnTo>
                    <a:pt x="64375" y="329511"/>
                  </a:lnTo>
                  <a:lnTo>
                    <a:pt x="64375" y="316843"/>
                  </a:lnTo>
                  <a:lnTo>
                    <a:pt x="45393" y="316843"/>
                  </a:lnTo>
                  <a:close/>
                  <a:moveTo>
                    <a:pt x="64375" y="508603"/>
                  </a:moveTo>
                  <a:lnTo>
                    <a:pt x="64375" y="496522"/>
                  </a:lnTo>
                  <a:lnTo>
                    <a:pt x="45393" y="496522"/>
                  </a:lnTo>
                  <a:lnTo>
                    <a:pt x="45393" y="508603"/>
                  </a:lnTo>
                  <a:close/>
                  <a:moveTo>
                    <a:pt x="45393" y="464290"/>
                  </a:moveTo>
                  <a:lnTo>
                    <a:pt x="64375" y="464290"/>
                  </a:lnTo>
                  <a:lnTo>
                    <a:pt x="64375" y="452214"/>
                  </a:lnTo>
                  <a:lnTo>
                    <a:pt x="45393" y="452214"/>
                  </a:lnTo>
                  <a:close/>
                  <a:moveTo>
                    <a:pt x="64375" y="449811"/>
                  </a:moveTo>
                  <a:lnTo>
                    <a:pt x="64375" y="437730"/>
                  </a:lnTo>
                  <a:lnTo>
                    <a:pt x="45393" y="437730"/>
                  </a:lnTo>
                  <a:lnTo>
                    <a:pt x="45393" y="449811"/>
                  </a:lnTo>
                  <a:close/>
                  <a:moveTo>
                    <a:pt x="45393" y="405498"/>
                  </a:moveTo>
                  <a:lnTo>
                    <a:pt x="64375" y="405498"/>
                  </a:lnTo>
                  <a:lnTo>
                    <a:pt x="64375" y="393422"/>
                  </a:lnTo>
                  <a:lnTo>
                    <a:pt x="45393" y="393422"/>
                  </a:lnTo>
                  <a:close/>
                  <a:moveTo>
                    <a:pt x="64375" y="391019"/>
                  </a:moveTo>
                  <a:lnTo>
                    <a:pt x="64375" y="378938"/>
                  </a:lnTo>
                  <a:lnTo>
                    <a:pt x="45393" y="378938"/>
                  </a:lnTo>
                  <a:lnTo>
                    <a:pt x="45393" y="391019"/>
                  </a:lnTo>
                  <a:close/>
                  <a:moveTo>
                    <a:pt x="45393" y="346705"/>
                  </a:moveTo>
                  <a:lnTo>
                    <a:pt x="64375" y="346705"/>
                  </a:lnTo>
                  <a:lnTo>
                    <a:pt x="64375" y="331919"/>
                  </a:lnTo>
                  <a:lnTo>
                    <a:pt x="45393" y="331919"/>
                  </a:lnTo>
                  <a:close/>
                  <a:moveTo>
                    <a:pt x="64375" y="269210"/>
                  </a:moveTo>
                  <a:lnTo>
                    <a:pt x="64375" y="254435"/>
                  </a:lnTo>
                  <a:lnTo>
                    <a:pt x="45393" y="254435"/>
                  </a:lnTo>
                  <a:lnTo>
                    <a:pt x="45393" y="269210"/>
                  </a:lnTo>
                  <a:close/>
                  <a:moveTo>
                    <a:pt x="45393" y="230778"/>
                  </a:moveTo>
                  <a:lnTo>
                    <a:pt x="64375" y="230778"/>
                  </a:lnTo>
                  <a:lnTo>
                    <a:pt x="64375" y="218697"/>
                  </a:lnTo>
                  <a:lnTo>
                    <a:pt x="45393" y="218697"/>
                  </a:lnTo>
                  <a:close/>
                  <a:moveTo>
                    <a:pt x="64375" y="511012"/>
                  </a:moveTo>
                  <a:lnTo>
                    <a:pt x="45393" y="511012"/>
                  </a:lnTo>
                  <a:lnTo>
                    <a:pt x="45393" y="523082"/>
                  </a:lnTo>
                  <a:lnTo>
                    <a:pt x="64375" y="523082"/>
                  </a:lnTo>
                  <a:close/>
                  <a:moveTo>
                    <a:pt x="102231" y="216293"/>
                  </a:moveTo>
                  <a:lnTo>
                    <a:pt x="121215" y="216293"/>
                  </a:lnTo>
                  <a:lnTo>
                    <a:pt x="121215" y="204218"/>
                  </a:lnTo>
                  <a:lnTo>
                    <a:pt x="102231" y="204218"/>
                  </a:lnTo>
                  <a:close/>
                  <a:moveTo>
                    <a:pt x="102231" y="284287"/>
                  </a:moveTo>
                  <a:lnTo>
                    <a:pt x="121215" y="284287"/>
                  </a:lnTo>
                  <a:lnTo>
                    <a:pt x="121215" y="271613"/>
                  </a:lnTo>
                  <a:lnTo>
                    <a:pt x="102231" y="271613"/>
                  </a:lnTo>
                  <a:close/>
                  <a:moveTo>
                    <a:pt x="102231" y="299358"/>
                  </a:moveTo>
                  <a:lnTo>
                    <a:pt x="121215" y="299358"/>
                  </a:lnTo>
                  <a:lnTo>
                    <a:pt x="121215" y="286690"/>
                  </a:lnTo>
                  <a:lnTo>
                    <a:pt x="102231" y="286690"/>
                  </a:lnTo>
                  <a:close/>
                  <a:moveTo>
                    <a:pt x="102231" y="314434"/>
                  </a:moveTo>
                  <a:lnTo>
                    <a:pt x="121215" y="314434"/>
                  </a:lnTo>
                  <a:lnTo>
                    <a:pt x="121215" y="301766"/>
                  </a:lnTo>
                  <a:lnTo>
                    <a:pt x="102231" y="301766"/>
                  </a:lnTo>
                  <a:close/>
                  <a:moveTo>
                    <a:pt x="102231" y="329511"/>
                  </a:moveTo>
                  <a:lnTo>
                    <a:pt x="121215" y="329511"/>
                  </a:lnTo>
                  <a:lnTo>
                    <a:pt x="121215" y="316843"/>
                  </a:lnTo>
                  <a:lnTo>
                    <a:pt x="102231" y="316843"/>
                  </a:lnTo>
                  <a:close/>
                  <a:moveTo>
                    <a:pt x="121215" y="508603"/>
                  </a:moveTo>
                  <a:lnTo>
                    <a:pt x="121215" y="496522"/>
                  </a:lnTo>
                  <a:lnTo>
                    <a:pt x="102231" y="496522"/>
                  </a:lnTo>
                  <a:lnTo>
                    <a:pt x="102231" y="508603"/>
                  </a:lnTo>
                  <a:close/>
                  <a:moveTo>
                    <a:pt x="102231" y="464290"/>
                  </a:moveTo>
                  <a:lnTo>
                    <a:pt x="121215" y="464290"/>
                  </a:lnTo>
                  <a:lnTo>
                    <a:pt x="121215" y="452214"/>
                  </a:lnTo>
                  <a:lnTo>
                    <a:pt x="102231" y="452214"/>
                  </a:lnTo>
                  <a:close/>
                  <a:moveTo>
                    <a:pt x="121215" y="449811"/>
                  </a:moveTo>
                  <a:lnTo>
                    <a:pt x="121215" y="437730"/>
                  </a:lnTo>
                  <a:lnTo>
                    <a:pt x="102231" y="437730"/>
                  </a:lnTo>
                  <a:lnTo>
                    <a:pt x="102231" y="449811"/>
                  </a:lnTo>
                  <a:close/>
                  <a:moveTo>
                    <a:pt x="102231" y="405498"/>
                  </a:moveTo>
                  <a:lnTo>
                    <a:pt x="121215" y="405498"/>
                  </a:lnTo>
                  <a:lnTo>
                    <a:pt x="121215" y="393422"/>
                  </a:lnTo>
                  <a:lnTo>
                    <a:pt x="102231" y="393422"/>
                  </a:lnTo>
                  <a:close/>
                  <a:moveTo>
                    <a:pt x="121215" y="391019"/>
                  </a:moveTo>
                  <a:lnTo>
                    <a:pt x="121215" y="378938"/>
                  </a:lnTo>
                  <a:lnTo>
                    <a:pt x="102231" y="378938"/>
                  </a:lnTo>
                  <a:lnTo>
                    <a:pt x="102231" y="391019"/>
                  </a:lnTo>
                  <a:close/>
                  <a:moveTo>
                    <a:pt x="102231" y="346705"/>
                  </a:moveTo>
                  <a:lnTo>
                    <a:pt x="121215" y="346705"/>
                  </a:lnTo>
                  <a:lnTo>
                    <a:pt x="121215" y="331919"/>
                  </a:lnTo>
                  <a:lnTo>
                    <a:pt x="102231" y="331919"/>
                  </a:lnTo>
                  <a:close/>
                  <a:moveTo>
                    <a:pt x="121215" y="269210"/>
                  </a:moveTo>
                  <a:lnTo>
                    <a:pt x="121215" y="254435"/>
                  </a:lnTo>
                  <a:lnTo>
                    <a:pt x="102231" y="254435"/>
                  </a:lnTo>
                  <a:lnTo>
                    <a:pt x="102231" y="269210"/>
                  </a:lnTo>
                  <a:close/>
                  <a:moveTo>
                    <a:pt x="102231" y="230778"/>
                  </a:moveTo>
                  <a:lnTo>
                    <a:pt x="121215" y="230778"/>
                  </a:lnTo>
                  <a:lnTo>
                    <a:pt x="121215" y="218697"/>
                  </a:lnTo>
                  <a:lnTo>
                    <a:pt x="102231" y="218697"/>
                  </a:lnTo>
                  <a:close/>
                  <a:moveTo>
                    <a:pt x="121215" y="511012"/>
                  </a:moveTo>
                  <a:lnTo>
                    <a:pt x="102231" y="511012"/>
                  </a:lnTo>
                  <a:lnTo>
                    <a:pt x="102231" y="523082"/>
                  </a:lnTo>
                  <a:lnTo>
                    <a:pt x="121215" y="523082"/>
                  </a:lnTo>
                  <a:close/>
                  <a:moveTo>
                    <a:pt x="323333" y="67162"/>
                  </a:moveTo>
                  <a:lnTo>
                    <a:pt x="323333" y="119727"/>
                  </a:lnTo>
                  <a:lnTo>
                    <a:pt x="331399" y="119727"/>
                  </a:lnTo>
                  <a:lnTo>
                    <a:pt x="331399" y="67162"/>
                  </a:lnTo>
                  <a:close/>
                  <a:moveTo>
                    <a:pt x="331399" y="184171"/>
                  </a:moveTo>
                  <a:lnTo>
                    <a:pt x="167191" y="184171"/>
                  </a:lnTo>
                  <a:lnTo>
                    <a:pt x="167191" y="530593"/>
                  </a:lnTo>
                  <a:lnTo>
                    <a:pt x="331399" y="530593"/>
                  </a:lnTo>
                  <a:lnTo>
                    <a:pt x="331399" y="251439"/>
                  </a:lnTo>
                  <a:lnTo>
                    <a:pt x="331399" y="186996"/>
                  </a:lnTo>
                  <a:close/>
                  <a:moveTo>
                    <a:pt x="446339" y="1380892"/>
                  </a:moveTo>
                  <a:lnTo>
                    <a:pt x="446339" y="1205865"/>
                  </a:lnTo>
                  <a:lnTo>
                    <a:pt x="442443" y="1205865"/>
                  </a:lnTo>
                  <a:lnTo>
                    <a:pt x="442443" y="1844054"/>
                  </a:lnTo>
                  <a:lnTo>
                    <a:pt x="470040" y="1844054"/>
                  </a:lnTo>
                  <a:lnTo>
                    <a:pt x="470040" y="1380892"/>
                  </a:lnTo>
                  <a:close/>
                  <a:moveTo>
                    <a:pt x="492589" y="1380892"/>
                  </a:moveTo>
                  <a:lnTo>
                    <a:pt x="492589" y="1844054"/>
                  </a:lnTo>
                  <a:lnTo>
                    <a:pt x="520185" y="1844054"/>
                  </a:lnTo>
                  <a:lnTo>
                    <a:pt x="520185" y="1380892"/>
                  </a:lnTo>
                  <a:close/>
                  <a:moveTo>
                    <a:pt x="542789" y="1380892"/>
                  </a:moveTo>
                  <a:lnTo>
                    <a:pt x="542789" y="1844054"/>
                  </a:lnTo>
                  <a:lnTo>
                    <a:pt x="542954" y="1844054"/>
                  </a:lnTo>
                  <a:lnTo>
                    <a:pt x="542954" y="1777953"/>
                  </a:lnTo>
                  <a:lnTo>
                    <a:pt x="637430" y="1777953"/>
                  </a:lnTo>
                  <a:lnTo>
                    <a:pt x="637430" y="1380892"/>
                  </a:lnTo>
                  <a:close/>
                  <a:moveTo>
                    <a:pt x="766909" y="511012"/>
                  </a:moveTo>
                  <a:lnTo>
                    <a:pt x="747926" y="511012"/>
                  </a:lnTo>
                  <a:lnTo>
                    <a:pt x="747926" y="523082"/>
                  </a:lnTo>
                  <a:lnTo>
                    <a:pt x="766909" y="523082"/>
                  </a:lnTo>
                  <a:close/>
                  <a:moveTo>
                    <a:pt x="766909" y="316843"/>
                  </a:moveTo>
                  <a:lnTo>
                    <a:pt x="747926" y="316843"/>
                  </a:lnTo>
                  <a:lnTo>
                    <a:pt x="747926" y="329511"/>
                  </a:lnTo>
                  <a:lnTo>
                    <a:pt x="766909" y="329511"/>
                  </a:lnTo>
                  <a:close/>
                  <a:moveTo>
                    <a:pt x="766909" y="301766"/>
                  </a:moveTo>
                  <a:lnTo>
                    <a:pt x="747926" y="301766"/>
                  </a:lnTo>
                  <a:lnTo>
                    <a:pt x="747926" y="314434"/>
                  </a:lnTo>
                  <a:lnTo>
                    <a:pt x="766909" y="314434"/>
                  </a:lnTo>
                  <a:close/>
                  <a:moveTo>
                    <a:pt x="766909" y="286690"/>
                  </a:moveTo>
                  <a:lnTo>
                    <a:pt x="747926" y="286690"/>
                  </a:lnTo>
                  <a:lnTo>
                    <a:pt x="747926" y="299358"/>
                  </a:lnTo>
                  <a:lnTo>
                    <a:pt x="766909" y="299358"/>
                  </a:lnTo>
                  <a:close/>
                  <a:moveTo>
                    <a:pt x="766909" y="271613"/>
                  </a:moveTo>
                  <a:lnTo>
                    <a:pt x="747926" y="271613"/>
                  </a:lnTo>
                  <a:lnTo>
                    <a:pt x="747926" y="284287"/>
                  </a:lnTo>
                  <a:lnTo>
                    <a:pt x="766909" y="284287"/>
                  </a:lnTo>
                  <a:close/>
                  <a:moveTo>
                    <a:pt x="747926" y="218697"/>
                  </a:moveTo>
                  <a:lnTo>
                    <a:pt x="747926" y="230778"/>
                  </a:lnTo>
                  <a:lnTo>
                    <a:pt x="766909" y="230778"/>
                  </a:lnTo>
                  <a:lnTo>
                    <a:pt x="766909" y="218697"/>
                  </a:lnTo>
                  <a:close/>
                  <a:moveTo>
                    <a:pt x="766909" y="254435"/>
                  </a:moveTo>
                  <a:lnTo>
                    <a:pt x="747926" y="254435"/>
                  </a:lnTo>
                  <a:lnTo>
                    <a:pt x="747926" y="269210"/>
                  </a:lnTo>
                  <a:lnTo>
                    <a:pt x="766909" y="269210"/>
                  </a:lnTo>
                  <a:close/>
                  <a:moveTo>
                    <a:pt x="747926" y="331919"/>
                  </a:moveTo>
                  <a:lnTo>
                    <a:pt x="747926" y="346705"/>
                  </a:lnTo>
                  <a:lnTo>
                    <a:pt x="766909" y="346705"/>
                  </a:lnTo>
                  <a:lnTo>
                    <a:pt x="766909" y="331919"/>
                  </a:lnTo>
                  <a:close/>
                  <a:moveTo>
                    <a:pt x="766909" y="378938"/>
                  </a:moveTo>
                  <a:lnTo>
                    <a:pt x="747926" y="378938"/>
                  </a:lnTo>
                  <a:lnTo>
                    <a:pt x="747926" y="391019"/>
                  </a:lnTo>
                  <a:lnTo>
                    <a:pt x="766909" y="391019"/>
                  </a:lnTo>
                  <a:close/>
                  <a:moveTo>
                    <a:pt x="747926" y="393422"/>
                  </a:moveTo>
                  <a:lnTo>
                    <a:pt x="747926" y="405498"/>
                  </a:lnTo>
                  <a:lnTo>
                    <a:pt x="766909" y="405498"/>
                  </a:lnTo>
                  <a:lnTo>
                    <a:pt x="766909" y="393422"/>
                  </a:lnTo>
                  <a:close/>
                  <a:moveTo>
                    <a:pt x="766909" y="437730"/>
                  </a:moveTo>
                  <a:lnTo>
                    <a:pt x="747926" y="437730"/>
                  </a:lnTo>
                  <a:lnTo>
                    <a:pt x="747926" y="449811"/>
                  </a:lnTo>
                  <a:lnTo>
                    <a:pt x="766909" y="449811"/>
                  </a:lnTo>
                  <a:close/>
                  <a:moveTo>
                    <a:pt x="747926" y="452214"/>
                  </a:moveTo>
                  <a:lnTo>
                    <a:pt x="747926" y="464290"/>
                  </a:lnTo>
                  <a:lnTo>
                    <a:pt x="766909" y="464290"/>
                  </a:lnTo>
                  <a:lnTo>
                    <a:pt x="766909" y="452214"/>
                  </a:lnTo>
                  <a:close/>
                  <a:moveTo>
                    <a:pt x="766909" y="496522"/>
                  </a:moveTo>
                  <a:lnTo>
                    <a:pt x="747926" y="496522"/>
                  </a:lnTo>
                  <a:lnTo>
                    <a:pt x="747926" y="508603"/>
                  </a:lnTo>
                  <a:lnTo>
                    <a:pt x="766909" y="508603"/>
                  </a:lnTo>
                  <a:close/>
                  <a:moveTo>
                    <a:pt x="747926" y="216293"/>
                  </a:moveTo>
                  <a:lnTo>
                    <a:pt x="766909" y="216293"/>
                  </a:lnTo>
                  <a:lnTo>
                    <a:pt x="766909" y="204218"/>
                  </a:lnTo>
                  <a:lnTo>
                    <a:pt x="747926" y="204218"/>
                  </a:lnTo>
                  <a:close/>
                  <a:moveTo>
                    <a:pt x="710070" y="511012"/>
                  </a:moveTo>
                  <a:lnTo>
                    <a:pt x="691087" y="511012"/>
                  </a:lnTo>
                  <a:lnTo>
                    <a:pt x="691087" y="523082"/>
                  </a:lnTo>
                  <a:lnTo>
                    <a:pt x="710070" y="523082"/>
                  </a:lnTo>
                  <a:close/>
                  <a:moveTo>
                    <a:pt x="710070" y="316843"/>
                  </a:moveTo>
                  <a:lnTo>
                    <a:pt x="691087" y="316843"/>
                  </a:lnTo>
                  <a:lnTo>
                    <a:pt x="691087" y="329511"/>
                  </a:lnTo>
                  <a:lnTo>
                    <a:pt x="710070" y="329511"/>
                  </a:lnTo>
                  <a:close/>
                  <a:moveTo>
                    <a:pt x="710070" y="301766"/>
                  </a:moveTo>
                  <a:lnTo>
                    <a:pt x="691087" y="301766"/>
                  </a:lnTo>
                  <a:lnTo>
                    <a:pt x="691087" y="314434"/>
                  </a:lnTo>
                  <a:lnTo>
                    <a:pt x="710070" y="314434"/>
                  </a:lnTo>
                  <a:close/>
                  <a:moveTo>
                    <a:pt x="710070" y="286690"/>
                  </a:moveTo>
                  <a:lnTo>
                    <a:pt x="691087" y="286690"/>
                  </a:lnTo>
                  <a:lnTo>
                    <a:pt x="691087" y="299358"/>
                  </a:lnTo>
                  <a:lnTo>
                    <a:pt x="710070" y="299358"/>
                  </a:lnTo>
                  <a:close/>
                  <a:moveTo>
                    <a:pt x="710070" y="271613"/>
                  </a:moveTo>
                  <a:lnTo>
                    <a:pt x="691087" y="271613"/>
                  </a:lnTo>
                  <a:lnTo>
                    <a:pt x="691087" y="284287"/>
                  </a:lnTo>
                  <a:lnTo>
                    <a:pt x="710070" y="284287"/>
                  </a:lnTo>
                  <a:close/>
                  <a:moveTo>
                    <a:pt x="691087" y="218697"/>
                  </a:moveTo>
                  <a:lnTo>
                    <a:pt x="691087" y="230778"/>
                  </a:lnTo>
                  <a:lnTo>
                    <a:pt x="710070" y="230778"/>
                  </a:lnTo>
                  <a:lnTo>
                    <a:pt x="710070" y="218697"/>
                  </a:lnTo>
                  <a:close/>
                  <a:moveTo>
                    <a:pt x="710070" y="254435"/>
                  </a:moveTo>
                  <a:lnTo>
                    <a:pt x="691087" y="254435"/>
                  </a:lnTo>
                  <a:lnTo>
                    <a:pt x="691087" y="269210"/>
                  </a:lnTo>
                  <a:lnTo>
                    <a:pt x="710070" y="269210"/>
                  </a:lnTo>
                  <a:close/>
                  <a:moveTo>
                    <a:pt x="691087" y="331919"/>
                  </a:moveTo>
                  <a:lnTo>
                    <a:pt x="691087" y="346705"/>
                  </a:lnTo>
                  <a:lnTo>
                    <a:pt x="710070" y="346705"/>
                  </a:lnTo>
                  <a:lnTo>
                    <a:pt x="710070" y="331919"/>
                  </a:lnTo>
                  <a:close/>
                  <a:moveTo>
                    <a:pt x="710070" y="378938"/>
                  </a:moveTo>
                  <a:lnTo>
                    <a:pt x="691087" y="378938"/>
                  </a:lnTo>
                  <a:lnTo>
                    <a:pt x="691087" y="391019"/>
                  </a:lnTo>
                  <a:lnTo>
                    <a:pt x="710070" y="391019"/>
                  </a:lnTo>
                  <a:close/>
                  <a:moveTo>
                    <a:pt x="691087" y="393422"/>
                  </a:moveTo>
                  <a:lnTo>
                    <a:pt x="691087" y="405498"/>
                  </a:lnTo>
                  <a:lnTo>
                    <a:pt x="710070" y="405498"/>
                  </a:lnTo>
                  <a:lnTo>
                    <a:pt x="710070" y="393422"/>
                  </a:lnTo>
                  <a:close/>
                  <a:moveTo>
                    <a:pt x="710070" y="437730"/>
                  </a:moveTo>
                  <a:lnTo>
                    <a:pt x="691087" y="437730"/>
                  </a:lnTo>
                  <a:lnTo>
                    <a:pt x="691087" y="449811"/>
                  </a:lnTo>
                  <a:lnTo>
                    <a:pt x="710070" y="449811"/>
                  </a:lnTo>
                  <a:close/>
                  <a:moveTo>
                    <a:pt x="691087" y="452214"/>
                  </a:moveTo>
                  <a:lnTo>
                    <a:pt x="691087" y="464290"/>
                  </a:lnTo>
                  <a:lnTo>
                    <a:pt x="710070" y="464290"/>
                  </a:lnTo>
                  <a:lnTo>
                    <a:pt x="710070" y="452214"/>
                  </a:lnTo>
                  <a:close/>
                  <a:moveTo>
                    <a:pt x="710070" y="496522"/>
                  </a:moveTo>
                  <a:lnTo>
                    <a:pt x="691087" y="496522"/>
                  </a:lnTo>
                  <a:lnTo>
                    <a:pt x="691087" y="508603"/>
                  </a:lnTo>
                  <a:lnTo>
                    <a:pt x="710070" y="508603"/>
                  </a:lnTo>
                  <a:close/>
                  <a:moveTo>
                    <a:pt x="691087" y="216293"/>
                  </a:moveTo>
                  <a:lnTo>
                    <a:pt x="710070" y="216293"/>
                  </a:lnTo>
                  <a:lnTo>
                    <a:pt x="710070" y="204218"/>
                  </a:lnTo>
                  <a:lnTo>
                    <a:pt x="691087" y="204218"/>
                  </a:lnTo>
                  <a:close/>
                  <a:moveTo>
                    <a:pt x="658333" y="77460"/>
                  </a:moveTo>
                  <a:lnTo>
                    <a:pt x="658333" y="113144"/>
                  </a:lnTo>
                  <a:lnTo>
                    <a:pt x="692842" y="113144"/>
                  </a:lnTo>
                  <a:lnTo>
                    <a:pt x="692842" y="77460"/>
                  </a:lnTo>
                  <a:close/>
                  <a:moveTo>
                    <a:pt x="698549" y="77460"/>
                  </a:moveTo>
                  <a:lnTo>
                    <a:pt x="698549" y="113144"/>
                  </a:lnTo>
                  <a:lnTo>
                    <a:pt x="721756" y="113144"/>
                  </a:lnTo>
                  <a:lnTo>
                    <a:pt x="721756" y="77460"/>
                  </a:lnTo>
                  <a:close/>
                  <a:moveTo>
                    <a:pt x="727407" y="77460"/>
                  </a:moveTo>
                  <a:lnTo>
                    <a:pt x="727407" y="113144"/>
                  </a:lnTo>
                  <a:lnTo>
                    <a:pt x="761916" y="113144"/>
                  </a:lnTo>
                  <a:lnTo>
                    <a:pt x="761916" y="77460"/>
                  </a:lnTo>
                  <a:close/>
                  <a:moveTo>
                    <a:pt x="761916" y="120775"/>
                  </a:moveTo>
                  <a:lnTo>
                    <a:pt x="658333" y="120775"/>
                  </a:lnTo>
                  <a:lnTo>
                    <a:pt x="658333" y="173873"/>
                  </a:lnTo>
                  <a:lnTo>
                    <a:pt x="761916" y="173873"/>
                  </a:lnTo>
                  <a:close/>
                  <a:moveTo>
                    <a:pt x="645111" y="119727"/>
                  </a:moveTo>
                  <a:lnTo>
                    <a:pt x="645111" y="67162"/>
                  </a:lnTo>
                  <a:lnTo>
                    <a:pt x="637046" y="67162"/>
                  </a:lnTo>
                  <a:lnTo>
                    <a:pt x="637046" y="119727"/>
                  </a:lnTo>
                  <a:close/>
                  <a:moveTo>
                    <a:pt x="593703" y="119727"/>
                  </a:moveTo>
                  <a:lnTo>
                    <a:pt x="593703" y="67162"/>
                  </a:lnTo>
                  <a:lnTo>
                    <a:pt x="584651" y="67162"/>
                  </a:lnTo>
                  <a:lnTo>
                    <a:pt x="584651" y="119727"/>
                  </a:lnTo>
                  <a:close/>
                  <a:moveTo>
                    <a:pt x="532311" y="119727"/>
                  </a:moveTo>
                  <a:lnTo>
                    <a:pt x="541308" y="119727"/>
                  </a:lnTo>
                  <a:lnTo>
                    <a:pt x="541308" y="67162"/>
                  </a:lnTo>
                  <a:lnTo>
                    <a:pt x="532311" y="67162"/>
                  </a:lnTo>
                  <a:close/>
                  <a:moveTo>
                    <a:pt x="676438" y="570260"/>
                  </a:moveTo>
                  <a:lnTo>
                    <a:pt x="698055" y="570260"/>
                  </a:lnTo>
                  <a:lnTo>
                    <a:pt x="698055" y="558431"/>
                  </a:lnTo>
                  <a:lnTo>
                    <a:pt x="676438" y="558431"/>
                  </a:lnTo>
                  <a:close/>
                  <a:moveTo>
                    <a:pt x="698055" y="1165424"/>
                  </a:moveTo>
                  <a:lnTo>
                    <a:pt x="698055" y="1153596"/>
                  </a:lnTo>
                  <a:lnTo>
                    <a:pt x="676438" y="1153596"/>
                  </a:lnTo>
                  <a:lnTo>
                    <a:pt x="676438" y="1165424"/>
                  </a:lnTo>
                  <a:close/>
                  <a:moveTo>
                    <a:pt x="676438" y="1120140"/>
                  </a:moveTo>
                  <a:lnTo>
                    <a:pt x="698055" y="1120140"/>
                  </a:lnTo>
                  <a:lnTo>
                    <a:pt x="698055" y="1108317"/>
                  </a:lnTo>
                  <a:lnTo>
                    <a:pt x="676438" y="1108317"/>
                  </a:lnTo>
                  <a:close/>
                  <a:moveTo>
                    <a:pt x="698055" y="1034563"/>
                  </a:moveTo>
                  <a:lnTo>
                    <a:pt x="676438" y="1034563"/>
                  </a:lnTo>
                  <a:lnTo>
                    <a:pt x="676438" y="1060623"/>
                  </a:lnTo>
                  <a:lnTo>
                    <a:pt x="698055" y="1060623"/>
                  </a:lnTo>
                  <a:close/>
                  <a:moveTo>
                    <a:pt x="698055" y="1105908"/>
                  </a:moveTo>
                  <a:lnTo>
                    <a:pt x="698055" y="1094079"/>
                  </a:lnTo>
                  <a:lnTo>
                    <a:pt x="676438" y="1094079"/>
                  </a:lnTo>
                  <a:lnTo>
                    <a:pt x="676438" y="1105908"/>
                  </a:lnTo>
                  <a:close/>
                  <a:moveTo>
                    <a:pt x="676438" y="1001107"/>
                  </a:moveTo>
                  <a:lnTo>
                    <a:pt x="698055" y="1001107"/>
                  </a:lnTo>
                  <a:lnTo>
                    <a:pt x="698055" y="989278"/>
                  </a:lnTo>
                  <a:lnTo>
                    <a:pt x="676438" y="989278"/>
                  </a:lnTo>
                  <a:close/>
                  <a:moveTo>
                    <a:pt x="698055" y="986875"/>
                  </a:moveTo>
                  <a:lnTo>
                    <a:pt x="698055" y="975046"/>
                  </a:lnTo>
                  <a:lnTo>
                    <a:pt x="676438" y="975046"/>
                  </a:lnTo>
                  <a:lnTo>
                    <a:pt x="676438" y="986875"/>
                  </a:lnTo>
                  <a:close/>
                  <a:moveTo>
                    <a:pt x="676438" y="941590"/>
                  </a:moveTo>
                  <a:lnTo>
                    <a:pt x="698055" y="941590"/>
                  </a:lnTo>
                  <a:lnTo>
                    <a:pt x="698055" y="929762"/>
                  </a:lnTo>
                  <a:lnTo>
                    <a:pt x="676438" y="929762"/>
                  </a:lnTo>
                  <a:close/>
                  <a:moveTo>
                    <a:pt x="698055" y="856013"/>
                  </a:moveTo>
                  <a:lnTo>
                    <a:pt x="676438" y="856013"/>
                  </a:lnTo>
                  <a:lnTo>
                    <a:pt x="676438" y="882074"/>
                  </a:lnTo>
                  <a:lnTo>
                    <a:pt x="698055" y="882074"/>
                  </a:lnTo>
                  <a:close/>
                  <a:moveTo>
                    <a:pt x="698055" y="927359"/>
                  </a:moveTo>
                  <a:lnTo>
                    <a:pt x="698055" y="915530"/>
                  </a:lnTo>
                  <a:lnTo>
                    <a:pt x="676438" y="915530"/>
                  </a:lnTo>
                  <a:lnTo>
                    <a:pt x="676438" y="927359"/>
                  </a:lnTo>
                  <a:close/>
                  <a:moveTo>
                    <a:pt x="676438" y="822557"/>
                  </a:moveTo>
                  <a:lnTo>
                    <a:pt x="698055" y="822557"/>
                  </a:lnTo>
                  <a:lnTo>
                    <a:pt x="698055" y="810734"/>
                  </a:lnTo>
                  <a:lnTo>
                    <a:pt x="676438" y="810734"/>
                  </a:lnTo>
                  <a:close/>
                  <a:moveTo>
                    <a:pt x="698055" y="808326"/>
                  </a:moveTo>
                  <a:lnTo>
                    <a:pt x="698055" y="796497"/>
                  </a:lnTo>
                  <a:lnTo>
                    <a:pt x="676438" y="796497"/>
                  </a:lnTo>
                  <a:lnTo>
                    <a:pt x="676438" y="808326"/>
                  </a:lnTo>
                  <a:close/>
                  <a:moveTo>
                    <a:pt x="676438" y="763046"/>
                  </a:moveTo>
                  <a:lnTo>
                    <a:pt x="698055" y="763046"/>
                  </a:lnTo>
                  <a:lnTo>
                    <a:pt x="698055" y="751212"/>
                  </a:lnTo>
                  <a:lnTo>
                    <a:pt x="676438" y="751212"/>
                  </a:lnTo>
                  <a:close/>
                  <a:moveTo>
                    <a:pt x="698055" y="748809"/>
                  </a:moveTo>
                  <a:lnTo>
                    <a:pt x="698055" y="736980"/>
                  </a:lnTo>
                  <a:lnTo>
                    <a:pt x="676438" y="736980"/>
                  </a:lnTo>
                  <a:lnTo>
                    <a:pt x="676438" y="748809"/>
                  </a:lnTo>
                  <a:close/>
                  <a:moveTo>
                    <a:pt x="676438" y="703530"/>
                  </a:moveTo>
                  <a:lnTo>
                    <a:pt x="698055" y="703530"/>
                  </a:lnTo>
                  <a:lnTo>
                    <a:pt x="698055" y="691701"/>
                  </a:lnTo>
                  <a:lnTo>
                    <a:pt x="676438" y="691701"/>
                  </a:lnTo>
                  <a:close/>
                  <a:moveTo>
                    <a:pt x="698055" y="689298"/>
                  </a:moveTo>
                  <a:lnTo>
                    <a:pt x="698055" y="677469"/>
                  </a:lnTo>
                  <a:lnTo>
                    <a:pt x="676438" y="677469"/>
                  </a:lnTo>
                  <a:lnTo>
                    <a:pt x="676438" y="689298"/>
                  </a:lnTo>
                  <a:close/>
                  <a:moveTo>
                    <a:pt x="676438" y="644013"/>
                  </a:moveTo>
                  <a:lnTo>
                    <a:pt x="698055" y="644013"/>
                  </a:lnTo>
                  <a:lnTo>
                    <a:pt x="698055" y="632185"/>
                  </a:lnTo>
                  <a:lnTo>
                    <a:pt x="676438" y="632185"/>
                  </a:lnTo>
                  <a:close/>
                  <a:moveTo>
                    <a:pt x="698055" y="629776"/>
                  </a:moveTo>
                  <a:lnTo>
                    <a:pt x="698055" y="617948"/>
                  </a:lnTo>
                  <a:lnTo>
                    <a:pt x="676438" y="617948"/>
                  </a:lnTo>
                  <a:lnTo>
                    <a:pt x="676438" y="629776"/>
                  </a:lnTo>
                  <a:close/>
                  <a:moveTo>
                    <a:pt x="676438" y="584491"/>
                  </a:moveTo>
                  <a:lnTo>
                    <a:pt x="698055" y="584491"/>
                  </a:lnTo>
                  <a:lnTo>
                    <a:pt x="698055" y="572668"/>
                  </a:lnTo>
                  <a:lnTo>
                    <a:pt x="676438" y="572668"/>
                  </a:lnTo>
                  <a:close/>
                  <a:moveTo>
                    <a:pt x="698055" y="1167833"/>
                  </a:moveTo>
                  <a:lnTo>
                    <a:pt x="676438" y="1167833"/>
                  </a:lnTo>
                  <a:lnTo>
                    <a:pt x="676438" y="1174938"/>
                  </a:lnTo>
                  <a:lnTo>
                    <a:pt x="698055" y="1174938"/>
                  </a:lnTo>
                  <a:close/>
                  <a:moveTo>
                    <a:pt x="733936" y="570260"/>
                  </a:moveTo>
                  <a:lnTo>
                    <a:pt x="755607" y="570260"/>
                  </a:lnTo>
                  <a:lnTo>
                    <a:pt x="755607" y="558431"/>
                  </a:lnTo>
                  <a:lnTo>
                    <a:pt x="733936" y="558431"/>
                  </a:lnTo>
                  <a:close/>
                  <a:moveTo>
                    <a:pt x="755607" y="1165424"/>
                  </a:moveTo>
                  <a:lnTo>
                    <a:pt x="755607" y="1153596"/>
                  </a:lnTo>
                  <a:lnTo>
                    <a:pt x="733936" y="1153596"/>
                  </a:lnTo>
                  <a:lnTo>
                    <a:pt x="733936" y="1165424"/>
                  </a:lnTo>
                  <a:close/>
                  <a:moveTo>
                    <a:pt x="733936" y="1120140"/>
                  </a:moveTo>
                  <a:lnTo>
                    <a:pt x="755607" y="1120140"/>
                  </a:lnTo>
                  <a:lnTo>
                    <a:pt x="755607" y="1108317"/>
                  </a:lnTo>
                  <a:lnTo>
                    <a:pt x="733936" y="1108317"/>
                  </a:lnTo>
                  <a:close/>
                  <a:moveTo>
                    <a:pt x="755607" y="1105908"/>
                  </a:moveTo>
                  <a:lnTo>
                    <a:pt x="755607" y="1094079"/>
                  </a:lnTo>
                  <a:lnTo>
                    <a:pt x="733936" y="1094079"/>
                  </a:lnTo>
                  <a:lnTo>
                    <a:pt x="733936" y="1105908"/>
                  </a:lnTo>
                  <a:close/>
                  <a:moveTo>
                    <a:pt x="733936" y="1060623"/>
                  </a:moveTo>
                  <a:lnTo>
                    <a:pt x="755607" y="1060623"/>
                  </a:lnTo>
                  <a:lnTo>
                    <a:pt x="755607" y="1048794"/>
                  </a:lnTo>
                  <a:lnTo>
                    <a:pt x="733936" y="1048794"/>
                  </a:lnTo>
                  <a:close/>
                  <a:moveTo>
                    <a:pt x="755607" y="1046391"/>
                  </a:moveTo>
                  <a:lnTo>
                    <a:pt x="755607" y="1034563"/>
                  </a:lnTo>
                  <a:lnTo>
                    <a:pt x="733936" y="1034563"/>
                  </a:lnTo>
                  <a:lnTo>
                    <a:pt x="733936" y="1046391"/>
                  </a:lnTo>
                  <a:close/>
                  <a:moveTo>
                    <a:pt x="733936" y="1001107"/>
                  </a:moveTo>
                  <a:lnTo>
                    <a:pt x="755607" y="1001107"/>
                  </a:lnTo>
                  <a:lnTo>
                    <a:pt x="755607" y="989278"/>
                  </a:lnTo>
                  <a:lnTo>
                    <a:pt x="733936" y="989278"/>
                  </a:lnTo>
                  <a:close/>
                  <a:moveTo>
                    <a:pt x="755607" y="986875"/>
                  </a:moveTo>
                  <a:lnTo>
                    <a:pt x="755607" y="975046"/>
                  </a:lnTo>
                  <a:lnTo>
                    <a:pt x="733936" y="975046"/>
                  </a:lnTo>
                  <a:lnTo>
                    <a:pt x="733936" y="986875"/>
                  </a:lnTo>
                  <a:close/>
                  <a:moveTo>
                    <a:pt x="733936" y="941590"/>
                  </a:moveTo>
                  <a:lnTo>
                    <a:pt x="755607" y="941590"/>
                  </a:lnTo>
                  <a:lnTo>
                    <a:pt x="755607" y="929762"/>
                  </a:lnTo>
                  <a:lnTo>
                    <a:pt x="733936" y="929762"/>
                  </a:lnTo>
                  <a:close/>
                  <a:moveTo>
                    <a:pt x="755607" y="927359"/>
                  </a:moveTo>
                  <a:lnTo>
                    <a:pt x="755607" y="915530"/>
                  </a:lnTo>
                  <a:lnTo>
                    <a:pt x="733936" y="915530"/>
                  </a:lnTo>
                  <a:lnTo>
                    <a:pt x="733936" y="927359"/>
                  </a:lnTo>
                  <a:close/>
                  <a:moveTo>
                    <a:pt x="733936" y="882074"/>
                  </a:moveTo>
                  <a:lnTo>
                    <a:pt x="755607" y="882074"/>
                  </a:lnTo>
                  <a:lnTo>
                    <a:pt x="755607" y="870245"/>
                  </a:lnTo>
                  <a:lnTo>
                    <a:pt x="733936" y="870245"/>
                  </a:lnTo>
                  <a:close/>
                  <a:moveTo>
                    <a:pt x="755607" y="867847"/>
                  </a:moveTo>
                  <a:lnTo>
                    <a:pt x="755607" y="856013"/>
                  </a:lnTo>
                  <a:lnTo>
                    <a:pt x="733936" y="856013"/>
                  </a:lnTo>
                  <a:lnTo>
                    <a:pt x="733936" y="867847"/>
                  </a:lnTo>
                  <a:close/>
                  <a:moveTo>
                    <a:pt x="733936" y="822557"/>
                  </a:moveTo>
                  <a:lnTo>
                    <a:pt x="755607" y="822557"/>
                  </a:lnTo>
                  <a:lnTo>
                    <a:pt x="755607" y="810734"/>
                  </a:lnTo>
                  <a:lnTo>
                    <a:pt x="733936" y="810734"/>
                  </a:lnTo>
                  <a:close/>
                  <a:moveTo>
                    <a:pt x="755607" y="808326"/>
                  </a:moveTo>
                  <a:lnTo>
                    <a:pt x="755607" y="796497"/>
                  </a:lnTo>
                  <a:lnTo>
                    <a:pt x="733936" y="796497"/>
                  </a:lnTo>
                  <a:lnTo>
                    <a:pt x="733936" y="808326"/>
                  </a:lnTo>
                  <a:close/>
                  <a:moveTo>
                    <a:pt x="733936" y="763046"/>
                  </a:moveTo>
                  <a:lnTo>
                    <a:pt x="755607" y="763046"/>
                  </a:lnTo>
                  <a:lnTo>
                    <a:pt x="755607" y="751212"/>
                  </a:lnTo>
                  <a:lnTo>
                    <a:pt x="733936" y="751212"/>
                  </a:lnTo>
                  <a:close/>
                  <a:moveTo>
                    <a:pt x="755607" y="748809"/>
                  </a:moveTo>
                  <a:lnTo>
                    <a:pt x="755607" y="736980"/>
                  </a:lnTo>
                  <a:lnTo>
                    <a:pt x="733936" y="736980"/>
                  </a:lnTo>
                  <a:lnTo>
                    <a:pt x="733936" y="748809"/>
                  </a:lnTo>
                  <a:close/>
                  <a:moveTo>
                    <a:pt x="733936" y="703530"/>
                  </a:moveTo>
                  <a:lnTo>
                    <a:pt x="755607" y="703530"/>
                  </a:lnTo>
                  <a:lnTo>
                    <a:pt x="755607" y="691701"/>
                  </a:lnTo>
                  <a:lnTo>
                    <a:pt x="733936" y="691701"/>
                  </a:lnTo>
                  <a:close/>
                  <a:moveTo>
                    <a:pt x="755607" y="689298"/>
                  </a:moveTo>
                  <a:lnTo>
                    <a:pt x="755607" y="677469"/>
                  </a:lnTo>
                  <a:lnTo>
                    <a:pt x="733936" y="677469"/>
                  </a:lnTo>
                  <a:lnTo>
                    <a:pt x="733936" y="689298"/>
                  </a:lnTo>
                  <a:close/>
                  <a:moveTo>
                    <a:pt x="733936" y="644013"/>
                  </a:moveTo>
                  <a:lnTo>
                    <a:pt x="755607" y="644013"/>
                  </a:lnTo>
                  <a:lnTo>
                    <a:pt x="755607" y="632185"/>
                  </a:lnTo>
                  <a:lnTo>
                    <a:pt x="733936" y="632185"/>
                  </a:lnTo>
                  <a:close/>
                  <a:moveTo>
                    <a:pt x="755607" y="629776"/>
                  </a:moveTo>
                  <a:lnTo>
                    <a:pt x="755607" y="617948"/>
                  </a:lnTo>
                  <a:lnTo>
                    <a:pt x="733936" y="617948"/>
                  </a:lnTo>
                  <a:lnTo>
                    <a:pt x="733936" y="629776"/>
                  </a:lnTo>
                  <a:close/>
                  <a:moveTo>
                    <a:pt x="733936" y="584491"/>
                  </a:moveTo>
                  <a:lnTo>
                    <a:pt x="755607" y="584491"/>
                  </a:lnTo>
                  <a:lnTo>
                    <a:pt x="755607" y="572668"/>
                  </a:lnTo>
                  <a:lnTo>
                    <a:pt x="733936" y="572668"/>
                  </a:lnTo>
                  <a:close/>
                  <a:moveTo>
                    <a:pt x="755607" y="1167833"/>
                  </a:moveTo>
                  <a:lnTo>
                    <a:pt x="733936" y="1167833"/>
                  </a:lnTo>
                  <a:lnTo>
                    <a:pt x="733936" y="1174938"/>
                  </a:lnTo>
                  <a:lnTo>
                    <a:pt x="755607" y="1174938"/>
                  </a:lnTo>
                  <a:lnTo>
                    <a:pt x="755607" y="1167833"/>
                  </a:lnTo>
                </a:path>
              </a:pathLst>
            </a:custGeom>
            <a:grpFill/>
            <a:ln w="548" cap="flat">
              <a:noFill/>
              <a:prstDash val="solid"/>
              <a:miter/>
            </a:ln>
          </p:spPr>
          <p:txBody>
            <a:bodyPr/>
            <a:lstStyle/>
            <a:p>
              <a:endParaRPr lang="en-US"/>
            </a:p>
          </p:txBody>
        </p:sp>
        <p:sp>
          <p:nvSpPr>
            <p:cNvPr id="380" name="Freeform: Shape 379">
              <a:extLst>
                <a:ext uri="{FF2B5EF4-FFF2-40B4-BE49-F238E27FC236}">
                  <a16:creationId xmlns:a16="http://schemas.microsoft.com/office/drawing/2014/main" id="{935BA663-FC0D-4D38-B905-91FB89E84D3D}"/>
                </a:ext>
              </a:extLst>
            </p:cNvPr>
            <p:cNvSpPr/>
            <p:nvPr/>
          </p:nvSpPr>
          <p:spPr>
            <a:xfrm flipV="1">
              <a:off x="24454328" y="4394277"/>
              <a:ext cx="18983" cy="12070"/>
            </a:xfrm>
            <a:custGeom>
              <a:avLst/>
              <a:gdLst>
                <a:gd name="csX0" fmla="*/ 9826 w 18983"/>
                <a:gd name="csY0" fmla="*/ 6822 h 12070"/>
                <a:gd name="csX1" fmla="*/ -9157 w 18983"/>
                <a:gd name="csY1" fmla="*/ 6822 h 12070"/>
                <a:gd name="csX2" fmla="*/ -9157 w 18983"/>
                <a:gd name="csY2" fmla="*/ -5249 h 12070"/>
                <a:gd name="csX3" fmla="*/ 9826 w 18983"/>
                <a:gd name="csY3" fmla="*/ -5249 h 12070"/>
                <a:gd name="csX4" fmla="*/ 9826 w 18983"/>
                <a:gd name="csY4" fmla="*/ 6822 h 12070"/>
              </a:gdLst>
              <a:ahLst/>
              <a:cxnLst>
                <a:cxn ang="0">
                  <a:pos x="csX0" y="csY0"/>
                </a:cxn>
                <a:cxn ang="0">
                  <a:pos x="csX1" y="csY1"/>
                </a:cxn>
                <a:cxn ang="0">
                  <a:pos x="csX2" y="csY2"/>
                </a:cxn>
                <a:cxn ang="0">
                  <a:pos x="csX3" y="csY3"/>
                </a:cxn>
                <a:cxn ang="0">
                  <a:pos x="csX4" y="csY4"/>
                </a:cxn>
              </a:cxnLst>
              <a:rect l="l" t="t" r="r" b="b"/>
              <a:pathLst>
                <a:path w="18983" h="12070">
                  <a:moveTo>
                    <a:pt x="9826" y="6822"/>
                  </a:moveTo>
                  <a:lnTo>
                    <a:pt x="-9157" y="6822"/>
                  </a:lnTo>
                  <a:lnTo>
                    <a:pt x="-9157" y="-5249"/>
                  </a:lnTo>
                  <a:lnTo>
                    <a:pt x="9826" y="-5249"/>
                  </a:lnTo>
                  <a:lnTo>
                    <a:pt x="9826" y="6822"/>
                  </a:lnTo>
                </a:path>
              </a:pathLst>
            </a:custGeom>
            <a:grpFill/>
            <a:ln w="548" cap="flat">
              <a:noFill/>
              <a:prstDash val="solid"/>
              <a:miter/>
            </a:ln>
          </p:spPr>
          <p:txBody>
            <a:bodyPr/>
            <a:lstStyle/>
            <a:p>
              <a:endParaRPr lang="en-US"/>
            </a:p>
          </p:txBody>
        </p:sp>
        <p:sp>
          <p:nvSpPr>
            <p:cNvPr id="381" name="Freeform: Shape 380">
              <a:extLst>
                <a:ext uri="{FF2B5EF4-FFF2-40B4-BE49-F238E27FC236}">
                  <a16:creationId xmlns:a16="http://schemas.microsoft.com/office/drawing/2014/main" id="{F1FF6DCE-C8B2-E9E2-8D01-82EB7D4415F1}"/>
                </a:ext>
              </a:extLst>
            </p:cNvPr>
            <p:cNvSpPr/>
            <p:nvPr/>
          </p:nvSpPr>
          <p:spPr>
            <a:xfrm flipV="1">
              <a:off x="24454328" y="4408756"/>
              <a:ext cx="18983" cy="12081"/>
            </a:xfrm>
            <a:custGeom>
              <a:avLst/>
              <a:gdLst>
                <a:gd name="csX0" fmla="*/ -9157 w 18983"/>
                <a:gd name="csY0" fmla="*/ -5214 h 12081"/>
                <a:gd name="csX1" fmla="*/ 9826 w 18983"/>
                <a:gd name="csY1" fmla="*/ -5214 h 12081"/>
                <a:gd name="csX2" fmla="*/ 9826 w 18983"/>
                <a:gd name="csY2" fmla="*/ 6867 h 12081"/>
                <a:gd name="csX3" fmla="*/ -9157 w 18983"/>
                <a:gd name="csY3" fmla="*/ 6867 h 12081"/>
                <a:gd name="csX4" fmla="*/ -9157 w 18983"/>
                <a:gd name="csY4" fmla="*/ -5214 h 12081"/>
              </a:gdLst>
              <a:ahLst/>
              <a:cxnLst>
                <a:cxn ang="0">
                  <a:pos x="csX0" y="csY0"/>
                </a:cxn>
                <a:cxn ang="0">
                  <a:pos x="csX1" y="csY1"/>
                </a:cxn>
                <a:cxn ang="0">
                  <a:pos x="csX2" y="csY2"/>
                </a:cxn>
                <a:cxn ang="0">
                  <a:pos x="csX3" y="csY3"/>
                </a:cxn>
                <a:cxn ang="0">
                  <a:pos x="csX4" y="csY4"/>
                </a:cxn>
              </a:cxnLst>
              <a:rect l="l" t="t" r="r" b="b"/>
              <a:pathLst>
                <a:path w="18983" h="12081">
                  <a:moveTo>
                    <a:pt x="-9157" y="-5214"/>
                  </a:moveTo>
                  <a:lnTo>
                    <a:pt x="9826" y="-5214"/>
                  </a:lnTo>
                  <a:lnTo>
                    <a:pt x="9826" y="6867"/>
                  </a:lnTo>
                  <a:lnTo>
                    <a:pt x="-9157" y="6867"/>
                  </a:lnTo>
                  <a:lnTo>
                    <a:pt x="-9157" y="-5214"/>
                  </a:lnTo>
                </a:path>
              </a:pathLst>
            </a:custGeom>
            <a:grpFill/>
            <a:ln w="548" cap="flat">
              <a:noFill/>
              <a:prstDash val="solid"/>
              <a:miter/>
            </a:ln>
          </p:spPr>
          <p:txBody>
            <a:bodyPr/>
            <a:lstStyle/>
            <a:p>
              <a:endParaRPr lang="en-US"/>
            </a:p>
          </p:txBody>
        </p:sp>
        <p:sp>
          <p:nvSpPr>
            <p:cNvPr id="382" name="Freeform: Shape 381">
              <a:extLst>
                <a:ext uri="{FF2B5EF4-FFF2-40B4-BE49-F238E27FC236}">
                  <a16:creationId xmlns:a16="http://schemas.microsoft.com/office/drawing/2014/main" id="{94180A95-322D-DC33-2942-1A14F4CE691C}"/>
                </a:ext>
              </a:extLst>
            </p:cNvPr>
            <p:cNvSpPr/>
            <p:nvPr/>
          </p:nvSpPr>
          <p:spPr>
            <a:xfrm flipV="1">
              <a:off x="24454328" y="4453070"/>
              <a:ext cx="18983" cy="12075"/>
            </a:xfrm>
            <a:custGeom>
              <a:avLst/>
              <a:gdLst>
                <a:gd name="csX0" fmla="*/ -9157 w 18983"/>
                <a:gd name="csY0" fmla="*/ -5107 h 12075"/>
                <a:gd name="csX1" fmla="*/ 9826 w 18983"/>
                <a:gd name="csY1" fmla="*/ -5107 h 12075"/>
                <a:gd name="csX2" fmla="*/ 9826 w 18983"/>
                <a:gd name="csY2" fmla="*/ 6968 h 12075"/>
                <a:gd name="csX3" fmla="*/ -9157 w 18983"/>
                <a:gd name="csY3" fmla="*/ 6968 h 12075"/>
                <a:gd name="csX4" fmla="*/ -9157 w 18983"/>
                <a:gd name="csY4" fmla="*/ -5107 h 12075"/>
              </a:gdLst>
              <a:ahLst/>
              <a:cxnLst>
                <a:cxn ang="0">
                  <a:pos x="csX0" y="csY0"/>
                </a:cxn>
                <a:cxn ang="0">
                  <a:pos x="csX1" y="csY1"/>
                </a:cxn>
                <a:cxn ang="0">
                  <a:pos x="csX2" y="csY2"/>
                </a:cxn>
                <a:cxn ang="0">
                  <a:pos x="csX3" y="csY3"/>
                </a:cxn>
                <a:cxn ang="0">
                  <a:pos x="csX4" y="csY4"/>
                </a:cxn>
              </a:cxnLst>
              <a:rect l="l" t="t" r="r" b="b"/>
              <a:pathLst>
                <a:path w="18983" h="12075">
                  <a:moveTo>
                    <a:pt x="-9157" y="-5107"/>
                  </a:moveTo>
                  <a:lnTo>
                    <a:pt x="9826" y="-5107"/>
                  </a:lnTo>
                  <a:lnTo>
                    <a:pt x="9826" y="6968"/>
                  </a:lnTo>
                  <a:lnTo>
                    <a:pt x="-9157" y="6968"/>
                  </a:lnTo>
                  <a:lnTo>
                    <a:pt x="-9157" y="-5107"/>
                  </a:lnTo>
                </a:path>
              </a:pathLst>
            </a:custGeom>
            <a:grpFill/>
            <a:ln w="548" cap="flat">
              <a:noFill/>
              <a:prstDash val="solid"/>
              <a:miter/>
            </a:ln>
          </p:spPr>
          <p:txBody>
            <a:bodyPr/>
            <a:lstStyle/>
            <a:p>
              <a:endParaRPr lang="en-US"/>
            </a:p>
          </p:txBody>
        </p:sp>
        <p:sp>
          <p:nvSpPr>
            <p:cNvPr id="383" name="Freeform: Shape 382">
              <a:extLst>
                <a:ext uri="{FF2B5EF4-FFF2-40B4-BE49-F238E27FC236}">
                  <a16:creationId xmlns:a16="http://schemas.microsoft.com/office/drawing/2014/main" id="{683C2EEE-2EC8-EB46-07C1-8EDBA9F3F438}"/>
                </a:ext>
              </a:extLst>
            </p:cNvPr>
            <p:cNvSpPr/>
            <p:nvPr/>
          </p:nvSpPr>
          <p:spPr>
            <a:xfrm flipV="1">
              <a:off x="24454328" y="4467548"/>
              <a:ext cx="18983" cy="12081"/>
            </a:xfrm>
            <a:custGeom>
              <a:avLst/>
              <a:gdLst>
                <a:gd name="csX0" fmla="*/ -9157 w 18983"/>
                <a:gd name="csY0" fmla="*/ -5072 h 12081"/>
                <a:gd name="csX1" fmla="*/ 9826 w 18983"/>
                <a:gd name="csY1" fmla="*/ -5072 h 12081"/>
                <a:gd name="csX2" fmla="*/ 9826 w 18983"/>
                <a:gd name="csY2" fmla="*/ 7009 h 12081"/>
                <a:gd name="csX3" fmla="*/ -9157 w 18983"/>
                <a:gd name="csY3" fmla="*/ 7009 h 12081"/>
                <a:gd name="csX4" fmla="*/ -9157 w 18983"/>
                <a:gd name="csY4" fmla="*/ -5072 h 12081"/>
              </a:gdLst>
              <a:ahLst/>
              <a:cxnLst>
                <a:cxn ang="0">
                  <a:pos x="csX0" y="csY0"/>
                </a:cxn>
                <a:cxn ang="0">
                  <a:pos x="csX1" y="csY1"/>
                </a:cxn>
                <a:cxn ang="0">
                  <a:pos x="csX2" y="csY2"/>
                </a:cxn>
                <a:cxn ang="0">
                  <a:pos x="csX3" y="csY3"/>
                </a:cxn>
                <a:cxn ang="0">
                  <a:pos x="csX4" y="csY4"/>
                </a:cxn>
              </a:cxnLst>
              <a:rect l="l" t="t" r="r" b="b"/>
              <a:pathLst>
                <a:path w="18983" h="12081">
                  <a:moveTo>
                    <a:pt x="-9157" y="-5072"/>
                  </a:moveTo>
                  <a:lnTo>
                    <a:pt x="9826" y="-5072"/>
                  </a:lnTo>
                  <a:lnTo>
                    <a:pt x="9826" y="7009"/>
                  </a:lnTo>
                  <a:lnTo>
                    <a:pt x="-9157" y="7009"/>
                  </a:lnTo>
                  <a:lnTo>
                    <a:pt x="-9157" y="-5072"/>
                  </a:lnTo>
                </a:path>
              </a:pathLst>
            </a:custGeom>
            <a:grpFill/>
            <a:ln w="548" cap="flat">
              <a:noFill/>
              <a:prstDash val="solid"/>
              <a:miter/>
            </a:ln>
          </p:spPr>
          <p:txBody>
            <a:bodyPr/>
            <a:lstStyle/>
            <a:p>
              <a:endParaRPr lang="en-US"/>
            </a:p>
          </p:txBody>
        </p:sp>
        <p:sp>
          <p:nvSpPr>
            <p:cNvPr id="384" name="Freeform: Shape 383">
              <a:extLst>
                <a:ext uri="{FF2B5EF4-FFF2-40B4-BE49-F238E27FC236}">
                  <a16:creationId xmlns:a16="http://schemas.microsoft.com/office/drawing/2014/main" id="{3D32185B-7DB9-C878-150B-A8161D5E5BAC}"/>
                </a:ext>
              </a:extLst>
            </p:cNvPr>
            <p:cNvSpPr/>
            <p:nvPr/>
          </p:nvSpPr>
          <p:spPr>
            <a:xfrm flipV="1">
              <a:off x="24454328" y="4511862"/>
              <a:ext cx="18983" cy="12075"/>
            </a:xfrm>
            <a:custGeom>
              <a:avLst/>
              <a:gdLst>
                <a:gd name="csX0" fmla="*/ -9157 w 18983"/>
                <a:gd name="csY0" fmla="*/ -4966 h 12075"/>
                <a:gd name="csX1" fmla="*/ 9826 w 18983"/>
                <a:gd name="csY1" fmla="*/ -4966 h 12075"/>
                <a:gd name="csX2" fmla="*/ 9826 w 18983"/>
                <a:gd name="csY2" fmla="*/ 7110 h 12075"/>
                <a:gd name="csX3" fmla="*/ -9157 w 18983"/>
                <a:gd name="csY3" fmla="*/ 7110 h 12075"/>
                <a:gd name="csX4" fmla="*/ -9157 w 18983"/>
                <a:gd name="csY4" fmla="*/ -4966 h 12075"/>
              </a:gdLst>
              <a:ahLst/>
              <a:cxnLst>
                <a:cxn ang="0">
                  <a:pos x="csX0" y="csY0"/>
                </a:cxn>
                <a:cxn ang="0">
                  <a:pos x="csX1" y="csY1"/>
                </a:cxn>
                <a:cxn ang="0">
                  <a:pos x="csX2" y="csY2"/>
                </a:cxn>
                <a:cxn ang="0">
                  <a:pos x="csX3" y="csY3"/>
                </a:cxn>
                <a:cxn ang="0">
                  <a:pos x="csX4" y="csY4"/>
                </a:cxn>
              </a:cxnLst>
              <a:rect l="l" t="t" r="r" b="b"/>
              <a:pathLst>
                <a:path w="18983" h="12075">
                  <a:moveTo>
                    <a:pt x="-9157" y="-4966"/>
                  </a:moveTo>
                  <a:lnTo>
                    <a:pt x="9826" y="-4966"/>
                  </a:lnTo>
                  <a:lnTo>
                    <a:pt x="9826" y="7110"/>
                  </a:lnTo>
                  <a:lnTo>
                    <a:pt x="-9157" y="7110"/>
                  </a:lnTo>
                  <a:lnTo>
                    <a:pt x="-9157" y="-4966"/>
                  </a:lnTo>
                </a:path>
              </a:pathLst>
            </a:custGeom>
            <a:grpFill/>
            <a:ln w="548" cap="flat">
              <a:noFill/>
              <a:prstDash val="solid"/>
              <a:miter/>
            </a:ln>
          </p:spPr>
          <p:txBody>
            <a:bodyPr/>
            <a:lstStyle/>
            <a:p>
              <a:endParaRPr lang="en-US"/>
            </a:p>
          </p:txBody>
        </p:sp>
        <p:sp>
          <p:nvSpPr>
            <p:cNvPr id="385" name="Freeform: Shape 384">
              <a:extLst>
                <a:ext uri="{FF2B5EF4-FFF2-40B4-BE49-F238E27FC236}">
                  <a16:creationId xmlns:a16="http://schemas.microsoft.com/office/drawing/2014/main" id="{C4DC3B90-73D9-A2E4-396E-B35E9F593E6D}"/>
                </a:ext>
              </a:extLst>
            </p:cNvPr>
            <p:cNvSpPr/>
            <p:nvPr/>
          </p:nvSpPr>
          <p:spPr>
            <a:xfrm flipV="1">
              <a:off x="24454328" y="4526340"/>
              <a:ext cx="18983" cy="12081"/>
            </a:xfrm>
            <a:custGeom>
              <a:avLst/>
              <a:gdLst>
                <a:gd name="csX0" fmla="*/ -9157 w 18983"/>
                <a:gd name="csY0" fmla="*/ -4931 h 12081"/>
                <a:gd name="csX1" fmla="*/ 9826 w 18983"/>
                <a:gd name="csY1" fmla="*/ -4931 h 12081"/>
                <a:gd name="csX2" fmla="*/ 9826 w 18983"/>
                <a:gd name="csY2" fmla="*/ 7150 h 12081"/>
                <a:gd name="csX3" fmla="*/ -9157 w 18983"/>
                <a:gd name="csY3" fmla="*/ 7150 h 12081"/>
                <a:gd name="csX4" fmla="*/ -9157 w 18983"/>
                <a:gd name="csY4" fmla="*/ -4931 h 12081"/>
              </a:gdLst>
              <a:ahLst/>
              <a:cxnLst>
                <a:cxn ang="0">
                  <a:pos x="csX0" y="csY0"/>
                </a:cxn>
                <a:cxn ang="0">
                  <a:pos x="csX1" y="csY1"/>
                </a:cxn>
                <a:cxn ang="0">
                  <a:pos x="csX2" y="csY2"/>
                </a:cxn>
                <a:cxn ang="0">
                  <a:pos x="csX3" y="csY3"/>
                </a:cxn>
                <a:cxn ang="0">
                  <a:pos x="csX4" y="csY4"/>
                </a:cxn>
              </a:cxnLst>
              <a:rect l="l" t="t" r="r" b="b"/>
              <a:pathLst>
                <a:path w="18983" h="12081">
                  <a:moveTo>
                    <a:pt x="-9157" y="-4931"/>
                  </a:moveTo>
                  <a:lnTo>
                    <a:pt x="9826" y="-4931"/>
                  </a:lnTo>
                  <a:lnTo>
                    <a:pt x="9826" y="7150"/>
                  </a:lnTo>
                  <a:lnTo>
                    <a:pt x="-9157" y="7150"/>
                  </a:lnTo>
                  <a:lnTo>
                    <a:pt x="-9157" y="-4931"/>
                  </a:lnTo>
                </a:path>
              </a:pathLst>
            </a:custGeom>
            <a:grpFill/>
            <a:ln w="548" cap="flat">
              <a:noFill/>
              <a:prstDash val="solid"/>
              <a:miter/>
            </a:ln>
          </p:spPr>
          <p:txBody>
            <a:bodyPr/>
            <a:lstStyle/>
            <a:p>
              <a:endParaRPr lang="en-US"/>
            </a:p>
          </p:txBody>
        </p:sp>
        <p:sp>
          <p:nvSpPr>
            <p:cNvPr id="386" name="Freeform: Shape 385">
              <a:extLst>
                <a:ext uri="{FF2B5EF4-FFF2-40B4-BE49-F238E27FC236}">
                  <a16:creationId xmlns:a16="http://schemas.microsoft.com/office/drawing/2014/main" id="{DC6DEB2E-6FB0-4F41-9110-349C6922BB97}"/>
                </a:ext>
              </a:extLst>
            </p:cNvPr>
            <p:cNvSpPr/>
            <p:nvPr/>
          </p:nvSpPr>
          <p:spPr>
            <a:xfrm flipV="1">
              <a:off x="24454328" y="4686582"/>
              <a:ext cx="18983" cy="12081"/>
            </a:xfrm>
            <a:custGeom>
              <a:avLst/>
              <a:gdLst>
                <a:gd name="csX0" fmla="*/ -9157 w 18983"/>
                <a:gd name="csY0" fmla="*/ -4545 h 12081"/>
                <a:gd name="csX1" fmla="*/ 9826 w 18983"/>
                <a:gd name="csY1" fmla="*/ -4545 h 12081"/>
                <a:gd name="csX2" fmla="*/ 9826 w 18983"/>
                <a:gd name="csY2" fmla="*/ 7536 h 12081"/>
                <a:gd name="csX3" fmla="*/ -9157 w 18983"/>
                <a:gd name="csY3" fmla="*/ 7536 h 12081"/>
                <a:gd name="csX4" fmla="*/ -9157 w 18983"/>
                <a:gd name="csY4" fmla="*/ -4545 h 12081"/>
              </a:gdLst>
              <a:ahLst/>
              <a:cxnLst>
                <a:cxn ang="0">
                  <a:pos x="csX0" y="csY0"/>
                </a:cxn>
                <a:cxn ang="0">
                  <a:pos x="csX1" y="csY1"/>
                </a:cxn>
                <a:cxn ang="0">
                  <a:pos x="csX2" y="csY2"/>
                </a:cxn>
                <a:cxn ang="0">
                  <a:pos x="csX3" y="csY3"/>
                </a:cxn>
                <a:cxn ang="0">
                  <a:pos x="csX4" y="csY4"/>
                </a:cxn>
              </a:cxnLst>
              <a:rect l="l" t="t" r="r" b="b"/>
              <a:pathLst>
                <a:path w="18983" h="12081">
                  <a:moveTo>
                    <a:pt x="-9157" y="-4545"/>
                  </a:moveTo>
                  <a:lnTo>
                    <a:pt x="9826" y="-4545"/>
                  </a:lnTo>
                  <a:lnTo>
                    <a:pt x="9826" y="7536"/>
                  </a:lnTo>
                  <a:lnTo>
                    <a:pt x="-9157" y="7536"/>
                  </a:lnTo>
                  <a:lnTo>
                    <a:pt x="-9157" y="-4545"/>
                  </a:lnTo>
                </a:path>
              </a:pathLst>
            </a:custGeom>
            <a:grpFill/>
            <a:ln w="548" cap="flat">
              <a:noFill/>
              <a:prstDash val="solid"/>
              <a:miter/>
            </a:ln>
          </p:spPr>
          <p:txBody>
            <a:bodyPr/>
            <a:lstStyle/>
            <a:p>
              <a:endParaRPr lang="en-US"/>
            </a:p>
          </p:txBody>
        </p:sp>
        <p:sp>
          <p:nvSpPr>
            <p:cNvPr id="387" name="Freeform: Shape 386">
              <a:extLst>
                <a:ext uri="{FF2B5EF4-FFF2-40B4-BE49-F238E27FC236}">
                  <a16:creationId xmlns:a16="http://schemas.microsoft.com/office/drawing/2014/main" id="{C23770C0-CA6E-FF0C-C6EE-E96CFAEA3873}"/>
                </a:ext>
              </a:extLst>
            </p:cNvPr>
            <p:cNvSpPr/>
            <p:nvPr/>
          </p:nvSpPr>
          <p:spPr>
            <a:xfrm flipV="1">
              <a:off x="24454328" y="4701066"/>
              <a:ext cx="18983" cy="12075"/>
            </a:xfrm>
            <a:custGeom>
              <a:avLst/>
              <a:gdLst>
                <a:gd name="csX0" fmla="*/ -9157 w 18983"/>
                <a:gd name="csY0" fmla="*/ -4510 h 12075"/>
                <a:gd name="csX1" fmla="*/ 9826 w 18983"/>
                <a:gd name="csY1" fmla="*/ -4510 h 12075"/>
                <a:gd name="csX2" fmla="*/ 9826 w 18983"/>
                <a:gd name="csY2" fmla="*/ 7565 h 12075"/>
                <a:gd name="csX3" fmla="*/ -9157 w 18983"/>
                <a:gd name="csY3" fmla="*/ 7565 h 12075"/>
                <a:gd name="csX4" fmla="*/ -9157 w 18983"/>
                <a:gd name="csY4" fmla="*/ -4510 h 12075"/>
              </a:gdLst>
              <a:ahLst/>
              <a:cxnLst>
                <a:cxn ang="0">
                  <a:pos x="csX0" y="csY0"/>
                </a:cxn>
                <a:cxn ang="0">
                  <a:pos x="csX1" y="csY1"/>
                </a:cxn>
                <a:cxn ang="0">
                  <a:pos x="csX2" y="csY2"/>
                </a:cxn>
                <a:cxn ang="0">
                  <a:pos x="csX3" y="csY3"/>
                </a:cxn>
                <a:cxn ang="0">
                  <a:pos x="csX4" y="csY4"/>
                </a:cxn>
              </a:cxnLst>
              <a:rect l="l" t="t" r="r" b="b"/>
              <a:pathLst>
                <a:path w="18983" h="12075">
                  <a:moveTo>
                    <a:pt x="-9157" y="-4510"/>
                  </a:moveTo>
                  <a:lnTo>
                    <a:pt x="9826" y="-4510"/>
                  </a:lnTo>
                  <a:lnTo>
                    <a:pt x="9826" y="7565"/>
                  </a:lnTo>
                  <a:lnTo>
                    <a:pt x="-9157" y="7565"/>
                  </a:lnTo>
                  <a:lnTo>
                    <a:pt x="-9157" y="-4510"/>
                  </a:lnTo>
                </a:path>
              </a:pathLst>
            </a:custGeom>
            <a:grpFill/>
            <a:ln w="548" cap="flat">
              <a:noFill/>
              <a:prstDash val="solid"/>
              <a:miter/>
            </a:ln>
          </p:spPr>
          <p:txBody>
            <a:bodyPr/>
            <a:lstStyle/>
            <a:p>
              <a:endParaRPr lang="en-US"/>
            </a:p>
          </p:txBody>
        </p:sp>
        <p:sp>
          <p:nvSpPr>
            <p:cNvPr id="388" name="Freeform: Shape 387">
              <a:extLst>
                <a:ext uri="{FF2B5EF4-FFF2-40B4-BE49-F238E27FC236}">
                  <a16:creationId xmlns:a16="http://schemas.microsoft.com/office/drawing/2014/main" id="{0C89AAF6-AC95-51B7-33DC-098A0A001D90}"/>
                </a:ext>
              </a:extLst>
            </p:cNvPr>
            <p:cNvSpPr/>
            <p:nvPr/>
          </p:nvSpPr>
          <p:spPr>
            <a:xfrm flipV="1">
              <a:off x="24454328" y="4587848"/>
              <a:ext cx="18983" cy="12668"/>
            </a:xfrm>
            <a:custGeom>
              <a:avLst/>
              <a:gdLst>
                <a:gd name="csX0" fmla="*/ -9157 w 18983"/>
                <a:gd name="csY0" fmla="*/ -4782 h 12668"/>
                <a:gd name="csX1" fmla="*/ 9826 w 18983"/>
                <a:gd name="csY1" fmla="*/ -4782 h 12668"/>
                <a:gd name="csX2" fmla="*/ 9826 w 18983"/>
                <a:gd name="csY2" fmla="*/ 7886 h 12668"/>
                <a:gd name="csX3" fmla="*/ -9157 w 18983"/>
                <a:gd name="csY3" fmla="*/ 7886 h 12668"/>
                <a:gd name="csX4" fmla="*/ -9157 w 18983"/>
                <a:gd name="csY4" fmla="*/ -4782 h 12668"/>
              </a:gdLst>
              <a:ahLst/>
              <a:cxnLst>
                <a:cxn ang="0">
                  <a:pos x="csX0" y="csY0"/>
                </a:cxn>
                <a:cxn ang="0">
                  <a:pos x="csX1" y="csY1"/>
                </a:cxn>
                <a:cxn ang="0">
                  <a:pos x="csX2" y="csY2"/>
                </a:cxn>
                <a:cxn ang="0">
                  <a:pos x="csX3" y="csY3"/>
                </a:cxn>
                <a:cxn ang="0">
                  <a:pos x="csX4" y="csY4"/>
                </a:cxn>
              </a:cxnLst>
              <a:rect l="l" t="t" r="r" b="b"/>
              <a:pathLst>
                <a:path w="18983" h="12668">
                  <a:moveTo>
                    <a:pt x="-9157" y="-4782"/>
                  </a:moveTo>
                  <a:lnTo>
                    <a:pt x="9826" y="-4782"/>
                  </a:lnTo>
                  <a:lnTo>
                    <a:pt x="9826" y="7886"/>
                  </a:lnTo>
                  <a:lnTo>
                    <a:pt x="-9157" y="7886"/>
                  </a:lnTo>
                  <a:lnTo>
                    <a:pt x="-9157" y="-4782"/>
                  </a:lnTo>
                </a:path>
              </a:pathLst>
            </a:custGeom>
            <a:grpFill/>
            <a:ln w="548" cap="flat">
              <a:noFill/>
              <a:prstDash val="solid"/>
              <a:miter/>
            </a:ln>
          </p:spPr>
          <p:txBody>
            <a:bodyPr/>
            <a:lstStyle/>
            <a:p>
              <a:endParaRPr lang="en-US"/>
            </a:p>
          </p:txBody>
        </p:sp>
        <p:sp>
          <p:nvSpPr>
            <p:cNvPr id="389" name="Freeform: Shape 388">
              <a:extLst>
                <a:ext uri="{FF2B5EF4-FFF2-40B4-BE49-F238E27FC236}">
                  <a16:creationId xmlns:a16="http://schemas.microsoft.com/office/drawing/2014/main" id="{7DA4FC27-5245-2DDA-8089-F516C806A2F9}"/>
                </a:ext>
              </a:extLst>
            </p:cNvPr>
            <p:cNvSpPr/>
            <p:nvPr/>
          </p:nvSpPr>
          <p:spPr>
            <a:xfrm flipV="1">
              <a:off x="24454328" y="4618002"/>
              <a:ext cx="18983" cy="12668"/>
            </a:xfrm>
            <a:custGeom>
              <a:avLst/>
              <a:gdLst>
                <a:gd name="csX0" fmla="*/ -9157 w 18983"/>
                <a:gd name="csY0" fmla="*/ -4710 h 12668"/>
                <a:gd name="csX1" fmla="*/ 9826 w 18983"/>
                <a:gd name="csY1" fmla="*/ -4710 h 12668"/>
                <a:gd name="csX2" fmla="*/ 9826 w 18983"/>
                <a:gd name="csY2" fmla="*/ 7959 h 12668"/>
                <a:gd name="csX3" fmla="*/ -9157 w 18983"/>
                <a:gd name="csY3" fmla="*/ 7959 h 12668"/>
                <a:gd name="csX4" fmla="*/ -9157 w 18983"/>
                <a:gd name="csY4" fmla="*/ -4710 h 12668"/>
              </a:gdLst>
              <a:ahLst/>
              <a:cxnLst>
                <a:cxn ang="0">
                  <a:pos x="csX0" y="csY0"/>
                </a:cxn>
                <a:cxn ang="0">
                  <a:pos x="csX1" y="csY1"/>
                </a:cxn>
                <a:cxn ang="0">
                  <a:pos x="csX2" y="csY2"/>
                </a:cxn>
                <a:cxn ang="0">
                  <a:pos x="csX3" y="csY3"/>
                </a:cxn>
                <a:cxn ang="0">
                  <a:pos x="csX4" y="csY4"/>
                </a:cxn>
              </a:cxnLst>
              <a:rect l="l" t="t" r="r" b="b"/>
              <a:pathLst>
                <a:path w="18983" h="12668">
                  <a:moveTo>
                    <a:pt x="-9157" y="-4710"/>
                  </a:moveTo>
                  <a:lnTo>
                    <a:pt x="9826" y="-4710"/>
                  </a:lnTo>
                  <a:lnTo>
                    <a:pt x="9826" y="7959"/>
                  </a:lnTo>
                  <a:lnTo>
                    <a:pt x="-9157" y="7959"/>
                  </a:lnTo>
                  <a:lnTo>
                    <a:pt x="-9157" y="-4710"/>
                  </a:lnTo>
                </a:path>
              </a:pathLst>
            </a:custGeom>
            <a:grpFill/>
            <a:ln w="548" cap="flat">
              <a:noFill/>
              <a:prstDash val="solid"/>
              <a:miter/>
            </a:ln>
          </p:spPr>
          <p:txBody>
            <a:bodyPr/>
            <a:lstStyle/>
            <a:p>
              <a:endParaRPr lang="en-US"/>
            </a:p>
          </p:txBody>
        </p:sp>
        <p:sp>
          <p:nvSpPr>
            <p:cNvPr id="390" name="Freeform: Shape 389">
              <a:extLst>
                <a:ext uri="{FF2B5EF4-FFF2-40B4-BE49-F238E27FC236}">
                  <a16:creationId xmlns:a16="http://schemas.microsoft.com/office/drawing/2014/main" id="{49B60C29-B775-B3E4-07DE-C8C7A0E003BA}"/>
                </a:ext>
              </a:extLst>
            </p:cNvPr>
            <p:cNvSpPr/>
            <p:nvPr/>
          </p:nvSpPr>
          <p:spPr>
            <a:xfrm flipV="1">
              <a:off x="24454328" y="4602925"/>
              <a:ext cx="18983" cy="12668"/>
            </a:xfrm>
            <a:custGeom>
              <a:avLst/>
              <a:gdLst>
                <a:gd name="csX0" fmla="*/ -9157 w 18983"/>
                <a:gd name="csY0" fmla="*/ -4746 h 12668"/>
                <a:gd name="csX1" fmla="*/ 9826 w 18983"/>
                <a:gd name="csY1" fmla="*/ -4746 h 12668"/>
                <a:gd name="csX2" fmla="*/ 9826 w 18983"/>
                <a:gd name="csY2" fmla="*/ 7922 h 12668"/>
                <a:gd name="csX3" fmla="*/ -9157 w 18983"/>
                <a:gd name="csY3" fmla="*/ 7922 h 12668"/>
                <a:gd name="csX4" fmla="*/ -9157 w 18983"/>
                <a:gd name="csY4" fmla="*/ -4746 h 12668"/>
              </a:gdLst>
              <a:ahLst/>
              <a:cxnLst>
                <a:cxn ang="0">
                  <a:pos x="csX0" y="csY0"/>
                </a:cxn>
                <a:cxn ang="0">
                  <a:pos x="csX1" y="csY1"/>
                </a:cxn>
                <a:cxn ang="0">
                  <a:pos x="csX2" y="csY2"/>
                </a:cxn>
                <a:cxn ang="0">
                  <a:pos x="csX3" y="csY3"/>
                </a:cxn>
                <a:cxn ang="0">
                  <a:pos x="csX4" y="csY4"/>
                </a:cxn>
              </a:cxnLst>
              <a:rect l="l" t="t" r="r" b="b"/>
              <a:pathLst>
                <a:path w="18983" h="12668">
                  <a:moveTo>
                    <a:pt x="-9157" y="-4746"/>
                  </a:moveTo>
                  <a:lnTo>
                    <a:pt x="9826" y="-4746"/>
                  </a:lnTo>
                  <a:lnTo>
                    <a:pt x="9826" y="7922"/>
                  </a:lnTo>
                  <a:lnTo>
                    <a:pt x="-9157" y="7922"/>
                  </a:lnTo>
                  <a:lnTo>
                    <a:pt x="-9157" y="-4746"/>
                  </a:lnTo>
                </a:path>
              </a:pathLst>
            </a:custGeom>
            <a:grpFill/>
            <a:ln w="548" cap="flat">
              <a:noFill/>
              <a:prstDash val="solid"/>
              <a:miter/>
            </a:ln>
          </p:spPr>
          <p:txBody>
            <a:bodyPr/>
            <a:lstStyle/>
            <a:p>
              <a:endParaRPr lang="en-US"/>
            </a:p>
          </p:txBody>
        </p:sp>
        <p:sp>
          <p:nvSpPr>
            <p:cNvPr id="391" name="Freeform: Shape 390">
              <a:extLst>
                <a:ext uri="{FF2B5EF4-FFF2-40B4-BE49-F238E27FC236}">
                  <a16:creationId xmlns:a16="http://schemas.microsoft.com/office/drawing/2014/main" id="{8DE9EEC9-B938-0993-30CA-007D99D615A3}"/>
                </a:ext>
              </a:extLst>
            </p:cNvPr>
            <p:cNvSpPr/>
            <p:nvPr/>
          </p:nvSpPr>
          <p:spPr>
            <a:xfrm flipV="1">
              <a:off x="24454328" y="4633073"/>
              <a:ext cx="18983" cy="12673"/>
            </a:xfrm>
            <a:custGeom>
              <a:avLst/>
              <a:gdLst>
                <a:gd name="csX0" fmla="*/ -9157 w 18983"/>
                <a:gd name="csY0" fmla="*/ -4673 h 12673"/>
                <a:gd name="csX1" fmla="*/ 9826 w 18983"/>
                <a:gd name="csY1" fmla="*/ -4673 h 12673"/>
                <a:gd name="csX2" fmla="*/ 9826 w 18983"/>
                <a:gd name="csY2" fmla="*/ 8000 h 12673"/>
                <a:gd name="csX3" fmla="*/ -9157 w 18983"/>
                <a:gd name="csY3" fmla="*/ 8000 h 12673"/>
                <a:gd name="csX4" fmla="*/ -9157 w 18983"/>
                <a:gd name="csY4" fmla="*/ -4673 h 12673"/>
              </a:gdLst>
              <a:ahLst/>
              <a:cxnLst>
                <a:cxn ang="0">
                  <a:pos x="csX0" y="csY0"/>
                </a:cxn>
                <a:cxn ang="0">
                  <a:pos x="csX1" y="csY1"/>
                </a:cxn>
                <a:cxn ang="0">
                  <a:pos x="csX2" y="csY2"/>
                </a:cxn>
                <a:cxn ang="0">
                  <a:pos x="csX3" y="csY3"/>
                </a:cxn>
                <a:cxn ang="0">
                  <a:pos x="csX4" y="csY4"/>
                </a:cxn>
              </a:cxnLst>
              <a:rect l="l" t="t" r="r" b="b"/>
              <a:pathLst>
                <a:path w="18983" h="12673">
                  <a:moveTo>
                    <a:pt x="-9157" y="-4673"/>
                  </a:moveTo>
                  <a:lnTo>
                    <a:pt x="9826" y="-4673"/>
                  </a:lnTo>
                  <a:lnTo>
                    <a:pt x="9826" y="8000"/>
                  </a:lnTo>
                  <a:lnTo>
                    <a:pt x="-9157" y="8000"/>
                  </a:lnTo>
                  <a:lnTo>
                    <a:pt x="-9157" y="-4673"/>
                  </a:lnTo>
                </a:path>
              </a:pathLst>
            </a:custGeom>
            <a:grpFill/>
            <a:ln w="548" cap="flat">
              <a:noFill/>
              <a:prstDash val="solid"/>
              <a:miter/>
            </a:ln>
          </p:spPr>
          <p:txBody>
            <a:bodyPr/>
            <a:lstStyle/>
            <a:p>
              <a:endParaRPr lang="en-US"/>
            </a:p>
          </p:txBody>
        </p:sp>
        <p:sp>
          <p:nvSpPr>
            <p:cNvPr id="392" name="Freeform: Shape 391">
              <a:extLst>
                <a:ext uri="{FF2B5EF4-FFF2-40B4-BE49-F238E27FC236}">
                  <a16:creationId xmlns:a16="http://schemas.microsoft.com/office/drawing/2014/main" id="{6E88FDF4-EA75-F5FF-5E45-C0D4443D6A81}"/>
                </a:ext>
              </a:extLst>
            </p:cNvPr>
            <p:cNvSpPr/>
            <p:nvPr/>
          </p:nvSpPr>
          <p:spPr>
            <a:xfrm flipV="1">
              <a:off x="24454328" y="4570654"/>
              <a:ext cx="18983" cy="14785"/>
            </a:xfrm>
            <a:custGeom>
              <a:avLst/>
              <a:gdLst>
                <a:gd name="csX0" fmla="*/ -9157 w 18983"/>
                <a:gd name="csY0" fmla="*/ -4821 h 14785"/>
                <a:gd name="csX1" fmla="*/ 9826 w 18983"/>
                <a:gd name="csY1" fmla="*/ -4821 h 14785"/>
                <a:gd name="csX2" fmla="*/ 9826 w 18983"/>
                <a:gd name="csY2" fmla="*/ 9965 h 14785"/>
                <a:gd name="csX3" fmla="*/ -9157 w 18983"/>
                <a:gd name="csY3" fmla="*/ 9965 h 14785"/>
                <a:gd name="csX4" fmla="*/ -9157 w 18983"/>
                <a:gd name="csY4" fmla="*/ -4821 h 14785"/>
              </a:gdLst>
              <a:ahLst/>
              <a:cxnLst>
                <a:cxn ang="0">
                  <a:pos x="csX0" y="csY0"/>
                </a:cxn>
                <a:cxn ang="0">
                  <a:pos x="csX1" y="csY1"/>
                </a:cxn>
                <a:cxn ang="0">
                  <a:pos x="csX2" y="csY2"/>
                </a:cxn>
                <a:cxn ang="0">
                  <a:pos x="csX3" y="csY3"/>
                </a:cxn>
                <a:cxn ang="0">
                  <a:pos x="csX4" y="csY4"/>
                </a:cxn>
              </a:cxnLst>
              <a:rect l="l" t="t" r="r" b="b"/>
              <a:pathLst>
                <a:path w="18983" h="14785">
                  <a:moveTo>
                    <a:pt x="-9157" y="-4821"/>
                  </a:moveTo>
                  <a:lnTo>
                    <a:pt x="9826" y="-4821"/>
                  </a:lnTo>
                  <a:lnTo>
                    <a:pt x="9826" y="9965"/>
                  </a:lnTo>
                  <a:lnTo>
                    <a:pt x="-9157" y="9965"/>
                  </a:lnTo>
                  <a:lnTo>
                    <a:pt x="-9157" y="-4821"/>
                  </a:lnTo>
                </a:path>
              </a:pathLst>
            </a:custGeom>
            <a:grpFill/>
            <a:ln w="548" cap="flat">
              <a:noFill/>
              <a:prstDash val="solid"/>
              <a:miter/>
            </a:ln>
          </p:spPr>
          <p:txBody>
            <a:bodyPr/>
            <a:lstStyle/>
            <a:p>
              <a:endParaRPr lang="en-US"/>
            </a:p>
          </p:txBody>
        </p:sp>
        <p:sp>
          <p:nvSpPr>
            <p:cNvPr id="393" name="Freeform: Shape 392">
              <a:extLst>
                <a:ext uri="{FF2B5EF4-FFF2-40B4-BE49-F238E27FC236}">
                  <a16:creationId xmlns:a16="http://schemas.microsoft.com/office/drawing/2014/main" id="{2AA78936-74B2-9C80-3F1E-F76E91E181DB}"/>
                </a:ext>
              </a:extLst>
            </p:cNvPr>
            <p:cNvSpPr/>
            <p:nvPr/>
          </p:nvSpPr>
          <p:spPr>
            <a:xfrm flipV="1">
              <a:off x="24454328" y="4648149"/>
              <a:ext cx="18983" cy="14774"/>
            </a:xfrm>
            <a:custGeom>
              <a:avLst/>
              <a:gdLst>
                <a:gd name="csX0" fmla="*/ -9157 w 18983"/>
                <a:gd name="csY0" fmla="*/ -4634 h 14774"/>
                <a:gd name="csX1" fmla="*/ 9826 w 18983"/>
                <a:gd name="csY1" fmla="*/ -4634 h 14774"/>
                <a:gd name="csX2" fmla="*/ 9826 w 18983"/>
                <a:gd name="csY2" fmla="*/ 10140 h 14774"/>
                <a:gd name="csX3" fmla="*/ -9157 w 18983"/>
                <a:gd name="csY3" fmla="*/ 10140 h 14774"/>
                <a:gd name="csX4" fmla="*/ -9157 w 18983"/>
                <a:gd name="csY4" fmla="*/ -4634 h 14774"/>
              </a:gdLst>
              <a:ahLst/>
              <a:cxnLst>
                <a:cxn ang="0">
                  <a:pos x="csX0" y="csY0"/>
                </a:cxn>
                <a:cxn ang="0">
                  <a:pos x="csX1" y="csY1"/>
                </a:cxn>
                <a:cxn ang="0">
                  <a:pos x="csX2" y="csY2"/>
                </a:cxn>
                <a:cxn ang="0">
                  <a:pos x="csX3" y="csY3"/>
                </a:cxn>
                <a:cxn ang="0">
                  <a:pos x="csX4" y="csY4"/>
                </a:cxn>
              </a:cxnLst>
              <a:rect l="l" t="t" r="r" b="b"/>
              <a:pathLst>
                <a:path w="18983" h="14774">
                  <a:moveTo>
                    <a:pt x="-9157" y="-4634"/>
                  </a:moveTo>
                  <a:lnTo>
                    <a:pt x="9826" y="-4634"/>
                  </a:lnTo>
                  <a:lnTo>
                    <a:pt x="9826" y="10140"/>
                  </a:lnTo>
                  <a:lnTo>
                    <a:pt x="-9157" y="10140"/>
                  </a:lnTo>
                  <a:lnTo>
                    <a:pt x="-9157" y="-4634"/>
                  </a:lnTo>
                </a:path>
              </a:pathLst>
            </a:custGeom>
            <a:grpFill/>
            <a:ln w="548" cap="flat">
              <a:noFill/>
              <a:prstDash val="solid"/>
              <a:miter/>
            </a:ln>
          </p:spPr>
          <p:txBody>
            <a:bodyPr/>
            <a:lstStyle/>
            <a:p>
              <a:endParaRPr lang="en-US"/>
            </a:p>
          </p:txBody>
        </p:sp>
        <p:sp>
          <p:nvSpPr>
            <p:cNvPr id="394" name="Freeform: Shape 393">
              <a:extLst>
                <a:ext uri="{FF2B5EF4-FFF2-40B4-BE49-F238E27FC236}">
                  <a16:creationId xmlns:a16="http://schemas.microsoft.com/office/drawing/2014/main" id="{E650909A-1136-05AF-D2B4-91E1B1F24F77}"/>
                </a:ext>
              </a:extLst>
            </p:cNvPr>
            <p:cNvSpPr/>
            <p:nvPr/>
          </p:nvSpPr>
          <p:spPr>
            <a:xfrm flipV="1">
              <a:off x="24397708" y="4394277"/>
              <a:ext cx="18982" cy="12070"/>
            </a:xfrm>
            <a:custGeom>
              <a:avLst/>
              <a:gdLst>
                <a:gd name="csX0" fmla="*/ 9896 w 18982"/>
                <a:gd name="csY0" fmla="*/ 6822 h 12070"/>
                <a:gd name="csX1" fmla="*/ -9087 w 18982"/>
                <a:gd name="csY1" fmla="*/ 6822 h 12070"/>
                <a:gd name="csX2" fmla="*/ -9087 w 18982"/>
                <a:gd name="csY2" fmla="*/ -5249 h 12070"/>
                <a:gd name="csX3" fmla="*/ 9896 w 18982"/>
                <a:gd name="csY3" fmla="*/ -5249 h 12070"/>
                <a:gd name="csX4" fmla="*/ 9896 w 18982"/>
                <a:gd name="csY4" fmla="*/ 6822 h 12070"/>
              </a:gdLst>
              <a:ahLst/>
              <a:cxnLst>
                <a:cxn ang="0">
                  <a:pos x="csX0" y="csY0"/>
                </a:cxn>
                <a:cxn ang="0">
                  <a:pos x="csX1" y="csY1"/>
                </a:cxn>
                <a:cxn ang="0">
                  <a:pos x="csX2" y="csY2"/>
                </a:cxn>
                <a:cxn ang="0">
                  <a:pos x="csX3" y="csY3"/>
                </a:cxn>
                <a:cxn ang="0">
                  <a:pos x="csX4" y="csY4"/>
                </a:cxn>
              </a:cxnLst>
              <a:rect l="l" t="t" r="r" b="b"/>
              <a:pathLst>
                <a:path w="18982" h="12070">
                  <a:moveTo>
                    <a:pt x="9896" y="6822"/>
                  </a:moveTo>
                  <a:lnTo>
                    <a:pt x="-9087" y="6822"/>
                  </a:lnTo>
                  <a:lnTo>
                    <a:pt x="-9087" y="-5249"/>
                  </a:lnTo>
                  <a:lnTo>
                    <a:pt x="9896" y="-5249"/>
                  </a:lnTo>
                  <a:lnTo>
                    <a:pt x="9896" y="6822"/>
                  </a:lnTo>
                </a:path>
              </a:pathLst>
            </a:custGeom>
            <a:grpFill/>
            <a:ln w="548" cap="flat">
              <a:noFill/>
              <a:prstDash val="solid"/>
              <a:miter/>
            </a:ln>
          </p:spPr>
          <p:txBody>
            <a:bodyPr/>
            <a:lstStyle/>
            <a:p>
              <a:endParaRPr lang="en-US"/>
            </a:p>
          </p:txBody>
        </p:sp>
        <p:sp>
          <p:nvSpPr>
            <p:cNvPr id="395" name="Freeform: Shape 394">
              <a:extLst>
                <a:ext uri="{FF2B5EF4-FFF2-40B4-BE49-F238E27FC236}">
                  <a16:creationId xmlns:a16="http://schemas.microsoft.com/office/drawing/2014/main" id="{956103F1-7681-F04E-590F-0735AD29BAE9}"/>
                </a:ext>
              </a:extLst>
            </p:cNvPr>
            <p:cNvSpPr/>
            <p:nvPr/>
          </p:nvSpPr>
          <p:spPr>
            <a:xfrm flipV="1">
              <a:off x="24397708" y="4408756"/>
              <a:ext cx="18982" cy="12081"/>
            </a:xfrm>
            <a:custGeom>
              <a:avLst/>
              <a:gdLst>
                <a:gd name="csX0" fmla="*/ -9087 w 18982"/>
                <a:gd name="csY0" fmla="*/ -5214 h 12081"/>
                <a:gd name="csX1" fmla="*/ 9896 w 18982"/>
                <a:gd name="csY1" fmla="*/ -5214 h 12081"/>
                <a:gd name="csX2" fmla="*/ 9896 w 18982"/>
                <a:gd name="csY2" fmla="*/ 6867 h 12081"/>
                <a:gd name="csX3" fmla="*/ -9087 w 18982"/>
                <a:gd name="csY3" fmla="*/ 6867 h 12081"/>
                <a:gd name="csX4" fmla="*/ -9087 w 18982"/>
                <a:gd name="csY4" fmla="*/ -5214 h 12081"/>
              </a:gdLst>
              <a:ahLst/>
              <a:cxnLst>
                <a:cxn ang="0">
                  <a:pos x="csX0" y="csY0"/>
                </a:cxn>
                <a:cxn ang="0">
                  <a:pos x="csX1" y="csY1"/>
                </a:cxn>
                <a:cxn ang="0">
                  <a:pos x="csX2" y="csY2"/>
                </a:cxn>
                <a:cxn ang="0">
                  <a:pos x="csX3" y="csY3"/>
                </a:cxn>
                <a:cxn ang="0">
                  <a:pos x="csX4" y="csY4"/>
                </a:cxn>
              </a:cxnLst>
              <a:rect l="l" t="t" r="r" b="b"/>
              <a:pathLst>
                <a:path w="18982" h="12081">
                  <a:moveTo>
                    <a:pt x="-9087" y="-5214"/>
                  </a:moveTo>
                  <a:lnTo>
                    <a:pt x="9896" y="-5214"/>
                  </a:lnTo>
                  <a:lnTo>
                    <a:pt x="9896" y="6867"/>
                  </a:lnTo>
                  <a:lnTo>
                    <a:pt x="-9087" y="6867"/>
                  </a:lnTo>
                  <a:lnTo>
                    <a:pt x="-9087" y="-5214"/>
                  </a:lnTo>
                </a:path>
              </a:pathLst>
            </a:custGeom>
            <a:grpFill/>
            <a:ln w="548" cap="flat">
              <a:noFill/>
              <a:prstDash val="solid"/>
              <a:miter/>
            </a:ln>
          </p:spPr>
          <p:txBody>
            <a:bodyPr/>
            <a:lstStyle/>
            <a:p>
              <a:endParaRPr lang="en-US"/>
            </a:p>
          </p:txBody>
        </p:sp>
        <p:sp>
          <p:nvSpPr>
            <p:cNvPr id="396" name="Freeform: Shape 395">
              <a:extLst>
                <a:ext uri="{FF2B5EF4-FFF2-40B4-BE49-F238E27FC236}">
                  <a16:creationId xmlns:a16="http://schemas.microsoft.com/office/drawing/2014/main" id="{BACC4F24-FB55-353A-CD48-E75B07F9FCB8}"/>
                </a:ext>
              </a:extLst>
            </p:cNvPr>
            <p:cNvSpPr/>
            <p:nvPr/>
          </p:nvSpPr>
          <p:spPr>
            <a:xfrm flipV="1">
              <a:off x="24397708" y="4453070"/>
              <a:ext cx="18982" cy="12075"/>
            </a:xfrm>
            <a:custGeom>
              <a:avLst/>
              <a:gdLst>
                <a:gd name="csX0" fmla="*/ -9087 w 18982"/>
                <a:gd name="csY0" fmla="*/ -5107 h 12075"/>
                <a:gd name="csX1" fmla="*/ 9896 w 18982"/>
                <a:gd name="csY1" fmla="*/ -5107 h 12075"/>
                <a:gd name="csX2" fmla="*/ 9896 w 18982"/>
                <a:gd name="csY2" fmla="*/ 6968 h 12075"/>
                <a:gd name="csX3" fmla="*/ -9087 w 18982"/>
                <a:gd name="csY3" fmla="*/ 6968 h 12075"/>
                <a:gd name="csX4" fmla="*/ -9087 w 18982"/>
                <a:gd name="csY4" fmla="*/ -5107 h 12075"/>
              </a:gdLst>
              <a:ahLst/>
              <a:cxnLst>
                <a:cxn ang="0">
                  <a:pos x="csX0" y="csY0"/>
                </a:cxn>
                <a:cxn ang="0">
                  <a:pos x="csX1" y="csY1"/>
                </a:cxn>
                <a:cxn ang="0">
                  <a:pos x="csX2" y="csY2"/>
                </a:cxn>
                <a:cxn ang="0">
                  <a:pos x="csX3" y="csY3"/>
                </a:cxn>
                <a:cxn ang="0">
                  <a:pos x="csX4" y="csY4"/>
                </a:cxn>
              </a:cxnLst>
              <a:rect l="l" t="t" r="r" b="b"/>
              <a:pathLst>
                <a:path w="18982" h="12075">
                  <a:moveTo>
                    <a:pt x="-9087" y="-5107"/>
                  </a:moveTo>
                  <a:lnTo>
                    <a:pt x="9896" y="-5107"/>
                  </a:lnTo>
                  <a:lnTo>
                    <a:pt x="9896" y="6968"/>
                  </a:lnTo>
                  <a:lnTo>
                    <a:pt x="-9087" y="6968"/>
                  </a:lnTo>
                  <a:lnTo>
                    <a:pt x="-9087" y="-5107"/>
                  </a:lnTo>
                </a:path>
              </a:pathLst>
            </a:custGeom>
            <a:grpFill/>
            <a:ln w="548" cap="flat">
              <a:noFill/>
              <a:prstDash val="solid"/>
              <a:miter/>
            </a:ln>
          </p:spPr>
          <p:txBody>
            <a:bodyPr/>
            <a:lstStyle/>
            <a:p>
              <a:endParaRPr lang="en-US"/>
            </a:p>
          </p:txBody>
        </p:sp>
        <p:sp>
          <p:nvSpPr>
            <p:cNvPr id="397" name="Freeform: Shape 396">
              <a:extLst>
                <a:ext uri="{FF2B5EF4-FFF2-40B4-BE49-F238E27FC236}">
                  <a16:creationId xmlns:a16="http://schemas.microsoft.com/office/drawing/2014/main" id="{53B7F9AC-95C7-515D-7B1D-59BAF3818872}"/>
                </a:ext>
              </a:extLst>
            </p:cNvPr>
            <p:cNvSpPr/>
            <p:nvPr/>
          </p:nvSpPr>
          <p:spPr>
            <a:xfrm flipV="1">
              <a:off x="24397708" y="4467548"/>
              <a:ext cx="18982" cy="12081"/>
            </a:xfrm>
            <a:custGeom>
              <a:avLst/>
              <a:gdLst>
                <a:gd name="csX0" fmla="*/ -9087 w 18982"/>
                <a:gd name="csY0" fmla="*/ -5072 h 12081"/>
                <a:gd name="csX1" fmla="*/ 9896 w 18982"/>
                <a:gd name="csY1" fmla="*/ -5072 h 12081"/>
                <a:gd name="csX2" fmla="*/ 9896 w 18982"/>
                <a:gd name="csY2" fmla="*/ 7009 h 12081"/>
                <a:gd name="csX3" fmla="*/ -9087 w 18982"/>
                <a:gd name="csY3" fmla="*/ 7009 h 12081"/>
                <a:gd name="csX4" fmla="*/ -9087 w 18982"/>
                <a:gd name="csY4" fmla="*/ -5072 h 12081"/>
              </a:gdLst>
              <a:ahLst/>
              <a:cxnLst>
                <a:cxn ang="0">
                  <a:pos x="csX0" y="csY0"/>
                </a:cxn>
                <a:cxn ang="0">
                  <a:pos x="csX1" y="csY1"/>
                </a:cxn>
                <a:cxn ang="0">
                  <a:pos x="csX2" y="csY2"/>
                </a:cxn>
                <a:cxn ang="0">
                  <a:pos x="csX3" y="csY3"/>
                </a:cxn>
                <a:cxn ang="0">
                  <a:pos x="csX4" y="csY4"/>
                </a:cxn>
              </a:cxnLst>
              <a:rect l="l" t="t" r="r" b="b"/>
              <a:pathLst>
                <a:path w="18982" h="12081">
                  <a:moveTo>
                    <a:pt x="-9087" y="-5072"/>
                  </a:moveTo>
                  <a:lnTo>
                    <a:pt x="9896" y="-5072"/>
                  </a:lnTo>
                  <a:lnTo>
                    <a:pt x="9896" y="7009"/>
                  </a:lnTo>
                  <a:lnTo>
                    <a:pt x="-9087" y="7009"/>
                  </a:lnTo>
                  <a:lnTo>
                    <a:pt x="-9087" y="-5072"/>
                  </a:lnTo>
                </a:path>
              </a:pathLst>
            </a:custGeom>
            <a:grpFill/>
            <a:ln w="548" cap="flat">
              <a:noFill/>
              <a:prstDash val="solid"/>
              <a:miter/>
            </a:ln>
          </p:spPr>
          <p:txBody>
            <a:bodyPr/>
            <a:lstStyle/>
            <a:p>
              <a:endParaRPr lang="en-US"/>
            </a:p>
          </p:txBody>
        </p:sp>
        <p:sp>
          <p:nvSpPr>
            <p:cNvPr id="398" name="Freeform: Shape 397">
              <a:extLst>
                <a:ext uri="{FF2B5EF4-FFF2-40B4-BE49-F238E27FC236}">
                  <a16:creationId xmlns:a16="http://schemas.microsoft.com/office/drawing/2014/main" id="{9C2E5629-8ECB-7C49-7FA8-39C634A1C773}"/>
                </a:ext>
              </a:extLst>
            </p:cNvPr>
            <p:cNvSpPr/>
            <p:nvPr/>
          </p:nvSpPr>
          <p:spPr>
            <a:xfrm flipV="1">
              <a:off x="24397708" y="4511862"/>
              <a:ext cx="18982" cy="12075"/>
            </a:xfrm>
            <a:custGeom>
              <a:avLst/>
              <a:gdLst>
                <a:gd name="csX0" fmla="*/ -9087 w 18982"/>
                <a:gd name="csY0" fmla="*/ -4966 h 12075"/>
                <a:gd name="csX1" fmla="*/ 9896 w 18982"/>
                <a:gd name="csY1" fmla="*/ -4966 h 12075"/>
                <a:gd name="csX2" fmla="*/ 9896 w 18982"/>
                <a:gd name="csY2" fmla="*/ 7110 h 12075"/>
                <a:gd name="csX3" fmla="*/ -9087 w 18982"/>
                <a:gd name="csY3" fmla="*/ 7110 h 12075"/>
                <a:gd name="csX4" fmla="*/ -9087 w 18982"/>
                <a:gd name="csY4" fmla="*/ -4966 h 12075"/>
              </a:gdLst>
              <a:ahLst/>
              <a:cxnLst>
                <a:cxn ang="0">
                  <a:pos x="csX0" y="csY0"/>
                </a:cxn>
                <a:cxn ang="0">
                  <a:pos x="csX1" y="csY1"/>
                </a:cxn>
                <a:cxn ang="0">
                  <a:pos x="csX2" y="csY2"/>
                </a:cxn>
                <a:cxn ang="0">
                  <a:pos x="csX3" y="csY3"/>
                </a:cxn>
                <a:cxn ang="0">
                  <a:pos x="csX4" y="csY4"/>
                </a:cxn>
              </a:cxnLst>
              <a:rect l="l" t="t" r="r" b="b"/>
              <a:pathLst>
                <a:path w="18982" h="12075">
                  <a:moveTo>
                    <a:pt x="-9087" y="-4966"/>
                  </a:moveTo>
                  <a:lnTo>
                    <a:pt x="9896" y="-4966"/>
                  </a:lnTo>
                  <a:lnTo>
                    <a:pt x="9896" y="7110"/>
                  </a:lnTo>
                  <a:lnTo>
                    <a:pt x="-9087" y="7110"/>
                  </a:lnTo>
                  <a:lnTo>
                    <a:pt x="-9087" y="-4966"/>
                  </a:lnTo>
                </a:path>
              </a:pathLst>
            </a:custGeom>
            <a:grpFill/>
            <a:ln w="548" cap="flat">
              <a:noFill/>
              <a:prstDash val="solid"/>
              <a:miter/>
            </a:ln>
          </p:spPr>
          <p:txBody>
            <a:bodyPr/>
            <a:lstStyle/>
            <a:p>
              <a:endParaRPr lang="en-US"/>
            </a:p>
          </p:txBody>
        </p:sp>
        <p:sp>
          <p:nvSpPr>
            <p:cNvPr id="399" name="Freeform: Shape 398">
              <a:extLst>
                <a:ext uri="{FF2B5EF4-FFF2-40B4-BE49-F238E27FC236}">
                  <a16:creationId xmlns:a16="http://schemas.microsoft.com/office/drawing/2014/main" id="{C02FCE95-60FC-965C-B3D9-AB6FF4830F2F}"/>
                </a:ext>
              </a:extLst>
            </p:cNvPr>
            <p:cNvSpPr/>
            <p:nvPr/>
          </p:nvSpPr>
          <p:spPr>
            <a:xfrm flipV="1">
              <a:off x="24397708" y="4526340"/>
              <a:ext cx="18982" cy="12081"/>
            </a:xfrm>
            <a:custGeom>
              <a:avLst/>
              <a:gdLst>
                <a:gd name="csX0" fmla="*/ -9087 w 18982"/>
                <a:gd name="csY0" fmla="*/ -4931 h 12081"/>
                <a:gd name="csX1" fmla="*/ 9896 w 18982"/>
                <a:gd name="csY1" fmla="*/ -4931 h 12081"/>
                <a:gd name="csX2" fmla="*/ 9896 w 18982"/>
                <a:gd name="csY2" fmla="*/ 7150 h 12081"/>
                <a:gd name="csX3" fmla="*/ -9087 w 18982"/>
                <a:gd name="csY3" fmla="*/ 7150 h 12081"/>
                <a:gd name="csX4" fmla="*/ -9087 w 18982"/>
                <a:gd name="csY4" fmla="*/ -4931 h 12081"/>
              </a:gdLst>
              <a:ahLst/>
              <a:cxnLst>
                <a:cxn ang="0">
                  <a:pos x="csX0" y="csY0"/>
                </a:cxn>
                <a:cxn ang="0">
                  <a:pos x="csX1" y="csY1"/>
                </a:cxn>
                <a:cxn ang="0">
                  <a:pos x="csX2" y="csY2"/>
                </a:cxn>
                <a:cxn ang="0">
                  <a:pos x="csX3" y="csY3"/>
                </a:cxn>
                <a:cxn ang="0">
                  <a:pos x="csX4" y="csY4"/>
                </a:cxn>
              </a:cxnLst>
              <a:rect l="l" t="t" r="r" b="b"/>
              <a:pathLst>
                <a:path w="18982" h="12081">
                  <a:moveTo>
                    <a:pt x="-9087" y="-4931"/>
                  </a:moveTo>
                  <a:lnTo>
                    <a:pt x="9896" y="-4931"/>
                  </a:lnTo>
                  <a:lnTo>
                    <a:pt x="9896" y="7150"/>
                  </a:lnTo>
                  <a:lnTo>
                    <a:pt x="-9087" y="7150"/>
                  </a:lnTo>
                  <a:lnTo>
                    <a:pt x="-9087" y="-4931"/>
                  </a:lnTo>
                </a:path>
              </a:pathLst>
            </a:custGeom>
            <a:grpFill/>
            <a:ln w="548" cap="flat">
              <a:noFill/>
              <a:prstDash val="solid"/>
              <a:miter/>
            </a:ln>
          </p:spPr>
          <p:txBody>
            <a:bodyPr/>
            <a:lstStyle/>
            <a:p>
              <a:endParaRPr lang="en-US"/>
            </a:p>
          </p:txBody>
        </p:sp>
        <p:sp>
          <p:nvSpPr>
            <p:cNvPr id="400" name="Freeform: Shape 399">
              <a:extLst>
                <a:ext uri="{FF2B5EF4-FFF2-40B4-BE49-F238E27FC236}">
                  <a16:creationId xmlns:a16="http://schemas.microsoft.com/office/drawing/2014/main" id="{AD4EB64C-8A22-7C96-6201-FA77D8965D34}"/>
                </a:ext>
              </a:extLst>
            </p:cNvPr>
            <p:cNvSpPr/>
            <p:nvPr/>
          </p:nvSpPr>
          <p:spPr>
            <a:xfrm flipV="1">
              <a:off x="24397708" y="4686582"/>
              <a:ext cx="18982" cy="12081"/>
            </a:xfrm>
            <a:custGeom>
              <a:avLst/>
              <a:gdLst>
                <a:gd name="csX0" fmla="*/ -9087 w 18982"/>
                <a:gd name="csY0" fmla="*/ -4545 h 12081"/>
                <a:gd name="csX1" fmla="*/ 9896 w 18982"/>
                <a:gd name="csY1" fmla="*/ -4545 h 12081"/>
                <a:gd name="csX2" fmla="*/ 9896 w 18982"/>
                <a:gd name="csY2" fmla="*/ 7536 h 12081"/>
                <a:gd name="csX3" fmla="*/ -9087 w 18982"/>
                <a:gd name="csY3" fmla="*/ 7536 h 12081"/>
                <a:gd name="csX4" fmla="*/ -9087 w 18982"/>
                <a:gd name="csY4" fmla="*/ -4545 h 12081"/>
              </a:gdLst>
              <a:ahLst/>
              <a:cxnLst>
                <a:cxn ang="0">
                  <a:pos x="csX0" y="csY0"/>
                </a:cxn>
                <a:cxn ang="0">
                  <a:pos x="csX1" y="csY1"/>
                </a:cxn>
                <a:cxn ang="0">
                  <a:pos x="csX2" y="csY2"/>
                </a:cxn>
                <a:cxn ang="0">
                  <a:pos x="csX3" y="csY3"/>
                </a:cxn>
                <a:cxn ang="0">
                  <a:pos x="csX4" y="csY4"/>
                </a:cxn>
              </a:cxnLst>
              <a:rect l="l" t="t" r="r" b="b"/>
              <a:pathLst>
                <a:path w="18982" h="12081">
                  <a:moveTo>
                    <a:pt x="-9087" y="-4545"/>
                  </a:moveTo>
                  <a:lnTo>
                    <a:pt x="9896" y="-4545"/>
                  </a:lnTo>
                  <a:lnTo>
                    <a:pt x="9896" y="7536"/>
                  </a:lnTo>
                  <a:lnTo>
                    <a:pt x="-9087" y="7536"/>
                  </a:lnTo>
                  <a:lnTo>
                    <a:pt x="-9087" y="-4545"/>
                  </a:lnTo>
                </a:path>
              </a:pathLst>
            </a:custGeom>
            <a:grpFill/>
            <a:ln w="548" cap="flat">
              <a:noFill/>
              <a:prstDash val="solid"/>
              <a:miter/>
            </a:ln>
          </p:spPr>
          <p:txBody>
            <a:bodyPr/>
            <a:lstStyle/>
            <a:p>
              <a:endParaRPr lang="en-US"/>
            </a:p>
          </p:txBody>
        </p:sp>
        <p:sp>
          <p:nvSpPr>
            <p:cNvPr id="401" name="Freeform: Shape 400">
              <a:extLst>
                <a:ext uri="{FF2B5EF4-FFF2-40B4-BE49-F238E27FC236}">
                  <a16:creationId xmlns:a16="http://schemas.microsoft.com/office/drawing/2014/main" id="{973BA725-198F-70E1-4CFA-A211E3C8DD12}"/>
                </a:ext>
              </a:extLst>
            </p:cNvPr>
            <p:cNvSpPr/>
            <p:nvPr/>
          </p:nvSpPr>
          <p:spPr>
            <a:xfrm flipV="1">
              <a:off x="24397708" y="4701066"/>
              <a:ext cx="18982" cy="12075"/>
            </a:xfrm>
            <a:custGeom>
              <a:avLst/>
              <a:gdLst>
                <a:gd name="csX0" fmla="*/ -9087 w 18982"/>
                <a:gd name="csY0" fmla="*/ -4510 h 12075"/>
                <a:gd name="csX1" fmla="*/ 9896 w 18982"/>
                <a:gd name="csY1" fmla="*/ -4510 h 12075"/>
                <a:gd name="csX2" fmla="*/ 9896 w 18982"/>
                <a:gd name="csY2" fmla="*/ 7565 h 12075"/>
                <a:gd name="csX3" fmla="*/ -9087 w 18982"/>
                <a:gd name="csY3" fmla="*/ 7565 h 12075"/>
                <a:gd name="csX4" fmla="*/ -9087 w 18982"/>
                <a:gd name="csY4" fmla="*/ -4510 h 12075"/>
              </a:gdLst>
              <a:ahLst/>
              <a:cxnLst>
                <a:cxn ang="0">
                  <a:pos x="csX0" y="csY0"/>
                </a:cxn>
                <a:cxn ang="0">
                  <a:pos x="csX1" y="csY1"/>
                </a:cxn>
                <a:cxn ang="0">
                  <a:pos x="csX2" y="csY2"/>
                </a:cxn>
                <a:cxn ang="0">
                  <a:pos x="csX3" y="csY3"/>
                </a:cxn>
                <a:cxn ang="0">
                  <a:pos x="csX4" y="csY4"/>
                </a:cxn>
              </a:cxnLst>
              <a:rect l="l" t="t" r="r" b="b"/>
              <a:pathLst>
                <a:path w="18982" h="12075">
                  <a:moveTo>
                    <a:pt x="-9087" y="-4510"/>
                  </a:moveTo>
                  <a:lnTo>
                    <a:pt x="9896" y="-4510"/>
                  </a:lnTo>
                  <a:lnTo>
                    <a:pt x="9896" y="7565"/>
                  </a:lnTo>
                  <a:lnTo>
                    <a:pt x="-9087" y="7565"/>
                  </a:lnTo>
                  <a:lnTo>
                    <a:pt x="-9087" y="-4510"/>
                  </a:lnTo>
                </a:path>
              </a:pathLst>
            </a:custGeom>
            <a:grpFill/>
            <a:ln w="548" cap="flat">
              <a:noFill/>
              <a:prstDash val="solid"/>
              <a:miter/>
            </a:ln>
          </p:spPr>
          <p:txBody>
            <a:bodyPr/>
            <a:lstStyle/>
            <a:p>
              <a:endParaRPr lang="en-US"/>
            </a:p>
          </p:txBody>
        </p:sp>
        <p:sp>
          <p:nvSpPr>
            <p:cNvPr id="402" name="Freeform: Shape 401">
              <a:extLst>
                <a:ext uri="{FF2B5EF4-FFF2-40B4-BE49-F238E27FC236}">
                  <a16:creationId xmlns:a16="http://schemas.microsoft.com/office/drawing/2014/main" id="{F67B6EFF-AA00-4DCC-ED5B-8E55D5D19F87}"/>
                </a:ext>
              </a:extLst>
            </p:cNvPr>
            <p:cNvSpPr/>
            <p:nvPr/>
          </p:nvSpPr>
          <p:spPr>
            <a:xfrm flipV="1">
              <a:off x="24397708" y="4587848"/>
              <a:ext cx="18982" cy="12668"/>
            </a:xfrm>
            <a:custGeom>
              <a:avLst/>
              <a:gdLst>
                <a:gd name="csX0" fmla="*/ -9087 w 18982"/>
                <a:gd name="csY0" fmla="*/ -4782 h 12668"/>
                <a:gd name="csX1" fmla="*/ 9896 w 18982"/>
                <a:gd name="csY1" fmla="*/ -4782 h 12668"/>
                <a:gd name="csX2" fmla="*/ 9896 w 18982"/>
                <a:gd name="csY2" fmla="*/ 7886 h 12668"/>
                <a:gd name="csX3" fmla="*/ -9087 w 18982"/>
                <a:gd name="csY3" fmla="*/ 7886 h 12668"/>
                <a:gd name="csX4" fmla="*/ -9087 w 18982"/>
                <a:gd name="csY4" fmla="*/ -4782 h 12668"/>
              </a:gdLst>
              <a:ahLst/>
              <a:cxnLst>
                <a:cxn ang="0">
                  <a:pos x="csX0" y="csY0"/>
                </a:cxn>
                <a:cxn ang="0">
                  <a:pos x="csX1" y="csY1"/>
                </a:cxn>
                <a:cxn ang="0">
                  <a:pos x="csX2" y="csY2"/>
                </a:cxn>
                <a:cxn ang="0">
                  <a:pos x="csX3" y="csY3"/>
                </a:cxn>
                <a:cxn ang="0">
                  <a:pos x="csX4" y="csY4"/>
                </a:cxn>
              </a:cxnLst>
              <a:rect l="l" t="t" r="r" b="b"/>
              <a:pathLst>
                <a:path w="18982" h="12668">
                  <a:moveTo>
                    <a:pt x="-9087" y="-4782"/>
                  </a:moveTo>
                  <a:lnTo>
                    <a:pt x="9896" y="-4782"/>
                  </a:lnTo>
                  <a:lnTo>
                    <a:pt x="9896" y="7886"/>
                  </a:lnTo>
                  <a:lnTo>
                    <a:pt x="-9087" y="7886"/>
                  </a:lnTo>
                  <a:lnTo>
                    <a:pt x="-9087" y="-4782"/>
                  </a:lnTo>
                </a:path>
              </a:pathLst>
            </a:custGeom>
            <a:grpFill/>
            <a:ln w="548" cap="flat">
              <a:noFill/>
              <a:prstDash val="solid"/>
              <a:miter/>
            </a:ln>
          </p:spPr>
          <p:txBody>
            <a:bodyPr/>
            <a:lstStyle/>
            <a:p>
              <a:endParaRPr lang="en-US"/>
            </a:p>
          </p:txBody>
        </p:sp>
        <p:sp>
          <p:nvSpPr>
            <p:cNvPr id="403" name="Freeform: Shape 402">
              <a:extLst>
                <a:ext uri="{FF2B5EF4-FFF2-40B4-BE49-F238E27FC236}">
                  <a16:creationId xmlns:a16="http://schemas.microsoft.com/office/drawing/2014/main" id="{1578DD62-EC1A-EA7B-2A6B-474204A6BD06}"/>
                </a:ext>
              </a:extLst>
            </p:cNvPr>
            <p:cNvSpPr/>
            <p:nvPr/>
          </p:nvSpPr>
          <p:spPr>
            <a:xfrm flipV="1">
              <a:off x="24397708" y="4618002"/>
              <a:ext cx="18982" cy="12668"/>
            </a:xfrm>
            <a:custGeom>
              <a:avLst/>
              <a:gdLst>
                <a:gd name="csX0" fmla="*/ -9087 w 18982"/>
                <a:gd name="csY0" fmla="*/ -4710 h 12668"/>
                <a:gd name="csX1" fmla="*/ 9896 w 18982"/>
                <a:gd name="csY1" fmla="*/ -4710 h 12668"/>
                <a:gd name="csX2" fmla="*/ 9896 w 18982"/>
                <a:gd name="csY2" fmla="*/ 7959 h 12668"/>
                <a:gd name="csX3" fmla="*/ -9087 w 18982"/>
                <a:gd name="csY3" fmla="*/ 7959 h 12668"/>
                <a:gd name="csX4" fmla="*/ -9087 w 18982"/>
                <a:gd name="csY4" fmla="*/ -4710 h 12668"/>
              </a:gdLst>
              <a:ahLst/>
              <a:cxnLst>
                <a:cxn ang="0">
                  <a:pos x="csX0" y="csY0"/>
                </a:cxn>
                <a:cxn ang="0">
                  <a:pos x="csX1" y="csY1"/>
                </a:cxn>
                <a:cxn ang="0">
                  <a:pos x="csX2" y="csY2"/>
                </a:cxn>
                <a:cxn ang="0">
                  <a:pos x="csX3" y="csY3"/>
                </a:cxn>
                <a:cxn ang="0">
                  <a:pos x="csX4" y="csY4"/>
                </a:cxn>
              </a:cxnLst>
              <a:rect l="l" t="t" r="r" b="b"/>
              <a:pathLst>
                <a:path w="18982" h="12668">
                  <a:moveTo>
                    <a:pt x="-9087" y="-4710"/>
                  </a:moveTo>
                  <a:lnTo>
                    <a:pt x="9896" y="-4710"/>
                  </a:lnTo>
                  <a:lnTo>
                    <a:pt x="9896" y="7959"/>
                  </a:lnTo>
                  <a:lnTo>
                    <a:pt x="-9087" y="7959"/>
                  </a:lnTo>
                  <a:lnTo>
                    <a:pt x="-9087" y="-4710"/>
                  </a:lnTo>
                </a:path>
              </a:pathLst>
            </a:custGeom>
            <a:grpFill/>
            <a:ln w="548" cap="flat">
              <a:noFill/>
              <a:prstDash val="solid"/>
              <a:miter/>
            </a:ln>
          </p:spPr>
          <p:txBody>
            <a:bodyPr/>
            <a:lstStyle/>
            <a:p>
              <a:endParaRPr lang="en-US"/>
            </a:p>
          </p:txBody>
        </p:sp>
        <p:sp>
          <p:nvSpPr>
            <p:cNvPr id="404" name="Freeform: Shape 403">
              <a:extLst>
                <a:ext uri="{FF2B5EF4-FFF2-40B4-BE49-F238E27FC236}">
                  <a16:creationId xmlns:a16="http://schemas.microsoft.com/office/drawing/2014/main" id="{F5B860D3-3700-126B-2C6B-A1AE6198FCF1}"/>
                </a:ext>
              </a:extLst>
            </p:cNvPr>
            <p:cNvSpPr/>
            <p:nvPr/>
          </p:nvSpPr>
          <p:spPr>
            <a:xfrm flipV="1">
              <a:off x="24397708" y="4602925"/>
              <a:ext cx="18982" cy="12668"/>
            </a:xfrm>
            <a:custGeom>
              <a:avLst/>
              <a:gdLst>
                <a:gd name="csX0" fmla="*/ -9087 w 18982"/>
                <a:gd name="csY0" fmla="*/ -4746 h 12668"/>
                <a:gd name="csX1" fmla="*/ 9896 w 18982"/>
                <a:gd name="csY1" fmla="*/ -4746 h 12668"/>
                <a:gd name="csX2" fmla="*/ 9896 w 18982"/>
                <a:gd name="csY2" fmla="*/ 7922 h 12668"/>
                <a:gd name="csX3" fmla="*/ -9087 w 18982"/>
                <a:gd name="csY3" fmla="*/ 7922 h 12668"/>
                <a:gd name="csX4" fmla="*/ -9087 w 18982"/>
                <a:gd name="csY4" fmla="*/ -4746 h 12668"/>
              </a:gdLst>
              <a:ahLst/>
              <a:cxnLst>
                <a:cxn ang="0">
                  <a:pos x="csX0" y="csY0"/>
                </a:cxn>
                <a:cxn ang="0">
                  <a:pos x="csX1" y="csY1"/>
                </a:cxn>
                <a:cxn ang="0">
                  <a:pos x="csX2" y="csY2"/>
                </a:cxn>
                <a:cxn ang="0">
                  <a:pos x="csX3" y="csY3"/>
                </a:cxn>
                <a:cxn ang="0">
                  <a:pos x="csX4" y="csY4"/>
                </a:cxn>
              </a:cxnLst>
              <a:rect l="l" t="t" r="r" b="b"/>
              <a:pathLst>
                <a:path w="18982" h="12668">
                  <a:moveTo>
                    <a:pt x="-9087" y="-4746"/>
                  </a:moveTo>
                  <a:lnTo>
                    <a:pt x="9896" y="-4746"/>
                  </a:lnTo>
                  <a:lnTo>
                    <a:pt x="9896" y="7922"/>
                  </a:lnTo>
                  <a:lnTo>
                    <a:pt x="-9087" y="7922"/>
                  </a:lnTo>
                  <a:lnTo>
                    <a:pt x="-9087" y="-4746"/>
                  </a:lnTo>
                </a:path>
              </a:pathLst>
            </a:custGeom>
            <a:grpFill/>
            <a:ln w="548" cap="flat">
              <a:noFill/>
              <a:prstDash val="solid"/>
              <a:miter/>
            </a:ln>
          </p:spPr>
          <p:txBody>
            <a:bodyPr/>
            <a:lstStyle/>
            <a:p>
              <a:endParaRPr lang="en-US"/>
            </a:p>
          </p:txBody>
        </p:sp>
        <p:sp>
          <p:nvSpPr>
            <p:cNvPr id="405" name="Freeform: Shape 404">
              <a:extLst>
                <a:ext uri="{FF2B5EF4-FFF2-40B4-BE49-F238E27FC236}">
                  <a16:creationId xmlns:a16="http://schemas.microsoft.com/office/drawing/2014/main" id="{125B822C-8443-6A41-ABE3-D90C2938D05E}"/>
                </a:ext>
              </a:extLst>
            </p:cNvPr>
            <p:cNvSpPr/>
            <p:nvPr/>
          </p:nvSpPr>
          <p:spPr>
            <a:xfrm flipV="1">
              <a:off x="24397708" y="4633073"/>
              <a:ext cx="18982" cy="12673"/>
            </a:xfrm>
            <a:custGeom>
              <a:avLst/>
              <a:gdLst>
                <a:gd name="csX0" fmla="*/ -9087 w 18982"/>
                <a:gd name="csY0" fmla="*/ -4673 h 12673"/>
                <a:gd name="csX1" fmla="*/ 9896 w 18982"/>
                <a:gd name="csY1" fmla="*/ -4673 h 12673"/>
                <a:gd name="csX2" fmla="*/ 9896 w 18982"/>
                <a:gd name="csY2" fmla="*/ 8000 h 12673"/>
                <a:gd name="csX3" fmla="*/ -9087 w 18982"/>
                <a:gd name="csY3" fmla="*/ 8000 h 12673"/>
                <a:gd name="csX4" fmla="*/ -9087 w 18982"/>
                <a:gd name="csY4" fmla="*/ -4673 h 12673"/>
              </a:gdLst>
              <a:ahLst/>
              <a:cxnLst>
                <a:cxn ang="0">
                  <a:pos x="csX0" y="csY0"/>
                </a:cxn>
                <a:cxn ang="0">
                  <a:pos x="csX1" y="csY1"/>
                </a:cxn>
                <a:cxn ang="0">
                  <a:pos x="csX2" y="csY2"/>
                </a:cxn>
                <a:cxn ang="0">
                  <a:pos x="csX3" y="csY3"/>
                </a:cxn>
                <a:cxn ang="0">
                  <a:pos x="csX4" y="csY4"/>
                </a:cxn>
              </a:cxnLst>
              <a:rect l="l" t="t" r="r" b="b"/>
              <a:pathLst>
                <a:path w="18982" h="12673">
                  <a:moveTo>
                    <a:pt x="-9087" y="-4673"/>
                  </a:moveTo>
                  <a:lnTo>
                    <a:pt x="9896" y="-4673"/>
                  </a:lnTo>
                  <a:lnTo>
                    <a:pt x="9896" y="8000"/>
                  </a:lnTo>
                  <a:lnTo>
                    <a:pt x="-9087" y="8000"/>
                  </a:lnTo>
                  <a:lnTo>
                    <a:pt x="-9087" y="-4673"/>
                  </a:lnTo>
                </a:path>
              </a:pathLst>
            </a:custGeom>
            <a:grpFill/>
            <a:ln w="548" cap="flat">
              <a:noFill/>
              <a:prstDash val="solid"/>
              <a:miter/>
            </a:ln>
          </p:spPr>
          <p:txBody>
            <a:bodyPr/>
            <a:lstStyle/>
            <a:p>
              <a:endParaRPr lang="en-US"/>
            </a:p>
          </p:txBody>
        </p:sp>
        <p:sp>
          <p:nvSpPr>
            <p:cNvPr id="406" name="Freeform: Shape 405">
              <a:extLst>
                <a:ext uri="{FF2B5EF4-FFF2-40B4-BE49-F238E27FC236}">
                  <a16:creationId xmlns:a16="http://schemas.microsoft.com/office/drawing/2014/main" id="{F2F0BEA7-7BC7-0A5A-BAFF-0D4BCBEBFDB3}"/>
                </a:ext>
              </a:extLst>
            </p:cNvPr>
            <p:cNvSpPr/>
            <p:nvPr/>
          </p:nvSpPr>
          <p:spPr>
            <a:xfrm flipV="1">
              <a:off x="24397708" y="4570654"/>
              <a:ext cx="18982" cy="14785"/>
            </a:xfrm>
            <a:custGeom>
              <a:avLst/>
              <a:gdLst>
                <a:gd name="csX0" fmla="*/ -9087 w 18982"/>
                <a:gd name="csY0" fmla="*/ -4821 h 14785"/>
                <a:gd name="csX1" fmla="*/ 9896 w 18982"/>
                <a:gd name="csY1" fmla="*/ -4821 h 14785"/>
                <a:gd name="csX2" fmla="*/ 9896 w 18982"/>
                <a:gd name="csY2" fmla="*/ 9965 h 14785"/>
                <a:gd name="csX3" fmla="*/ -9087 w 18982"/>
                <a:gd name="csY3" fmla="*/ 9965 h 14785"/>
                <a:gd name="csX4" fmla="*/ -9087 w 18982"/>
                <a:gd name="csY4" fmla="*/ -4821 h 14785"/>
              </a:gdLst>
              <a:ahLst/>
              <a:cxnLst>
                <a:cxn ang="0">
                  <a:pos x="csX0" y="csY0"/>
                </a:cxn>
                <a:cxn ang="0">
                  <a:pos x="csX1" y="csY1"/>
                </a:cxn>
                <a:cxn ang="0">
                  <a:pos x="csX2" y="csY2"/>
                </a:cxn>
                <a:cxn ang="0">
                  <a:pos x="csX3" y="csY3"/>
                </a:cxn>
                <a:cxn ang="0">
                  <a:pos x="csX4" y="csY4"/>
                </a:cxn>
              </a:cxnLst>
              <a:rect l="l" t="t" r="r" b="b"/>
              <a:pathLst>
                <a:path w="18982" h="14785">
                  <a:moveTo>
                    <a:pt x="-9087" y="-4821"/>
                  </a:moveTo>
                  <a:lnTo>
                    <a:pt x="9896" y="-4821"/>
                  </a:lnTo>
                  <a:lnTo>
                    <a:pt x="9896" y="9965"/>
                  </a:lnTo>
                  <a:lnTo>
                    <a:pt x="-9087" y="9965"/>
                  </a:lnTo>
                  <a:lnTo>
                    <a:pt x="-9087" y="-4821"/>
                  </a:lnTo>
                </a:path>
              </a:pathLst>
            </a:custGeom>
            <a:grpFill/>
            <a:ln w="548" cap="flat">
              <a:noFill/>
              <a:prstDash val="solid"/>
              <a:miter/>
            </a:ln>
          </p:spPr>
          <p:txBody>
            <a:bodyPr/>
            <a:lstStyle/>
            <a:p>
              <a:endParaRPr lang="en-US"/>
            </a:p>
          </p:txBody>
        </p:sp>
        <p:sp>
          <p:nvSpPr>
            <p:cNvPr id="407" name="Freeform: Shape 406">
              <a:extLst>
                <a:ext uri="{FF2B5EF4-FFF2-40B4-BE49-F238E27FC236}">
                  <a16:creationId xmlns:a16="http://schemas.microsoft.com/office/drawing/2014/main" id="{1FD7B9CF-4710-7135-2529-0CA6AD6FB503}"/>
                </a:ext>
              </a:extLst>
            </p:cNvPr>
            <p:cNvSpPr/>
            <p:nvPr/>
          </p:nvSpPr>
          <p:spPr>
            <a:xfrm flipV="1">
              <a:off x="24397708" y="4648149"/>
              <a:ext cx="18982" cy="14774"/>
            </a:xfrm>
            <a:custGeom>
              <a:avLst/>
              <a:gdLst>
                <a:gd name="csX0" fmla="*/ -9087 w 18982"/>
                <a:gd name="csY0" fmla="*/ -4634 h 14774"/>
                <a:gd name="csX1" fmla="*/ 9896 w 18982"/>
                <a:gd name="csY1" fmla="*/ -4634 h 14774"/>
                <a:gd name="csX2" fmla="*/ 9896 w 18982"/>
                <a:gd name="csY2" fmla="*/ 10140 h 14774"/>
                <a:gd name="csX3" fmla="*/ -9087 w 18982"/>
                <a:gd name="csY3" fmla="*/ 10140 h 14774"/>
                <a:gd name="csX4" fmla="*/ -9087 w 18982"/>
                <a:gd name="csY4" fmla="*/ -4634 h 14774"/>
              </a:gdLst>
              <a:ahLst/>
              <a:cxnLst>
                <a:cxn ang="0">
                  <a:pos x="csX0" y="csY0"/>
                </a:cxn>
                <a:cxn ang="0">
                  <a:pos x="csX1" y="csY1"/>
                </a:cxn>
                <a:cxn ang="0">
                  <a:pos x="csX2" y="csY2"/>
                </a:cxn>
                <a:cxn ang="0">
                  <a:pos x="csX3" y="csY3"/>
                </a:cxn>
                <a:cxn ang="0">
                  <a:pos x="csX4" y="csY4"/>
                </a:cxn>
              </a:cxnLst>
              <a:rect l="l" t="t" r="r" b="b"/>
              <a:pathLst>
                <a:path w="18982" h="14774">
                  <a:moveTo>
                    <a:pt x="-9087" y="-4634"/>
                  </a:moveTo>
                  <a:lnTo>
                    <a:pt x="9896" y="-4634"/>
                  </a:lnTo>
                  <a:lnTo>
                    <a:pt x="9896" y="10140"/>
                  </a:lnTo>
                  <a:lnTo>
                    <a:pt x="-9087" y="10140"/>
                  </a:lnTo>
                  <a:lnTo>
                    <a:pt x="-9087" y="-4634"/>
                  </a:lnTo>
                </a:path>
              </a:pathLst>
            </a:custGeom>
            <a:grpFill/>
            <a:ln w="548" cap="flat">
              <a:noFill/>
              <a:prstDash val="solid"/>
              <a:miter/>
            </a:ln>
          </p:spPr>
          <p:txBody>
            <a:bodyPr/>
            <a:lstStyle/>
            <a:p>
              <a:endParaRPr lang="en-US"/>
            </a:p>
          </p:txBody>
        </p:sp>
        <p:sp>
          <p:nvSpPr>
            <p:cNvPr id="408" name="Freeform: Shape 407">
              <a:extLst>
                <a:ext uri="{FF2B5EF4-FFF2-40B4-BE49-F238E27FC236}">
                  <a16:creationId xmlns:a16="http://schemas.microsoft.com/office/drawing/2014/main" id="{BE637D37-979C-0B5F-68F9-7DB5ECFC4CE2}"/>
                </a:ext>
              </a:extLst>
            </p:cNvPr>
            <p:cNvSpPr/>
            <p:nvPr/>
          </p:nvSpPr>
          <p:spPr>
            <a:xfrm flipV="1">
              <a:off x="24424482" y="3149830"/>
              <a:ext cx="12673" cy="12821"/>
            </a:xfrm>
            <a:custGeom>
              <a:avLst/>
              <a:gdLst>
                <a:gd name="csX0" fmla="*/ -9116 w 12673"/>
                <a:gd name="csY0" fmla="*/ -8242 h 12821"/>
                <a:gd name="csX1" fmla="*/ 3557 w 12673"/>
                <a:gd name="csY1" fmla="*/ -8242 h 12821"/>
                <a:gd name="csX2" fmla="*/ 3557 w 12673"/>
                <a:gd name="csY2" fmla="*/ 4580 h 12821"/>
                <a:gd name="csX3" fmla="*/ -9116 w 12673"/>
                <a:gd name="csY3" fmla="*/ 4580 h 12821"/>
                <a:gd name="csX4" fmla="*/ -9116 w 12673"/>
                <a:gd name="csY4" fmla="*/ -8242 h 12821"/>
              </a:gdLst>
              <a:ahLst/>
              <a:cxnLst>
                <a:cxn ang="0">
                  <a:pos x="csX0" y="csY0"/>
                </a:cxn>
                <a:cxn ang="0">
                  <a:pos x="csX1" y="csY1"/>
                </a:cxn>
                <a:cxn ang="0">
                  <a:pos x="csX2" y="csY2"/>
                </a:cxn>
                <a:cxn ang="0">
                  <a:pos x="csX3" y="csY3"/>
                </a:cxn>
                <a:cxn ang="0">
                  <a:pos x="csX4" y="csY4"/>
                </a:cxn>
              </a:cxnLst>
              <a:rect l="l" t="t" r="r" b="b"/>
              <a:pathLst>
                <a:path w="12673" h="12821">
                  <a:moveTo>
                    <a:pt x="-9116" y="-8242"/>
                  </a:moveTo>
                  <a:lnTo>
                    <a:pt x="3557" y="-8242"/>
                  </a:lnTo>
                  <a:lnTo>
                    <a:pt x="3557" y="4580"/>
                  </a:lnTo>
                  <a:lnTo>
                    <a:pt x="-9116" y="4580"/>
                  </a:lnTo>
                  <a:lnTo>
                    <a:pt x="-9116" y="-8242"/>
                  </a:lnTo>
                </a:path>
              </a:pathLst>
            </a:custGeom>
            <a:grpFill/>
            <a:ln w="548" cap="flat">
              <a:noFill/>
              <a:prstDash val="solid"/>
              <a:miter/>
            </a:ln>
          </p:spPr>
          <p:txBody>
            <a:bodyPr/>
            <a:lstStyle/>
            <a:p>
              <a:endParaRPr lang="en-US"/>
            </a:p>
          </p:txBody>
        </p:sp>
        <p:sp>
          <p:nvSpPr>
            <p:cNvPr id="409" name="Freeform: Shape 408">
              <a:extLst>
                <a:ext uri="{FF2B5EF4-FFF2-40B4-BE49-F238E27FC236}">
                  <a16:creationId xmlns:a16="http://schemas.microsoft.com/office/drawing/2014/main" id="{380D90E6-3437-0A51-F78C-4574537AF7F6}"/>
                </a:ext>
              </a:extLst>
            </p:cNvPr>
            <p:cNvSpPr/>
            <p:nvPr/>
          </p:nvSpPr>
          <p:spPr>
            <a:xfrm flipV="1">
              <a:off x="24424482" y="3165055"/>
              <a:ext cx="12673" cy="12827"/>
            </a:xfrm>
            <a:custGeom>
              <a:avLst/>
              <a:gdLst>
                <a:gd name="csX0" fmla="*/ -9116 w 12673"/>
                <a:gd name="csY0" fmla="*/ -8205 h 12827"/>
                <a:gd name="csX1" fmla="*/ 3557 w 12673"/>
                <a:gd name="csY1" fmla="*/ -8205 h 12827"/>
                <a:gd name="csX2" fmla="*/ 3557 w 12673"/>
                <a:gd name="csY2" fmla="*/ 4622 h 12827"/>
                <a:gd name="csX3" fmla="*/ -9116 w 12673"/>
                <a:gd name="csY3" fmla="*/ 4622 h 12827"/>
                <a:gd name="csX4" fmla="*/ -9116 w 12673"/>
                <a:gd name="csY4" fmla="*/ -8205 h 12827"/>
              </a:gdLst>
              <a:ahLst/>
              <a:cxnLst>
                <a:cxn ang="0">
                  <a:pos x="csX0" y="csY0"/>
                </a:cxn>
                <a:cxn ang="0">
                  <a:pos x="csX1" y="csY1"/>
                </a:cxn>
                <a:cxn ang="0">
                  <a:pos x="csX2" y="csY2"/>
                </a:cxn>
                <a:cxn ang="0">
                  <a:pos x="csX3" y="csY3"/>
                </a:cxn>
                <a:cxn ang="0">
                  <a:pos x="csX4" y="csY4"/>
                </a:cxn>
              </a:cxnLst>
              <a:rect l="l" t="t" r="r" b="b"/>
              <a:pathLst>
                <a:path w="12673" h="12827">
                  <a:moveTo>
                    <a:pt x="-9116" y="-8205"/>
                  </a:moveTo>
                  <a:lnTo>
                    <a:pt x="3557" y="-8205"/>
                  </a:lnTo>
                  <a:lnTo>
                    <a:pt x="3557" y="4622"/>
                  </a:lnTo>
                  <a:lnTo>
                    <a:pt x="-9116" y="4622"/>
                  </a:lnTo>
                  <a:lnTo>
                    <a:pt x="-9116" y="-8205"/>
                  </a:lnTo>
                </a:path>
              </a:pathLst>
            </a:custGeom>
            <a:grpFill/>
            <a:ln w="548" cap="flat">
              <a:noFill/>
              <a:prstDash val="solid"/>
              <a:miter/>
            </a:ln>
          </p:spPr>
          <p:txBody>
            <a:bodyPr/>
            <a:lstStyle/>
            <a:p>
              <a:endParaRPr lang="en-US"/>
            </a:p>
          </p:txBody>
        </p:sp>
        <p:sp>
          <p:nvSpPr>
            <p:cNvPr id="410" name="Freeform: Shape 409">
              <a:extLst>
                <a:ext uri="{FF2B5EF4-FFF2-40B4-BE49-F238E27FC236}">
                  <a16:creationId xmlns:a16="http://schemas.microsoft.com/office/drawing/2014/main" id="{3925F3E8-3AFC-A0C7-779E-D3BD1439E005}"/>
                </a:ext>
              </a:extLst>
            </p:cNvPr>
            <p:cNvSpPr/>
            <p:nvPr/>
          </p:nvSpPr>
          <p:spPr>
            <a:xfrm flipV="1">
              <a:off x="24465740" y="3149830"/>
              <a:ext cx="12728" cy="12821"/>
            </a:xfrm>
            <a:custGeom>
              <a:avLst/>
              <a:gdLst>
                <a:gd name="csX0" fmla="*/ -9167 w 12728"/>
                <a:gd name="csY0" fmla="*/ 4580 h 12821"/>
                <a:gd name="csX1" fmla="*/ -9167 w 12728"/>
                <a:gd name="csY1" fmla="*/ -8242 h 12821"/>
                <a:gd name="csX2" fmla="*/ 3561 w 12728"/>
                <a:gd name="csY2" fmla="*/ -8242 h 12821"/>
                <a:gd name="csX3" fmla="*/ 3561 w 12728"/>
                <a:gd name="csY3" fmla="*/ 4580 h 12821"/>
                <a:gd name="csX4" fmla="*/ -9167 w 12728"/>
                <a:gd name="csY4" fmla="*/ 4580 h 12821"/>
              </a:gdLst>
              <a:ahLst/>
              <a:cxnLst>
                <a:cxn ang="0">
                  <a:pos x="csX0" y="csY0"/>
                </a:cxn>
                <a:cxn ang="0">
                  <a:pos x="csX1" y="csY1"/>
                </a:cxn>
                <a:cxn ang="0">
                  <a:pos x="csX2" y="csY2"/>
                </a:cxn>
                <a:cxn ang="0">
                  <a:pos x="csX3" y="csY3"/>
                </a:cxn>
                <a:cxn ang="0">
                  <a:pos x="csX4" y="csY4"/>
                </a:cxn>
              </a:cxnLst>
              <a:rect l="l" t="t" r="r" b="b"/>
              <a:pathLst>
                <a:path w="12728" h="12821">
                  <a:moveTo>
                    <a:pt x="-9167" y="4580"/>
                  </a:moveTo>
                  <a:lnTo>
                    <a:pt x="-9167" y="-8242"/>
                  </a:lnTo>
                  <a:lnTo>
                    <a:pt x="3561" y="-8242"/>
                  </a:lnTo>
                  <a:lnTo>
                    <a:pt x="3561" y="4580"/>
                  </a:lnTo>
                  <a:lnTo>
                    <a:pt x="-9167" y="4580"/>
                  </a:lnTo>
                </a:path>
              </a:pathLst>
            </a:custGeom>
            <a:grpFill/>
            <a:ln w="548" cap="flat">
              <a:noFill/>
              <a:prstDash val="solid"/>
              <a:miter/>
            </a:ln>
          </p:spPr>
          <p:txBody>
            <a:bodyPr/>
            <a:lstStyle/>
            <a:p>
              <a:endParaRPr lang="en-US"/>
            </a:p>
          </p:txBody>
        </p:sp>
        <p:sp>
          <p:nvSpPr>
            <p:cNvPr id="411" name="Freeform: Shape 410">
              <a:extLst>
                <a:ext uri="{FF2B5EF4-FFF2-40B4-BE49-F238E27FC236}">
                  <a16:creationId xmlns:a16="http://schemas.microsoft.com/office/drawing/2014/main" id="{6B77CFCF-14B2-F100-8B54-B951F97A36E3}"/>
                </a:ext>
              </a:extLst>
            </p:cNvPr>
            <p:cNvSpPr/>
            <p:nvPr/>
          </p:nvSpPr>
          <p:spPr>
            <a:xfrm flipV="1">
              <a:off x="24465740" y="3165055"/>
              <a:ext cx="12728" cy="12827"/>
            </a:xfrm>
            <a:custGeom>
              <a:avLst/>
              <a:gdLst>
                <a:gd name="csX0" fmla="*/ -9167 w 12728"/>
                <a:gd name="csY0" fmla="*/ -8205 h 12827"/>
                <a:gd name="csX1" fmla="*/ 3561 w 12728"/>
                <a:gd name="csY1" fmla="*/ -8205 h 12827"/>
                <a:gd name="csX2" fmla="*/ 3561 w 12728"/>
                <a:gd name="csY2" fmla="*/ 4622 h 12827"/>
                <a:gd name="csX3" fmla="*/ -9167 w 12728"/>
                <a:gd name="csY3" fmla="*/ 4622 h 12827"/>
                <a:gd name="csX4" fmla="*/ -9167 w 12728"/>
                <a:gd name="csY4" fmla="*/ -8205 h 12827"/>
              </a:gdLst>
              <a:ahLst/>
              <a:cxnLst>
                <a:cxn ang="0">
                  <a:pos x="csX0" y="csY0"/>
                </a:cxn>
                <a:cxn ang="0">
                  <a:pos x="csX1" y="csY1"/>
                </a:cxn>
                <a:cxn ang="0">
                  <a:pos x="csX2" y="csY2"/>
                </a:cxn>
                <a:cxn ang="0">
                  <a:pos x="csX3" y="csY3"/>
                </a:cxn>
                <a:cxn ang="0">
                  <a:pos x="csX4" y="csY4"/>
                </a:cxn>
              </a:cxnLst>
              <a:rect l="l" t="t" r="r" b="b"/>
              <a:pathLst>
                <a:path w="12728" h="12827">
                  <a:moveTo>
                    <a:pt x="-9167" y="-8205"/>
                  </a:moveTo>
                  <a:lnTo>
                    <a:pt x="3561" y="-8205"/>
                  </a:lnTo>
                  <a:lnTo>
                    <a:pt x="3561" y="4622"/>
                  </a:lnTo>
                  <a:lnTo>
                    <a:pt x="-9167" y="4622"/>
                  </a:lnTo>
                  <a:lnTo>
                    <a:pt x="-9167" y="-8205"/>
                  </a:lnTo>
                </a:path>
              </a:pathLst>
            </a:custGeom>
            <a:grpFill/>
            <a:ln w="548" cap="flat">
              <a:noFill/>
              <a:prstDash val="solid"/>
              <a:miter/>
            </a:ln>
          </p:spPr>
          <p:txBody>
            <a:bodyPr/>
            <a:lstStyle/>
            <a:p>
              <a:endParaRPr lang="en-US"/>
            </a:p>
          </p:txBody>
        </p:sp>
        <p:sp>
          <p:nvSpPr>
            <p:cNvPr id="412" name="Freeform: Shape 411">
              <a:extLst>
                <a:ext uri="{FF2B5EF4-FFF2-40B4-BE49-F238E27FC236}">
                  <a16:creationId xmlns:a16="http://schemas.microsoft.com/office/drawing/2014/main" id="{24E0D80F-29F7-CC4A-F5DE-FC5EBB0F3811}"/>
                </a:ext>
              </a:extLst>
            </p:cNvPr>
            <p:cNvSpPr/>
            <p:nvPr/>
          </p:nvSpPr>
          <p:spPr>
            <a:xfrm flipV="1">
              <a:off x="24424482" y="3209072"/>
              <a:ext cx="12673" cy="12821"/>
            </a:xfrm>
            <a:custGeom>
              <a:avLst/>
              <a:gdLst>
                <a:gd name="csX0" fmla="*/ -9116 w 12673"/>
                <a:gd name="csY0" fmla="*/ -8099 h 12821"/>
                <a:gd name="csX1" fmla="*/ 3557 w 12673"/>
                <a:gd name="csY1" fmla="*/ -8099 h 12821"/>
                <a:gd name="csX2" fmla="*/ 3557 w 12673"/>
                <a:gd name="csY2" fmla="*/ 4723 h 12821"/>
                <a:gd name="csX3" fmla="*/ -9116 w 12673"/>
                <a:gd name="csY3" fmla="*/ 4723 h 12821"/>
                <a:gd name="csX4" fmla="*/ -9116 w 12673"/>
                <a:gd name="csY4" fmla="*/ -8099 h 12821"/>
              </a:gdLst>
              <a:ahLst/>
              <a:cxnLst>
                <a:cxn ang="0">
                  <a:pos x="csX0" y="csY0"/>
                </a:cxn>
                <a:cxn ang="0">
                  <a:pos x="csX1" y="csY1"/>
                </a:cxn>
                <a:cxn ang="0">
                  <a:pos x="csX2" y="csY2"/>
                </a:cxn>
                <a:cxn ang="0">
                  <a:pos x="csX3" y="csY3"/>
                </a:cxn>
                <a:cxn ang="0">
                  <a:pos x="csX4" y="csY4"/>
                </a:cxn>
              </a:cxnLst>
              <a:rect l="l" t="t" r="r" b="b"/>
              <a:pathLst>
                <a:path w="12673" h="12821">
                  <a:moveTo>
                    <a:pt x="-9116" y="-8099"/>
                  </a:moveTo>
                  <a:lnTo>
                    <a:pt x="3557" y="-8099"/>
                  </a:lnTo>
                  <a:lnTo>
                    <a:pt x="3557" y="4723"/>
                  </a:lnTo>
                  <a:lnTo>
                    <a:pt x="-9116" y="4723"/>
                  </a:lnTo>
                  <a:lnTo>
                    <a:pt x="-9116" y="-8099"/>
                  </a:lnTo>
                </a:path>
              </a:pathLst>
            </a:custGeom>
            <a:grpFill/>
            <a:ln w="548" cap="flat">
              <a:noFill/>
              <a:prstDash val="solid"/>
              <a:miter/>
            </a:ln>
          </p:spPr>
          <p:txBody>
            <a:bodyPr/>
            <a:lstStyle/>
            <a:p>
              <a:endParaRPr lang="en-US"/>
            </a:p>
          </p:txBody>
        </p:sp>
        <p:sp>
          <p:nvSpPr>
            <p:cNvPr id="413" name="Freeform: Shape 412">
              <a:extLst>
                <a:ext uri="{FF2B5EF4-FFF2-40B4-BE49-F238E27FC236}">
                  <a16:creationId xmlns:a16="http://schemas.microsoft.com/office/drawing/2014/main" id="{4F3822B4-E5CB-372A-88C7-6D92FBCC6937}"/>
                </a:ext>
              </a:extLst>
            </p:cNvPr>
            <p:cNvSpPr/>
            <p:nvPr/>
          </p:nvSpPr>
          <p:spPr>
            <a:xfrm flipV="1">
              <a:off x="24424482" y="3224297"/>
              <a:ext cx="12673" cy="12821"/>
            </a:xfrm>
            <a:custGeom>
              <a:avLst/>
              <a:gdLst>
                <a:gd name="csX0" fmla="*/ -9116 w 12673"/>
                <a:gd name="csY0" fmla="*/ -8063 h 12821"/>
                <a:gd name="csX1" fmla="*/ 3557 w 12673"/>
                <a:gd name="csY1" fmla="*/ -8063 h 12821"/>
                <a:gd name="csX2" fmla="*/ 3557 w 12673"/>
                <a:gd name="csY2" fmla="*/ 4759 h 12821"/>
                <a:gd name="csX3" fmla="*/ -9116 w 12673"/>
                <a:gd name="csY3" fmla="*/ 4759 h 12821"/>
                <a:gd name="csX4" fmla="*/ -9116 w 12673"/>
                <a:gd name="csY4" fmla="*/ -8063 h 12821"/>
              </a:gdLst>
              <a:ahLst/>
              <a:cxnLst>
                <a:cxn ang="0">
                  <a:pos x="csX0" y="csY0"/>
                </a:cxn>
                <a:cxn ang="0">
                  <a:pos x="csX1" y="csY1"/>
                </a:cxn>
                <a:cxn ang="0">
                  <a:pos x="csX2" y="csY2"/>
                </a:cxn>
                <a:cxn ang="0">
                  <a:pos x="csX3" y="csY3"/>
                </a:cxn>
                <a:cxn ang="0">
                  <a:pos x="csX4" y="csY4"/>
                </a:cxn>
              </a:cxnLst>
              <a:rect l="l" t="t" r="r" b="b"/>
              <a:pathLst>
                <a:path w="12673" h="12821">
                  <a:moveTo>
                    <a:pt x="-9116" y="-8063"/>
                  </a:moveTo>
                  <a:lnTo>
                    <a:pt x="3557" y="-8063"/>
                  </a:lnTo>
                  <a:lnTo>
                    <a:pt x="3557" y="4759"/>
                  </a:lnTo>
                  <a:lnTo>
                    <a:pt x="-9116" y="4759"/>
                  </a:lnTo>
                  <a:lnTo>
                    <a:pt x="-9116" y="-8063"/>
                  </a:lnTo>
                </a:path>
              </a:pathLst>
            </a:custGeom>
            <a:grpFill/>
            <a:ln w="548" cap="flat">
              <a:noFill/>
              <a:prstDash val="solid"/>
              <a:miter/>
            </a:ln>
          </p:spPr>
          <p:txBody>
            <a:bodyPr/>
            <a:lstStyle/>
            <a:p>
              <a:endParaRPr lang="en-US"/>
            </a:p>
          </p:txBody>
        </p:sp>
        <p:sp>
          <p:nvSpPr>
            <p:cNvPr id="414" name="Freeform: Shape 413">
              <a:extLst>
                <a:ext uri="{FF2B5EF4-FFF2-40B4-BE49-F238E27FC236}">
                  <a16:creationId xmlns:a16="http://schemas.microsoft.com/office/drawing/2014/main" id="{132338ED-C92B-76B3-CE9D-DFB4EE75E8DF}"/>
                </a:ext>
              </a:extLst>
            </p:cNvPr>
            <p:cNvSpPr/>
            <p:nvPr/>
          </p:nvSpPr>
          <p:spPr>
            <a:xfrm flipV="1">
              <a:off x="24465740" y="3209072"/>
              <a:ext cx="12728" cy="12821"/>
            </a:xfrm>
            <a:custGeom>
              <a:avLst/>
              <a:gdLst>
                <a:gd name="csX0" fmla="*/ -9167 w 12728"/>
                <a:gd name="csY0" fmla="*/ -8099 h 12821"/>
                <a:gd name="csX1" fmla="*/ 3561 w 12728"/>
                <a:gd name="csY1" fmla="*/ -8099 h 12821"/>
                <a:gd name="csX2" fmla="*/ 3561 w 12728"/>
                <a:gd name="csY2" fmla="*/ 4723 h 12821"/>
                <a:gd name="csX3" fmla="*/ -9167 w 12728"/>
                <a:gd name="csY3" fmla="*/ 4723 h 12821"/>
                <a:gd name="csX4" fmla="*/ -9167 w 12728"/>
                <a:gd name="csY4" fmla="*/ -8099 h 12821"/>
              </a:gdLst>
              <a:ahLst/>
              <a:cxnLst>
                <a:cxn ang="0">
                  <a:pos x="csX0" y="csY0"/>
                </a:cxn>
                <a:cxn ang="0">
                  <a:pos x="csX1" y="csY1"/>
                </a:cxn>
                <a:cxn ang="0">
                  <a:pos x="csX2" y="csY2"/>
                </a:cxn>
                <a:cxn ang="0">
                  <a:pos x="csX3" y="csY3"/>
                </a:cxn>
                <a:cxn ang="0">
                  <a:pos x="csX4" y="csY4"/>
                </a:cxn>
              </a:cxnLst>
              <a:rect l="l" t="t" r="r" b="b"/>
              <a:pathLst>
                <a:path w="12728" h="12821">
                  <a:moveTo>
                    <a:pt x="-9167" y="-8099"/>
                  </a:moveTo>
                  <a:lnTo>
                    <a:pt x="3561" y="-8099"/>
                  </a:lnTo>
                  <a:lnTo>
                    <a:pt x="3561" y="4723"/>
                  </a:lnTo>
                  <a:lnTo>
                    <a:pt x="-9167" y="4723"/>
                  </a:lnTo>
                  <a:lnTo>
                    <a:pt x="-9167" y="-8099"/>
                  </a:lnTo>
                </a:path>
              </a:pathLst>
            </a:custGeom>
            <a:grpFill/>
            <a:ln w="548" cap="flat">
              <a:noFill/>
              <a:prstDash val="solid"/>
              <a:miter/>
            </a:ln>
          </p:spPr>
          <p:txBody>
            <a:bodyPr/>
            <a:lstStyle/>
            <a:p>
              <a:endParaRPr lang="en-US"/>
            </a:p>
          </p:txBody>
        </p:sp>
        <p:sp>
          <p:nvSpPr>
            <p:cNvPr id="415" name="Freeform: Shape 414">
              <a:extLst>
                <a:ext uri="{FF2B5EF4-FFF2-40B4-BE49-F238E27FC236}">
                  <a16:creationId xmlns:a16="http://schemas.microsoft.com/office/drawing/2014/main" id="{2A174E9B-BBC6-AA85-9D8E-0E27812647E5}"/>
                </a:ext>
              </a:extLst>
            </p:cNvPr>
            <p:cNvSpPr/>
            <p:nvPr/>
          </p:nvSpPr>
          <p:spPr>
            <a:xfrm flipV="1">
              <a:off x="24465740" y="3224297"/>
              <a:ext cx="12728" cy="12821"/>
            </a:xfrm>
            <a:custGeom>
              <a:avLst/>
              <a:gdLst>
                <a:gd name="csX0" fmla="*/ -9167 w 12728"/>
                <a:gd name="csY0" fmla="*/ -8063 h 12821"/>
                <a:gd name="csX1" fmla="*/ 3561 w 12728"/>
                <a:gd name="csY1" fmla="*/ -8063 h 12821"/>
                <a:gd name="csX2" fmla="*/ 3561 w 12728"/>
                <a:gd name="csY2" fmla="*/ 4759 h 12821"/>
                <a:gd name="csX3" fmla="*/ -9167 w 12728"/>
                <a:gd name="csY3" fmla="*/ 4759 h 12821"/>
                <a:gd name="csX4" fmla="*/ -9167 w 12728"/>
                <a:gd name="csY4" fmla="*/ -8063 h 12821"/>
              </a:gdLst>
              <a:ahLst/>
              <a:cxnLst>
                <a:cxn ang="0">
                  <a:pos x="csX0" y="csY0"/>
                </a:cxn>
                <a:cxn ang="0">
                  <a:pos x="csX1" y="csY1"/>
                </a:cxn>
                <a:cxn ang="0">
                  <a:pos x="csX2" y="csY2"/>
                </a:cxn>
                <a:cxn ang="0">
                  <a:pos x="csX3" y="csY3"/>
                </a:cxn>
                <a:cxn ang="0">
                  <a:pos x="csX4" y="csY4"/>
                </a:cxn>
              </a:cxnLst>
              <a:rect l="l" t="t" r="r" b="b"/>
              <a:pathLst>
                <a:path w="12728" h="12821">
                  <a:moveTo>
                    <a:pt x="-9167" y="-8063"/>
                  </a:moveTo>
                  <a:lnTo>
                    <a:pt x="3561" y="-8063"/>
                  </a:lnTo>
                  <a:lnTo>
                    <a:pt x="3561" y="4759"/>
                  </a:lnTo>
                  <a:lnTo>
                    <a:pt x="-9167" y="4759"/>
                  </a:lnTo>
                  <a:lnTo>
                    <a:pt x="-9167" y="-8063"/>
                  </a:lnTo>
                </a:path>
              </a:pathLst>
            </a:custGeom>
            <a:grpFill/>
            <a:ln w="548" cap="flat">
              <a:noFill/>
              <a:prstDash val="solid"/>
              <a:miter/>
            </a:ln>
          </p:spPr>
          <p:txBody>
            <a:bodyPr/>
            <a:lstStyle/>
            <a:p>
              <a:endParaRPr lang="en-US"/>
            </a:p>
          </p:txBody>
        </p:sp>
        <p:sp>
          <p:nvSpPr>
            <p:cNvPr id="416" name="Freeform: Shape 415">
              <a:extLst>
                <a:ext uri="{FF2B5EF4-FFF2-40B4-BE49-F238E27FC236}">
                  <a16:creationId xmlns:a16="http://schemas.microsoft.com/office/drawing/2014/main" id="{71D3FEB4-F3FE-C09C-5311-5AD019575C4F}"/>
                </a:ext>
              </a:extLst>
            </p:cNvPr>
            <p:cNvSpPr/>
            <p:nvPr/>
          </p:nvSpPr>
          <p:spPr>
            <a:xfrm flipV="1">
              <a:off x="24424482" y="3268315"/>
              <a:ext cx="12673" cy="12821"/>
            </a:xfrm>
            <a:custGeom>
              <a:avLst/>
              <a:gdLst>
                <a:gd name="csX0" fmla="*/ -9116 w 12673"/>
                <a:gd name="csY0" fmla="*/ -7957 h 12821"/>
                <a:gd name="csX1" fmla="*/ 3557 w 12673"/>
                <a:gd name="csY1" fmla="*/ -7957 h 12821"/>
                <a:gd name="csX2" fmla="*/ 3557 w 12673"/>
                <a:gd name="csY2" fmla="*/ 4865 h 12821"/>
                <a:gd name="csX3" fmla="*/ -9116 w 12673"/>
                <a:gd name="csY3" fmla="*/ 4865 h 12821"/>
                <a:gd name="csX4" fmla="*/ -9116 w 12673"/>
                <a:gd name="csY4" fmla="*/ -7957 h 12821"/>
              </a:gdLst>
              <a:ahLst/>
              <a:cxnLst>
                <a:cxn ang="0">
                  <a:pos x="csX0" y="csY0"/>
                </a:cxn>
                <a:cxn ang="0">
                  <a:pos x="csX1" y="csY1"/>
                </a:cxn>
                <a:cxn ang="0">
                  <a:pos x="csX2" y="csY2"/>
                </a:cxn>
                <a:cxn ang="0">
                  <a:pos x="csX3" y="csY3"/>
                </a:cxn>
                <a:cxn ang="0">
                  <a:pos x="csX4" y="csY4"/>
                </a:cxn>
              </a:cxnLst>
              <a:rect l="l" t="t" r="r" b="b"/>
              <a:pathLst>
                <a:path w="12673" h="12821">
                  <a:moveTo>
                    <a:pt x="-9116" y="-7957"/>
                  </a:moveTo>
                  <a:lnTo>
                    <a:pt x="3557" y="-7957"/>
                  </a:lnTo>
                  <a:lnTo>
                    <a:pt x="3557" y="4865"/>
                  </a:lnTo>
                  <a:lnTo>
                    <a:pt x="-9116" y="4865"/>
                  </a:lnTo>
                  <a:lnTo>
                    <a:pt x="-9116" y="-7957"/>
                  </a:lnTo>
                </a:path>
              </a:pathLst>
            </a:custGeom>
            <a:grpFill/>
            <a:ln w="548" cap="flat">
              <a:noFill/>
              <a:prstDash val="solid"/>
              <a:miter/>
            </a:ln>
          </p:spPr>
          <p:txBody>
            <a:bodyPr/>
            <a:lstStyle/>
            <a:p>
              <a:endParaRPr lang="en-US"/>
            </a:p>
          </p:txBody>
        </p:sp>
        <p:sp>
          <p:nvSpPr>
            <p:cNvPr id="417" name="Freeform: Shape 416">
              <a:extLst>
                <a:ext uri="{FF2B5EF4-FFF2-40B4-BE49-F238E27FC236}">
                  <a16:creationId xmlns:a16="http://schemas.microsoft.com/office/drawing/2014/main" id="{A7715631-7E61-E7E8-5B0B-7AFD2E7C087F}"/>
                </a:ext>
              </a:extLst>
            </p:cNvPr>
            <p:cNvSpPr/>
            <p:nvPr/>
          </p:nvSpPr>
          <p:spPr>
            <a:xfrm flipV="1">
              <a:off x="24424482" y="3283539"/>
              <a:ext cx="12673" cy="12821"/>
            </a:xfrm>
            <a:custGeom>
              <a:avLst/>
              <a:gdLst>
                <a:gd name="csX0" fmla="*/ -9116 w 12673"/>
                <a:gd name="csY0" fmla="*/ -7920 h 12821"/>
                <a:gd name="csX1" fmla="*/ 3557 w 12673"/>
                <a:gd name="csY1" fmla="*/ -7920 h 12821"/>
                <a:gd name="csX2" fmla="*/ 3557 w 12673"/>
                <a:gd name="csY2" fmla="*/ 4902 h 12821"/>
                <a:gd name="csX3" fmla="*/ -9116 w 12673"/>
                <a:gd name="csY3" fmla="*/ 4902 h 12821"/>
                <a:gd name="csX4" fmla="*/ -9116 w 12673"/>
                <a:gd name="csY4" fmla="*/ -7920 h 12821"/>
              </a:gdLst>
              <a:ahLst/>
              <a:cxnLst>
                <a:cxn ang="0">
                  <a:pos x="csX0" y="csY0"/>
                </a:cxn>
                <a:cxn ang="0">
                  <a:pos x="csX1" y="csY1"/>
                </a:cxn>
                <a:cxn ang="0">
                  <a:pos x="csX2" y="csY2"/>
                </a:cxn>
                <a:cxn ang="0">
                  <a:pos x="csX3" y="csY3"/>
                </a:cxn>
                <a:cxn ang="0">
                  <a:pos x="csX4" y="csY4"/>
                </a:cxn>
              </a:cxnLst>
              <a:rect l="l" t="t" r="r" b="b"/>
              <a:pathLst>
                <a:path w="12673" h="12821">
                  <a:moveTo>
                    <a:pt x="-9116" y="-7920"/>
                  </a:moveTo>
                  <a:lnTo>
                    <a:pt x="3557" y="-7920"/>
                  </a:lnTo>
                  <a:lnTo>
                    <a:pt x="3557" y="4902"/>
                  </a:lnTo>
                  <a:lnTo>
                    <a:pt x="-9116" y="4902"/>
                  </a:lnTo>
                  <a:lnTo>
                    <a:pt x="-9116" y="-7920"/>
                  </a:lnTo>
                </a:path>
              </a:pathLst>
            </a:custGeom>
            <a:grpFill/>
            <a:ln w="548" cap="flat">
              <a:noFill/>
              <a:prstDash val="solid"/>
              <a:miter/>
            </a:ln>
          </p:spPr>
          <p:txBody>
            <a:bodyPr/>
            <a:lstStyle/>
            <a:p>
              <a:endParaRPr lang="en-US"/>
            </a:p>
          </p:txBody>
        </p:sp>
        <p:sp>
          <p:nvSpPr>
            <p:cNvPr id="418" name="Freeform: Shape 417">
              <a:extLst>
                <a:ext uri="{FF2B5EF4-FFF2-40B4-BE49-F238E27FC236}">
                  <a16:creationId xmlns:a16="http://schemas.microsoft.com/office/drawing/2014/main" id="{9C0CC026-025F-E090-DBE2-254A395D588D}"/>
                </a:ext>
              </a:extLst>
            </p:cNvPr>
            <p:cNvSpPr/>
            <p:nvPr/>
          </p:nvSpPr>
          <p:spPr>
            <a:xfrm flipV="1">
              <a:off x="24465740" y="3268315"/>
              <a:ext cx="12728" cy="12821"/>
            </a:xfrm>
            <a:custGeom>
              <a:avLst/>
              <a:gdLst>
                <a:gd name="csX0" fmla="*/ -9167 w 12728"/>
                <a:gd name="csY0" fmla="*/ -7957 h 12821"/>
                <a:gd name="csX1" fmla="*/ 3561 w 12728"/>
                <a:gd name="csY1" fmla="*/ -7957 h 12821"/>
                <a:gd name="csX2" fmla="*/ 3561 w 12728"/>
                <a:gd name="csY2" fmla="*/ 4865 h 12821"/>
                <a:gd name="csX3" fmla="*/ -9167 w 12728"/>
                <a:gd name="csY3" fmla="*/ 4865 h 12821"/>
                <a:gd name="csX4" fmla="*/ -9167 w 12728"/>
                <a:gd name="csY4" fmla="*/ -7957 h 12821"/>
              </a:gdLst>
              <a:ahLst/>
              <a:cxnLst>
                <a:cxn ang="0">
                  <a:pos x="csX0" y="csY0"/>
                </a:cxn>
                <a:cxn ang="0">
                  <a:pos x="csX1" y="csY1"/>
                </a:cxn>
                <a:cxn ang="0">
                  <a:pos x="csX2" y="csY2"/>
                </a:cxn>
                <a:cxn ang="0">
                  <a:pos x="csX3" y="csY3"/>
                </a:cxn>
                <a:cxn ang="0">
                  <a:pos x="csX4" y="csY4"/>
                </a:cxn>
              </a:cxnLst>
              <a:rect l="l" t="t" r="r" b="b"/>
              <a:pathLst>
                <a:path w="12728" h="12821">
                  <a:moveTo>
                    <a:pt x="-9167" y="-7957"/>
                  </a:moveTo>
                  <a:lnTo>
                    <a:pt x="3561" y="-7957"/>
                  </a:lnTo>
                  <a:lnTo>
                    <a:pt x="3561" y="4865"/>
                  </a:lnTo>
                  <a:lnTo>
                    <a:pt x="-9167" y="4865"/>
                  </a:lnTo>
                  <a:lnTo>
                    <a:pt x="-9167" y="-7957"/>
                  </a:lnTo>
                </a:path>
              </a:pathLst>
            </a:custGeom>
            <a:grpFill/>
            <a:ln w="548" cap="flat">
              <a:noFill/>
              <a:prstDash val="solid"/>
              <a:miter/>
            </a:ln>
          </p:spPr>
          <p:txBody>
            <a:bodyPr/>
            <a:lstStyle/>
            <a:p>
              <a:endParaRPr lang="en-US"/>
            </a:p>
          </p:txBody>
        </p:sp>
        <p:sp>
          <p:nvSpPr>
            <p:cNvPr id="419" name="Freeform: Shape 418">
              <a:extLst>
                <a:ext uri="{FF2B5EF4-FFF2-40B4-BE49-F238E27FC236}">
                  <a16:creationId xmlns:a16="http://schemas.microsoft.com/office/drawing/2014/main" id="{1FC03260-F8F8-C90D-C1A0-E542A0806069}"/>
                </a:ext>
              </a:extLst>
            </p:cNvPr>
            <p:cNvSpPr/>
            <p:nvPr/>
          </p:nvSpPr>
          <p:spPr>
            <a:xfrm flipV="1">
              <a:off x="24465740" y="3283539"/>
              <a:ext cx="12728" cy="12821"/>
            </a:xfrm>
            <a:custGeom>
              <a:avLst/>
              <a:gdLst>
                <a:gd name="csX0" fmla="*/ -9167 w 12728"/>
                <a:gd name="csY0" fmla="*/ -7920 h 12821"/>
                <a:gd name="csX1" fmla="*/ 3561 w 12728"/>
                <a:gd name="csY1" fmla="*/ -7920 h 12821"/>
                <a:gd name="csX2" fmla="*/ 3561 w 12728"/>
                <a:gd name="csY2" fmla="*/ 4902 h 12821"/>
                <a:gd name="csX3" fmla="*/ -9167 w 12728"/>
                <a:gd name="csY3" fmla="*/ 4902 h 12821"/>
                <a:gd name="csX4" fmla="*/ -9167 w 12728"/>
                <a:gd name="csY4" fmla="*/ -7920 h 12821"/>
              </a:gdLst>
              <a:ahLst/>
              <a:cxnLst>
                <a:cxn ang="0">
                  <a:pos x="csX0" y="csY0"/>
                </a:cxn>
                <a:cxn ang="0">
                  <a:pos x="csX1" y="csY1"/>
                </a:cxn>
                <a:cxn ang="0">
                  <a:pos x="csX2" y="csY2"/>
                </a:cxn>
                <a:cxn ang="0">
                  <a:pos x="csX3" y="csY3"/>
                </a:cxn>
                <a:cxn ang="0">
                  <a:pos x="csX4" y="csY4"/>
                </a:cxn>
              </a:cxnLst>
              <a:rect l="l" t="t" r="r" b="b"/>
              <a:pathLst>
                <a:path w="12728" h="12821">
                  <a:moveTo>
                    <a:pt x="-9167" y="-7920"/>
                  </a:moveTo>
                  <a:lnTo>
                    <a:pt x="3561" y="-7920"/>
                  </a:lnTo>
                  <a:lnTo>
                    <a:pt x="3561" y="4902"/>
                  </a:lnTo>
                  <a:lnTo>
                    <a:pt x="-9167" y="4902"/>
                  </a:lnTo>
                  <a:lnTo>
                    <a:pt x="-9167" y="-7920"/>
                  </a:lnTo>
                </a:path>
              </a:pathLst>
            </a:custGeom>
            <a:grpFill/>
            <a:ln w="548" cap="flat">
              <a:noFill/>
              <a:prstDash val="solid"/>
              <a:miter/>
            </a:ln>
          </p:spPr>
          <p:txBody>
            <a:bodyPr/>
            <a:lstStyle/>
            <a:p>
              <a:endParaRPr lang="en-US"/>
            </a:p>
          </p:txBody>
        </p:sp>
        <p:sp>
          <p:nvSpPr>
            <p:cNvPr id="420" name="Freeform: Shape 419">
              <a:extLst>
                <a:ext uri="{FF2B5EF4-FFF2-40B4-BE49-F238E27FC236}">
                  <a16:creationId xmlns:a16="http://schemas.microsoft.com/office/drawing/2014/main" id="{BEA1B869-ED55-3D6D-5AEA-C84B048E7610}"/>
                </a:ext>
              </a:extLst>
            </p:cNvPr>
            <p:cNvSpPr/>
            <p:nvPr/>
          </p:nvSpPr>
          <p:spPr>
            <a:xfrm flipV="1">
              <a:off x="24424482" y="3327551"/>
              <a:ext cx="12673" cy="12827"/>
            </a:xfrm>
            <a:custGeom>
              <a:avLst/>
              <a:gdLst>
                <a:gd name="csX0" fmla="*/ -9116 w 12673"/>
                <a:gd name="csY0" fmla="*/ -7814 h 12827"/>
                <a:gd name="csX1" fmla="*/ 3557 w 12673"/>
                <a:gd name="csY1" fmla="*/ -7814 h 12827"/>
                <a:gd name="csX2" fmla="*/ 3557 w 12673"/>
                <a:gd name="csY2" fmla="*/ 5013 h 12827"/>
                <a:gd name="csX3" fmla="*/ -9116 w 12673"/>
                <a:gd name="csY3" fmla="*/ 5013 h 12827"/>
                <a:gd name="csX4" fmla="*/ -9116 w 12673"/>
                <a:gd name="csY4" fmla="*/ -7814 h 12827"/>
              </a:gdLst>
              <a:ahLst/>
              <a:cxnLst>
                <a:cxn ang="0">
                  <a:pos x="csX0" y="csY0"/>
                </a:cxn>
                <a:cxn ang="0">
                  <a:pos x="csX1" y="csY1"/>
                </a:cxn>
                <a:cxn ang="0">
                  <a:pos x="csX2" y="csY2"/>
                </a:cxn>
                <a:cxn ang="0">
                  <a:pos x="csX3" y="csY3"/>
                </a:cxn>
                <a:cxn ang="0">
                  <a:pos x="csX4" y="csY4"/>
                </a:cxn>
              </a:cxnLst>
              <a:rect l="l" t="t" r="r" b="b"/>
              <a:pathLst>
                <a:path w="12673" h="12827">
                  <a:moveTo>
                    <a:pt x="-9116" y="-7814"/>
                  </a:moveTo>
                  <a:lnTo>
                    <a:pt x="3557" y="-7814"/>
                  </a:lnTo>
                  <a:lnTo>
                    <a:pt x="3557" y="5013"/>
                  </a:lnTo>
                  <a:lnTo>
                    <a:pt x="-9116" y="5013"/>
                  </a:lnTo>
                  <a:lnTo>
                    <a:pt x="-9116" y="-7814"/>
                  </a:lnTo>
                </a:path>
              </a:pathLst>
            </a:custGeom>
            <a:grpFill/>
            <a:ln w="548" cap="flat">
              <a:noFill/>
              <a:prstDash val="solid"/>
              <a:miter/>
            </a:ln>
          </p:spPr>
          <p:txBody>
            <a:bodyPr/>
            <a:lstStyle/>
            <a:p>
              <a:endParaRPr lang="en-US"/>
            </a:p>
          </p:txBody>
        </p:sp>
        <p:sp>
          <p:nvSpPr>
            <p:cNvPr id="421" name="Freeform: Shape 420">
              <a:extLst>
                <a:ext uri="{FF2B5EF4-FFF2-40B4-BE49-F238E27FC236}">
                  <a16:creationId xmlns:a16="http://schemas.microsoft.com/office/drawing/2014/main" id="{709934A8-D36D-6F42-8599-3AA518EB02EA}"/>
                </a:ext>
              </a:extLst>
            </p:cNvPr>
            <p:cNvSpPr/>
            <p:nvPr/>
          </p:nvSpPr>
          <p:spPr>
            <a:xfrm flipV="1">
              <a:off x="24424482" y="3342776"/>
              <a:ext cx="12673" cy="12827"/>
            </a:xfrm>
            <a:custGeom>
              <a:avLst/>
              <a:gdLst>
                <a:gd name="csX0" fmla="*/ -9116 w 12673"/>
                <a:gd name="csY0" fmla="*/ -7778 h 12827"/>
                <a:gd name="csX1" fmla="*/ 3557 w 12673"/>
                <a:gd name="csY1" fmla="*/ -7778 h 12827"/>
                <a:gd name="csX2" fmla="*/ 3557 w 12673"/>
                <a:gd name="csY2" fmla="*/ 5050 h 12827"/>
                <a:gd name="csX3" fmla="*/ -9116 w 12673"/>
                <a:gd name="csY3" fmla="*/ 5050 h 12827"/>
                <a:gd name="csX4" fmla="*/ -9116 w 12673"/>
                <a:gd name="csY4" fmla="*/ -7778 h 12827"/>
              </a:gdLst>
              <a:ahLst/>
              <a:cxnLst>
                <a:cxn ang="0">
                  <a:pos x="csX0" y="csY0"/>
                </a:cxn>
                <a:cxn ang="0">
                  <a:pos x="csX1" y="csY1"/>
                </a:cxn>
                <a:cxn ang="0">
                  <a:pos x="csX2" y="csY2"/>
                </a:cxn>
                <a:cxn ang="0">
                  <a:pos x="csX3" y="csY3"/>
                </a:cxn>
                <a:cxn ang="0">
                  <a:pos x="csX4" y="csY4"/>
                </a:cxn>
              </a:cxnLst>
              <a:rect l="l" t="t" r="r" b="b"/>
              <a:pathLst>
                <a:path w="12673" h="12827">
                  <a:moveTo>
                    <a:pt x="-9116" y="-7778"/>
                  </a:moveTo>
                  <a:lnTo>
                    <a:pt x="3557" y="-7778"/>
                  </a:lnTo>
                  <a:lnTo>
                    <a:pt x="3557" y="5050"/>
                  </a:lnTo>
                  <a:lnTo>
                    <a:pt x="-9116" y="5050"/>
                  </a:lnTo>
                  <a:lnTo>
                    <a:pt x="-9116" y="-7778"/>
                  </a:lnTo>
                </a:path>
              </a:pathLst>
            </a:custGeom>
            <a:grpFill/>
            <a:ln w="548" cap="flat">
              <a:noFill/>
              <a:prstDash val="solid"/>
              <a:miter/>
            </a:ln>
          </p:spPr>
          <p:txBody>
            <a:bodyPr/>
            <a:lstStyle/>
            <a:p>
              <a:endParaRPr lang="en-US"/>
            </a:p>
          </p:txBody>
        </p:sp>
        <p:sp>
          <p:nvSpPr>
            <p:cNvPr id="422" name="Freeform: Shape 421">
              <a:extLst>
                <a:ext uri="{FF2B5EF4-FFF2-40B4-BE49-F238E27FC236}">
                  <a16:creationId xmlns:a16="http://schemas.microsoft.com/office/drawing/2014/main" id="{28B3CA42-654C-1CDE-E3B8-2AE7F847B09D}"/>
                </a:ext>
              </a:extLst>
            </p:cNvPr>
            <p:cNvSpPr/>
            <p:nvPr/>
          </p:nvSpPr>
          <p:spPr>
            <a:xfrm flipV="1">
              <a:off x="24465740" y="3342776"/>
              <a:ext cx="12728" cy="12827"/>
            </a:xfrm>
            <a:custGeom>
              <a:avLst/>
              <a:gdLst>
                <a:gd name="csX0" fmla="*/ -9167 w 12728"/>
                <a:gd name="csY0" fmla="*/ -7778 h 12827"/>
                <a:gd name="csX1" fmla="*/ 3561 w 12728"/>
                <a:gd name="csY1" fmla="*/ -7778 h 12827"/>
                <a:gd name="csX2" fmla="*/ 3561 w 12728"/>
                <a:gd name="csY2" fmla="*/ 5050 h 12827"/>
                <a:gd name="csX3" fmla="*/ -9167 w 12728"/>
                <a:gd name="csY3" fmla="*/ 5050 h 12827"/>
                <a:gd name="csX4" fmla="*/ -9167 w 12728"/>
                <a:gd name="csY4" fmla="*/ -7778 h 12827"/>
              </a:gdLst>
              <a:ahLst/>
              <a:cxnLst>
                <a:cxn ang="0">
                  <a:pos x="csX0" y="csY0"/>
                </a:cxn>
                <a:cxn ang="0">
                  <a:pos x="csX1" y="csY1"/>
                </a:cxn>
                <a:cxn ang="0">
                  <a:pos x="csX2" y="csY2"/>
                </a:cxn>
                <a:cxn ang="0">
                  <a:pos x="csX3" y="csY3"/>
                </a:cxn>
                <a:cxn ang="0">
                  <a:pos x="csX4" y="csY4"/>
                </a:cxn>
              </a:cxnLst>
              <a:rect l="l" t="t" r="r" b="b"/>
              <a:pathLst>
                <a:path w="12728" h="12827">
                  <a:moveTo>
                    <a:pt x="-9167" y="-7778"/>
                  </a:moveTo>
                  <a:lnTo>
                    <a:pt x="3561" y="-7778"/>
                  </a:lnTo>
                  <a:lnTo>
                    <a:pt x="3561" y="5050"/>
                  </a:lnTo>
                  <a:lnTo>
                    <a:pt x="-9167" y="5050"/>
                  </a:lnTo>
                  <a:lnTo>
                    <a:pt x="-9167" y="-7778"/>
                  </a:lnTo>
                </a:path>
              </a:pathLst>
            </a:custGeom>
            <a:grpFill/>
            <a:ln w="548" cap="flat">
              <a:noFill/>
              <a:prstDash val="solid"/>
              <a:miter/>
            </a:ln>
          </p:spPr>
          <p:txBody>
            <a:bodyPr/>
            <a:lstStyle/>
            <a:p>
              <a:endParaRPr lang="en-US"/>
            </a:p>
          </p:txBody>
        </p:sp>
        <p:sp>
          <p:nvSpPr>
            <p:cNvPr id="423" name="Freeform: Shape 422">
              <a:extLst>
                <a:ext uri="{FF2B5EF4-FFF2-40B4-BE49-F238E27FC236}">
                  <a16:creationId xmlns:a16="http://schemas.microsoft.com/office/drawing/2014/main" id="{C5D9AEAE-DB4B-04BF-B9CF-CCB1E278F1CA}"/>
                </a:ext>
              </a:extLst>
            </p:cNvPr>
            <p:cNvSpPr/>
            <p:nvPr/>
          </p:nvSpPr>
          <p:spPr>
            <a:xfrm flipV="1">
              <a:off x="24465740" y="3327551"/>
              <a:ext cx="12728" cy="12827"/>
            </a:xfrm>
            <a:custGeom>
              <a:avLst/>
              <a:gdLst>
                <a:gd name="csX0" fmla="*/ -9167 w 12728"/>
                <a:gd name="csY0" fmla="*/ -7814 h 12827"/>
                <a:gd name="csX1" fmla="*/ 3561 w 12728"/>
                <a:gd name="csY1" fmla="*/ -7814 h 12827"/>
                <a:gd name="csX2" fmla="*/ 3561 w 12728"/>
                <a:gd name="csY2" fmla="*/ 5013 h 12827"/>
                <a:gd name="csX3" fmla="*/ -9167 w 12728"/>
                <a:gd name="csY3" fmla="*/ 5013 h 12827"/>
                <a:gd name="csX4" fmla="*/ -9167 w 12728"/>
                <a:gd name="csY4" fmla="*/ -7814 h 12827"/>
              </a:gdLst>
              <a:ahLst/>
              <a:cxnLst>
                <a:cxn ang="0">
                  <a:pos x="csX0" y="csY0"/>
                </a:cxn>
                <a:cxn ang="0">
                  <a:pos x="csX1" y="csY1"/>
                </a:cxn>
                <a:cxn ang="0">
                  <a:pos x="csX2" y="csY2"/>
                </a:cxn>
                <a:cxn ang="0">
                  <a:pos x="csX3" y="csY3"/>
                </a:cxn>
                <a:cxn ang="0">
                  <a:pos x="csX4" y="csY4"/>
                </a:cxn>
              </a:cxnLst>
              <a:rect l="l" t="t" r="r" b="b"/>
              <a:pathLst>
                <a:path w="12728" h="12827">
                  <a:moveTo>
                    <a:pt x="-9167" y="-7814"/>
                  </a:moveTo>
                  <a:lnTo>
                    <a:pt x="3561" y="-7814"/>
                  </a:lnTo>
                  <a:lnTo>
                    <a:pt x="3561" y="5013"/>
                  </a:lnTo>
                  <a:lnTo>
                    <a:pt x="-9167" y="5013"/>
                  </a:lnTo>
                  <a:lnTo>
                    <a:pt x="-9167" y="-7814"/>
                  </a:lnTo>
                </a:path>
              </a:pathLst>
            </a:custGeom>
            <a:grpFill/>
            <a:ln w="548" cap="flat">
              <a:noFill/>
              <a:prstDash val="solid"/>
              <a:miter/>
            </a:ln>
          </p:spPr>
          <p:txBody>
            <a:bodyPr/>
            <a:lstStyle/>
            <a:p>
              <a:endParaRPr lang="en-US"/>
            </a:p>
          </p:txBody>
        </p:sp>
        <p:sp>
          <p:nvSpPr>
            <p:cNvPr id="424" name="Freeform: Shape 423">
              <a:extLst>
                <a:ext uri="{FF2B5EF4-FFF2-40B4-BE49-F238E27FC236}">
                  <a16:creationId xmlns:a16="http://schemas.microsoft.com/office/drawing/2014/main" id="{72DAD29B-167E-00E8-03D8-B09797D298EE}"/>
                </a:ext>
              </a:extLst>
            </p:cNvPr>
            <p:cNvSpPr/>
            <p:nvPr/>
          </p:nvSpPr>
          <p:spPr>
            <a:xfrm flipV="1">
              <a:off x="24424482" y="3386793"/>
              <a:ext cx="12673" cy="12821"/>
            </a:xfrm>
            <a:custGeom>
              <a:avLst/>
              <a:gdLst>
                <a:gd name="csX0" fmla="*/ -9116 w 12673"/>
                <a:gd name="csY0" fmla="*/ -7672 h 12821"/>
                <a:gd name="csX1" fmla="*/ 3557 w 12673"/>
                <a:gd name="csY1" fmla="*/ -7672 h 12821"/>
                <a:gd name="csX2" fmla="*/ 3557 w 12673"/>
                <a:gd name="csY2" fmla="*/ 5150 h 12821"/>
                <a:gd name="csX3" fmla="*/ -9116 w 12673"/>
                <a:gd name="csY3" fmla="*/ 5150 h 12821"/>
                <a:gd name="csX4" fmla="*/ -9116 w 12673"/>
                <a:gd name="csY4" fmla="*/ -7672 h 12821"/>
              </a:gdLst>
              <a:ahLst/>
              <a:cxnLst>
                <a:cxn ang="0">
                  <a:pos x="csX0" y="csY0"/>
                </a:cxn>
                <a:cxn ang="0">
                  <a:pos x="csX1" y="csY1"/>
                </a:cxn>
                <a:cxn ang="0">
                  <a:pos x="csX2" y="csY2"/>
                </a:cxn>
                <a:cxn ang="0">
                  <a:pos x="csX3" y="csY3"/>
                </a:cxn>
                <a:cxn ang="0">
                  <a:pos x="csX4" y="csY4"/>
                </a:cxn>
              </a:cxnLst>
              <a:rect l="l" t="t" r="r" b="b"/>
              <a:pathLst>
                <a:path w="12673" h="12821">
                  <a:moveTo>
                    <a:pt x="-9116" y="-7672"/>
                  </a:moveTo>
                  <a:lnTo>
                    <a:pt x="3557" y="-7672"/>
                  </a:lnTo>
                  <a:lnTo>
                    <a:pt x="3557" y="5150"/>
                  </a:lnTo>
                  <a:lnTo>
                    <a:pt x="-9116" y="5150"/>
                  </a:lnTo>
                  <a:lnTo>
                    <a:pt x="-9116" y="-7672"/>
                  </a:lnTo>
                </a:path>
              </a:pathLst>
            </a:custGeom>
            <a:grpFill/>
            <a:ln w="548" cap="flat">
              <a:noFill/>
              <a:prstDash val="solid"/>
              <a:miter/>
            </a:ln>
          </p:spPr>
          <p:txBody>
            <a:bodyPr/>
            <a:lstStyle/>
            <a:p>
              <a:endParaRPr lang="en-US"/>
            </a:p>
          </p:txBody>
        </p:sp>
        <p:sp>
          <p:nvSpPr>
            <p:cNvPr id="425" name="Freeform: Shape 424">
              <a:extLst>
                <a:ext uri="{FF2B5EF4-FFF2-40B4-BE49-F238E27FC236}">
                  <a16:creationId xmlns:a16="http://schemas.microsoft.com/office/drawing/2014/main" id="{6DCF5417-6BC3-80FE-4D41-60E17EAF4CA9}"/>
                </a:ext>
              </a:extLst>
            </p:cNvPr>
            <p:cNvSpPr/>
            <p:nvPr/>
          </p:nvSpPr>
          <p:spPr>
            <a:xfrm flipV="1">
              <a:off x="24424482" y="3402018"/>
              <a:ext cx="12673" cy="12821"/>
            </a:xfrm>
            <a:custGeom>
              <a:avLst/>
              <a:gdLst>
                <a:gd name="csX0" fmla="*/ -9116 w 12673"/>
                <a:gd name="csY0" fmla="*/ -7635 h 12821"/>
                <a:gd name="csX1" fmla="*/ 3557 w 12673"/>
                <a:gd name="csY1" fmla="*/ -7635 h 12821"/>
                <a:gd name="csX2" fmla="*/ 3557 w 12673"/>
                <a:gd name="csY2" fmla="*/ 5186 h 12821"/>
                <a:gd name="csX3" fmla="*/ -9116 w 12673"/>
                <a:gd name="csY3" fmla="*/ 5186 h 12821"/>
                <a:gd name="csX4" fmla="*/ -9116 w 12673"/>
                <a:gd name="csY4" fmla="*/ -7635 h 12821"/>
              </a:gdLst>
              <a:ahLst/>
              <a:cxnLst>
                <a:cxn ang="0">
                  <a:pos x="csX0" y="csY0"/>
                </a:cxn>
                <a:cxn ang="0">
                  <a:pos x="csX1" y="csY1"/>
                </a:cxn>
                <a:cxn ang="0">
                  <a:pos x="csX2" y="csY2"/>
                </a:cxn>
                <a:cxn ang="0">
                  <a:pos x="csX3" y="csY3"/>
                </a:cxn>
                <a:cxn ang="0">
                  <a:pos x="csX4" y="csY4"/>
                </a:cxn>
              </a:cxnLst>
              <a:rect l="l" t="t" r="r" b="b"/>
              <a:pathLst>
                <a:path w="12673" h="12821">
                  <a:moveTo>
                    <a:pt x="-9116" y="-7635"/>
                  </a:moveTo>
                  <a:lnTo>
                    <a:pt x="3557" y="-7635"/>
                  </a:lnTo>
                  <a:lnTo>
                    <a:pt x="3557" y="5186"/>
                  </a:lnTo>
                  <a:lnTo>
                    <a:pt x="-9116" y="5186"/>
                  </a:lnTo>
                  <a:lnTo>
                    <a:pt x="-9116" y="-7635"/>
                  </a:lnTo>
                </a:path>
              </a:pathLst>
            </a:custGeom>
            <a:grpFill/>
            <a:ln w="548" cap="flat">
              <a:noFill/>
              <a:prstDash val="solid"/>
              <a:miter/>
            </a:ln>
          </p:spPr>
          <p:txBody>
            <a:bodyPr/>
            <a:lstStyle/>
            <a:p>
              <a:endParaRPr lang="en-US"/>
            </a:p>
          </p:txBody>
        </p:sp>
        <p:sp>
          <p:nvSpPr>
            <p:cNvPr id="426" name="Freeform: Shape 425">
              <a:extLst>
                <a:ext uri="{FF2B5EF4-FFF2-40B4-BE49-F238E27FC236}">
                  <a16:creationId xmlns:a16="http://schemas.microsoft.com/office/drawing/2014/main" id="{16CDE60B-9723-9DF2-8184-E291721D6843}"/>
                </a:ext>
              </a:extLst>
            </p:cNvPr>
            <p:cNvSpPr/>
            <p:nvPr/>
          </p:nvSpPr>
          <p:spPr>
            <a:xfrm flipV="1">
              <a:off x="24465740" y="3402018"/>
              <a:ext cx="12728" cy="12821"/>
            </a:xfrm>
            <a:custGeom>
              <a:avLst/>
              <a:gdLst>
                <a:gd name="csX0" fmla="*/ -9167 w 12728"/>
                <a:gd name="csY0" fmla="*/ -7635 h 12821"/>
                <a:gd name="csX1" fmla="*/ 3561 w 12728"/>
                <a:gd name="csY1" fmla="*/ -7635 h 12821"/>
                <a:gd name="csX2" fmla="*/ 3561 w 12728"/>
                <a:gd name="csY2" fmla="*/ 5186 h 12821"/>
                <a:gd name="csX3" fmla="*/ -9167 w 12728"/>
                <a:gd name="csY3" fmla="*/ 5186 h 12821"/>
                <a:gd name="csX4" fmla="*/ -9167 w 12728"/>
                <a:gd name="csY4" fmla="*/ -7635 h 12821"/>
              </a:gdLst>
              <a:ahLst/>
              <a:cxnLst>
                <a:cxn ang="0">
                  <a:pos x="csX0" y="csY0"/>
                </a:cxn>
                <a:cxn ang="0">
                  <a:pos x="csX1" y="csY1"/>
                </a:cxn>
                <a:cxn ang="0">
                  <a:pos x="csX2" y="csY2"/>
                </a:cxn>
                <a:cxn ang="0">
                  <a:pos x="csX3" y="csY3"/>
                </a:cxn>
                <a:cxn ang="0">
                  <a:pos x="csX4" y="csY4"/>
                </a:cxn>
              </a:cxnLst>
              <a:rect l="l" t="t" r="r" b="b"/>
              <a:pathLst>
                <a:path w="12728" h="12821">
                  <a:moveTo>
                    <a:pt x="-9167" y="-7635"/>
                  </a:moveTo>
                  <a:lnTo>
                    <a:pt x="3561" y="-7635"/>
                  </a:lnTo>
                  <a:lnTo>
                    <a:pt x="3561" y="5186"/>
                  </a:lnTo>
                  <a:lnTo>
                    <a:pt x="-9167" y="5186"/>
                  </a:lnTo>
                  <a:lnTo>
                    <a:pt x="-9167" y="-7635"/>
                  </a:lnTo>
                </a:path>
              </a:pathLst>
            </a:custGeom>
            <a:grpFill/>
            <a:ln w="548" cap="flat">
              <a:noFill/>
              <a:prstDash val="solid"/>
              <a:miter/>
            </a:ln>
          </p:spPr>
          <p:txBody>
            <a:bodyPr/>
            <a:lstStyle/>
            <a:p>
              <a:endParaRPr lang="en-US"/>
            </a:p>
          </p:txBody>
        </p:sp>
        <p:sp>
          <p:nvSpPr>
            <p:cNvPr id="427" name="Freeform: Shape 426">
              <a:extLst>
                <a:ext uri="{FF2B5EF4-FFF2-40B4-BE49-F238E27FC236}">
                  <a16:creationId xmlns:a16="http://schemas.microsoft.com/office/drawing/2014/main" id="{27849F2D-9F71-578F-3DE4-02C06C68DF6E}"/>
                </a:ext>
              </a:extLst>
            </p:cNvPr>
            <p:cNvSpPr/>
            <p:nvPr/>
          </p:nvSpPr>
          <p:spPr>
            <a:xfrm flipV="1">
              <a:off x="24465740" y="3386793"/>
              <a:ext cx="12728" cy="12821"/>
            </a:xfrm>
            <a:custGeom>
              <a:avLst/>
              <a:gdLst>
                <a:gd name="csX0" fmla="*/ -9167 w 12728"/>
                <a:gd name="csY0" fmla="*/ -7672 h 12821"/>
                <a:gd name="csX1" fmla="*/ 3561 w 12728"/>
                <a:gd name="csY1" fmla="*/ -7672 h 12821"/>
                <a:gd name="csX2" fmla="*/ 3561 w 12728"/>
                <a:gd name="csY2" fmla="*/ 5150 h 12821"/>
                <a:gd name="csX3" fmla="*/ -9167 w 12728"/>
                <a:gd name="csY3" fmla="*/ 5150 h 12821"/>
                <a:gd name="csX4" fmla="*/ -9167 w 12728"/>
                <a:gd name="csY4" fmla="*/ -7672 h 12821"/>
              </a:gdLst>
              <a:ahLst/>
              <a:cxnLst>
                <a:cxn ang="0">
                  <a:pos x="csX0" y="csY0"/>
                </a:cxn>
                <a:cxn ang="0">
                  <a:pos x="csX1" y="csY1"/>
                </a:cxn>
                <a:cxn ang="0">
                  <a:pos x="csX2" y="csY2"/>
                </a:cxn>
                <a:cxn ang="0">
                  <a:pos x="csX3" y="csY3"/>
                </a:cxn>
                <a:cxn ang="0">
                  <a:pos x="csX4" y="csY4"/>
                </a:cxn>
              </a:cxnLst>
              <a:rect l="l" t="t" r="r" b="b"/>
              <a:pathLst>
                <a:path w="12728" h="12821">
                  <a:moveTo>
                    <a:pt x="-9167" y="-7672"/>
                  </a:moveTo>
                  <a:lnTo>
                    <a:pt x="3561" y="-7672"/>
                  </a:lnTo>
                  <a:lnTo>
                    <a:pt x="3561" y="5150"/>
                  </a:lnTo>
                  <a:lnTo>
                    <a:pt x="-9167" y="5150"/>
                  </a:lnTo>
                  <a:lnTo>
                    <a:pt x="-9167" y="-7672"/>
                  </a:lnTo>
                </a:path>
              </a:pathLst>
            </a:custGeom>
            <a:grpFill/>
            <a:ln w="548" cap="flat">
              <a:noFill/>
              <a:prstDash val="solid"/>
              <a:miter/>
            </a:ln>
          </p:spPr>
          <p:txBody>
            <a:bodyPr/>
            <a:lstStyle/>
            <a:p>
              <a:endParaRPr lang="en-US"/>
            </a:p>
          </p:txBody>
        </p:sp>
        <p:sp>
          <p:nvSpPr>
            <p:cNvPr id="428" name="Freeform: Shape 427">
              <a:extLst>
                <a:ext uri="{FF2B5EF4-FFF2-40B4-BE49-F238E27FC236}">
                  <a16:creationId xmlns:a16="http://schemas.microsoft.com/office/drawing/2014/main" id="{6AC751D5-5884-DD84-386A-B266AC948645}"/>
                </a:ext>
              </a:extLst>
            </p:cNvPr>
            <p:cNvSpPr/>
            <p:nvPr/>
          </p:nvSpPr>
          <p:spPr>
            <a:xfrm flipV="1">
              <a:off x="24424482" y="3446030"/>
              <a:ext cx="12673" cy="12827"/>
            </a:xfrm>
            <a:custGeom>
              <a:avLst/>
              <a:gdLst>
                <a:gd name="csX0" fmla="*/ -9116 w 12673"/>
                <a:gd name="csY0" fmla="*/ -7529 h 12827"/>
                <a:gd name="csX1" fmla="*/ 3557 w 12673"/>
                <a:gd name="csY1" fmla="*/ -7529 h 12827"/>
                <a:gd name="csX2" fmla="*/ 3557 w 12673"/>
                <a:gd name="csY2" fmla="*/ 5298 h 12827"/>
                <a:gd name="csX3" fmla="*/ -9116 w 12673"/>
                <a:gd name="csY3" fmla="*/ 5298 h 12827"/>
                <a:gd name="csX4" fmla="*/ -9116 w 12673"/>
                <a:gd name="csY4" fmla="*/ -7529 h 12827"/>
              </a:gdLst>
              <a:ahLst/>
              <a:cxnLst>
                <a:cxn ang="0">
                  <a:pos x="csX0" y="csY0"/>
                </a:cxn>
                <a:cxn ang="0">
                  <a:pos x="csX1" y="csY1"/>
                </a:cxn>
                <a:cxn ang="0">
                  <a:pos x="csX2" y="csY2"/>
                </a:cxn>
                <a:cxn ang="0">
                  <a:pos x="csX3" y="csY3"/>
                </a:cxn>
                <a:cxn ang="0">
                  <a:pos x="csX4" y="csY4"/>
                </a:cxn>
              </a:cxnLst>
              <a:rect l="l" t="t" r="r" b="b"/>
              <a:pathLst>
                <a:path w="12673" h="12827">
                  <a:moveTo>
                    <a:pt x="-9116" y="-7529"/>
                  </a:moveTo>
                  <a:lnTo>
                    <a:pt x="3557" y="-7529"/>
                  </a:lnTo>
                  <a:lnTo>
                    <a:pt x="3557" y="5298"/>
                  </a:lnTo>
                  <a:lnTo>
                    <a:pt x="-9116" y="5298"/>
                  </a:lnTo>
                  <a:lnTo>
                    <a:pt x="-9116" y="-7529"/>
                  </a:lnTo>
                </a:path>
              </a:pathLst>
            </a:custGeom>
            <a:grpFill/>
            <a:ln w="548" cap="flat">
              <a:noFill/>
              <a:prstDash val="solid"/>
              <a:miter/>
            </a:ln>
          </p:spPr>
          <p:txBody>
            <a:bodyPr/>
            <a:lstStyle/>
            <a:p>
              <a:endParaRPr lang="en-US"/>
            </a:p>
          </p:txBody>
        </p:sp>
        <p:sp>
          <p:nvSpPr>
            <p:cNvPr id="429" name="Freeform: Shape 428">
              <a:extLst>
                <a:ext uri="{FF2B5EF4-FFF2-40B4-BE49-F238E27FC236}">
                  <a16:creationId xmlns:a16="http://schemas.microsoft.com/office/drawing/2014/main" id="{B4C8FE20-BC60-6C5B-393E-FD6C6EF89EB0}"/>
                </a:ext>
              </a:extLst>
            </p:cNvPr>
            <p:cNvSpPr/>
            <p:nvPr/>
          </p:nvSpPr>
          <p:spPr>
            <a:xfrm flipV="1">
              <a:off x="24424482" y="3461260"/>
              <a:ext cx="12673" cy="12821"/>
            </a:xfrm>
            <a:custGeom>
              <a:avLst/>
              <a:gdLst>
                <a:gd name="csX0" fmla="*/ -9116 w 12673"/>
                <a:gd name="csY0" fmla="*/ -7492 h 12821"/>
                <a:gd name="csX1" fmla="*/ 3557 w 12673"/>
                <a:gd name="csY1" fmla="*/ -7492 h 12821"/>
                <a:gd name="csX2" fmla="*/ 3557 w 12673"/>
                <a:gd name="csY2" fmla="*/ 5329 h 12821"/>
                <a:gd name="csX3" fmla="*/ -9116 w 12673"/>
                <a:gd name="csY3" fmla="*/ 5329 h 12821"/>
                <a:gd name="csX4" fmla="*/ -9116 w 12673"/>
                <a:gd name="csY4" fmla="*/ -7492 h 12821"/>
              </a:gdLst>
              <a:ahLst/>
              <a:cxnLst>
                <a:cxn ang="0">
                  <a:pos x="csX0" y="csY0"/>
                </a:cxn>
                <a:cxn ang="0">
                  <a:pos x="csX1" y="csY1"/>
                </a:cxn>
                <a:cxn ang="0">
                  <a:pos x="csX2" y="csY2"/>
                </a:cxn>
                <a:cxn ang="0">
                  <a:pos x="csX3" y="csY3"/>
                </a:cxn>
                <a:cxn ang="0">
                  <a:pos x="csX4" y="csY4"/>
                </a:cxn>
              </a:cxnLst>
              <a:rect l="l" t="t" r="r" b="b"/>
              <a:pathLst>
                <a:path w="12673" h="12821">
                  <a:moveTo>
                    <a:pt x="-9116" y="-7492"/>
                  </a:moveTo>
                  <a:lnTo>
                    <a:pt x="3557" y="-7492"/>
                  </a:lnTo>
                  <a:lnTo>
                    <a:pt x="3557" y="5329"/>
                  </a:lnTo>
                  <a:lnTo>
                    <a:pt x="-9116" y="5329"/>
                  </a:lnTo>
                  <a:lnTo>
                    <a:pt x="-9116" y="-7492"/>
                  </a:lnTo>
                </a:path>
              </a:pathLst>
            </a:custGeom>
            <a:grpFill/>
            <a:ln w="548" cap="flat">
              <a:noFill/>
              <a:prstDash val="solid"/>
              <a:miter/>
            </a:ln>
          </p:spPr>
          <p:txBody>
            <a:bodyPr/>
            <a:lstStyle/>
            <a:p>
              <a:endParaRPr lang="en-US"/>
            </a:p>
          </p:txBody>
        </p:sp>
        <p:sp>
          <p:nvSpPr>
            <p:cNvPr id="430" name="Freeform: Shape 429">
              <a:extLst>
                <a:ext uri="{FF2B5EF4-FFF2-40B4-BE49-F238E27FC236}">
                  <a16:creationId xmlns:a16="http://schemas.microsoft.com/office/drawing/2014/main" id="{EECFB0F7-ED71-1CBC-778D-B60259108AB6}"/>
                </a:ext>
              </a:extLst>
            </p:cNvPr>
            <p:cNvSpPr/>
            <p:nvPr/>
          </p:nvSpPr>
          <p:spPr>
            <a:xfrm flipV="1">
              <a:off x="24465740" y="3446030"/>
              <a:ext cx="12728" cy="12827"/>
            </a:xfrm>
            <a:custGeom>
              <a:avLst/>
              <a:gdLst>
                <a:gd name="csX0" fmla="*/ -9167 w 12728"/>
                <a:gd name="csY0" fmla="*/ -7529 h 12827"/>
                <a:gd name="csX1" fmla="*/ 3561 w 12728"/>
                <a:gd name="csY1" fmla="*/ -7529 h 12827"/>
                <a:gd name="csX2" fmla="*/ 3561 w 12728"/>
                <a:gd name="csY2" fmla="*/ 5298 h 12827"/>
                <a:gd name="csX3" fmla="*/ -9167 w 12728"/>
                <a:gd name="csY3" fmla="*/ 5298 h 12827"/>
                <a:gd name="csX4" fmla="*/ -9167 w 12728"/>
                <a:gd name="csY4" fmla="*/ -7529 h 12827"/>
              </a:gdLst>
              <a:ahLst/>
              <a:cxnLst>
                <a:cxn ang="0">
                  <a:pos x="csX0" y="csY0"/>
                </a:cxn>
                <a:cxn ang="0">
                  <a:pos x="csX1" y="csY1"/>
                </a:cxn>
                <a:cxn ang="0">
                  <a:pos x="csX2" y="csY2"/>
                </a:cxn>
                <a:cxn ang="0">
                  <a:pos x="csX3" y="csY3"/>
                </a:cxn>
                <a:cxn ang="0">
                  <a:pos x="csX4" y="csY4"/>
                </a:cxn>
              </a:cxnLst>
              <a:rect l="l" t="t" r="r" b="b"/>
              <a:pathLst>
                <a:path w="12728" h="12827">
                  <a:moveTo>
                    <a:pt x="-9167" y="-7529"/>
                  </a:moveTo>
                  <a:lnTo>
                    <a:pt x="3561" y="-7529"/>
                  </a:lnTo>
                  <a:lnTo>
                    <a:pt x="3561" y="5298"/>
                  </a:lnTo>
                  <a:lnTo>
                    <a:pt x="-9167" y="5298"/>
                  </a:lnTo>
                  <a:lnTo>
                    <a:pt x="-9167" y="-7529"/>
                  </a:lnTo>
                </a:path>
              </a:pathLst>
            </a:custGeom>
            <a:grpFill/>
            <a:ln w="548" cap="flat">
              <a:noFill/>
              <a:prstDash val="solid"/>
              <a:miter/>
            </a:ln>
          </p:spPr>
          <p:txBody>
            <a:bodyPr/>
            <a:lstStyle/>
            <a:p>
              <a:endParaRPr lang="en-US"/>
            </a:p>
          </p:txBody>
        </p:sp>
        <p:sp>
          <p:nvSpPr>
            <p:cNvPr id="431" name="Freeform: Shape 430">
              <a:extLst>
                <a:ext uri="{FF2B5EF4-FFF2-40B4-BE49-F238E27FC236}">
                  <a16:creationId xmlns:a16="http://schemas.microsoft.com/office/drawing/2014/main" id="{951B4852-090E-2D20-1BA8-1F171C335C8C}"/>
                </a:ext>
              </a:extLst>
            </p:cNvPr>
            <p:cNvSpPr/>
            <p:nvPr/>
          </p:nvSpPr>
          <p:spPr>
            <a:xfrm flipV="1">
              <a:off x="24465740" y="3461260"/>
              <a:ext cx="12728" cy="12821"/>
            </a:xfrm>
            <a:custGeom>
              <a:avLst/>
              <a:gdLst>
                <a:gd name="csX0" fmla="*/ -9167 w 12728"/>
                <a:gd name="csY0" fmla="*/ -7492 h 12821"/>
                <a:gd name="csX1" fmla="*/ 3561 w 12728"/>
                <a:gd name="csY1" fmla="*/ -7492 h 12821"/>
                <a:gd name="csX2" fmla="*/ 3561 w 12728"/>
                <a:gd name="csY2" fmla="*/ 5329 h 12821"/>
                <a:gd name="csX3" fmla="*/ -9167 w 12728"/>
                <a:gd name="csY3" fmla="*/ 5329 h 12821"/>
                <a:gd name="csX4" fmla="*/ -9167 w 12728"/>
                <a:gd name="csY4" fmla="*/ -7492 h 12821"/>
              </a:gdLst>
              <a:ahLst/>
              <a:cxnLst>
                <a:cxn ang="0">
                  <a:pos x="csX0" y="csY0"/>
                </a:cxn>
                <a:cxn ang="0">
                  <a:pos x="csX1" y="csY1"/>
                </a:cxn>
                <a:cxn ang="0">
                  <a:pos x="csX2" y="csY2"/>
                </a:cxn>
                <a:cxn ang="0">
                  <a:pos x="csX3" y="csY3"/>
                </a:cxn>
                <a:cxn ang="0">
                  <a:pos x="csX4" y="csY4"/>
                </a:cxn>
              </a:cxnLst>
              <a:rect l="l" t="t" r="r" b="b"/>
              <a:pathLst>
                <a:path w="12728" h="12821">
                  <a:moveTo>
                    <a:pt x="-9167" y="-7492"/>
                  </a:moveTo>
                  <a:lnTo>
                    <a:pt x="3561" y="-7492"/>
                  </a:lnTo>
                  <a:lnTo>
                    <a:pt x="3561" y="5329"/>
                  </a:lnTo>
                  <a:lnTo>
                    <a:pt x="-9167" y="5329"/>
                  </a:lnTo>
                  <a:lnTo>
                    <a:pt x="-9167" y="-7492"/>
                  </a:lnTo>
                </a:path>
              </a:pathLst>
            </a:custGeom>
            <a:grpFill/>
            <a:ln w="548" cap="flat">
              <a:noFill/>
              <a:prstDash val="solid"/>
              <a:miter/>
            </a:ln>
          </p:spPr>
          <p:txBody>
            <a:bodyPr/>
            <a:lstStyle/>
            <a:p>
              <a:endParaRPr lang="en-US"/>
            </a:p>
          </p:txBody>
        </p:sp>
        <p:sp>
          <p:nvSpPr>
            <p:cNvPr id="432" name="Freeform: Shape 431">
              <a:extLst>
                <a:ext uri="{FF2B5EF4-FFF2-40B4-BE49-F238E27FC236}">
                  <a16:creationId xmlns:a16="http://schemas.microsoft.com/office/drawing/2014/main" id="{398A8438-8A9D-7EE0-5D15-43C8966DE564}"/>
                </a:ext>
              </a:extLst>
            </p:cNvPr>
            <p:cNvSpPr/>
            <p:nvPr/>
          </p:nvSpPr>
          <p:spPr>
            <a:xfrm flipV="1">
              <a:off x="24424482" y="3520497"/>
              <a:ext cx="12673" cy="12827"/>
            </a:xfrm>
            <a:custGeom>
              <a:avLst/>
              <a:gdLst>
                <a:gd name="csX0" fmla="*/ -9116 w 12673"/>
                <a:gd name="csY0" fmla="*/ -7350 h 12827"/>
                <a:gd name="csX1" fmla="*/ 3557 w 12673"/>
                <a:gd name="csY1" fmla="*/ -7350 h 12827"/>
                <a:gd name="csX2" fmla="*/ 3557 w 12673"/>
                <a:gd name="csY2" fmla="*/ 5477 h 12827"/>
                <a:gd name="csX3" fmla="*/ -9116 w 12673"/>
                <a:gd name="csY3" fmla="*/ 5477 h 12827"/>
                <a:gd name="csX4" fmla="*/ -9116 w 12673"/>
                <a:gd name="csY4" fmla="*/ -7350 h 12827"/>
              </a:gdLst>
              <a:ahLst/>
              <a:cxnLst>
                <a:cxn ang="0">
                  <a:pos x="csX0" y="csY0"/>
                </a:cxn>
                <a:cxn ang="0">
                  <a:pos x="csX1" y="csY1"/>
                </a:cxn>
                <a:cxn ang="0">
                  <a:pos x="csX2" y="csY2"/>
                </a:cxn>
                <a:cxn ang="0">
                  <a:pos x="csX3" y="csY3"/>
                </a:cxn>
                <a:cxn ang="0">
                  <a:pos x="csX4" y="csY4"/>
                </a:cxn>
              </a:cxnLst>
              <a:rect l="l" t="t" r="r" b="b"/>
              <a:pathLst>
                <a:path w="12673" h="12827">
                  <a:moveTo>
                    <a:pt x="-9116" y="-7350"/>
                  </a:moveTo>
                  <a:lnTo>
                    <a:pt x="3557" y="-7350"/>
                  </a:lnTo>
                  <a:lnTo>
                    <a:pt x="3557" y="5477"/>
                  </a:lnTo>
                  <a:lnTo>
                    <a:pt x="-9116" y="5477"/>
                  </a:lnTo>
                  <a:lnTo>
                    <a:pt x="-9116" y="-7350"/>
                  </a:lnTo>
                </a:path>
              </a:pathLst>
            </a:custGeom>
            <a:grpFill/>
            <a:ln w="548" cap="flat">
              <a:noFill/>
              <a:prstDash val="solid"/>
              <a:miter/>
            </a:ln>
          </p:spPr>
          <p:txBody>
            <a:bodyPr/>
            <a:lstStyle/>
            <a:p>
              <a:endParaRPr lang="en-US"/>
            </a:p>
          </p:txBody>
        </p:sp>
        <p:sp>
          <p:nvSpPr>
            <p:cNvPr id="433" name="Freeform: Shape 432">
              <a:extLst>
                <a:ext uri="{FF2B5EF4-FFF2-40B4-BE49-F238E27FC236}">
                  <a16:creationId xmlns:a16="http://schemas.microsoft.com/office/drawing/2014/main" id="{24CB39A9-8F93-E85E-0C42-A7077C83AAF5}"/>
                </a:ext>
              </a:extLst>
            </p:cNvPr>
            <p:cNvSpPr/>
            <p:nvPr/>
          </p:nvSpPr>
          <p:spPr>
            <a:xfrm flipV="1">
              <a:off x="24424482" y="3505272"/>
              <a:ext cx="12673" cy="12827"/>
            </a:xfrm>
            <a:custGeom>
              <a:avLst/>
              <a:gdLst>
                <a:gd name="csX0" fmla="*/ -9116 w 12673"/>
                <a:gd name="csY0" fmla="*/ -7387 h 12827"/>
                <a:gd name="csX1" fmla="*/ 3557 w 12673"/>
                <a:gd name="csY1" fmla="*/ -7387 h 12827"/>
                <a:gd name="csX2" fmla="*/ 3557 w 12673"/>
                <a:gd name="csY2" fmla="*/ 5441 h 12827"/>
                <a:gd name="csX3" fmla="*/ -9116 w 12673"/>
                <a:gd name="csY3" fmla="*/ 5441 h 12827"/>
                <a:gd name="csX4" fmla="*/ -9116 w 12673"/>
                <a:gd name="csY4" fmla="*/ -7387 h 12827"/>
              </a:gdLst>
              <a:ahLst/>
              <a:cxnLst>
                <a:cxn ang="0">
                  <a:pos x="csX0" y="csY0"/>
                </a:cxn>
                <a:cxn ang="0">
                  <a:pos x="csX1" y="csY1"/>
                </a:cxn>
                <a:cxn ang="0">
                  <a:pos x="csX2" y="csY2"/>
                </a:cxn>
                <a:cxn ang="0">
                  <a:pos x="csX3" y="csY3"/>
                </a:cxn>
                <a:cxn ang="0">
                  <a:pos x="csX4" y="csY4"/>
                </a:cxn>
              </a:cxnLst>
              <a:rect l="l" t="t" r="r" b="b"/>
              <a:pathLst>
                <a:path w="12673" h="12827">
                  <a:moveTo>
                    <a:pt x="-9116" y="-7387"/>
                  </a:moveTo>
                  <a:lnTo>
                    <a:pt x="3557" y="-7387"/>
                  </a:lnTo>
                  <a:lnTo>
                    <a:pt x="3557" y="5441"/>
                  </a:lnTo>
                  <a:lnTo>
                    <a:pt x="-9116" y="5441"/>
                  </a:lnTo>
                  <a:lnTo>
                    <a:pt x="-9116" y="-7387"/>
                  </a:lnTo>
                </a:path>
              </a:pathLst>
            </a:custGeom>
            <a:grpFill/>
            <a:ln w="548" cap="flat">
              <a:noFill/>
              <a:prstDash val="solid"/>
              <a:miter/>
            </a:ln>
          </p:spPr>
          <p:txBody>
            <a:bodyPr/>
            <a:lstStyle/>
            <a:p>
              <a:endParaRPr lang="en-US"/>
            </a:p>
          </p:txBody>
        </p:sp>
        <p:sp>
          <p:nvSpPr>
            <p:cNvPr id="434" name="Freeform: Shape 433">
              <a:extLst>
                <a:ext uri="{FF2B5EF4-FFF2-40B4-BE49-F238E27FC236}">
                  <a16:creationId xmlns:a16="http://schemas.microsoft.com/office/drawing/2014/main" id="{CE90D751-75D0-D45A-C7E0-E63B9DB4ACF2}"/>
                </a:ext>
              </a:extLst>
            </p:cNvPr>
            <p:cNvSpPr/>
            <p:nvPr/>
          </p:nvSpPr>
          <p:spPr>
            <a:xfrm flipV="1">
              <a:off x="24465740" y="3520497"/>
              <a:ext cx="12728" cy="12827"/>
            </a:xfrm>
            <a:custGeom>
              <a:avLst/>
              <a:gdLst>
                <a:gd name="csX0" fmla="*/ -9167 w 12728"/>
                <a:gd name="csY0" fmla="*/ -7350 h 12827"/>
                <a:gd name="csX1" fmla="*/ 3561 w 12728"/>
                <a:gd name="csY1" fmla="*/ -7350 h 12827"/>
                <a:gd name="csX2" fmla="*/ 3561 w 12728"/>
                <a:gd name="csY2" fmla="*/ 5477 h 12827"/>
                <a:gd name="csX3" fmla="*/ -9167 w 12728"/>
                <a:gd name="csY3" fmla="*/ 5477 h 12827"/>
                <a:gd name="csX4" fmla="*/ -9167 w 12728"/>
                <a:gd name="csY4" fmla="*/ -7350 h 12827"/>
              </a:gdLst>
              <a:ahLst/>
              <a:cxnLst>
                <a:cxn ang="0">
                  <a:pos x="csX0" y="csY0"/>
                </a:cxn>
                <a:cxn ang="0">
                  <a:pos x="csX1" y="csY1"/>
                </a:cxn>
                <a:cxn ang="0">
                  <a:pos x="csX2" y="csY2"/>
                </a:cxn>
                <a:cxn ang="0">
                  <a:pos x="csX3" y="csY3"/>
                </a:cxn>
                <a:cxn ang="0">
                  <a:pos x="csX4" y="csY4"/>
                </a:cxn>
              </a:cxnLst>
              <a:rect l="l" t="t" r="r" b="b"/>
              <a:pathLst>
                <a:path w="12728" h="12827">
                  <a:moveTo>
                    <a:pt x="-9167" y="-7350"/>
                  </a:moveTo>
                  <a:lnTo>
                    <a:pt x="3561" y="-7350"/>
                  </a:lnTo>
                  <a:lnTo>
                    <a:pt x="3561" y="5477"/>
                  </a:lnTo>
                  <a:lnTo>
                    <a:pt x="-9167" y="5477"/>
                  </a:lnTo>
                  <a:lnTo>
                    <a:pt x="-9167" y="-7350"/>
                  </a:lnTo>
                </a:path>
              </a:pathLst>
            </a:custGeom>
            <a:grpFill/>
            <a:ln w="548" cap="flat">
              <a:noFill/>
              <a:prstDash val="solid"/>
              <a:miter/>
            </a:ln>
          </p:spPr>
          <p:txBody>
            <a:bodyPr/>
            <a:lstStyle/>
            <a:p>
              <a:endParaRPr lang="en-US"/>
            </a:p>
          </p:txBody>
        </p:sp>
        <p:sp>
          <p:nvSpPr>
            <p:cNvPr id="435" name="Freeform: Shape 434">
              <a:extLst>
                <a:ext uri="{FF2B5EF4-FFF2-40B4-BE49-F238E27FC236}">
                  <a16:creationId xmlns:a16="http://schemas.microsoft.com/office/drawing/2014/main" id="{13D805F3-E7C8-7E0B-0639-F64E990222CC}"/>
                </a:ext>
              </a:extLst>
            </p:cNvPr>
            <p:cNvSpPr/>
            <p:nvPr/>
          </p:nvSpPr>
          <p:spPr>
            <a:xfrm flipV="1">
              <a:off x="24465740" y="3505272"/>
              <a:ext cx="12728" cy="12827"/>
            </a:xfrm>
            <a:custGeom>
              <a:avLst/>
              <a:gdLst>
                <a:gd name="csX0" fmla="*/ -9167 w 12728"/>
                <a:gd name="csY0" fmla="*/ -7387 h 12827"/>
                <a:gd name="csX1" fmla="*/ 3561 w 12728"/>
                <a:gd name="csY1" fmla="*/ -7387 h 12827"/>
                <a:gd name="csX2" fmla="*/ 3561 w 12728"/>
                <a:gd name="csY2" fmla="*/ 5441 h 12827"/>
                <a:gd name="csX3" fmla="*/ -9167 w 12728"/>
                <a:gd name="csY3" fmla="*/ 5441 h 12827"/>
                <a:gd name="csX4" fmla="*/ -9167 w 12728"/>
                <a:gd name="csY4" fmla="*/ -7387 h 12827"/>
              </a:gdLst>
              <a:ahLst/>
              <a:cxnLst>
                <a:cxn ang="0">
                  <a:pos x="csX0" y="csY0"/>
                </a:cxn>
                <a:cxn ang="0">
                  <a:pos x="csX1" y="csY1"/>
                </a:cxn>
                <a:cxn ang="0">
                  <a:pos x="csX2" y="csY2"/>
                </a:cxn>
                <a:cxn ang="0">
                  <a:pos x="csX3" y="csY3"/>
                </a:cxn>
                <a:cxn ang="0">
                  <a:pos x="csX4" y="csY4"/>
                </a:cxn>
              </a:cxnLst>
              <a:rect l="l" t="t" r="r" b="b"/>
              <a:pathLst>
                <a:path w="12728" h="12827">
                  <a:moveTo>
                    <a:pt x="-9167" y="-7387"/>
                  </a:moveTo>
                  <a:lnTo>
                    <a:pt x="3561" y="-7387"/>
                  </a:lnTo>
                  <a:lnTo>
                    <a:pt x="3561" y="5441"/>
                  </a:lnTo>
                  <a:lnTo>
                    <a:pt x="-9167" y="5441"/>
                  </a:lnTo>
                  <a:lnTo>
                    <a:pt x="-9167" y="-7387"/>
                  </a:lnTo>
                </a:path>
              </a:pathLst>
            </a:custGeom>
            <a:grpFill/>
            <a:ln w="548" cap="flat">
              <a:noFill/>
              <a:prstDash val="solid"/>
              <a:miter/>
            </a:ln>
          </p:spPr>
          <p:txBody>
            <a:bodyPr/>
            <a:lstStyle/>
            <a:p>
              <a:endParaRPr lang="en-US"/>
            </a:p>
          </p:txBody>
        </p:sp>
        <p:sp>
          <p:nvSpPr>
            <p:cNvPr id="436" name="Freeform: Shape 435">
              <a:extLst>
                <a:ext uri="{FF2B5EF4-FFF2-40B4-BE49-F238E27FC236}">
                  <a16:creationId xmlns:a16="http://schemas.microsoft.com/office/drawing/2014/main" id="{9BB02ADB-A535-764D-8C97-FE133199A66F}"/>
                </a:ext>
              </a:extLst>
            </p:cNvPr>
            <p:cNvSpPr/>
            <p:nvPr/>
          </p:nvSpPr>
          <p:spPr>
            <a:xfrm flipV="1">
              <a:off x="24396391" y="3559148"/>
              <a:ext cx="21671" cy="11834"/>
            </a:xfrm>
            <a:custGeom>
              <a:avLst/>
              <a:gdLst>
                <a:gd name="csX0" fmla="*/ 12585 w 21671"/>
                <a:gd name="csY0" fmla="*/ 4576 h 11834"/>
                <a:gd name="csX1" fmla="*/ -9087 w 21671"/>
                <a:gd name="csY1" fmla="*/ 4576 h 11834"/>
                <a:gd name="csX2" fmla="*/ -9087 w 21671"/>
                <a:gd name="csY2" fmla="*/ -7258 h 11834"/>
                <a:gd name="csX3" fmla="*/ 12585 w 21671"/>
                <a:gd name="csY3" fmla="*/ -7258 h 11834"/>
                <a:gd name="csX4" fmla="*/ 12585 w 21671"/>
                <a:gd name="csY4" fmla="*/ 4576 h 11834"/>
              </a:gdLst>
              <a:ahLst/>
              <a:cxnLst>
                <a:cxn ang="0">
                  <a:pos x="csX0" y="csY0"/>
                </a:cxn>
                <a:cxn ang="0">
                  <a:pos x="csX1" y="csY1"/>
                </a:cxn>
                <a:cxn ang="0">
                  <a:pos x="csX2" y="csY2"/>
                </a:cxn>
                <a:cxn ang="0">
                  <a:pos x="csX3" y="csY3"/>
                </a:cxn>
                <a:cxn ang="0">
                  <a:pos x="csX4" y="csY4"/>
                </a:cxn>
              </a:cxnLst>
              <a:rect l="l" t="t" r="r" b="b"/>
              <a:pathLst>
                <a:path w="21671" h="11834">
                  <a:moveTo>
                    <a:pt x="12585" y="4576"/>
                  </a:moveTo>
                  <a:lnTo>
                    <a:pt x="-9087" y="4576"/>
                  </a:lnTo>
                  <a:lnTo>
                    <a:pt x="-9087" y="-7258"/>
                  </a:lnTo>
                  <a:lnTo>
                    <a:pt x="12585" y="-7258"/>
                  </a:lnTo>
                  <a:lnTo>
                    <a:pt x="12585" y="4576"/>
                  </a:lnTo>
                </a:path>
              </a:pathLst>
            </a:custGeom>
            <a:grpFill/>
            <a:ln w="548" cap="flat">
              <a:noFill/>
              <a:prstDash val="solid"/>
              <a:miter/>
            </a:ln>
          </p:spPr>
          <p:txBody>
            <a:bodyPr/>
            <a:lstStyle/>
            <a:p>
              <a:endParaRPr lang="en-US"/>
            </a:p>
          </p:txBody>
        </p:sp>
        <p:sp>
          <p:nvSpPr>
            <p:cNvPr id="437" name="Freeform: Shape 436">
              <a:extLst>
                <a:ext uri="{FF2B5EF4-FFF2-40B4-BE49-F238E27FC236}">
                  <a16:creationId xmlns:a16="http://schemas.microsoft.com/office/drawing/2014/main" id="{DA5FA42D-F1D7-F172-8F07-46C6A4517DDD}"/>
                </a:ext>
              </a:extLst>
            </p:cNvPr>
            <p:cNvSpPr/>
            <p:nvPr/>
          </p:nvSpPr>
          <p:spPr>
            <a:xfrm flipV="1">
              <a:off x="24396391" y="3573386"/>
              <a:ext cx="21671" cy="11828"/>
            </a:xfrm>
            <a:custGeom>
              <a:avLst/>
              <a:gdLst>
                <a:gd name="csX0" fmla="*/ -9087 w 21671"/>
                <a:gd name="csY0" fmla="*/ -7224 h 11828"/>
                <a:gd name="csX1" fmla="*/ 12585 w 21671"/>
                <a:gd name="csY1" fmla="*/ -7224 h 11828"/>
                <a:gd name="csX2" fmla="*/ 12585 w 21671"/>
                <a:gd name="csY2" fmla="*/ 4605 h 11828"/>
                <a:gd name="csX3" fmla="*/ -9087 w 21671"/>
                <a:gd name="csY3" fmla="*/ 4605 h 11828"/>
                <a:gd name="csX4" fmla="*/ -9087 w 21671"/>
                <a:gd name="csY4" fmla="*/ -7224 h 11828"/>
              </a:gdLst>
              <a:ahLst/>
              <a:cxnLst>
                <a:cxn ang="0">
                  <a:pos x="csX0" y="csY0"/>
                </a:cxn>
                <a:cxn ang="0">
                  <a:pos x="csX1" y="csY1"/>
                </a:cxn>
                <a:cxn ang="0">
                  <a:pos x="csX2" y="csY2"/>
                </a:cxn>
                <a:cxn ang="0">
                  <a:pos x="csX3" y="csY3"/>
                </a:cxn>
                <a:cxn ang="0">
                  <a:pos x="csX4" y="csY4"/>
                </a:cxn>
              </a:cxnLst>
              <a:rect l="l" t="t" r="r" b="b"/>
              <a:pathLst>
                <a:path w="21671" h="11828">
                  <a:moveTo>
                    <a:pt x="-9087" y="-7224"/>
                  </a:moveTo>
                  <a:lnTo>
                    <a:pt x="12585" y="-7224"/>
                  </a:lnTo>
                  <a:lnTo>
                    <a:pt x="12585" y="4605"/>
                  </a:lnTo>
                  <a:lnTo>
                    <a:pt x="-9087" y="4605"/>
                  </a:lnTo>
                  <a:lnTo>
                    <a:pt x="-9087" y="-7224"/>
                  </a:lnTo>
                </a:path>
              </a:pathLst>
            </a:custGeom>
            <a:grpFill/>
            <a:ln w="548" cap="flat">
              <a:noFill/>
              <a:prstDash val="solid"/>
              <a:miter/>
            </a:ln>
          </p:spPr>
          <p:txBody>
            <a:bodyPr/>
            <a:lstStyle/>
            <a:p>
              <a:endParaRPr lang="en-US"/>
            </a:p>
          </p:txBody>
        </p:sp>
        <p:sp>
          <p:nvSpPr>
            <p:cNvPr id="438" name="Freeform: Shape 437">
              <a:extLst>
                <a:ext uri="{FF2B5EF4-FFF2-40B4-BE49-F238E27FC236}">
                  <a16:creationId xmlns:a16="http://schemas.microsoft.com/office/drawing/2014/main" id="{128CB448-149C-EC85-26BD-C50ED0A16AC5}"/>
                </a:ext>
              </a:extLst>
            </p:cNvPr>
            <p:cNvSpPr/>
            <p:nvPr/>
          </p:nvSpPr>
          <p:spPr>
            <a:xfrm flipV="1">
              <a:off x="24453889" y="3559148"/>
              <a:ext cx="21671" cy="11834"/>
            </a:xfrm>
            <a:custGeom>
              <a:avLst/>
              <a:gdLst>
                <a:gd name="csX0" fmla="*/ 12513 w 21671"/>
                <a:gd name="csY0" fmla="*/ 4576 h 11834"/>
                <a:gd name="csX1" fmla="*/ -9158 w 21671"/>
                <a:gd name="csY1" fmla="*/ 4576 h 11834"/>
                <a:gd name="csX2" fmla="*/ -9158 w 21671"/>
                <a:gd name="csY2" fmla="*/ -7258 h 11834"/>
                <a:gd name="csX3" fmla="*/ 12513 w 21671"/>
                <a:gd name="csY3" fmla="*/ -7258 h 11834"/>
                <a:gd name="csX4" fmla="*/ 12513 w 21671"/>
                <a:gd name="csY4" fmla="*/ 4576 h 11834"/>
              </a:gdLst>
              <a:ahLst/>
              <a:cxnLst>
                <a:cxn ang="0">
                  <a:pos x="csX0" y="csY0"/>
                </a:cxn>
                <a:cxn ang="0">
                  <a:pos x="csX1" y="csY1"/>
                </a:cxn>
                <a:cxn ang="0">
                  <a:pos x="csX2" y="csY2"/>
                </a:cxn>
                <a:cxn ang="0">
                  <a:pos x="csX3" y="csY3"/>
                </a:cxn>
                <a:cxn ang="0">
                  <a:pos x="csX4" y="csY4"/>
                </a:cxn>
              </a:cxnLst>
              <a:rect l="l" t="t" r="r" b="b"/>
              <a:pathLst>
                <a:path w="21671" h="11834">
                  <a:moveTo>
                    <a:pt x="12513" y="4576"/>
                  </a:moveTo>
                  <a:lnTo>
                    <a:pt x="-9158" y="4576"/>
                  </a:lnTo>
                  <a:lnTo>
                    <a:pt x="-9158" y="-7258"/>
                  </a:lnTo>
                  <a:lnTo>
                    <a:pt x="12513" y="-7258"/>
                  </a:lnTo>
                  <a:lnTo>
                    <a:pt x="12513" y="4576"/>
                  </a:lnTo>
                </a:path>
              </a:pathLst>
            </a:custGeom>
            <a:grpFill/>
            <a:ln w="548" cap="flat">
              <a:noFill/>
              <a:prstDash val="solid"/>
              <a:miter/>
            </a:ln>
          </p:spPr>
          <p:txBody>
            <a:bodyPr/>
            <a:lstStyle/>
            <a:p>
              <a:endParaRPr lang="en-US"/>
            </a:p>
          </p:txBody>
        </p:sp>
        <p:sp>
          <p:nvSpPr>
            <p:cNvPr id="439" name="Freeform: Shape 438">
              <a:extLst>
                <a:ext uri="{FF2B5EF4-FFF2-40B4-BE49-F238E27FC236}">
                  <a16:creationId xmlns:a16="http://schemas.microsoft.com/office/drawing/2014/main" id="{1D6C3855-A7F4-94B9-52E3-361019ED163D}"/>
                </a:ext>
              </a:extLst>
            </p:cNvPr>
            <p:cNvSpPr/>
            <p:nvPr/>
          </p:nvSpPr>
          <p:spPr>
            <a:xfrm flipV="1">
              <a:off x="24453889" y="3573386"/>
              <a:ext cx="21671" cy="11828"/>
            </a:xfrm>
            <a:custGeom>
              <a:avLst/>
              <a:gdLst>
                <a:gd name="csX0" fmla="*/ -9158 w 21671"/>
                <a:gd name="csY0" fmla="*/ -7224 h 11828"/>
                <a:gd name="csX1" fmla="*/ 12513 w 21671"/>
                <a:gd name="csY1" fmla="*/ -7224 h 11828"/>
                <a:gd name="csX2" fmla="*/ 12513 w 21671"/>
                <a:gd name="csY2" fmla="*/ 4605 h 11828"/>
                <a:gd name="csX3" fmla="*/ -9158 w 21671"/>
                <a:gd name="csY3" fmla="*/ 4605 h 11828"/>
                <a:gd name="csX4" fmla="*/ -9158 w 21671"/>
                <a:gd name="csY4" fmla="*/ -7224 h 11828"/>
              </a:gdLst>
              <a:ahLst/>
              <a:cxnLst>
                <a:cxn ang="0">
                  <a:pos x="csX0" y="csY0"/>
                </a:cxn>
                <a:cxn ang="0">
                  <a:pos x="csX1" y="csY1"/>
                </a:cxn>
                <a:cxn ang="0">
                  <a:pos x="csX2" y="csY2"/>
                </a:cxn>
                <a:cxn ang="0">
                  <a:pos x="csX3" y="csY3"/>
                </a:cxn>
                <a:cxn ang="0">
                  <a:pos x="csX4" y="csY4"/>
                </a:cxn>
              </a:cxnLst>
              <a:rect l="l" t="t" r="r" b="b"/>
              <a:pathLst>
                <a:path w="21671" h="11828">
                  <a:moveTo>
                    <a:pt x="-9158" y="-7224"/>
                  </a:moveTo>
                  <a:lnTo>
                    <a:pt x="12513" y="-7224"/>
                  </a:lnTo>
                  <a:lnTo>
                    <a:pt x="12513" y="4605"/>
                  </a:lnTo>
                  <a:lnTo>
                    <a:pt x="-9158" y="4605"/>
                  </a:lnTo>
                  <a:lnTo>
                    <a:pt x="-9158" y="-7224"/>
                  </a:lnTo>
                </a:path>
              </a:pathLst>
            </a:custGeom>
            <a:grpFill/>
            <a:ln w="548" cap="flat">
              <a:noFill/>
              <a:prstDash val="solid"/>
              <a:miter/>
            </a:ln>
          </p:spPr>
          <p:txBody>
            <a:bodyPr/>
            <a:lstStyle/>
            <a:p>
              <a:endParaRPr lang="en-US"/>
            </a:p>
          </p:txBody>
        </p:sp>
        <p:sp>
          <p:nvSpPr>
            <p:cNvPr id="440" name="Freeform: Shape 439">
              <a:extLst>
                <a:ext uri="{FF2B5EF4-FFF2-40B4-BE49-F238E27FC236}">
                  <a16:creationId xmlns:a16="http://schemas.microsoft.com/office/drawing/2014/main" id="{7FE16609-2FBB-5F9F-EA6C-61A9E0C2BC39}"/>
                </a:ext>
              </a:extLst>
            </p:cNvPr>
            <p:cNvSpPr/>
            <p:nvPr/>
          </p:nvSpPr>
          <p:spPr>
            <a:xfrm flipV="1">
              <a:off x="24396391" y="3618670"/>
              <a:ext cx="21671" cy="11828"/>
            </a:xfrm>
            <a:custGeom>
              <a:avLst/>
              <a:gdLst>
                <a:gd name="csX0" fmla="*/ -9087 w 21671"/>
                <a:gd name="csY0" fmla="*/ -7115 h 11828"/>
                <a:gd name="csX1" fmla="*/ 12585 w 21671"/>
                <a:gd name="csY1" fmla="*/ -7115 h 11828"/>
                <a:gd name="csX2" fmla="*/ 12585 w 21671"/>
                <a:gd name="csY2" fmla="*/ 4714 h 11828"/>
                <a:gd name="csX3" fmla="*/ -9087 w 21671"/>
                <a:gd name="csY3" fmla="*/ 4714 h 11828"/>
                <a:gd name="csX4" fmla="*/ -9087 w 21671"/>
                <a:gd name="csY4" fmla="*/ -7115 h 11828"/>
              </a:gdLst>
              <a:ahLst/>
              <a:cxnLst>
                <a:cxn ang="0">
                  <a:pos x="csX0" y="csY0"/>
                </a:cxn>
                <a:cxn ang="0">
                  <a:pos x="csX1" y="csY1"/>
                </a:cxn>
                <a:cxn ang="0">
                  <a:pos x="csX2" y="csY2"/>
                </a:cxn>
                <a:cxn ang="0">
                  <a:pos x="csX3" y="csY3"/>
                </a:cxn>
                <a:cxn ang="0">
                  <a:pos x="csX4" y="csY4"/>
                </a:cxn>
              </a:cxnLst>
              <a:rect l="l" t="t" r="r" b="b"/>
              <a:pathLst>
                <a:path w="21671" h="11828">
                  <a:moveTo>
                    <a:pt x="-9087" y="-7115"/>
                  </a:moveTo>
                  <a:lnTo>
                    <a:pt x="12585" y="-7115"/>
                  </a:lnTo>
                  <a:lnTo>
                    <a:pt x="12585" y="4714"/>
                  </a:lnTo>
                  <a:lnTo>
                    <a:pt x="-9087" y="4714"/>
                  </a:lnTo>
                  <a:lnTo>
                    <a:pt x="-9087" y="-7115"/>
                  </a:lnTo>
                </a:path>
              </a:pathLst>
            </a:custGeom>
            <a:grpFill/>
            <a:ln w="548" cap="flat">
              <a:noFill/>
              <a:prstDash val="solid"/>
              <a:miter/>
            </a:ln>
          </p:spPr>
          <p:txBody>
            <a:bodyPr/>
            <a:lstStyle/>
            <a:p>
              <a:endParaRPr lang="en-US"/>
            </a:p>
          </p:txBody>
        </p:sp>
        <p:sp>
          <p:nvSpPr>
            <p:cNvPr id="441" name="Freeform: Shape 440">
              <a:extLst>
                <a:ext uri="{FF2B5EF4-FFF2-40B4-BE49-F238E27FC236}">
                  <a16:creationId xmlns:a16="http://schemas.microsoft.com/office/drawing/2014/main" id="{C873AC39-3CDB-6166-172E-3A845D217F0A}"/>
                </a:ext>
              </a:extLst>
            </p:cNvPr>
            <p:cNvSpPr/>
            <p:nvPr/>
          </p:nvSpPr>
          <p:spPr>
            <a:xfrm flipV="1">
              <a:off x="24396391" y="3632902"/>
              <a:ext cx="21671" cy="11828"/>
            </a:xfrm>
            <a:custGeom>
              <a:avLst/>
              <a:gdLst>
                <a:gd name="csX0" fmla="*/ -9087 w 21671"/>
                <a:gd name="csY0" fmla="*/ -7081 h 11828"/>
                <a:gd name="csX1" fmla="*/ 12585 w 21671"/>
                <a:gd name="csY1" fmla="*/ -7081 h 11828"/>
                <a:gd name="csX2" fmla="*/ 12585 w 21671"/>
                <a:gd name="csY2" fmla="*/ 4748 h 11828"/>
                <a:gd name="csX3" fmla="*/ -9087 w 21671"/>
                <a:gd name="csY3" fmla="*/ 4748 h 11828"/>
                <a:gd name="csX4" fmla="*/ -9087 w 21671"/>
                <a:gd name="csY4" fmla="*/ -7081 h 11828"/>
              </a:gdLst>
              <a:ahLst/>
              <a:cxnLst>
                <a:cxn ang="0">
                  <a:pos x="csX0" y="csY0"/>
                </a:cxn>
                <a:cxn ang="0">
                  <a:pos x="csX1" y="csY1"/>
                </a:cxn>
                <a:cxn ang="0">
                  <a:pos x="csX2" y="csY2"/>
                </a:cxn>
                <a:cxn ang="0">
                  <a:pos x="csX3" y="csY3"/>
                </a:cxn>
                <a:cxn ang="0">
                  <a:pos x="csX4" y="csY4"/>
                </a:cxn>
              </a:cxnLst>
              <a:rect l="l" t="t" r="r" b="b"/>
              <a:pathLst>
                <a:path w="21671" h="11828">
                  <a:moveTo>
                    <a:pt x="-9087" y="-7081"/>
                  </a:moveTo>
                  <a:lnTo>
                    <a:pt x="12585" y="-7081"/>
                  </a:lnTo>
                  <a:lnTo>
                    <a:pt x="12585" y="4748"/>
                  </a:lnTo>
                  <a:lnTo>
                    <a:pt x="-9087" y="4748"/>
                  </a:lnTo>
                  <a:lnTo>
                    <a:pt x="-9087" y="-7081"/>
                  </a:lnTo>
                </a:path>
              </a:pathLst>
            </a:custGeom>
            <a:grpFill/>
            <a:ln w="548" cap="flat">
              <a:noFill/>
              <a:prstDash val="solid"/>
              <a:miter/>
            </a:ln>
          </p:spPr>
          <p:txBody>
            <a:bodyPr/>
            <a:lstStyle/>
            <a:p>
              <a:endParaRPr lang="en-US"/>
            </a:p>
          </p:txBody>
        </p:sp>
        <p:sp>
          <p:nvSpPr>
            <p:cNvPr id="442" name="Freeform: Shape 441">
              <a:extLst>
                <a:ext uri="{FF2B5EF4-FFF2-40B4-BE49-F238E27FC236}">
                  <a16:creationId xmlns:a16="http://schemas.microsoft.com/office/drawing/2014/main" id="{7754768C-4994-C12A-F668-7DF18E51DF99}"/>
                </a:ext>
              </a:extLst>
            </p:cNvPr>
            <p:cNvSpPr/>
            <p:nvPr/>
          </p:nvSpPr>
          <p:spPr>
            <a:xfrm flipV="1">
              <a:off x="24453889" y="3618670"/>
              <a:ext cx="21671" cy="11828"/>
            </a:xfrm>
            <a:custGeom>
              <a:avLst/>
              <a:gdLst>
                <a:gd name="csX0" fmla="*/ -9158 w 21671"/>
                <a:gd name="csY0" fmla="*/ -7115 h 11828"/>
                <a:gd name="csX1" fmla="*/ 12513 w 21671"/>
                <a:gd name="csY1" fmla="*/ -7115 h 11828"/>
                <a:gd name="csX2" fmla="*/ 12513 w 21671"/>
                <a:gd name="csY2" fmla="*/ 4714 h 11828"/>
                <a:gd name="csX3" fmla="*/ -9158 w 21671"/>
                <a:gd name="csY3" fmla="*/ 4714 h 11828"/>
                <a:gd name="csX4" fmla="*/ -9158 w 21671"/>
                <a:gd name="csY4" fmla="*/ -7115 h 11828"/>
              </a:gdLst>
              <a:ahLst/>
              <a:cxnLst>
                <a:cxn ang="0">
                  <a:pos x="csX0" y="csY0"/>
                </a:cxn>
                <a:cxn ang="0">
                  <a:pos x="csX1" y="csY1"/>
                </a:cxn>
                <a:cxn ang="0">
                  <a:pos x="csX2" y="csY2"/>
                </a:cxn>
                <a:cxn ang="0">
                  <a:pos x="csX3" y="csY3"/>
                </a:cxn>
                <a:cxn ang="0">
                  <a:pos x="csX4" y="csY4"/>
                </a:cxn>
              </a:cxnLst>
              <a:rect l="l" t="t" r="r" b="b"/>
              <a:pathLst>
                <a:path w="21671" h="11828">
                  <a:moveTo>
                    <a:pt x="-9158" y="-7115"/>
                  </a:moveTo>
                  <a:lnTo>
                    <a:pt x="12513" y="-7115"/>
                  </a:lnTo>
                  <a:lnTo>
                    <a:pt x="12513" y="4714"/>
                  </a:lnTo>
                  <a:lnTo>
                    <a:pt x="-9158" y="4714"/>
                  </a:lnTo>
                  <a:lnTo>
                    <a:pt x="-9158" y="-7115"/>
                  </a:lnTo>
                </a:path>
              </a:pathLst>
            </a:custGeom>
            <a:grpFill/>
            <a:ln w="548" cap="flat">
              <a:noFill/>
              <a:prstDash val="solid"/>
              <a:miter/>
            </a:ln>
          </p:spPr>
          <p:txBody>
            <a:bodyPr/>
            <a:lstStyle/>
            <a:p>
              <a:endParaRPr lang="en-US"/>
            </a:p>
          </p:txBody>
        </p:sp>
        <p:sp>
          <p:nvSpPr>
            <p:cNvPr id="443" name="Freeform: Shape 442">
              <a:extLst>
                <a:ext uri="{FF2B5EF4-FFF2-40B4-BE49-F238E27FC236}">
                  <a16:creationId xmlns:a16="http://schemas.microsoft.com/office/drawing/2014/main" id="{1151A913-92AB-281B-88D2-BC6259B3CAC3}"/>
                </a:ext>
              </a:extLst>
            </p:cNvPr>
            <p:cNvSpPr/>
            <p:nvPr/>
          </p:nvSpPr>
          <p:spPr>
            <a:xfrm flipV="1">
              <a:off x="24453889" y="3632902"/>
              <a:ext cx="21671" cy="11828"/>
            </a:xfrm>
            <a:custGeom>
              <a:avLst/>
              <a:gdLst>
                <a:gd name="csX0" fmla="*/ -9158 w 21671"/>
                <a:gd name="csY0" fmla="*/ -7081 h 11828"/>
                <a:gd name="csX1" fmla="*/ 12513 w 21671"/>
                <a:gd name="csY1" fmla="*/ -7081 h 11828"/>
                <a:gd name="csX2" fmla="*/ 12513 w 21671"/>
                <a:gd name="csY2" fmla="*/ 4748 h 11828"/>
                <a:gd name="csX3" fmla="*/ -9158 w 21671"/>
                <a:gd name="csY3" fmla="*/ 4748 h 11828"/>
                <a:gd name="csX4" fmla="*/ -9158 w 21671"/>
                <a:gd name="csY4" fmla="*/ -7081 h 11828"/>
              </a:gdLst>
              <a:ahLst/>
              <a:cxnLst>
                <a:cxn ang="0">
                  <a:pos x="csX0" y="csY0"/>
                </a:cxn>
                <a:cxn ang="0">
                  <a:pos x="csX1" y="csY1"/>
                </a:cxn>
                <a:cxn ang="0">
                  <a:pos x="csX2" y="csY2"/>
                </a:cxn>
                <a:cxn ang="0">
                  <a:pos x="csX3" y="csY3"/>
                </a:cxn>
                <a:cxn ang="0">
                  <a:pos x="csX4" y="csY4"/>
                </a:cxn>
              </a:cxnLst>
              <a:rect l="l" t="t" r="r" b="b"/>
              <a:pathLst>
                <a:path w="21671" h="11828">
                  <a:moveTo>
                    <a:pt x="-9158" y="-7081"/>
                  </a:moveTo>
                  <a:lnTo>
                    <a:pt x="12513" y="-7081"/>
                  </a:lnTo>
                  <a:lnTo>
                    <a:pt x="12513" y="4748"/>
                  </a:lnTo>
                  <a:lnTo>
                    <a:pt x="-9158" y="4748"/>
                  </a:lnTo>
                  <a:lnTo>
                    <a:pt x="-9158" y="-7081"/>
                  </a:lnTo>
                </a:path>
              </a:pathLst>
            </a:custGeom>
            <a:grpFill/>
            <a:ln w="548" cap="flat">
              <a:noFill/>
              <a:prstDash val="solid"/>
              <a:miter/>
            </a:ln>
          </p:spPr>
          <p:txBody>
            <a:bodyPr/>
            <a:lstStyle/>
            <a:p>
              <a:endParaRPr lang="en-US"/>
            </a:p>
          </p:txBody>
        </p:sp>
        <p:sp>
          <p:nvSpPr>
            <p:cNvPr id="444" name="Freeform: Shape 443">
              <a:extLst>
                <a:ext uri="{FF2B5EF4-FFF2-40B4-BE49-F238E27FC236}">
                  <a16:creationId xmlns:a16="http://schemas.microsoft.com/office/drawing/2014/main" id="{41EC0F5B-704B-340E-8B5A-E7688F29FB4C}"/>
                </a:ext>
              </a:extLst>
            </p:cNvPr>
            <p:cNvSpPr/>
            <p:nvPr/>
          </p:nvSpPr>
          <p:spPr>
            <a:xfrm flipV="1">
              <a:off x="24396391" y="3678187"/>
              <a:ext cx="21671" cy="11828"/>
            </a:xfrm>
            <a:custGeom>
              <a:avLst/>
              <a:gdLst>
                <a:gd name="csX0" fmla="*/ -9087 w 21671"/>
                <a:gd name="csY0" fmla="*/ -6972 h 11828"/>
                <a:gd name="csX1" fmla="*/ 12585 w 21671"/>
                <a:gd name="csY1" fmla="*/ -6972 h 11828"/>
                <a:gd name="csX2" fmla="*/ 12585 w 21671"/>
                <a:gd name="csY2" fmla="*/ 4857 h 11828"/>
                <a:gd name="csX3" fmla="*/ -9087 w 21671"/>
                <a:gd name="csY3" fmla="*/ 4857 h 11828"/>
                <a:gd name="csX4" fmla="*/ -9087 w 21671"/>
                <a:gd name="csY4" fmla="*/ -6972 h 11828"/>
              </a:gdLst>
              <a:ahLst/>
              <a:cxnLst>
                <a:cxn ang="0">
                  <a:pos x="csX0" y="csY0"/>
                </a:cxn>
                <a:cxn ang="0">
                  <a:pos x="csX1" y="csY1"/>
                </a:cxn>
                <a:cxn ang="0">
                  <a:pos x="csX2" y="csY2"/>
                </a:cxn>
                <a:cxn ang="0">
                  <a:pos x="csX3" y="csY3"/>
                </a:cxn>
                <a:cxn ang="0">
                  <a:pos x="csX4" y="csY4"/>
                </a:cxn>
              </a:cxnLst>
              <a:rect l="l" t="t" r="r" b="b"/>
              <a:pathLst>
                <a:path w="21671" h="11828">
                  <a:moveTo>
                    <a:pt x="-9087" y="-6972"/>
                  </a:moveTo>
                  <a:lnTo>
                    <a:pt x="12585" y="-6972"/>
                  </a:lnTo>
                  <a:lnTo>
                    <a:pt x="12585" y="4857"/>
                  </a:lnTo>
                  <a:lnTo>
                    <a:pt x="-9087" y="4857"/>
                  </a:lnTo>
                  <a:lnTo>
                    <a:pt x="-9087" y="-6972"/>
                  </a:lnTo>
                </a:path>
              </a:pathLst>
            </a:custGeom>
            <a:grpFill/>
            <a:ln w="548" cap="flat">
              <a:noFill/>
              <a:prstDash val="solid"/>
              <a:miter/>
            </a:ln>
          </p:spPr>
          <p:txBody>
            <a:bodyPr/>
            <a:lstStyle/>
            <a:p>
              <a:endParaRPr lang="en-US"/>
            </a:p>
          </p:txBody>
        </p:sp>
        <p:sp>
          <p:nvSpPr>
            <p:cNvPr id="445" name="Freeform: Shape 444">
              <a:extLst>
                <a:ext uri="{FF2B5EF4-FFF2-40B4-BE49-F238E27FC236}">
                  <a16:creationId xmlns:a16="http://schemas.microsoft.com/office/drawing/2014/main" id="{69B0D2BF-CA23-90D4-2C4E-4C415E7287A2}"/>
                </a:ext>
              </a:extLst>
            </p:cNvPr>
            <p:cNvSpPr/>
            <p:nvPr/>
          </p:nvSpPr>
          <p:spPr>
            <a:xfrm flipV="1">
              <a:off x="24396391" y="3692419"/>
              <a:ext cx="21671" cy="11828"/>
            </a:xfrm>
            <a:custGeom>
              <a:avLst/>
              <a:gdLst>
                <a:gd name="csX0" fmla="*/ -9087 w 21671"/>
                <a:gd name="csY0" fmla="*/ -6937 h 11828"/>
                <a:gd name="csX1" fmla="*/ 12585 w 21671"/>
                <a:gd name="csY1" fmla="*/ -6937 h 11828"/>
                <a:gd name="csX2" fmla="*/ 12585 w 21671"/>
                <a:gd name="csY2" fmla="*/ 4891 h 11828"/>
                <a:gd name="csX3" fmla="*/ -9087 w 21671"/>
                <a:gd name="csY3" fmla="*/ 4891 h 11828"/>
                <a:gd name="csX4" fmla="*/ -9087 w 21671"/>
                <a:gd name="csY4" fmla="*/ -6937 h 11828"/>
              </a:gdLst>
              <a:ahLst/>
              <a:cxnLst>
                <a:cxn ang="0">
                  <a:pos x="csX0" y="csY0"/>
                </a:cxn>
                <a:cxn ang="0">
                  <a:pos x="csX1" y="csY1"/>
                </a:cxn>
                <a:cxn ang="0">
                  <a:pos x="csX2" y="csY2"/>
                </a:cxn>
                <a:cxn ang="0">
                  <a:pos x="csX3" y="csY3"/>
                </a:cxn>
                <a:cxn ang="0">
                  <a:pos x="csX4" y="csY4"/>
                </a:cxn>
              </a:cxnLst>
              <a:rect l="l" t="t" r="r" b="b"/>
              <a:pathLst>
                <a:path w="21671" h="11828">
                  <a:moveTo>
                    <a:pt x="-9087" y="-6937"/>
                  </a:moveTo>
                  <a:lnTo>
                    <a:pt x="12585" y="-6937"/>
                  </a:lnTo>
                  <a:lnTo>
                    <a:pt x="12585" y="4891"/>
                  </a:lnTo>
                  <a:lnTo>
                    <a:pt x="-9087" y="4891"/>
                  </a:lnTo>
                  <a:lnTo>
                    <a:pt x="-9087" y="-6937"/>
                  </a:lnTo>
                </a:path>
              </a:pathLst>
            </a:custGeom>
            <a:grpFill/>
            <a:ln w="548" cap="flat">
              <a:noFill/>
              <a:prstDash val="solid"/>
              <a:miter/>
            </a:ln>
          </p:spPr>
          <p:txBody>
            <a:bodyPr/>
            <a:lstStyle/>
            <a:p>
              <a:endParaRPr lang="en-US"/>
            </a:p>
          </p:txBody>
        </p:sp>
        <p:sp>
          <p:nvSpPr>
            <p:cNvPr id="446" name="Freeform: Shape 445">
              <a:extLst>
                <a:ext uri="{FF2B5EF4-FFF2-40B4-BE49-F238E27FC236}">
                  <a16:creationId xmlns:a16="http://schemas.microsoft.com/office/drawing/2014/main" id="{F4A9D10C-EC6E-4C6C-08D3-E00374943D3E}"/>
                </a:ext>
              </a:extLst>
            </p:cNvPr>
            <p:cNvSpPr/>
            <p:nvPr/>
          </p:nvSpPr>
          <p:spPr>
            <a:xfrm flipV="1">
              <a:off x="24453889" y="3678187"/>
              <a:ext cx="21671" cy="11828"/>
            </a:xfrm>
            <a:custGeom>
              <a:avLst/>
              <a:gdLst>
                <a:gd name="csX0" fmla="*/ -9158 w 21671"/>
                <a:gd name="csY0" fmla="*/ -6972 h 11828"/>
                <a:gd name="csX1" fmla="*/ 12513 w 21671"/>
                <a:gd name="csY1" fmla="*/ -6972 h 11828"/>
                <a:gd name="csX2" fmla="*/ 12513 w 21671"/>
                <a:gd name="csY2" fmla="*/ 4857 h 11828"/>
                <a:gd name="csX3" fmla="*/ -9158 w 21671"/>
                <a:gd name="csY3" fmla="*/ 4857 h 11828"/>
                <a:gd name="csX4" fmla="*/ -9158 w 21671"/>
                <a:gd name="csY4" fmla="*/ -6972 h 11828"/>
              </a:gdLst>
              <a:ahLst/>
              <a:cxnLst>
                <a:cxn ang="0">
                  <a:pos x="csX0" y="csY0"/>
                </a:cxn>
                <a:cxn ang="0">
                  <a:pos x="csX1" y="csY1"/>
                </a:cxn>
                <a:cxn ang="0">
                  <a:pos x="csX2" y="csY2"/>
                </a:cxn>
                <a:cxn ang="0">
                  <a:pos x="csX3" y="csY3"/>
                </a:cxn>
                <a:cxn ang="0">
                  <a:pos x="csX4" y="csY4"/>
                </a:cxn>
              </a:cxnLst>
              <a:rect l="l" t="t" r="r" b="b"/>
              <a:pathLst>
                <a:path w="21671" h="11828">
                  <a:moveTo>
                    <a:pt x="-9158" y="-6972"/>
                  </a:moveTo>
                  <a:lnTo>
                    <a:pt x="12513" y="-6972"/>
                  </a:lnTo>
                  <a:lnTo>
                    <a:pt x="12513" y="4857"/>
                  </a:lnTo>
                  <a:lnTo>
                    <a:pt x="-9158" y="4857"/>
                  </a:lnTo>
                  <a:lnTo>
                    <a:pt x="-9158" y="-6972"/>
                  </a:lnTo>
                </a:path>
              </a:pathLst>
            </a:custGeom>
            <a:grpFill/>
            <a:ln w="548" cap="flat">
              <a:noFill/>
              <a:prstDash val="solid"/>
              <a:miter/>
            </a:ln>
          </p:spPr>
          <p:txBody>
            <a:bodyPr/>
            <a:lstStyle/>
            <a:p>
              <a:endParaRPr lang="en-US"/>
            </a:p>
          </p:txBody>
        </p:sp>
        <p:sp>
          <p:nvSpPr>
            <p:cNvPr id="447" name="Freeform: Shape 446">
              <a:extLst>
                <a:ext uri="{FF2B5EF4-FFF2-40B4-BE49-F238E27FC236}">
                  <a16:creationId xmlns:a16="http://schemas.microsoft.com/office/drawing/2014/main" id="{80C3E95B-A763-7CCB-75C8-8BE6BA3982E7}"/>
                </a:ext>
              </a:extLst>
            </p:cNvPr>
            <p:cNvSpPr/>
            <p:nvPr/>
          </p:nvSpPr>
          <p:spPr>
            <a:xfrm flipV="1">
              <a:off x="24453889" y="3692419"/>
              <a:ext cx="21671" cy="11828"/>
            </a:xfrm>
            <a:custGeom>
              <a:avLst/>
              <a:gdLst>
                <a:gd name="csX0" fmla="*/ -9158 w 21671"/>
                <a:gd name="csY0" fmla="*/ -6937 h 11828"/>
                <a:gd name="csX1" fmla="*/ 12513 w 21671"/>
                <a:gd name="csY1" fmla="*/ -6937 h 11828"/>
                <a:gd name="csX2" fmla="*/ 12513 w 21671"/>
                <a:gd name="csY2" fmla="*/ 4891 h 11828"/>
                <a:gd name="csX3" fmla="*/ -9158 w 21671"/>
                <a:gd name="csY3" fmla="*/ 4891 h 11828"/>
                <a:gd name="csX4" fmla="*/ -9158 w 21671"/>
                <a:gd name="csY4" fmla="*/ -6937 h 11828"/>
              </a:gdLst>
              <a:ahLst/>
              <a:cxnLst>
                <a:cxn ang="0">
                  <a:pos x="csX0" y="csY0"/>
                </a:cxn>
                <a:cxn ang="0">
                  <a:pos x="csX1" y="csY1"/>
                </a:cxn>
                <a:cxn ang="0">
                  <a:pos x="csX2" y="csY2"/>
                </a:cxn>
                <a:cxn ang="0">
                  <a:pos x="csX3" y="csY3"/>
                </a:cxn>
                <a:cxn ang="0">
                  <a:pos x="csX4" y="csY4"/>
                </a:cxn>
              </a:cxnLst>
              <a:rect l="l" t="t" r="r" b="b"/>
              <a:pathLst>
                <a:path w="21671" h="11828">
                  <a:moveTo>
                    <a:pt x="-9158" y="-6937"/>
                  </a:moveTo>
                  <a:lnTo>
                    <a:pt x="12513" y="-6937"/>
                  </a:lnTo>
                  <a:lnTo>
                    <a:pt x="12513" y="4891"/>
                  </a:lnTo>
                  <a:lnTo>
                    <a:pt x="-9158" y="4891"/>
                  </a:lnTo>
                  <a:lnTo>
                    <a:pt x="-9158" y="-6937"/>
                  </a:lnTo>
                </a:path>
              </a:pathLst>
            </a:custGeom>
            <a:grpFill/>
            <a:ln w="548" cap="flat">
              <a:noFill/>
              <a:prstDash val="solid"/>
              <a:miter/>
            </a:ln>
          </p:spPr>
          <p:txBody>
            <a:bodyPr/>
            <a:lstStyle/>
            <a:p>
              <a:endParaRPr lang="en-US"/>
            </a:p>
          </p:txBody>
        </p:sp>
        <p:sp>
          <p:nvSpPr>
            <p:cNvPr id="448" name="Freeform: Shape 447">
              <a:extLst>
                <a:ext uri="{FF2B5EF4-FFF2-40B4-BE49-F238E27FC236}">
                  <a16:creationId xmlns:a16="http://schemas.microsoft.com/office/drawing/2014/main" id="{50FF536F-FB45-7ED9-79EE-78A6C991BFD0}"/>
                </a:ext>
              </a:extLst>
            </p:cNvPr>
            <p:cNvSpPr/>
            <p:nvPr/>
          </p:nvSpPr>
          <p:spPr>
            <a:xfrm flipV="1">
              <a:off x="24396391" y="3737698"/>
              <a:ext cx="21671" cy="11828"/>
            </a:xfrm>
            <a:custGeom>
              <a:avLst/>
              <a:gdLst>
                <a:gd name="csX0" fmla="*/ -9087 w 21671"/>
                <a:gd name="csY0" fmla="*/ -6829 h 11828"/>
                <a:gd name="csX1" fmla="*/ 12585 w 21671"/>
                <a:gd name="csY1" fmla="*/ -6829 h 11828"/>
                <a:gd name="csX2" fmla="*/ 12585 w 21671"/>
                <a:gd name="csY2" fmla="*/ 5000 h 11828"/>
                <a:gd name="csX3" fmla="*/ -9087 w 21671"/>
                <a:gd name="csY3" fmla="*/ 5000 h 11828"/>
                <a:gd name="csX4" fmla="*/ -9087 w 21671"/>
                <a:gd name="csY4" fmla="*/ -6829 h 11828"/>
              </a:gdLst>
              <a:ahLst/>
              <a:cxnLst>
                <a:cxn ang="0">
                  <a:pos x="csX0" y="csY0"/>
                </a:cxn>
                <a:cxn ang="0">
                  <a:pos x="csX1" y="csY1"/>
                </a:cxn>
                <a:cxn ang="0">
                  <a:pos x="csX2" y="csY2"/>
                </a:cxn>
                <a:cxn ang="0">
                  <a:pos x="csX3" y="csY3"/>
                </a:cxn>
                <a:cxn ang="0">
                  <a:pos x="csX4" y="csY4"/>
                </a:cxn>
              </a:cxnLst>
              <a:rect l="l" t="t" r="r" b="b"/>
              <a:pathLst>
                <a:path w="21671" h="11828">
                  <a:moveTo>
                    <a:pt x="-9087" y="-6829"/>
                  </a:moveTo>
                  <a:lnTo>
                    <a:pt x="12585" y="-6829"/>
                  </a:lnTo>
                  <a:lnTo>
                    <a:pt x="12585" y="5000"/>
                  </a:lnTo>
                  <a:lnTo>
                    <a:pt x="-9087" y="5000"/>
                  </a:lnTo>
                  <a:lnTo>
                    <a:pt x="-9087" y="-6829"/>
                  </a:lnTo>
                </a:path>
              </a:pathLst>
            </a:custGeom>
            <a:grpFill/>
            <a:ln w="548" cap="flat">
              <a:noFill/>
              <a:prstDash val="solid"/>
              <a:miter/>
            </a:ln>
          </p:spPr>
          <p:txBody>
            <a:bodyPr/>
            <a:lstStyle/>
            <a:p>
              <a:endParaRPr lang="en-US"/>
            </a:p>
          </p:txBody>
        </p:sp>
        <p:sp>
          <p:nvSpPr>
            <p:cNvPr id="449" name="Freeform: Shape 448">
              <a:extLst>
                <a:ext uri="{FF2B5EF4-FFF2-40B4-BE49-F238E27FC236}">
                  <a16:creationId xmlns:a16="http://schemas.microsoft.com/office/drawing/2014/main" id="{934F6A40-1750-BBDA-B005-08C1D30B6578}"/>
                </a:ext>
              </a:extLst>
            </p:cNvPr>
            <p:cNvSpPr/>
            <p:nvPr/>
          </p:nvSpPr>
          <p:spPr>
            <a:xfrm flipV="1">
              <a:off x="24396391" y="3751935"/>
              <a:ext cx="21671" cy="11828"/>
            </a:xfrm>
            <a:custGeom>
              <a:avLst/>
              <a:gdLst>
                <a:gd name="csX0" fmla="*/ -9087 w 21671"/>
                <a:gd name="csY0" fmla="*/ -6794 h 11828"/>
                <a:gd name="csX1" fmla="*/ 12585 w 21671"/>
                <a:gd name="csY1" fmla="*/ -6794 h 11828"/>
                <a:gd name="csX2" fmla="*/ 12585 w 21671"/>
                <a:gd name="csY2" fmla="*/ 5034 h 11828"/>
                <a:gd name="csX3" fmla="*/ -9087 w 21671"/>
                <a:gd name="csY3" fmla="*/ 5034 h 11828"/>
                <a:gd name="csX4" fmla="*/ -9087 w 21671"/>
                <a:gd name="csY4" fmla="*/ -6794 h 11828"/>
              </a:gdLst>
              <a:ahLst/>
              <a:cxnLst>
                <a:cxn ang="0">
                  <a:pos x="csX0" y="csY0"/>
                </a:cxn>
                <a:cxn ang="0">
                  <a:pos x="csX1" y="csY1"/>
                </a:cxn>
                <a:cxn ang="0">
                  <a:pos x="csX2" y="csY2"/>
                </a:cxn>
                <a:cxn ang="0">
                  <a:pos x="csX3" y="csY3"/>
                </a:cxn>
                <a:cxn ang="0">
                  <a:pos x="csX4" y="csY4"/>
                </a:cxn>
              </a:cxnLst>
              <a:rect l="l" t="t" r="r" b="b"/>
              <a:pathLst>
                <a:path w="21671" h="11828">
                  <a:moveTo>
                    <a:pt x="-9087" y="-6794"/>
                  </a:moveTo>
                  <a:lnTo>
                    <a:pt x="12585" y="-6794"/>
                  </a:lnTo>
                  <a:lnTo>
                    <a:pt x="12585" y="5034"/>
                  </a:lnTo>
                  <a:lnTo>
                    <a:pt x="-9087" y="5034"/>
                  </a:lnTo>
                  <a:lnTo>
                    <a:pt x="-9087" y="-6794"/>
                  </a:lnTo>
                </a:path>
              </a:pathLst>
            </a:custGeom>
            <a:grpFill/>
            <a:ln w="548" cap="flat">
              <a:noFill/>
              <a:prstDash val="solid"/>
              <a:miter/>
            </a:ln>
          </p:spPr>
          <p:txBody>
            <a:bodyPr/>
            <a:lstStyle/>
            <a:p>
              <a:endParaRPr lang="en-US"/>
            </a:p>
          </p:txBody>
        </p:sp>
        <p:sp>
          <p:nvSpPr>
            <p:cNvPr id="450" name="Freeform: Shape 449">
              <a:extLst>
                <a:ext uri="{FF2B5EF4-FFF2-40B4-BE49-F238E27FC236}">
                  <a16:creationId xmlns:a16="http://schemas.microsoft.com/office/drawing/2014/main" id="{BF83030C-5C57-2C81-7089-690F4E2048A8}"/>
                </a:ext>
              </a:extLst>
            </p:cNvPr>
            <p:cNvSpPr/>
            <p:nvPr/>
          </p:nvSpPr>
          <p:spPr>
            <a:xfrm flipV="1">
              <a:off x="24453889" y="3737698"/>
              <a:ext cx="21671" cy="11828"/>
            </a:xfrm>
            <a:custGeom>
              <a:avLst/>
              <a:gdLst>
                <a:gd name="csX0" fmla="*/ -9158 w 21671"/>
                <a:gd name="csY0" fmla="*/ -6829 h 11828"/>
                <a:gd name="csX1" fmla="*/ 12513 w 21671"/>
                <a:gd name="csY1" fmla="*/ -6829 h 11828"/>
                <a:gd name="csX2" fmla="*/ 12513 w 21671"/>
                <a:gd name="csY2" fmla="*/ 5000 h 11828"/>
                <a:gd name="csX3" fmla="*/ -9158 w 21671"/>
                <a:gd name="csY3" fmla="*/ 5000 h 11828"/>
                <a:gd name="csX4" fmla="*/ -9158 w 21671"/>
                <a:gd name="csY4" fmla="*/ -6829 h 11828"/>
              </a:gdLst>
              <a:ahLst/>
              <a:cxnLst>
                <a:cxn ang="0">
                  <a:pos x="csX0" y="csY0"/>
                </a:cxn>
                <a:cxn ang="0">
                  <a:pos x="csX1" y="csY1"/>
                </a:cxn>
                <a:cxn ang="0">
                  <a:pos x="csX2" y="csY2"/>
                </a:cxn>
                <a:cxn ang="0">
                  <a:pos x="csX3" y="csY3"/>
                </a:cxn>
                <a:cxn ang="0">
                  <a:pos x="csX4" y="csY4"/>
                </a:cxn>
              </a:cxnLst>
              <a:rect l="l" t="t" r="r" b="b"/>
              <a:pathLst>
                <a:path w="21671" h="11828">
                  <a:moveTo>
                    <a:pt x="-9158" y="-6829"/>
                  </a:moveTo>
                  <a:lnTo>
                    <a:pt x="12513" y="-6829"/>
                  </a:lnTo>
                  <a:lnTo>
                    <a:pt x="12513" y="5000"/>
                  </a:lnTo>
                  <a:lnTo>
                    <a:pt x="-9158" y="5000"/>
                  </a:lnTo>
                  <a:lnTo>
                    <a:pt x="-9158" y="-6829"/>
                  </a:lnTo>
                </a:path>
              </a:pathLst>
            </a:custGeom>
            <a:grpFill/>
            <a:ln w="548" cap="flat">
              <a:noFill/>
              <a:prstDash val="solid"/>
              <a:miter/>
            </a:ln>
          </p:spPr>
          <p:txBody>
            <a:bodyPr/>
            <a:lstStyle/>
            <a:p>
              <a:endParaRPr lang="en-US"/>
            </a:p>
          </p:txBody>
        </p:sp>
        <p:sp>
          <p:nvSpPr>
            <p:cNvPr id="451" name="Freeform: Shape 450">
              <a:extLst>
                <a:ext uri="{FF2B5EF4-FFF2-40B4-BE49-F238E27FC236}">
                  <a16:creationId xmlns:a16="http://schemas.microsoft.com/office/drawing/2014/main" id="{F28E7992-295A-1749-B2AB-DF1319AE3759}"/>
                </a:ext>
              </a:extLst>
            </p:cNvPr>
            <p:cNvSpPr/>
            <p:nvPr/>
          </p:nvSpPr>
          <p:spPr>
            <a:xfrm flipV="1">
              <a:off x="24453889" y="3751935"/>
              <a:ext cx="21671" cy="11828"/>
            </a:xfrm>
            <a:custGeom>
              <a:avLst/>
              <a:gdLst>
                <a:gd name="csX0" fmla="*/ -9158 w 21671"/>
                <a:gd name="csY0" fmla="*/ -6794 h 11828"/>
                <a:gd name="csX1" fmla="*/ 12513 w 21671"/>
                <a:gd name="csY1" fmla="*/ -6794 h 11828"/>
                <a:gd name="csX2" fmla="*/ 12513 w 21671"/>
                <a:gd name="csY2" fmla="*/ 5034 h 11828"/>
                <a:gd name="csX3" fmla="*/ -9158 w 21671"/>
                <a:gd name="csY3" fmla="*/ 5034 h 11828"/>
                <a:gd name="csX4" fmla="*/ -9158 w 21671"/>
                <a:gd name="csY4" fmla="*/ -6794 h 11828"/>
              </a:gdLst>
              <a:ahLst/>
              <a:cxnLst>
                <a:cxn ang="0">
                  <a:pos x="csX0" y="csY0"/>
                </a:cxn>
                <a:cxn ang="0">
                  <a:pos x="csX1" y="csY1"/>
                </a:cxn>
                <a:cxn ang="0">
                  <a:pos x="csX2" y="csY2"/>
                </a:cxn>
                <a:cxn ang="0">
                  <a:pos x="csX3" y="csY3"/>
                </a:cxn>
                <a:cxn ang="0">
                  <a:pos x="csX4" y="csY4"/>
                </a:cxn>
              </a:cxnLst>
              <a:rect l="l" t="t" r="r" b="b"/>
              <a:pathLst>
                <a:path w="21671" h="11828">
                  <a:moveTo>
                    <a:pt x="-9158" y="-6794"/>
                  </a:moveTo>
                  <a:lnTo>
                    <a:pt x="12513" y="-6794"/>
                  </a:lnTo>
                  <a:lnTo>
                    <a:pt x="12513" y="5034"/>
                  </a:lnTo>
                  <a:lnTo>
                    <a:pt x="-9158" y="5034"/>
                  </a:lnTo>
                  <a:lnTo>
                    <a:pt x="-9158" y="-6794"/>
                  </a:lnTo>
                </a:path>
              </a:pathLst>
            </a:custGeom>
            <a:grpFill/>
            <a:ln w="548" cap="flat">
              <a:noFill/>
              <a:prstDash val="solid"/>
              <a:miter/>
            </a:ln>
          </p:spPr>
          <p:txBody>
            <a:bodyPr/>
            <a:lstStyle/>
            <a:p>
              <a:endParaRPr lang="en-US"/>
            </a:p>
          </p:txBody>
        </p:sp>
        <p:sp>
          <p:nvSpPr>
            <p:cNvPr id="452" name="Freeform: Shape 451">
              <a:extLst>
                <a:ext uri="{FF2B5EF4-FFF2-40B4-BE49-F238E27FC236}">
                  <a16:creationId xmlns:a16="http://schemas.microsoft.com/office/drawing/2014/main" id="{208A5D14-7A1C-4102-F27D-23EC9A3B2632}"/>
                </a:ext>
              </a:extLst>
            </p:cNvPr>
            <p:cNvSpPr/>
            <p:nvPr/>
          </p:nvSpPr>
          <p:spPr>
            <a:xfrm flipV="1">
              <a:off x="24396391" y="3797220"/>
              <a:ext cx="21671" cy="11823"/>
            </a:xfrm>
            <a:custGeom>
              <a:avLst/>
              <a:gdLst>
                <a:gd name="csX0" fmla="*/ -9087 w 21671"/>
                <a:gd name="csY0" fmla="*/ -6685 h 11823"/>
                <a:gd name="csX1" fmla="*/ 12585 w 21671"/>
                <a:gd name="csY1" fmla="*/ -6685 h 11823"/>
                <a:gd name="csX2" fmla="*/ 12585 w 21671"/>
                <a:gd name="csY2" fmla="*/ 5138 h 11823"/>
                <a:gd name="csX3" fmla="*/ -9087 w 21671"/>
                <a:gd name="csY3" fmla="*/ 5138 h 11823"/>
                <a:gd name="csX4" fmla="*/ -9087 w 21671"/>
                <a:gd name="csY4" fmla="*/ -6685 h 11823"/>
              </a:gdLst>
              <a:ahLst/>
              <a:cxnLst>
                <a:cxn ang="0">
                  <a:pos x="csX0" y="csY0"/>
                </a:cxn>
                <a:cxn ang="0">
                  <a:pos x="csX1" y="csY1"/>
                </a:cxn>
                <a:cxn ang="0">
                  <a:pos x="csX2" y="csY2"/>
                </a:cxn>
                <a:cxn ang="0">
                  <a:pos x="csX3" y="csY3"/>
                </a:cxn>
                <a:cxn ang="0">
                  <a:pos x="csX4" y="csY4"/>
                </a:cxn>
              </a:cxnLst>
              <a:rect l="l" t="t" r="r" b="b"/>
              <a:pathLst>
                <a:path w="21671" h="11823">
                  <a:moveTo>
                    <a:pt x="-9087" y="-6685"/>
                  </a:moveTo>
                  <a:lnTo>
                    <a:pt x="12585" y="-6685"/>
                  </a:lnTo>
                  <a:lnTo>
                    <a:pt x="12585" y="5138"/>
                  </a:lnTo>
                  <a:lnTo>
                    <a:pt x="-9087" y="5138"/>
                  </a:lnTo>
                  <a:lnTo>
                    <a:pt x="-9087" y="-6685"/>
                  </a:lnTo>
                </a:path>
              </a:pathLst>
            </a:custGeom>
            <a:grpFill/>
            <a:ln w="548" cap="flat">
              <a:noFill/>
              <a:prstDash val="solid"/>
              <a:miter/>
            </a:ln>
          </p:spPr>
          <p:txBody>
            <a:bodyPr/>
            <a:lstStyle/>
            <a:p>
              <a:endParaRPr lang="en-US"/>
            </a:p>
          </p:txBody>
        </p:sp>
        <p:sp>
          <p:nvSpPr>
            <p:cNvPr id="453" name="Freeform: Shape 452">
              <a:extLst>
                <a:ext uri="{FF2B5EF4-FFF2-40B4-BE49-F238E27FC236}">
                  <a16:creationId xmlns:a16="http://schemas.microsoft.com/office/drawing/2014/main" id="{7605FDF3-F69F-9CE6-A9F0-8CD66B53E7D9}"/>
                </a:ext>
              </a:extLst>
            </p:cNvPr>
            <p:cNvSpPr/>
            <p:nvPr/>
          </p:nvSpPr>
          <p:spPr>
            <a:xfrm flipV="1">
              <a:off x="24396391" y="3811451"/>
              <a:ext cx="21671" cy="11828"/>
            </a:xfrm>
            <a:custGeom>
              <a:avLst/>
              <a:gdLst>
                <a:gd name="csX0" fmla="*/ -9087 w 21671"/>
                <a:gd name="csY0" fmla="*/ -6651 h 11828"/>
                <a:gd name="csX1" fmla="*/ 12585 w 21671"/>
                <a:gd name="csY1" fmla="*/ -6651 h 11828"/>
                <a:gd name="csX2" fmla="*/ 12585 w 21671"/>
                <a:gd name="csY2" fmla="*/ 5178 h 11828"/>
                <a:gd name="csX3" fmla="*/ -9087 w 21671"/>
                <a:gd name="csY3" fmla="*/ 5178 h 11828"/>
                <a:gd name="csX4" fmla="*/ -9087 w 21671"/>
                <a:gd name="csY4" fmla="*/ -6651 h 11828"/>
              </a:gdLst>
              <a:ahLst/>
              <a:cxnLst>
                <a:cxn ang="0">
                  <a:pos x="csX0" y="csY0"/>
                </a:cxn>
                <a:cxn ang="0">
                  <a:pos x="csX1" y="csY1"/>
                </a:cxn>
                <a:cxn ang="0">
                  <a:pos x="csX2" y="csY2"/>
                </a:cxn>
                <a:cxn ang="0">
                  <a:pos x="csX3" y="csY3"/>
                </a:cxn>
                <a:cxn ang="0">
                  <a:pos x="csX4" y="csY4"/>
                </a:cxn>
              </a:cxnLst>
              <a:rect l="l" t="t" r="r" b="b"/>
              <a:pathLst>
                <a:path w="21671" h="11828">
                  <a:moveTo>
                    <a:pt x="-9087" y="-6651"/>
                  </a:moveTo>
                  <a:lnTo>
                    <a:pt x="12585" y="-6651"/>
                  </a:lnTo>
                  <a:lnTo>
                    <a:pt x="12585" y="5178"/>
                  </a:lnTo>
                  <a:lnTo>
                    <a:pt x="-9087" y="5178"/>
                  </a:lnTo>
                  <a:lnTo>
                    <a:pt x="-9087" y="-6651"/>
                  </a:lnTo>
                </a:path>
              </a:pathLst>
            </a:custGeom>
            <a:grpFill/>
            <a:ln w="548" cap="flat">
              <a:noFill/>
              <a:prstDash val="solid"/>
              <a:miter/>
            </a:ln>
          </p:spPr>
          <p:txBody>
            <a:bodyPr/>
            <a:lstStyle/>
            <a:p>
              <a:endParaRPr lang="en-US"/>
            </a:p>
          </p:txBody>
        </p:sp>
        <p:sp>
          <p:nvSpPr>
            <p:cNvPr id="454" name="Freeform: Shape 453">
              <a:extLst>
                <a:ext uri="{FF2B5EF4-FFF2-40B4-BE49-F238E27FC236}">
                  <a16:creationId xmlns:a16="http://schemas.microsoft.com/office/drawing/2014/main" id="{4CD2C335-D5A7-E349-AF5C-C3195E87689D}"/>
                </a:ext>
              </a:extLst>
            </p:cNvPr>
            <p:cNvSpPr/>
            <p:nvPr/>
          </p:nvSpPr>
          <p:spPr>
            <a:xfrm flipV="1">
              <a:off x="24453889" y="3797220"/>
              <a:ext cx="21671" cy="11823"/>
            </a:xfrm>
            <a:custGeom>
              <a:avLst/>
              <a:gdLst>
                <a:gd name="csX0" fmla="*/ -9158 w 21671"/>
                <a:gd name="csY0" fmla="*/ -6685 h 11823"/>
                <a:gd name="csX1" fmla="*/ 12513 w 21671"/>
                <a:gd name="csY1" fmla="*/ -6685 h 11823"/>
                <a:gd name="csX2" fmla="*/ 12513 w 21671"/>
                <a:gd name="csY2" fmla="*/ 5138 h 11823"/>
                <a:gd name="csX3" fmla="*/ -9158 w 21671"/>
                <a:gd name="csY3" fmla="*/ 5138 h 11823"/>
                <a:gd name="csX4" fmla="*/ -9158 w 21671"/>
                <a:gd name="csY4" fmla="*/ -6685 h 11823"/>
              </a:gdLst>
              <a:ahLst/>
              <a:cxnLst>
                <a:cxn ang="0">
                  <a:pos x="csX0" y="csY0"/>
                </a:cxn>
                <a:cxn ang="0">
                  <a:pos x="csX1" y="csY1"/>
                </a:cxn>
                <a:cxn ang="0">
                  <a:pos x="csX2" y="csY2"/>
                </a:cxn>
                <a:cxn ang="0">
                  <a:pos x="csX3" y="csY3"/>
                </a:cxn>
                <a:cxn ang="0">
                  <a:pos x="csX4" y="csY4"/>
                </a:cxn>
              </a:cxnLst>
              <a:rect l="l" t="t" r="r" b="b"/>
              <a:pathLst>
                <a:path w="21671" h="11823">
                  <a:moveTo>
                    <a:pt x="-9158" y="-6685"/>
                  </a:moveTo>
                  <a:lnTo>
                    <a:pt x="12513" y="-6685"/>
                  </a:lnTo>
                  <a:lnTo>
                    <a:pt x="12513" y="5138"/>
                  </a:lnTo>
                  <a:lnTo>
                    <a:pt x="-9158" y="5138"/>
                  </a:lnTo>
                  <a:lnTo>
                    <a:pt x="-9158" y="-6685"/>
                  </a:lnTo>
                </a:path>
              </a:pathLst>
            </a:custGeom>
            <a:grpFill/>
            <a:ln w="548" cap="flat">
              <a:noFill/>
              <a:prstDash val="solid"/>
              <a:miter/>
            </a:ln>
          </p:spPr>
          <p:txBody>
            <a:bodyPr/>
            <a:lstStyle/>
            <a:p>
              <a:endParaRPr lang="en-US"/>
            </a:p>
          </p:txBody>
        </p:sp>
        <p:sp>
          <p:nvSpPr>
            <p:cNvPr id="455" name="Freeform: Shape 454">
              <a:extLst>
                <a:ext uri="{FF2B5EF4-FFF2-40B4-BE49-F238E27FC236}">
                  <a16:creationId xmlns:a16="http://schemas.microsoft.com/office/drawing/2014/main" id="{DD8157A2-AD6C-3ABF-C4BF-99E64E7736A5}"/>
                </a:ext>
              </a:extLst>
            </p:cNvPr>
            <p:cNvSpPr/>
            <p:nvPr/>
          </p:nvSpPr>
          <p:spPr>
            <a:xfrm flipV="1">
              <a:off x="24453889" y="3811451"/>
              <a:ext cx="21671" cy="11828"/>
            </a:xfrm>
            <a:custGeom>
              <a:avLst/>
              <a:gdLst>
                <a:gd name="csX0" fmla="*/ -9158 w 21671"/>
                <a:gd name="csY0" fmla="*/ -6651 h 11828"/>
                <a:gd name="csX1" fmla="*/ 12513 w 21671"/>
                <a:gd name="csY1" fmla="*/ -6651 h 11828"/>
                <a:gd name="csX2" fmla="*/ 12513 w 21671"/>
                <a:gd name="csY2" fmla="*/ 5178 h 11828"/>
                <a:gd name="csX3" fmla="*/ -9158 w 21671"/>
                <a:gd name="csY3" fmla="*/ 5178 h 11828"/>
                <a:gd name="csX4" fmla="*/ -9158 w 21671"/>
                <a:gd name="csY4" fmla="*/ -6651 h 11828"/>
              </a:gdLst>
              <a:ahLst/>
              <a:cxnLst>
                <a:cxn ang="0">
                  <a:pos x="csX0" y="csY0"/>
                </a:cxn>
                <a:cxn ang="0">
                  <a:pos x="csX1" y="csY1"/>
                </a:cxn>
                <a:cxn ang="0">
                  <a:pos x="csX2" y="csY2"/>
                </a:cxn>
                <a:cxn ang="0">
                  <a:pos x="csX3" y="csY3"/>
                </a:cxn>
                <a:cxn ang="0">
                  <a:pos x="csX4" y="csY4"/>
                </a:cxn>
              </a:cxnLst>
              <a:rect l="l" t="t" r="r" b="b"/>
              <a:pathLst>
                <a:path w="21671" h="11828">
                  <a:moveTo>
                    <a:pt x="-9158" y="-6651"/>
                  </a:moveTo>
                  <a:lnTo>
                    <a:pt x="12513" y="-6651"/>
                  </a:lnTo>
                  <a:lnTo>
                    <a:pt x="12513" y="5178"/>
                  </a:lnTo>
                  <a:lnTo>
                    <a:pt x="-9158" y="5178"/>
                  </a:lnTo>
                  <a:lnTo>
                    <a:pt x="-9158" y="-6651"/>
                  </a:lnTo>
                </a:path>
              </a:pathLst>
            </a:custGeom>
            <a:grpFill/>
            <a:ln w="548" cap="flat">
              <a:noFill/>
              <a:prstDash val="solid"/>
              <a:miter/>
            </a:ln>
          </p:spPr>
          <p:txBody>
            <a:bodyPr/>
            <a:lstStyle/>
            <a:p>
              <a:endParaRPr lang="en-US"/>
            </a:p>
          </p:txBody>
        </p:sp>
        <p:sp>
          <p:nvSpPr>
            <p:cNvPr id="456" name="Freeform: Shape 455">
              <a:extLst>
                <a:ext uri="{FF2B5EF4-FFF2-40B4-BE49-F238E27FC236}">
                  <a16:creationId xmlns:a16="http://schemas.microsoft.com/office/drawing/2014/main" id="{2EA0E95C-D906-C53E-9DC3-073605988C18}"/>
                </a:ext>
              </a:extLst>
            </p:cNvPr>
            <p:cNvSpPr/>
            <p:nvPr/>
          </p:nvSpPr>
          <p:spPr>
            <a:xfrm flipV="1">
              <a:off x="24396391" y="3856736"/>
              <a:ext cx="21671" cy="11828"/>
            </a:xfrm>
            <a:custGeom>
              <a:avLst/>
              <a:gdLst>
                <a:gd name="csX0" fmla="*/ -9087 w 21671"/>
                <a:gd name="csY0" fmla="*/ -6542 h 11828"/>
                <a:gd name="csX1" fmla="*/ 12585 w 21671"/>
                <a:gd name="csY1" fmla="*/ -6542 h 11828"/>
                <a:gd name="csX2" fmla="*/ 12585 w 21671"/>
                <a:gd name="csY2" fmla="*/ 5287 h 11828"/>
                <a:gd name="csX3" fmla="*/ -9087 w 21671"/>
                <a:gd name="csY3" fmla="*/ 5287 h 11828"/>
                <a:gd name="csX4" fmla="*/ -9087 w 21671"/>
                <a:gd name="csY4" fmla="*/ -6542 h 11828"/>
              </a:gdLst>
              <a:ahLst/>
              <a:cxnLst>
                <a:cxn ang="0">
                  <a:pos x="csX0" y="csY0"/>
                </a:cxn>
                <a:cxn ang="0">
                  <a:pos x="csX1" y="csY1"/>
                </a:cxn>
                <a:cxn ang="0">
                  <a:pos x="csX2" y="csY2"/>
                </a:cxn>
                <a:cxn ang="0">
                  <a:pos x="csX3" y="csY3"/>
                </a:cxn>
                <a:cxn ang="0">
                  <a:pos x="csX4" y="csY4"/>
                </a:cxn>
              </a:cxnLst>
              <a:rect l="l" t="t" r="r" b="b"/>
              <a:pathLst>
                <a:path w="21671" h="11828">
                  <a:moveTo>
                    <a:pt x="-9087" y="-6542"/>
                  </a:moveTo>
                  <a:lnTo>
                    <a:pt x="12585" y="-6542"/>
                  </a:lnTo>
                  <a:lnTo>
                    <a:pt x="12585" y="5287"/>
                  </a:lnTo>
                  <a:lnTo>
                    <a:pt x="-9087" y="5287"/>
                  </a:lnTo>
                  <a:lnTo>
                    <a:pt x="-9087" y="-6542"/>
                  </a:lnTo>
                </a:path>
              </a:pathLst>
            </a:custGeom>
            <a:grpFill/>
            <a:ln w="548" cap="flat">
              <a:noFill/>
              <a:prstDash val="solid"/>
              <a:miter/>
            </a:ln>
          </p:spPr>
          <p:txBody>
            <a:bodyPr/>
            <a:lstStyle/>
            <a:p>
              <a:endParaRPr lang="en-US"/>
            </a:p>
          </p:txBody>
        </p:sp>
        <p:sp>
          <p:nvSpPr>
            <p:cNvPr id="457" name="Freeform: Shape 456">
              <a:extLst>
                <a:ext uri="{FF2B5EF4-FFF2-40B4-BE49-F238E27FC236}">
                  <a16:creationId xmlns:a16="http://schemas.microsoft.com/office/drawing/2014/main" id="{4BC5B9A0-2438-159C-EB15-A5277043E7FD}"/>
                </a:ext>
              </a:extLst>
            </p:cNvPr>
            <p:cNvSpPr/>
            <p:nvPr/>
          </p:nvSpPr>
          <p:spPr>
            <a:xfrm flipV="1">
              <a:off x="24396391" y="3870968"/>
              <a:ext cx="21671" cy="11828"/>
            </a:xfrm>
            <a:custGeom>
              <a:avLst/>
              <a:gdLst>
                <a:gd name="csX0" fmla="*/ -9087 w 21671"/>
                <a:gd name="csY0" fmla="*/ -6508 h 11828"/>
                <a:gd name="csX1" fmla="*/ 12585 w 21671"/>
                <a:gd name="csY1" fmla="*/ -6508 h 11828"/>
                <a:gd name="csX2" fmla="*/ 12585 w 21671"/>
                <a:gd name="csY2" fmla="*/ 5321 h 11828"/>
                <a:gd name="csX3" fmla="*/ -9087 w 21671"/>
                <a:gd name="csY3" fmla="*/ 5321 h 11828"/>
                <a:gd name="csX4" fmla="*/ -9087 w 21671"/>
                <a:gd name="csY4" fmla="*/ -6508 h 11828"/>
              </a:gdLst>
              <a:ahLst/>
              <a:cxnLst>
                <a:cxn ang="0">
                  <a:pos x="csX0" y="csY0"/>
                </a:cxn>
                <a:cxn ang="0">
                  <a:pos x="csX1" y="csY1"/>
                </a:cxn>
                <a:cxn ang="0">
                  <a:pos x="csX2" y="csY2"/>
                </a:cxn>
                <a:cxn ang="0">
                  <a:pos x="csX3" y="csY3"/>
                </a:cxn>
                <a:cxn ang="0">
                  <a:pos x="csX4" y="csY4"/>
                </a:cxn>
              </a:cxnLst>
              <a:rect l="l" t="t" r="r" b="b"/>
              <a:pathLst>
                <a:path w="21671" h="11828">
                  <a:moveTo>
                    <a:pt x="-9087" y="-6508"/>
                  </a:moveTo>
                  <a:lnTo>
                    <a:pt x="12585" y="-6508"/>
                  </a:lnTo>
                  <a:lnTo>
                    <a:pt x="12585" y="5321"/>
                  </a:lnTo>
                  <a:lnTo>
                    <a:pt x="-9087" y="5321"/>
                  </a:lnTo>
                  <a:lnTo>
                    <a:pt x="-9087" y="-6508"/>
                  </a:lnTo>
                </a:path>
              </a:pathLst>
            </a:custGeom>
            <a:grpFill/>
            <a:ln w="548" cap="flat">
              <a:noFill/>
              <a:prstDash val="solid"/>
              <a:miter/>
            </a:ln>
          </p:spPr>
          <p:txBody>
            <a:bodyPr/>
            <a:lstStyle/>
            <a:p>
              <a:endParaRPr lang="en-US"/>
            </a:p>
          </p:txBody>
        </p:sp>
        <p:sp>
          <p:nvSpPr>
            <p:cNvPr id="458" name="Freeform: Shape 457">
              <a:extLst>
                <a:ext uri="{FF2B5EF4-FFF2-40B4-BE49-F238E27FC236}">
                  <a16:creationId xmlns:a16="http://schemas.microsoft.com/office/drawing/2014/main" id="{C478A45A-0344-C5C5-C72D-AECEC92C8A9C}"/>
                </a:ext>
              </a:extLst>
            </p:cNvPr>
            <p:cNvSpPr/>
            <p:nvPr/>
          </p:nvSpPr>
          <p:spPr>
            <a:xfrm flipV="1">
              <a:off x="24453889" y="3856736"/>
              <a:ext cx="21671" cy="11828"/>
            </a:xfrm>
            <a:custGeom>
              <a:avLst/>
              <a:gdLst>
                <a:gd name="csX0" fmla="*/ -9158 w 21671"/>
                <a:gd name="csY0" fmla="*/ -6542 h 11828"/>
                <a:gd name="csX1" fmla="*/ 12513 w 21671"/>
                <a:gd name="csY1" fmla="*/ -6542 h 11828"/>
                <a:gd name="csX2" fmla="*/ 12513 w 21671"/>
                <a:gd name="csY2" fmla="*/ 5287 h 11828"/>
                <a:gd name="csX3" fmla="*/ -9158 w 21671"/>
                <a:gd name="csY3" fmla="*/ 5287 h 11828"/>
                <a:gd name="csX4" fmla="*/ -9158 w 21671"/>
                <a:gd name="csY4" fmla="*/ -6542 h 11828"/>
              </a:gdLst>
              <a:ahLst/>
              <a:cxnLst>
                <a:cxn ang="0">
                  <a:pos x="csX0" y="csY0"/>
                </a:cxn>
                <a:cxn ang="0">
                  <a:pos x="csX1" y="csY1"/>
                </a:cxn>
                <a:cxn ang="0">
                  <a:pos x="csX2" y="csY2"/>
                </a:cxn>
                <a:cxn ang="0">
                  <a:pos x="csX3" y="csY3"/>
                </a:cxn>
                <a:cxn ang="0">
                  <a:pos x="csX4" y="csY4"/>
                </a:cxn>
              </a:cxnLst>
              <a:rect l="l" t="t" r="r" b="b"/>
              <a:pathLst>
                <a:path w="21671" h="11828">
                  <a:moveTo>
                    <a:pt x="-9158" y="-6542"/>
                  </a:moveTo>
                  <a:lnTo>
                    <a:pt x="12513" y="-6542"/>
                  </a:lnTo>
                  <a:lnTo>
                    <a:pt x="12513" y="5287"/>
                  </a:lnTo>
                  <a:lnTo>
                    <a:pt x="-9158" y="5287"/>
                  </a:lnTo>
                  <a:lnTo>
                    <a:pt x="-9158" y="-6542"/>
                  </a:lnTo>
                </a:path>
              </a:pathLst>
            </a:custGeom>
            <a:grpFill/>
            <a:ln w="548" cap="flat">
              <a:noFill/>
              <a:prstDash val="solid"/>
              <a:miter/>
            </a:ln>
          </p:spPr>
          <p:txBody>
            <a:bodyPr/>
            <a:lstStyle/>
            <a:p>
              <a:endParaRPr lang="en-US"/>
            </a:p>
          </p:txBody>
        </p:sp>
        <p:sp>
          <p:nvSpPr>
            <p:cNvPr id="459" name="Freeform: Shape 458">
              <a:extLst>
                <a:ext uri="{FF2B5EF4-FFF2-40B4-BE49-F238E27FC236}">
                  <a16:creationId xmlns:a16="http://schemas.microsoft.com/office/drawing/2014/main" id="{5BEED5E6-E2B7-001D-4C2C-F44F20A07ADA}"/>
                </a:ext>
              </a:extLst>
            </p:cNvPr>
            <p:cNvSpPr/>
            <p:nvPr/>
          </p:nvSpPr>
          <p:spPr>
            <a:xfrm flipV="1">
              <a:off x="24453889" y="3870968"/>
              <a:ext cx="21671" cy="11828"/>
            </a:xfrm>
            <a:custGeom>
              <a:avLst/>
              <a:gdLst>
                <a:gd name="csX0" fmla="*/ -9158 w 21671"/>
                <a:gd name="csY0" fmla="*/ -6508 h 11828"/>
                <a:gd name="csX1" fmla="*/ 12513 w 21671"/>
                <a:gd name="csY1" fmla="*/ -6508 h 11828"/>
                <a:gd name="csX2" fmla="*/ 12513 w 21671"/>
                <a:gd name="csY2" fmla="*/ 5321 h 11828"/>
                <a:gd name="csX3" fmla="*/ -9158 w 21671"/>
                <a:gd name="csY3" fmla="*/ 5321 h 11828"/>
                <a:gd name="csX4" fmla="*/ -9158 w 21671"/>
                <a:gd name="csY4" fmla="*/ -6508 h 11828"/>
              </a:gdLst>
              <a:ahLst/>
              <a:cxnLst>
                <a:cxn ang="0">
                  <a:pos x="csX0" y="csY0"/>
                </a:cxn>
                <a:cxn ang="0">
                  <a:pos x="csX1" y="csY1"/>
                </a:cxn>
                <a:cxn ang="0">
                  <a:pos x="csX2" y="csY2"/>
                </a:cxn>
                <a:cxn ang="0">
                  <a:pos x="csX3" y="csY3"/>
                </a:cxn>
                <a:cxn ang="0">
                  <a:pos x="csX4" y="csY4"/>
                </a:cxn>
              </a:cxnLst>
              <a:rect l="l" t="t" r="r" b="b"/>
              <a:pathLst>
                <a:path w="21671" h="11828">
                  <a:moveTo>
                    <a:pt x="-9158" y="-6508"/>
                  </a:moveTo>
                  <a:lnTo>
                    <a:pt x="12513" y="-6508"/>
                  </a:lnTo>
                  <a:lnTo>
                    <a:pt x="12513" y="5321"/>
                  </a:lnTo>
                  <a:lnTo>
                    <a:pt x="-9158" y="5321"/>
                  </a:lnTo>
                  <a:lnTo>
                    <a:pt x="-9158" y="-6508"/>
                  </a:lnTo>
                </a:path>
              </a:pathLst>
            </a:custGeom>
            <a:grpFill/>
            <a:ln w="548" cap="flat">
              <a:noFill/>
              <a:prstDash val="solid"/>
              <a:miter/>
            </a:ln>
          </p:spPr>
          <p:txBody>
            <a:bodyPr/>
            <a:lstStyle/>
            <a:p>
              <a:endParaRPr lang="en-US"/>
            </a:p>
          </p:txBody>
        </p:sp>
        <p:sp>
          <p:nvSpPr>
            <p:cNvPr id="460" name="Freeform: Shape 459">
              <a:extLst>
                <a:ext uri="{FF2B5EF4-FFF2-40B4-BE49-F238E27FC236}">
                  <a16:creationId xmlns:a16="http://schemas.microsoft.com/office/drawing/2014/main" id="{E67A70E3-4991-F0B7-0779-456A8DDBDE2E}"/>
                </a:ext>
              </a:extLst>
            </p:cNvPr>
            <p:cNvSpPr/>
            <p:nvPr/>
          </p:nvSpPr>
          <p:spPr>
            <a:xfrm flipV="1">
              <a:off x="24396391" y="3916253"/>
              <a:ext cx="21671" cy="11828"/>
            </a:xfrm>
            <a:custGeom>
              <a:avLst/>
              <a:gdLst>
                <a:gd name="csX0" fmla="*/ -9087 w 21671"/>
                <a:gd name="csY0" fmla="*/ -6399 h 11828"/>
                <a:gd name="csX1" fmla="*/ 12585 w 21671"/>
                <a:gd name="csY1" fmla="*/ -6399 h 11828"/>
                <a:gd name="csX2" fmla="*/ 12585 w 21671"/>
                <a:gd name="csY2" fmla="*/ 5430 h 11828"/>
                <a:gd name="csX3" fmla="*/ -9087 w 21671"/>
                <a:gd name="csY3" fmla="*/ 5430 h 11828"/>
                <a:gd name="csX4" fmla="*/ -9087 w 21671"/>
                <a:gd name="csY4" fmla="*/ -6399 h 11828"/>
              </a:gdLst>
              <a:ahLst/>
              <a:cxnLst>
                <a:cxn ang="0">
                  <a:pos x="csX0" y="csY0"/>
                </a:cxn>
                <a:cxn ang="0">
                  <a:pos x="csX1" y="csY1"/>
                </a:cxn>
                <a:cxn ang="0">
                  <a:pos x="csX2" y="csY2"/>
                </a:cxn>
                <a:cxn ang="0">
                  <a:pos x="csX3" y="csY3"/>
                </a:cxn>
                <a:cxn ang="0">
                  <a:pos x="csX4" y="csY4"/>
                </a:cxn>
              </a:cxnLst>
              <a:rect l="l" t="t" r="r" b="b"/>
              <a:pathLst>
                <a:path w="21671" h="11828">
                  <a:moveTo>
                    <a:pt x="-9087" y="-6399"/>
                  </a:moveTo>
                  <a:lnTo>
                    <a:pt x="12585" y="-6399"/>
                  </a:lnTo>
                  <a:lnTo>
                    <a:pt x="12585" y="5430"/>
                  </a:lnTo>
                  <a:lnTo>
                    <a:pt x="-9087" y="5430"/>
                  </a:lnTo>
                  <a:lnTo>
                    <a:pt x="-9087" y="-6399"/>
                  </a:lnTo>
                </a:path>
              </a:pathLst>
            </a:custGeom>
            <a:grpFill/>
            <a:ln w="548" cap="flat">
              <a:noFill/>
              <a:prstDash val="solid"/>
              <a:miter/>
            </a:ln>
          </p:spPr>
          <p:txBody>
            <a:bodyPr/>
            <a:lstStyle/>
            <a:p>
              <a:endParaRPr lang="en-US"/>
            </a:p>
          </p:txBody>
        </p:sp>
        <p:sp>
          <p:nvSpPr>
            <p:cNvPr id="461" name="Freeform: Shape 460">
              <a:extLst>
                <a:ext uri="{FF2B5EF4-FFF2-40B4-BE49-F238E27FC236}">
                  <a16:creationId xmlns:a16="http://schemas.microsoft.com/office/drawing/2014/main" id="{A44CE779-BF2A-003E-6D62-ADBAA5904461}"/>
                </a:ext>
              </a:extLst>
            </p:cNvPr>
            <p:cNvSpPr/>
            <p:nvPr/>
          </p:nvSpPr>
          <p:spPr>
            <a:xfrm flipV="1">
              <a:off x="24396391" y="3930484"/>
              <a:ext cx="21671" cy="11828"/>
            </a:xfrm>
            <a:custGeom>
              <a:avLst/>
              <a:gdLst>
                <a:gd name="csX0" fmla="*/ -9087 w 21671"/>
                <a:gd name="csY0" fmla="*/ -6365 h 11828"/>
                <a:gd name="csX1" fmla="*/ 12585 w 21671"/>
                <a:gd name="csY1" fmla="*/ -6365 h 11828"/>
                <a:gd name="csX2" fmla="*/ 12585 w 21671"/>
                <a:gd name="csY2" fmla="*/ 5464 h 11828"/>
                <a:gd name="csX3" fmla="*/ -9087 w 21671"/>
                <a:gd name="csY3" fmla="*/ 5464 h 11828"/>
                <a:gd name="csX4" fmla="*/ -9087 w 21671"/>
                <a:gd name="csY4" fmla="*/ -6365 h 11828"/>
              </a:gdLst>
              <a:ahLst/>
              <a:cxnLst>
                <a:cxn ang="0">
                  <a:pos x="csX0" y="csY0"/>
                </a:cxn>
                <a:cxn ang="0">
                  <a:pos x="csX1" y="csY1"/>
                </a:cxn>
                <a:cxn ang="0">
                  <a:pos x="csX2" y="csY2"/>
                </a:cxn>
                <a:cxn ang="0">
                  <a:pos x="csX3" y="csY3"/>
                </a:cxn>
                <a:cxn ang="0">
                  <a:pos x="csX4" y="csY4"/>
                </a:cxn>
              </a:cxnLst>
              <a:rect l="l" t="t" r="r" b="b"/>
              <a:pathLst>
                <a:path w="21671" h="11828">
                  <a:moveTo>
                    <a:pt x="-9087" y="-6365"/>
                  </a:moveTo>
                  <a:lnTo>
                    <a:pt x="12585" y="-6365"/>
                  </a:lnTo>
                  <a:lnTo>
                    <a:pt x="12585" y="5464"/>
                  </a:lnTo>
                  <a:lnTo>
                    <a:pt x="-9087" y="5464"/>
                  </a:lnTo>
                  <a:lnTo>
                    <a:pt x="-9087" y="-6365"/>
                  </a:lnTo>
                </a:path>
              </a:pathLst>
            </a:custGeom>
            <a:grpFill/>
            <a:ln w="548" cap="flat">
              <a:noFill/>
              <a:prstDash val="solid"/>
              <a:miter/>
            </a:ln>
          </p:spPr>
          <p:txBody>
            <a:bodyPr/>
            <a:lstStyle/>
            <a:p>
              <a:endParaRPr lang="en-US"/>
            </a:p>
          </p:txBody>
        </p:sp>
        <p:sp>
          <p:nvSpPr>
            <p:cNvPr id="462" name="Freeform: Shape 461">
              <a:extLst>
                <a:ext uri="{FF2B5EF4-FFF2-40B4-BE49-F238E27FC236}">
                  <a16:creationId xmlns:a16="http://schemas.microsoft.com/office/drawing/2014/main" id="{AC2E6926-5696-9F28-5DCF-FC63DE5D5886}"/>
                </a:ext>
              </a:extLst>
            </p:cNvPr>
            <p:cNvSpPr/>
            <p:nvPr/>
          </p:nvSpPr>
          <p:spPr>
            <a:xfrm flipV="1">
              <a:off x="24453889" y="3916253"/>
              <a:ext cx="21671" cy="11828"/>
            </a:xfrm>
            <a:custGeom>
              <a:avLst/>
              <a:gdLst>
                <a:gd name="csX0" fmla="*/ -9158 w 21671"/>
                <a:gd name="csY0" fmla="*/ -6399 h 11828"/>
                <a:gd name="csX1" fmla="*/ 12513 w 21671"/>
                <a:gd name="csY1" fmla="*/ -6399 h 11828"/>
                <a:gd name="csX2" fmla="*/ 12513 w 21671"/>
                <a:gd name="csY2" fmla="*/ 5430 h 11828"/>
                <a:gd name="csX3" fmla="*/ -9158 w 21671"/>
                <a:gd name="csY3" fmla="*/ 5430 h 11828"/>
                <a:gd name="csX4" fmla="*/ -9158 w 21671"/>
                <a:gd name="csY4" fmla="*/ -6399 h 11828"/>
              </a:gdLst>
              <a:ahLst/>
              <a:cxnLst>
                <a:cxn ang="0">
                  <a:pos x="csX0" y="csY0"/>
                </a:cxn>
                <a:cxn ang="0">
                  <a:pos x="csX1" y="csY1"/>
                </a:cxn>
                <a:cxn ang="0">
                  <a:pos x="csX2" y="csY2"/>
                </a:cxn>
                <a:cxn ang="0">
                  <a:pos x="csX3" y="csY3"/>
                </a:cxn>
                <a:cxn ang="0">
                  <a:pos x="csX4" y="csY4"/>
                </a:cxn>
              </a:cxnLst>
              <a:rect l="l" t="t" r="r" b="b"/>
              <a:pathLst>
                <a:path w="21671" h="11828">
                  <a:moveTo>
                    <a:pt x="-9158" y="-6399"/>
                  </a:moveTo>
                  <a:lnTo>
                    <a:pt x="12513" y="-6399"/>
                  </a:lnTo>
                  <a:lnTo>
                    <a:pt x="12513" y="5430"/>
                  </a:lnTo>
                  <a:lnTo>
                    <a:pt x="-9158" y="5430"/>
                  </a:lnTo>
                  <a:lnTo>
                    <a:pt x="-9158" y="-6399"/>
                  </a:lnTo>
                </a:path>
              </a:pathLst>
            </a:custGeom>
            <a:grpFill/>
            <a:ln w="548" cap="flat">
              <a:noFill/>
              <a:prstDash val="solid"/>
              <a:miter/>
            </a:ln>
          </p:spPr>
          <p:txBody>
            <a:bodyPr/>
            <a:lstStyle/>
            <a:p>
              <a:endParaRPr lang="en-US"/>
            </a:p>
          </p:txBody>
        </p:sp>
        <p:sp>
          <p:nvSpPr>
            <p:cNvPr id="463" name="Freeform: Shape 462">
              <a:extLst>
                <a:ext uri="{FF2B5EF4-FFF2-40B4-BE49-F238E27FC236}">
                  <a16:creationId xmlns:a16="http://schemas.microsoft.com/office/drawing/2014/main" id="{AEC32FB7-488C-FAE0-7458-6AF06241F440}"/>
                </a:ext>
              </a:extLst>
            </p:cNvPr>
            <p:cNvSpPr/>
            <p:nvPr/>
          </p:nvSpPr>
          <p:spPr>
            <a:xfrm flipV="1">
              <a:off x="24453889" y="3930484"/>
              <a:ext cx="21671" cy="11828"/>
            </a:xfrm>
            <a:custGeom>
              <a:avLst/>
              <a:gdLst>
                <a:gd name="csX0" fmla="*/ -9158 w 21671"/>
                <a:gd name="csY0" fmla="*/ -6365 h 11828"/>
                <a:gd name="csX1" fmla="*/ 12513 w 21671"/>
                <a:gd name="csY1" fmla="*/ -6365 h 11828"/>
                <a:gd name="csX2" fmla="*/ 12513 w 21671"/>
                <a:gd name="csY2" fmla="*/ 5464 h 11828"/>
                <a:gd name="csX3" fmla="*/ -9158 w 21671"/>
                <a:gd name="csY3" fmla="*/ 5464 h 11828"/>
                <a:gd name="csX4" fmla="*/ -9158 w 21671"/>
                <a:gd name="csY4" fmla="*/ -6365 h 11828"/>
              </a:gdLst>
              <a:ahLst/>
              <a:cxnLst>
                <a:cxn ang="0">
                  <a:pos x="csX0" y="csY0"/>
                </a:cxn>
                <a:cxn ang="0">
                  <a:pos x="csX1" y="csY1"/>
                </a:cxn>
                <a:cxn ang="0">
                  <a:pos x="csX2" y="csY2"/>
                </a:cxn>
                <a:cxn ang="0">
                  <a:pos x="csX3" y="csY3"/>
                </a:cxn>
                <a:cxn ang="0">
                  <a:pos x="csX4" y="csY4"/>
                </a:cxn>
              </a:cxnLst>
              <a:rect l="l" t="t" r="r" b="b"/>
              <a:pathLst>
                <a:path w="21671" h="11828">
                  <a:moveTo>
                    <a:pt x="-9158" y="-6365"/>
                  </a:moveTo>
                  <a:lnTo>
                    <a:pt x="12513" y="-6365"/>
                  </a:lnTo>
                  <a:lnTo>
                    <a:pt x="12513" y="5464"/>
                  </a:lnTo>
                  <a:lnTo>
                    <a:pt x="-9158" y="5464"/>
                  </a:lnTo>
                  <a:lnTo>
                    <a:pt x="-9158" y="-6365"/>
                  </a:lnTo>
                </a:path>
              </a:pathLst>
            </a:custGeom>
            <a:grpFill/>
            <a:ln w="548" cap="flat">
              <a:noFill/>
              <a:prstDash val="solid"/>
              <a:miter/>
            </a:ln>
          </p:spPr>
          <p:txBody>
            <a:bodyPr/>
            <a:lstStyle/>
            <a:p>
              <a:endParaRPr lang="en-US"/>
            </a:p>
          </p:txBody>
        </p:sp>
        <p:sp>
          <p:nvSpPr>
            <p:cNvPr id="464" name="Freeform: Shape 463">
              <a:extLst>
                <a:ext uri="{FF2B5EF4-FFF2-40B4-BE49-F238E27FC236}">
                  <a16:creationId xmlns:a16="http://schemas.microsoft.com/office/drawing/2014/main" id="{FF09A893-9A6B-4818-343B-29995F4CF166}"/>
                </a:ext>
              </a:extLst>
            </p:cNvPr>
            <p:cNvSpPr/>
            <p:nvPr/>
          </p:nvSpPr>
          <p:spPr>
            <a:xfrm flipV="1">
              <a:off x="24396391" y="3975769"/>
              <a:ext cx="21671" cy="11828"/>
            </a:xfrm>
            <a:custGeom>
              <a:avLst/>
              <a:gdLst>
                <a:gd name="csX0" fmla="*/ -9087 w 21671"/>
                <a:gd name="csY0" fmla="*/ -6256 h 11828"/>
                <a:gd name="csX1" fmla="*/ 12585 w 21671"/>
                <a:gd name="csY1" fmla="*/ -6256 h 11828"/>
                <a:gd name="csX2" fmla="*/ 12585 w 21671"/>
                <a:gd name="csY2" fmla="*/ 5573 h 11828"/>
                <a:gd name="csX3" fmla="*/ -9087 w 21671"/>
                <a:gd name="csY3" fmla="*/ 5573 h 11828"/>
                <a:gd name="csX4" fmla="*/ -9087 w 21671"/>
                <a:gd name="csY4" fmla="*/ -6256 h 11828"/>
              </a:gdLst>
              <a:ahLst/>
              <a:cxnLst>
                <a:cxn ang="0">
                  <a:pos x="csX0" y="csY0"/>
                </a:cxn>
                <a:cxn ang="0">
                  <a:pos x="csX1" y="csY1"/>
                </a:cxn>
                <a:cxn ang="0">
                  <a:pos x="csX2" y="csY2"/>
                </a:cxn>
                <a:cxn ang="0">
                  <a:pos x="csX3" y="csY3"/>
                </a:cxn>
                <a:cxn ang="0">
                  <a:pos x="csX4" y="csY4"/>
                </a:cxn>
              </a:cxnLst>
              <a:rect l="l" t="t" r="r" b="b"/>
              <a:pathLst>
                <a:path w="21671" h="11828">
                  <a:moveTo>
                    <a:pt x="-9087" y="-6256"/>
                  </a:moveTo>
                  <a:lnTo>
                    <a:pt x="12585" y="-6256"/>
                  </a:lnTo>
                  <a:lnTo>
                    <a:pt x="12585" y="5573"/>
                  </a:lnTo>
                  <a:lnTo>
                    <a:pt x="-9087" y="5573"/>
                  </a:lnTo>
                  <a:lnTo>
                    <a:pt x="-9087" y="-6256"/>
                  </a:lnTo>
                </a:path>
              </a:pathLst>
            </a:custGeom>
            <a:grpFill/>
            <a:ln w="548" cap="flat">
              <a:noFill/>
              <a:prstDash val="solid"/>
              <a:miter/>
            </a:ln>
          </p:spPr>
          <p:txBody>
            <a:bodyPr/>
            <a:lstStyle/>
            <a:p>
              <a:endParaRPr lang="en-US"/>
            </a:p>
          </p:txBody>
        </p:sp>
        <p:sp>
          <p:nvSpPr>
            <p:cNvPr id="465" name="Freeform: Shape 464">
              <a:extLst>
                <a:ext uri="{FF2B5EF4-FFF2-40B4-BE49-F238E27FC236}">
                  <a16:creationId xmlns:a16="http://schemas.microsoft.com/office/drawing/2014/main" id="{DDE373FD-F63A-280E-0D00-29FA7FD35D0F}"/>
                </a:ext>
              </a:extLst>
            </p:cNvPr>
            <p:cNvSpPr/>
            <p:nvPr/>
          </p:nvSpPr>
          <p:spPr>
            <a:xfrm flipV="1">
              <a:off x="24396391" y="3990001"/>
              <a:ext cx="21671" cy="11828"/>
            </a:xfrm>
            <a:custGeom>
              <a:avLst/>
              <a:gdLst>
                <a:gd name="csX0" fmla="*/ -9087 w 21671"/>
                <a:gd name="csY0" fmla="*/ -6222 h 11828"/>
                <a:gd name="csX1" fmla="*/ 12585 w 21671"/>
                <a:gd name="csY1" fmla="*/ -6222 h 11828"/>
                <a:gd name="csX2" fmla="*/ 12585 w 21671"/>
                <a:gd name="csY2" fmla="*/ 5607 h 11828"/>
                <a:gd name="csX3" fmla="*/ -9087 w 21671"/>
                <a:gd name="csY3" fmla="*/ 5607 h 11828"/>
                <a:gd name="csX4" fmla="*/ -9087 w 21671"/>
                <a:gd name="csY4" fmla="*/ -6222 h 11828"/>
              </a:gdLst>
              <a:ahLst/>
              <a:cxnLst>
                <a:cxn ang="0">
                  <a:pos x="csX0" y="csY0"/>
                </a:cxn>
                <a:cxn ang="0">
                  <a:pos x="csX1" y="csY1"/>
                </a:cxn>
                <a:cxn ang="0">
                  <a:pos x="csX2" y="csY2"/>
                </a:cxn>
                <a:cxn ang="0">
                  <a:pos x="csX3" y="csY3"/>
                </a:cxn>
                <a:cxn ang="0">
                  <a:pos x="csX4" y="csY4"/>
                </a:cxn>
              </a:cxnLst>
              <a:rect l="l" t="t" r="r" b="b"/>
              <a:pathLst>
                <a:path w="21671" h="11828">
                  <a:moveTo>
                    <a:pt x="-9087" y="-6222"/>
                  </a:moveTo>
                  <a:lnTo>
                    <a:pt x="12585" y="-6222"/>
                  </a:lnTo>
                  <a:lnTo>
                    <a:pt x="12585" y="5607"/>
                  </a:lnTo>
                  <a:lnTo>
                    <a:pt x="-9087" y="5607"/>
                  </a:lnTo>
                  <a:lnTo>
                    <a:pt x="-9087" y="-6222"/>
                  </a:lnTo>
                </a:path>
              </a:pathLst>
            </a:custGeom>
            <a:grpFill/>
            <a:ln w="548" cap="flat">
              <a:noFill/>
              <a:prstDash val="solid"/>
              <a:miter/>
            </a:ln>
          </p:spPr>
          <p:txBody>
            <a:bodyPr/>
            <a:lstStyle/>
            <a:p>
              <a:endParaRPr lang="en-US"/>
            </a:p>
          </p:txBody>
        </p:sp>
        <p:sp>
          <p:nvSpPr>
            <p:cNvPr id="466" name="Freeform: Shape 465">
              <a:extLst>
                <a:ext uri="{FF2B5EF4-FFF2-40B4-BE49-F238E27FC236}">
                  <a16:creationId xmlns:a16="http://schemas.microsoft.com/office/drawing/2014/main" id="{B61D6441-3EF4-650E-53C5-B13B575791DC}"/>
                </a:ext>
              </a:extLst>
            </p:cNvPr>
            <p:cNvSpPr/>
            <p:nvPr/>
          </p:nvSpPr>
          <p:spPr>
            <a:xfrm flipV="1">
              <a:off x="24453889" y="3975769"/>
              <a:ext cx="21671" cy="11828"/>
            </a:xfrm>
            <a:custGeom>
              <a:avLst/>
              <a:gdLst>
                <a:gd name="csX0" fmla="*/ -9158 w 21671"/>
                <a:gd name="csY0" fmla="*/ -6256 h 11828"/>
                <a:gd name="csX1" fmla="*/ 12513 w 21671"/>
                <a:gd name="csY1" fmla="*/ -6256 h 11828"/>
                <a:gd name="csX2" fmla="*/ 12513 w 21671"/>
                <a:gd name="csY2" fmla="*/ 5573 h 11828"/>
                <a:gd name="csX3" fmla="*/ -9158 w 21671"/>
                <a:gd name="csY3" fmla="*/ 5573 h 11828"/>
                <a:gd name="csX4" fmla="*/ -9158 w 21671"/>
                <a:gd name="csY4" fmla="*/ -6256 h 11828"/>
              </a:gdLst>
              <a:ahLst/>
              <a:cxnLst>
                <a:cxn ang="0">
                  <a:pos x="csX0" y="csY0"/>
                </a:cxn>
                <a:cxn ang="0">
                  <a:pos x="csX1" y="csY1"/>
                </a:cxn>
                <a:cxn ang="0">
                  <a:pos x="csX2" y="csY2"/>
                </a:cxn>
                <a:cxn ang="0">
                  <a:pos x="csX3" y="csY3"/>
                </a:cxn>
                <a:cxn ang="0">
                  <a:pos x="csX4" y="csY4"/>
                </a:cxn>
              </a:cxnLst>
              <a:rect l="l" t="t" r="r" b="b"/>
              <a:pathLst>
                <a:path w="21671" h="11828">
                  <a:moveTo>
                    <a:pt x="-9158" y="-6256"/>
                  </a:moveTo>
                  <a:lnTo>
                    <a:pt x="12513" y="-6256"/>
                  </a:lnTo>
                  <a:lnTo>
                    <a:pt x="12513" y="5573"/>
                  </a:lnTo>
                  <a:lnTo>
                    <a:pt x="-9158" y="5573"/>
                  </a:lnTo>
                  <a:lnTo>
                    <a:pt x="-9158" y="-6256"/>
                  </a:lnTo>
                </a:path>
              </a:pathLst>
            </a:custGeom>
            <a:grpFill/>
            <a:ln w="548" cap="flat">
              <a:noFill/>
              <a:prstDash val="solid"/>
              <a:miter/>
            </a:ln>
          </p:spPr>
          <p:txBody>
            <a:bodyPr/>
            <a:lstStyle/>
            <a:p>
              <a:endParaRPr lang="en-US"/>
            </a:p>
          </p:txBody>
        </p:sp>
        <p:sp>
          <p:nvSpPr>
            <p:cNvPr id="467" name="Freeform: Shape 466">
              <a:extLst>
                <a:ext uri="{FF2B5EF4-FFF2-40B4-BE49-F238E27FC236}">
                  <a16:creationId xmlns:a16="http://schemas.microsoft.com/office/drawing/2014/main" id="{EE4642F7-3AA8-BB78-CF8C-7BF612603988}"/>
                </a:ext>
              </a:extLst>
            </p:cNvPr>
            <p:cNvSpPr/>
            <p:nvPr/>
          </p:nvSpPr>
          <p:spPr>
            <a:xfrm flipV="1">
              <a:off x="24453889" y="3990001"/>
              <a:ext cx="21671" cy="11828"/>
            </a:xfrm>
            <a:custGeom>
              <a:avLst/>
              <a:gdLst>
                <a:gd name="csX0" fmla="*/ -9158 w 21671"/>
                <a:gd name="csY0" fmla="*/ -6222 h 11828"/>
                <a:gd name="csX1" fmla="*/ 12513 w 21671"/>
                <a:gd name="csY1" fmla="*/ -6222 h 11828"/>
                <a:gd name="csX2" fmla="*/ 12513 w 21671"/>
                <a:gd name="csY2" fmla="*/ 5607 h 11828"/>
                <a:gd name="csX3" fmla="*/ -9158 w 21671"/>
                <a:gd name="csY3" fmla="*/ 5607 h 11828"/>
                <a:gd name="csX4" fmla="*/ -9158 w 21671"/>
                <a:gd name="csY4" fmla="*/ -6222 h 11828"/>
              </a:gdLst>
              <a:ahLst/>
              <a:cxnLst>
                <a:cxn ang="0">
                  <a:pos x="csX0" y="csY0"/>
                </a:cxn>
                <a:cxn ang="0">
                  <a:pos x="csX1" y="csY1"/>
                </a:cxn>
                <a:cxn ang="0">
                  <a:pos x="csX2" y="csY2"/>
                </a:cxn>
                <a:cxn ang="0">
                  <a:pos x="csX3" y="csY3"/>
                </a:cxn>
                <a:cxn ang="0">
                  <a:pos x="csX4" y="csY4"/>
                </a:cxn>
              </a:cxnLst>
              <a:rect l="l" t="t" r="r" b="b"/>
              <a:pathLst>
                <a:path w="21671" h="11828">
                  <a:moveTo>
                    <a:pt x="-9158" y="-6222"/>
                  </a:moveTo>
                  <a:lnTo>
                    <a:pt x="12513" y="-6222"/>
                  </a:lnTo>
                  <a:lnTo>
                    <a:pt x="12513" y="5607"/>
                  </a:lnTo>
                  <a:lnTo>
                    <a:pt x="-9158" y="5607"/>
                  </a:lnTo>
                  <a:lnTo>
                    <a:pt x="-9158" y="-6222"/>
                  </a:lnTo>
                </a:path>
              </a:pathLst>
            </a:custGeom>
            <a:grpFill/>
            <a:ln w="548" cap="flat">
              <a:noFill/>
              <a:prstDash val="solid"/>
              <a:miter/>
            </a:ln>
          </p:spPr>
          <p:txBody>
            <a:bodyPr/>
            <a:lstStyle/>
            <a:p>
              <a:endParaRPr lang="en-US"/>
            </a:p>
          </p:txBody>
        </p:sp>
        <p:sp>
          <p:nvSpPr>
            <p:cNvPr id="468" name="Freeform: Shape 467">
              <a:extLst>
                <a:ext uri="{FF2B5EF4-FFF2-40B4-BE49-F238E27FC236}">
                  <a16:creationId xmlns:a16="http://schemas.microsoft.com/office/drawing/2014/main" id="{6EDEEB7D-57E4-598A-FBF6-D5D4A361FE29}"/>
                </a:ext>
              </a:extLst>
            </p:cNvPr>
            <p:cNvSpPr/>
            <p:nvPr/>
          </p:nvSpPr>
          <p:spPr>
            <a:xfrm flipV="1">
              <a:off x="24396391" y="4049512"/>
              <a:ext cx="21671" cy="11834"/>
            </a:xfrm>
            <a:custGeom>
              <a:avLst/>
              <a:gdLst>
                <a:gd name="csX0" fmla="*/ -9087 w 21671"/>
                <a:gd name="csY0" fmla="*/ -6078 h 11834"/>
                <a:gd name="csX1" fmla="*/ 12585 w 21671"/>
                <a:gd name="csY1" fmla="*/ -6078 h 11834"/>
                <a:gd name="csX2" fmla="*/ 12585 w 21671"/>
                <a:gd name="csY2" fmla="*/ 5756 h 11834"/>
                <a:gd name="csX3" fmla="*/ -9087 w 21671"/>
                <a:gd name="csY3" fmla="*/ 5756 h 11834"/>
                <a:gd name="csX4" fmla="*/ -9087 w 21671"/>
                <a:gd name="csY4" fmla="*/ -6078 h 11834"/>
              </a:gdLst>
              <a:ahLst/>
              <a:cxnLst>
                <a:cxn ang="0">
                  <a:pos x="csX0" y="csY0"/>
                </a:cxn>
                <a:cxn ang="0">
                  <a:pos x="csX1" y="csY1"/>
                </a:cxn>
                <a:cxn ang="0">
                  <a:pos x="csX2" y="csY2"/>
                </a:cxn>
                <a:cxn ang="0">
                  <a:pos x="csX3" y="csY3"/>
                </a:cxn>
                <a:cxn ang="0">
                  <a:pos x="csX4" y="csY4"/>
                </a:cxn>
              </a:cxnLst>
              <a:rect l="l" t="t" r="r" b="b"/>
              <a:pathLst>
                <a:path w="21671" h="11834">
                  <a:moveTo>
                    <a:pt x="-9087" y="-6078"/>
                  </a:moveTo>
                  <a:lnTo>
                    <a:pt x="12585" y="-6078"/>
                  </a:lnTo>
                  <a:lnTo>
                    <a:pt x="12585" y="5756"/>
                  </a:lnTo>
                  <a:lnTo>
                    <a:pt x="-9087" y="5756"/>
                  </a:lnTo>
                  <a:lnTo>
                    <a:pt x="-9087" y="-6078"/>
                  </a:lnTo>
                </a:path>
              </a:pathLst>
            </a:custGeom>
            <a:grpFill/>
            <a:ln w="548" cap="flat">
              <a:noFill/>
              <a:prstDash val="solid"/>
              <a:miter/>
            </a:ln>
          </p:spPr>
          <p:txBody>
            <a:bodyPr/>
            <a:lstStyle/>
            <a:p>
              <a:endParaRPr lang="en-US"/>
            </a:p>
          </p:txBody>
        </p:sp>
        <p:sp>
          <p:nvSpPr>
            <p:cNvPr id="469" name="Freeform: Shape 468">
              <a:extLst>
                <a:ext uri="{FF2B5EF4-FFF2-40B4-BE49-F238E27FC236}">
                  <a16:creationId xmlns:a16="http://schemas.microsoft.com/office/drawing/2014/main" id="{7105841E-02AA-0D32-43B8-F04908F6E06D}"/>
                </a:ext>
              </a:extLst>
            </p:cNvPr>
            <p:cNvSpPr/>
            <p:nvPr/>
          </p:nvSpPr>
          <p:spPr>
            <a:xfrm flipV="1">
              <a:off x="24396391" y="4035286"/>
              <a:ext cx="21671" cy="11828"/>
            </a:xfrm>
            <a:custGeom>
              <a:avLst/>
              <a:gdLst>
                <a:gd name="csX0" fmla="*/ -9087 w 21671"/>
                <a:gd name="csY0" fmla="*/ -6113 h 11828"/>
                <a:gd name="csX1" fmla="*/ 12585 w 21671"/>
                <a:gd name="csY1" fmla="*/ -6113 h 11828"/>
                <a:gd name="csX2" fmla="*/ 12585 w 21671"/>
                <a:gd name="csY2" fmla="*/ 5716 h 11828"/>
                <a:gd name="csX3" fmla="*/ -9087 w 21671"/>
                <a:gd name="csY3" fmla="*/ 5716 h 11828"/>
                <a:gd name="csX4" fmla="*/ -9087 w 21671"/>
                <a:gd name="csY4" fmla="*/ -6113 h 11828"/>
              </a:gdLst>
              <a:ahLst/>
              <a:cxnLst>
                <a:cxn ang="0">
                  <a:pos x="csX0" y="csY0"/>
                </a:cxn>
                <a:cxn ang="0">
                  <a:pos x="csX1" y="csY1"/>
                </a:cxn>
                <a:cxn ang="0">
                  <a:pos x="csX2" y="csY2"/>
                </a:cxn>
                <a:cxn ang="0">
                  <a:pos x="csX3" y="csY3"/>
                </a:cxn>
                <a:cxn ang="0">
                  <a:pos x="csX4" y="csY4"/>
                </a:cxn>
              </a:cxnLst>
              <a:rect l="l" t="t" r="r" b="b"/>
              <a:pathLst>
                <a:path w="21671" h="11828">
                  <a:moveTo>
                    <a:pt x="-9087" y="-6113"/>
                  </a:moveTo>
                  <a:lnTo>
                    <a:pt x="12585" y="-6113"/>
                  </a:lnTo>
                  <a:lnTo>
                    <a:pt x="12585" y="5716"/>
                  </a:lnTo>
                  <a:lnTo>
                    <a:pt x="-9087" y="5716"/>
                  </a:lnTo>
                  <a:lnTo>
                    <a:pt x="-9087" y="-6113"/>
                  </a:lnTo>
                </a:path>
              </a:pathLst>
            </a:custGeom>
            <a:grpFill/>
            <a:ln w="548" cap="flat">
              <a:noFill/>
              <a:prstDash val="solid"/>
              <a:miter/>
            </a:ln>
          </p:spPr>
          <p:txBody>
            <a:bodyPr/>
            <a:lstStyle/>
            <a:p>
              <a:endParaRPr lang="en-US"/>
            </a:p>
          </p:txBody>
        </p:sp>
        <p:sp>
          <p:nvSpPr>
            <p:cNvPr id="470" name="Freeform: Shape 469">
              <a:extLst>
                <a:ext uri="{FF2B5EF4-FFF2-40B4-BE49-F238E27FC236}">
                  <a16:creationId xmlns:a16="http://schemas.microsoft.com/office/drawing/2014/main" id="{AFD5DB56-88EF-105C-7F02-33C355F7F30E}"/>
                </a:ext>
              </a:extLst>
            </p:cNvPr>
            <p:cNvSpPr/>
            <p:nvPr/>
          </p:nvSpPr>
          <p:spPr>
            <a:xfrm flipV="1">
              <a:off x="24453889" y="4049512"/>
              <a:ext cx="21671" cy="11834"/>
            </a:xfrm>
            <a:custGeom>
              <a:avLst/>
              <a:gdLst>
                <a:gd name="csX0" fmla="*/ -9158 w 21671"/>
                <a:gd name="csY0" fmla="*/ -6078 h 11834"/>
                <a:gd name="csX1" fmla="*/ 12513 w 21671"/>
                <a:gd name="csY1" fmla="*/ -6078 h 11834"/>
                <a:gd name="csX2" fmla="*/ 12513 w 21671"/>
                <a:gd name="csY2" fmla="*/ 5756 h 11834"/>
                <a:gd name="csX3" fmla="*/ -9158 w 21671"/>
                <a:gd name="csY3" fmla="*/ 5756 h 11834"/>
                <a:gd name="csX4" fmla="*/ -9158 w 21671"/>
                <a:gd name="csY4" fmla="*/ -6078 h 11834"/>
              </a:gdLst>
              <a:ahLst/>
              <a:cxnLst>
                <a:cxn ang="0">
                  <a:pos x="csX0" y="csY0"/>
                </a:cxn>
                <a:cxn ang="0">
                  <a:pos x="csX1" y="csY1"/>
                </a:cxn>
                <a:cxn ang="0">
                  <a:pos x="csX2" y="csY2"/>
                </a:cxn>
                <a:cxn ang="0">
                  <a:pos x="csX3" y="csY3"/>
                </a:cxn>
                <a:cxn ang="0">
                  <a:pos x="csX4" y="csY4"/>
                </a:cxn>
              </a:cxnLst>
              <a:rect l="l" t="t" r="r" b="b"/>
              <a:pathLst>
                <a:path w="21671" h="11834">
                  <a:moveTo>
                    <a:pt x="-9158" y="-6078"/>
                  </a:moveTo>
                  <a:lnTo>
                    <a:pt x="12513" y="-6078"/>
                  </a:lnTo>
                  <a:lnTo>
                    <a:pt x="12513" y="5756"/>
                  </a:lnTo>
                  <a:lnTo>
                    <a:pt x="-9158" y="5756"/>
                  </a:lnTo>
                  <a:lnTo>
                    <a:pt x="-9158" y="-6078"/>
                  </a:lnTo>
                </a:path>
              </a:pathLst>
            </a:custGeom>
            <a:grpFill/>
            <a:ln w="548" cap="flat">
              <a:noFill/>
              <a:prstDash val="solid"/>
              <a:miter/>
            </a:ln>
          </p:spPr>
          <p:txBody>
            <a:bodyPr/>
            <a:lstStyle/>
            <a:p>
              <a:endParaRPr lang="en-US"/>
            </a:p>
          </p:txBody>
        </p:sp>
        <p:sp>
          <p:nvSpPr>
            <p:cNvPr id="471" name="Freeform: Shape 470">
              <a:extLst>
                <a:ext uri="{FF2B5EF4-FFF2-40B4-BE49-F238E27FC236}">
                  <a16:creationId xmlns:a16="http://schemas.microsoft.com/office/drawing/2014/main" id="{1CAC5781-15AD-B486-339F-D85E1CB4848F}"/>
                </a:ext>
              </a:extLst>
            </p:cNvPr>
            <p:cNvSpPr/>
            <p:nvPr/>
          </p:nvSpPr>
          <p:spPr>
            <a:xfrm flipV="1">
              <a:off x="24453889" y="4035286"/>
              <a:ext cx="21671" cy="11828"/>
            </a:xfrm>
            <a:custGeom>
              <a:avLst/>
              <a:gdLst>
                <a:gd name="csX0" fmla="*/ -9158 w 21671"/>
                <a:gd name="csY0" fmla="*/ -6113 h 11828"/>
                <a:gd name="csX1" fmla="*/ 12513 w 21671"/>
                <a:gd name="csY1" fmla="*/ -6113 h 11828"/>
                <a:gd name="csX2" fmla="*/ 12513 w 21671"/>
                <a:gd name="csY2" fmla="*/ 5716 h 11828"/>
                <a:gd name="csX3" fmla="*/ -9158 w 21671"/>
                <a:gd name="csY3" fmla="*/ 5716 h 11828"/>
                <a:gd name="csX4" fmla="*/ -9158 w 21671"/>
                <a:gd name="csY4" fmla="*/ -6113 h 11828"/>
              </a:gdLst>
              <a:ahLst/>
              <a:cxnLst>
                <a:cxn ang="0">
                  <a:pos x="csX0" y="csY0"/>
                </a:cxn>
                <a:cxn ang="0">
                  <a:pos x="csX1" y="csY1"/>
                </a:cxn>
                <a:cxn ang="0">
                  <a:pos x="csX2" y="csY2"/>
                </a:cxn>
                <a:cxn ang="0">
                  <a:pos x="csX3" y="csY3"/>
                </a:cxn>
                <a:cxn ang="0">
                  <a:pos x="csX4" y="csY4"/>
                </a:cxn>
              </a:cxnLst>
              <a:rect l="l" t="t" r="r" b="b"/>
              <a:pathLst>
                <a:path w="21671" h="11828">
                  <a:moveTo>
                    <a:pt x="-9158" y="-6113"/>
                  </a:moveTo>
                  <a:lnTo>
                    <a:pt x="12513" y="-6113"/>
                  </a:lnTo>
                  <a:lnTo>
                    <a:pt x="12513" y="5716"/>
                  </a:lnTo>
                  <a:lnTo>
                    <a:pt x="-9158" y="5716"/>
                  </a:lnTo>
                  <a:lnTo>
                    <a:pt x="-9158" y="-6113"/>
                  </a:lnTo>
                </a:path>
              </a:pathLst>
            </a:custGeom>
            <a:grpFill/>
            <a:ln w="548" cap="flat">
              <a:noFill/>
              <a:prstDash val="solid"/>
              <a:miter/>
            </a:ln>
          </p:spPr>
          <p:txBody>
            <a:bodyPr/>
            <a:lstStyle/>
            <a:p>
              <a:endParaRPr lang="en-US"/>
            </a:p>
          </p:txBody>
        </p:sp>
        <p:sp>
          <p:nvSpPr>
            <p:cNvPr id="472" name="Freeform: Shape 471">
              <a:extLst>
                <a:ext uri="{FF2B5EF4-FFF2-40B4-BE49-F238E27FC236}">
                  <a16:creationId xmlns:a16="http://schemas.microsoft.com/office/drawing/2014/main" id="{7AA370F7-8354-A0D4-C3C7-479CC57D7075}"/>
                </a:ext>
              </a:extLst>
            </p:cNvPr>
            <p:cNvSpPr/>
            <p:nvPr/>
          </p:nvSpPr>
          <p:spPr>
            <a:xfrm flipV="1">
              <a:off x="24396391" y="4094802"/>
              <a:ext cx="21671" cy="11823"/>
            </a:xfrm>
            <a:custGeom>
              <a:avLst/>
              <a:gdLst>
                <a:gd name="csX0" fmla="*/ -9087 w 21671"/>
                <a:gd name="csY0" fmla="*/ -5969 h 11823"/>
                <a:gd name="csX1" fmla="*/ 12585 w 21671"/>
                <a:gd name="csY1" fmla="*/ -5969 h 11823"/>
                <a:gd name="csX2" fmla="*/ 12585 w 21671"/>
                <a:gd name="csY2" fmla="*/ 5854 h 11823"/>
                <a:gd name="csX3" fmla="*/ -9087 w 21671"/>
                <a:gd name="csY3" fmla="*/ 5854 h 11823"/>
                <a:gd name="csX4" fmla="*/ -9087 w 21671"/>
                <a:gd name="csY4" fmla="*/ -5969 h 11823"/>
              </a:gdLst>
              <a:ahLst/>
              <a:cxnLst>
                <a:cxn ang="0">
                  <a:pos x="csX0" y="csY0"/>
                </a:cxn>
                <a:cxn ang="0">
                  <a:pos x="csX1" y="csY1"/>
                </a:cxn>
                <a:cxn ang="0">
                  <a:pos x="csX2" y="csY2"/>
                </a:cxn>
                <a:cxn ang="0">
                  <a:pos x="csX3" y="csY3"/>
                </a:cxn>
                <a:cxn ang="0">
                  <a:pos x="csX4" y="csY4"/>
                </a:cxn>
              </a:cxnLst>
              <a:rect l="l" t="t" r="r" b="b"/>
              <a:pathLst>
                <a:path w="21671" h="11823">
                  <a:moveTo>
                    <a:pt x="-9087" y="-5969"/>
                  </a:moveTo>
                  <a:lnTo>
                    <a:pt x="12585" y="-5969"/>
                  </a:lnTo>
                  <a:lnTo>
                    <a:pt x="12585" y="5854"/>
                  </a:lnTo>
                  <a:lnTo>
                    <a:pt x="-9087" y="5854"/>
                  </a:lnTo>
                  <a:lnTo>
                    <a:pt x="-9087" y="-5969"/>
                  </a:lnTo>
                </a:path>
              </a:pathLst>
            </a:custGeom>
            <a:grpFill/>
            <a:ln w="548" cap="flat">
              <a:noFill/>
              <a:prstDash val="solid"/>
              <a:miter/>
            </a:ln>
          </p:spPr>
          <p:txBody>
            <a:bodyPr/>
            <a:lstStyle/>
            <a:p>
              <a:endParaRPr lang="en-US"/>
            </a:p>
          </p:txBody>
        </p:sp>
        <p:sp>
          <p:nvSpPr>
            <p:cNvPr id="473" name="Freeform: Shape 472">
              <a:extLst>
                <a:ext uri="{FF2B5EF4-FFF2-40B4-BE49-F238E27FC236}">
                  <a16:creationId xmlns:a16="http://schemas.microsoft.com/office/drawing/2014/main" id="{86A57C81-6F77-1D51-6D48-E2AA7CBEBE07}"/>
                </a:ext>
              </a:extLst>
            </p:cNvPr>
            <p:cNvSpPr/>
            <p:nvPr/>
          </p:nvSpPr>
          <p:spPr>
            <a:xfrm flipV="1">
              <a:off x="24396391" y="4109034"/>
              <a:ext cx="21671" cy="11828"/>
            </a:xfrm>
            <a:custGeom>
              <a:avLst/>
              <a:gdLst>
                <a:gd name="csX0" fmla="*/ -9087 w 21671"/>
                <a:gd name="csY0" fmla="*/ -5935 h 11828"/>
                <a:gd name="csX1" fmla="*/ 12585 w 21671"/>
                <a:gd name="csY1" fmla="*/ -5935 h 11828"/>
                <a:gd name="csX2" fmla="*/ 12585 w 21671"/>
                <a:gd name="csY2" fmla="*/ 5894 h 11828"/>
                <a:gd name="csX3" fmla="*/ -9087 w 21671"/>
                <a:gd name="csY3" fmla="*/ 5894 h 11828"/>
                <a:gd name="csX4" fmla="*/ -9087 w 21671"/>
                <a:gd name="csY4" fmla="*/ -5935 h 11828"/>
              </a:gdLst>
              <a:ahLst/>
              <a:cxnLst>
                <a:cxn ang="0">
                  <a:pos x="csX0" y="csY0"/>
                </a:cxn>
                <a:cxn ang="0">
                  <a:pos x="csX1" y="csY1"/>
                </a:cxn>
                <a:cxn ang="0">
                  <a:pos x="csX2" y="csY2"/>
                </a:cxn>
                <a:cxn ang="0">
                  <a:pos x="csX3" y="csY3"/>
                </a:cxn>
                <a:cxn ang="0">
                  <a:pos x="csX4" y="csY4"/>
                </a:cxn>
              </a:cxnLst>
              <a:rect l="l" t="t" r="r" b="b"/>
              <a:pathLst>
                <a:path w="21671" h="11828">
                  <a:moveTo>
                    <a:pt x="-9087" y="-5935"/>
                  </a:moveTo>
                  <a:lnTo>
                    <a:pt x="12585" y="-5935"/>
                  </a:lnTo>
                  <a:lnTo>
                    <a:pt x="12585" y="5894"/>
                  </a:lnTo>
                  <a:lnTo>
                    <a:pt x="-9087" y="5894"/>
                  </a:lnTo>
                  <a:lnTo>
                    <a:pt x="-9087" y="-5935"/>
                  </a:lnTo>
                </a:path>
              </a:pathLst>
            </a:custGeom>
            <a:grpFill/>
            <a:ln w="548" cap="flat">
              <a:noFill/>
              <a:prstDash val="solid"/>
              <a:miter/>
            </a:ln>
          </p:spPr>
          <p:txBody>
            <a:bodyPr/>
            <a:lstStyle/>
            <a:p>
              <a:endParaRPr lang="en-US"/>
            </a:p>
          </p:txBody>
        </p:sp>
        <p:sp>
          <p:nvSpPr>
            <p:cNvPr id="474" name="Freeform: Shape 473">
              <a:extLst>
                <a:ext uri="{FF2B5EF4-FFF2-40B4-BE49-F238E27FC236}">
                  <a16:creationId xmlns:a16="http://schemas.microsoft.com/office/drawing/2014/main" id="{A468082F-028A-0557-5E64-2D98466F59F8}"/>
                </a:ext>
              </a:extLst>
            </p:cNvPr>
            <p:cNvSpPr/>
            <p:nvPr/>
          </p:nvSpPr>
          <p:spPr>
            <a:xfrm flipV="1">
              <a:off x="24453889" y="4094802"/>
              <a:ext cx="21671" cy="11823"/>
            </a:xfrm>
            <a:custGeom>
              <a:avLst/>
              <a:gdLst>
                <a:gd name="csX0" fmla="*/ -9158 w 21671"/>
                <a:gd name="csY0" fmla="*/ -5969 h 11823"/>
                <a:gd name="csX1" fmla="*/ 12513 w 21671"/>
                <a:gd name="csY1" fmla="*/ -5969 h 11823"/>
                <a:gd name="csX2" fmla="*/ 12513 w 21671"/>
                <a:gd name="csY2" fmla="*/ 5854 h 11823"/>
                <a:gd name="csX3" fmla="*/ -9158 w 21671"/>
                <a:gd name="csY3" fmla="*/ 5854 h 11823"/>
                <a:gd name="csX4" fmla="*/ -9158 w 21671"/>
                <a:gd name="csY4" fmla="*/ -5969 h 11823"/>
              </a:gdLst>
              <a:ahLst/>
              <a:cxnLst>
                <a:cxn ang="0">
                  <a:pos x="csX0" y="csY0"/>
                </a:cxn>
                <a:cxn ang="0">
                  <a:pos x="csX1" y="csY1"/>
                </a:cxn>
                <a:cxn ang="0">
                  <a:pos x="csX2" y="csY2"/>
                </a:cxn>
                <a:cxn ang="0">
                  <a:pos x="csX3" y="csY3"/>
                </a:cxn>
                <a:cxn ang="0">
                  <a:pos x="csX4" y="csY4"/>
                </a:cxn>
              </a:cxnLst>
              <a:rect l="l" t="t" r="r" b="b"/>
              <a:pathLst>
                <a:path w="21671" h="11823">
                  <a:moveTo>
                    <a:pt x="-9158" y="-5969"/>
                  </a:moveTo>
                  <a:lnTo>
                    <a:pt x="12513" y="-5969"/>
                  </a:lnTo>
                  <a:lnTo>
                    <a:pt x="12513" y="5854"/>
                  </a:lnTo>
                  <a:lnTo>
                    <a:pt x="-9158" y="5854"/>
                  </a:lnTo>
                  <a:lnTo>
                    <a:pt x="-9158" y="-5969"/>
                  </a:lnTo>
                </a:path>
              </a:pathLst>
            </a:custGeom>
            <a:grpFill/>
            <a:ln w="548" cap="flat">
              <a:noFill/>
              <a:prstDash val="solid"/>
              <a:miter/>
            </a:ln>
          </p:spPr>
          <p:txBody>
            <a:bodyPr/>
            <a:lstStyle/>
            <a:p>
              <a:endParaRPr lang="en-US"/>
            </a:p>
          </p:txBody>
        </p:sp>
        <p:sp>
          <p:nvSpPr>
            <p:cNvPr id="475" name="Freeform: Shape 474">
              <a:extLst>
                <a:ext uri="{FF2B5EF4-FFF2-40B4-BE49-F238E27FC236}">
                  <a16:creationId xmlns:a16="http://schemas.microsoft.com/office/drawing/2014/main" id="{C3BB3687-E054-3E17-D481-C613AE293E7A}"/>
                </a:ext>
              </a:extLst>
            </p:cNvPr>
            <p:cNvSpPr/>
            <p:nvPr/>
          </p:nvSpPr>
          <p:spPr>
            <a:xfrm flipV="1">
              <a:off x="24453889" y="4109034"/>
              <a:ext cx="21671" cy="11828"/>
            </a:xfrm>
            <a:custGeom>
              <a:avLst/>
              <a:gdLst>
                <a:gd name="csX0" fmla="*/ -9158 w 21671"/>
                <a:gd name="csY0" fmla="*/ -5935 h 11828"/>
                <a:gd name="csX1" fmla="*/ 12513 w 21671"/>
                <a:gd name="csY1" fmla="*/ -5935 h 11828"/>
                <a:gd name="csX2" fmla="*/ 12513 w 21671"/>
                <a:gd name="csY2" fmla="*/ 5894 h 11828"/>
                <a:gd name="csX3" fmla="*/ -9158 w 21671"/>
                <a:gd name="csY3" fmla="*/ 5894 h 11828"/>
                <a:gd name="csX4" fmla="*/ -9158 w 21671"/>
                <a:gd name="csY4" fmla="*/ -5935 h 11828"/>
              </a:gdLst>
              <a:ahLst/>
              <a:cxnLst>
                <a:cxn ang="0">
                  <a:pos x="csX0" y="csY0"/>
                </a:cxn>
                <a:cxn ang="0">
                  <a:pos x="csX1" y="csY1"/>
                </a:cxn>
                <a:cxn ang="0">
                  <a:pos x="csX2" y="csY2"/>
                </a:cxn>
                <a:cxn ang="0">
                  <a:pos x="csX3" y="csY3"/>
                </a:cxn>
                <a:cxn ang="0">
                  <a:pos x="csX4" y="csY4"/>
                </a:cxn>
              </a:cxnLst>
              <a:rect l="l" t="t" r="r" b="b"/>
              <a:pathLst>
                <a:path w="21671" h="11828">
                  <a:moveTo>
                    <a:pt x="-9158" y="-5935"/>
                  </a:moveTo>
                  <a:lnTo>
                    <a:pt x="12513" y="-5935"/>
                  </a:lnTo>
                  <a:lnTo>
                    <a:pt x="12513" y="5894"/>
                  </a:lnTo>
                  <a:lnTo>
                    <a:pt x="-9158" y="5894"/>
                  </a:lnTo>
                  <a:lnTo>
                    <a:pt x="-9158" y="-5935"/>
                  </a:lnTo>
                </a:path>
              </a:pathLst>
            </a:custGeom>
            <a:grpFill/>
            <a:ln w="548" cap="flat">
              <a:noFill/>
              <a:prstDash val="solid"/>
              <a:miter/>
            </a:ln>
          </p:spPr>
          <p:txBody>
            <a:bodyPr/>
            <a:lstStyle/>
            <a:p>
              <a:endParaRPr lang="en-US"/>
            </a:p>
          </p:txBody>
        </p:sp>
        <p:sp>
          <p:nvSpPr>
            <p:cNvPr id="476" name="Freeform: Shape 475">
              <a:extLst>
                <a:ext uri="{FF2B5EF4-FFF2-40B4-BE49-F238E27FC236}">
                  <a16:creationId xmlns:a16="http://schemas.microsoft.com/office/drawing/2014/main" id="{90E05877-8CE7-94BC-A65C-1967B108E4A1}"/>
                </a:ext>
              </a:extLst>
            </p:cNvPr>
            <p:cNvSpPr/>
            <p:nvPr/>
          </p:nvSpPr>
          <p:spPr>
            <a:xfrm flipV="1">
              <a:off x="24396391" y="4154313"/>
              <a:ext cx="21671" cy="11834"/>
            </a:xfrm>
            <a:custGeom>
              <a:avLst/>
              <a:gdLst>
                <a:gd name="csX0" fmla="*/ -9087 w 21671"/>
                <a:gd name="csY0" fmla="*/ -5826 h 11834"/>
                <a:gd name="csX1" fmla="*/ 12585 w 21671"/>
                <a:gd name="csY1" fmla="*/ -5826 h 11834"/>
                <a:gd name="csX2" fmla="*/ 12585 w 21671"/>
                <a:gd name="csY2" fmla="*/ 6008 h 11834"/>
                <a:gd name="csX3" fmla="*/ -9087 w 21671"/>
                <a:gd name="csY3" fmla="*/ 6008 h 11834"/>
                <a:gd name="csX4" fmla="*/ -9087 w 21671"/>
                <a:gd name="csY4" fmla="*/ -5826 h 11834"/>
              </a:gdLst>
              <a:ahLst/>
              <a:cxnLst>
                <a:cxn ang="0">
                  <a:pos x="csX0" y="csY0"/>
                </a:cxn>
                <a:cxn ang="0">
                  <a:pos x="csX1" y="csY1"/>
                </a:cxn>
                <a:cxn ang="0">
                  <a:pos x="csX2" y="csY2"/>
                </a:cxn>
                <a:cxn ang="0">
                  <a:pos x="csX3" y="csY3"/>
                </a:cxn>
                <a:cxn ang="0">
                  <a:pos x="csX4" y="csY4"/>
                </a:cxn>
              </a:cxnLst>
              <a:rect l="l" t="t" r="r" b="b"/>
              <a:pathLst>
                <a:path w="21671" h="11834">
                  <a:moveTo>
                    <a:pt x="-9087" y="-5826"/>
                  </a:moveTo>
                  <a:lnTo>
                    <a:pt x="12585" y="-5826"/>
                  </a:lnTo>
                  <a:lnTo>
                    <a:pt x="12585" y="6008"/>
                  </a:lnTo>
                  <a:lnTo>
                    <a:pt x="-9087" y="6008"/>
                  </a:lnTo>
                  <a:lnTo>
                    <a:pt x="-9087" y="-5826"/>
                  </a:lnTo>
                </a:path>
              </a:pathLst>
            </a:custGeom>
            <a:grpFill/>
            <a:ln w="548" cap="flat">
              <a:noFill/>
              <a:prstDash val="solid"/>
              <a:miter/>
            </a:ln>
          </p:spPr>
          <p:txBody>
            <a:bodyPr/>
            <a:lstStyle/>
            <a:p>
              <a:endParaRPr lang="en-US"/>
            </a:p>
          </p:txBody>
        </p:sp>
        <p:sp>
          <p:nvSpPr>
            <p:cNvPr id="477" name="Freeform: Shape 476">
              <a:extLst>
                <a:ext uri="{FF2B5EF4-FFF2-40B4-BE49-F238E27FC236}">
                  <a16:creationId xmlns:a16="http://schemas.microsoft.com/office/drawing/2014/main" id="{656441CA-112C-27D3-20DA-41030B0E78E8}"/>
                </a:ext>
              </a:extLst>
            </p:cNvPr>
            <p:cNvSpPr/>
            <p:nvPr/>
          </p:nvSpPr>
          <p:spPr>
            <a:xfrm flipV="1">
              <a:off x="24396391" y="4168550"/>
              <a:ext cx="21671" cy="11828"/>
            </a:xfrm>
            <a:custGeom>
              <a:avLst/>
              <a:gdLst>
                <a:gd name="csX0" fmla="*/ -9087 w 21671"/>
                <a:gd name="csY0" fmla="*/ -5792 h 11828"/>
                <a:gd name="csX1" fmla="*/ 12585 w 21671"/>
                <a:gd name="csY1" fmla="*/ -5792 h 11828"/>
                <a:gd name="csX2" fmla="*/ 12585 w 21671"/>
                <a:gd name="csY2" fmla="*/ 6037 h 11828"/>
                <a:gd name="csX3" fmla="*/ -9087 w 21671"/>
                <a:gd name="csY3" fmla="*/ 6037 h 11828"/>
                <a:gd name="csX4" fmla="*/ -9087 w 21671"/>
                <a:gd name="csY4" fmla="*/ -5792 h 11828"/>
              </a:gdLst>
              <a:ahLst/>
              <a:cxnLst>
                <a:cxn ang="0">
                  <a:pos x="csX0" y="csY0"/>
                </a:cxn>
                <a:cxn ang="0">
                  <a:pos x="csX1" y="csY1"/>
                </a:cxn>
                <a:cxn ang="0">
                  <a:pos x="csX2" y="csY2"/>
                </a:cxn>
                <a:cxn ang="0">
                  <a:pos x="csX3" y="csY3"/>
                </a:cxn>
                <a:cxn ang="0">
                  <a:pos x="csX4" y="csY4"/>
                </a:cxn>
              </a:cxnLst>
              <a:rect l="l" t="t" r="r" b="b"/>
              <a:pathLst>
                <a:path w="21671" h="11828">
                  <a:moveTo>
                    <a:pt x="-9087" y="-5792"/>
                  </a:moveTo>
                  <a:lnTo>
                    <a:pt x="12585" y="-5792"/>
                  </a:lnTo>
                  <a:lnTo>
                    <a:pt x="12585" y="6037"/>
                  </a:lnTo>
                  <a:lnTo>
                    <a:pt x="-9087" y="6037"/>
                  </a:lnTo>
                  <a:lnTo>
                    <a:pt x="-9087" y="-5792"/>
                  </a:lnTo>
                </a:path>
              </a:pathLst>
            </a:custGeom>
            <a:grpFill/>
            <a:ln w="548" cap="flat">
              <a:noFill/>
              <a:prstDash val="solid"/>
              <a:miter/>
            </a:ln>
          </p:spPr>
          <p:txBody>
            <a:bodyPr/>
            <a:lstStyle/>
            <a:p>
              <a:endParaRPr lang="en-US"/>
            </a:p>
          </p:txBody>
        </p:sp>
        <p:sp>
          <p:nvSpPr>
            <p:cNvPr id="478" name="Freeform: Shape 477">
              <a:extLst>
                <a:ext uri="{FF2B5EF4-FFF2-40B4-BE49-F238E27FC236}">
                  <a16:creationId xmlns:a16="http://schemas.microsoft.com/office/drawing/2014/main" id="{B3C74BED-ACD0-290E-073E-5A4008838427}"/>
                </a:ext>
              </a:extLst>
            </p:cNvPr>
            <p:cNvSpPr/>
            <p:nvPr/>
          </p:nvSpPr>
          <p:spPr>
            <a:xfrm flipV="1">
              <a:off x="24453889" y="4154313"/>
              <a:ext cx="21671" cy="11834"/>
            </a:xfrm>
            <a:custGeom>
              <a:avLst/>
              <a:gdLst>
                <a:gd name="csX0" fmla="*/ -9158 w 21671"/>
                <a:gd name="csY0" fmla="*/ -5826 h 11834"/>
                <a:gd name="csX1" fmla="*/ 12513 w 21671"/>
                <a:gd name="csY1" fmla="*/ -5826 h 11834"/>
                <a:gd name="csX2" fmla="*/ 12513 w 21671"/>
                <a:gd name="csY2" fmla="*/ 6008 h 11834"/>
                <a:gd name="csX3" fmla="*/ -9158 w 21671"/>
                <a:gd name="csY3" fmla="*/ 6008 h 11834"/>
                <a:gd name="csX4" fmla="*/ -9158 w 21671"/>
                <a:gd name="csY4" fmla="*/ -5826 h 11834"/>
              </a:gdLst>
              <a:ahLst/>
              <a:cxnLst>
                <a:cxn ang="0">
                  <a:pos x="csX0" y="csY0"/>
                </a:cxn>
                <a:cxn ang="0">
                  <a:pos x="csX1" y="csY1"/>
                </a:cxn>
                <a:cxn ang="0">
                  <a:pos x="csX2" y="csY2"/>
                </a:cxn>
                <a:cxn ang="0">
                  <a:pos x="csX3" y="csY3"/>
                </a:cxn>
                <a:cxn ang="0">
                  <a:pos x="csX4" y="csY4"/>
                </a:cxn>
              </a:cxnLst>
              <a:rect l="l" t="t" r="r" b="b"/>
              <a:pathLst>
                <a:path w="21671" h="11834">
                  <a:moveTo>
                    <a:pt x="-9158" y="-5826"/>
                  </a:moveTo>
                  <a:lnTo>
                    <a:pt x="12513" y="-5826"/>
                  </a:lnTo>
                  <a:lnTo>
                    <a:pt x="12513" y="6008"/>
                  </a:lnTo>
                  <a:lnTo>
                    <a:pt x="-9158" y="6008"/>
                  </a:lnTo>
                  <a:lnTo>
                    <a:pt x="-9158" y="-5826"/>
                  </a:lnTo>
                </a:path>
              </a:pathLst>
            </a:custGeom>
            <a:grpFill/>
            <a:ln w="548" cap="flat">
              <a:noFill/>
              <a:prstDash val="solid"/>
              <a:miter/>
            </a:ln>
          </p:spPr>
          <p:txBody>
            <a:bodyPr/>
            <a:lstStyle/>
            <a:p>
              <a:endParaRPr lang="en-US"/>
            </a:p>
          </p:txBody>
        </p:sp>
        <p:sp>
          <p:nvSpPr>
            <p:cNvPr id="479" name="Freeform: Shape 478">
              <a:extLst>
                <a:ext uri="{FF2B5EF4-FFF2-40B4-BE49-F238E27FC236}">
                  <a16:creationId xmlns:a16="http://schemas.microsoft.com/office/drawing/2014/main" id="{70A990CB-D143-961A-8BA9-F42C1DC05D16}"/>
                </a:ext>
              </a:extLst>
            </p:cNvPr>
            <p:cNvSpPr/>
            <p:nvPr/>
          </p:nvSpPr>
          <p:spPr>
            <a:xfrm flipV="1">
              <a:off x="24453889" y="4168550"/>
              <a:ext cx="21671" cy="11828"/>
            </a:xfrm>
            <a:custGeom>
              <a:avLst/>
              <a:gdLst>
                <a:gd name="csX0" fmla="*/ -9158 w 21671"/>
                <a:gd name="csY0" fmla="*/ -5792 h 11828"/>
                <a:gd name="csX1" fmla="*/ 12513 w 21671"/>
                <a:gd name="csY1" fmla="*/ -5792 h 11828"/>
                <a:gd name="csX2" fmla="*/ 12513 w 21671"/>
                <a:gd name="csY2" fmla="*/ 6037 h 11828"/>
                <a:gd name="csX3" fmla="*/ -9158 w 21671"/>
                <a:gd name="csY3" fmla="*/ 6037 h 11828"/>
                <a:gd name="csX4" fmla="*/ -9158 w 21671"/>
                <a:gd name="csY4" fmla="*/ -5792 h 11828"/>
              </a:gdLst>
              <a:ahLst/>
              <a:cxnLst>
                <a:cxn ang="0">
                  <a:pos x="csX0" y="csY0"/>
                </a:cxn>
                <a:cxn ang="0">
                  <a:pos x="csX1" y="csY1"/>
                </a:cxn>
                <a:cxn ang="0">
                  <a:pos x="csX2" y="csY2"/>
                </a:cxn>
                <a:cxn ang="0">
                  <a:pos x="csX3" y="csY3"/>
                </a:cxn>
                <a:cxn ang="0">
                  <a:pos x="csX4" y="csY4"/>
                </a:cxn>
              </a:cxnLst>
              <a:rect l="l" t="t" r="r" b="b"/>
              <a:pathLst>
                <a:path w="21671" h="11828">
                  <a:moveTo>
                    <a:pt x="-9158" y="-5792"/>
                  </a:moveTo>
                  <a:lnTo>
                    <a:pt x="12513" y="-5792"/>
                  </a:lnTo>
                  <a:lnTo>
                    <a:pt x="12513" y="6037"/>
                  </a:lnTo>
                  <a:lnTo>
                    <a:pt x="-9158" y="6037"/>
                  </a:lnTo>
                  <a:lnTo>
                    <a:pt x="-9158" y="-5792"/>
                  </a:lnTo>
                </a:path>
              </a:pathLst>
            </a:custGeom>
            <a:grpFill/>
            <a:ln w="548" cap="flat">
              <a:noFill/>
              <a:prstDash val="solid"/>
              <a:miter/>
            </a:ln>
          </p:spPr>
          <p:txBody>
            <a:bodyPr/>
            <a:lstStyle/>
            <a:p>
              <a:endParaRPr lang="en-US"/>
            </a:p>
          </p:txBody>
        </p:sp>
        <p:sp>
          <p:nvSpPr>
            <p:cNvPr id="480" name="Freeform: Shape 479">
              <a:extLst>
                <a:ext uri="{FF2B5EF4-FFF2-40B4-BE49-F238E27FC236}">
                  <a16:creationId xmlns:a16="http://schemas.microsoft.com/office/drawing/2014/main" id="{1668AE42-6EB0-7D2E-5389-7D22C9469AF8}"/>
                </a:ext>
              </a:extLst>
            </p:cNvPr>
            <p:cNvSpPr/>
            <p:nvPr/>
          </p:nvSpPr>
          <p:spPr>
            <a:xfrm flipV="1">
              <a:off x="24396391" y="4213830"/>
              <a:ext cx="21671" cy="11828"/>
            </a:xfrm>
            <a:custGeom>
              <a:avLst/>
              <a:gdLst>
                <a:gd name="csX0" fmla="*/ -9087 w 21671"/>
                <a:gd name="csY0" fmla="*/ -5683 h 11828"/>
                <a:gd name="csX1" fmla="*/ 12585 w 21671"/>
                <a:gd name="csY1" fmla="*/ -5683 h 11828"/>
                <a:gd name="csX2" fmla="*/ 12585 w 21671"/>
                <a:gd name="csY2" fmla="*/ 6146 h 11828"/>
                <a:gd name="csX3" fmla="*/ -9087 w 21671"/>
                <a:gd name="csY3" fmla="*/ 6146 h 11828"/>
                <a:gd name="csX4" fmla="*/ -9087 w 21671"/>
                <a:gd name="csY4" fmla="*/ -5683 h 11828"/>
              </a:gdLst>
              <a:ahLst/>
              <a:cxnLst>
                <a:cxn ang="0">
                  <a:pos x="csX0" y="csY0"/>
                </a:cxn>
                <a:cxn ang="0">
                  <a:pos x="csX1" y="csY1"/>
                </a:cxn>
                <a:cxn ang="0">
                  <a:pos x="csX2" y="csY2"/>
                </a:cxn>
                <a:cxn ang="0">
                  <a:pos x="csX3" y="csY3"/>
                </a:cxn>
                <a:cxn ang="0">
                  <a:pos x="csX4" y="csY4"/>
                </a:cxn>
              </a:cxnLst>
              <a:rect l="l" t="t" r="r" b="b"/>
              <a:pathLst>
                <a:path w="21671" h="11828">
                  <a:moveTo>
                    <a:pt x="-9087" y="-5683"/>
                  </a:moveTo>
                  <a:lnTo>
                    <a:pt x="12585" y="-5683"/>
                  </a:lnTo>
                  <a:lnTo>
                    <a:pt x="12585" y="6146"/>
                  </a:lnTo>
                  <a:lnTo>
                    <a:pt x="-9087" y="6146"/>
                  </a:lnTo>
                  <a:lnTo>
                    <a:pt x="-9087" y="-5683"/>
                  </a:lnTo>
                </a:path>
              </a:pathLst>
            </a:custGeom>
            <a:grpFill/>
            <a:ln w="548" cap="flat">
              <a:noFill/>
              <a:prstDash val="solid"/>
              <a:miter/>
            </a:ln>
          </p:spPr>
          <p:txBody>
            <a:bodyPr/>
            <a:lstStyle/>
            <a:p>
              <a:endParaRPr lang="en-US"/>
            </a:p>
          </p:txBody>
        </p:sp>
        <p:sp>
          <p:nvSpPr>
            <p:cNvPr id="481" name="Freeform: Shape 480">
              <a:extLst>
                <a:ext uri="{FF2B5EF4-FFF2-40B4-BE49-F238E27FC236}">
                  <a16:creationId xmlns:a16="http://schemas.microsoft.com/office/drawing/2014/main" id="{A42A3CB6-C275-57A7-C9DA-0A69C799F2C7}"/>
                </a:ext>
              </a:extLst>
            </p:cNvPr>
            <p:cNvSpPr/>
            <p:nvPr/>
          </p:nvSpPr>
          <p:spPr>
            <a:xfrm flipV="1">
              <a:off x="24396391" y="4228061"/>
              <a:ext cx="21671" cy="11828"/>
            </a:xfrm>
            <a:custGeom>
              <a:avLst/>
              <a:gdLst>
                <a:gd name="csX0" fmla="*/ -9087 w 21671"/>
                <a:gd name="csY0" fmla="*/ -5649 h 11828"/>
                <a:gd name="csX1" fmla="*/ 12585 w 21671"/>
                <a:gd name="csY1" fmla="*/ -5649 h 11828"/>
                <a:gd name="csX2" fmla="*/ 12585 w 21671"/>
                <a:gd name="csY2" fmla="*/ 6180 h 11828"/>
                <a:gd name="csX3" fmla="*/ -9087 w 21671"/>
                <a:gd name="csY3" fmla="*/ 6180 h 11828"/>
                <a:gd name="csX4" fmla="*/ -9087 w 21671"/>
                <a:gd name="csY4" fmla="*/ -5649 h 11828"/>
              </a:gdLst>
              <a:ahLst/>
              <a:cxnLst>
                <a:cxn ang="0">
                  <a:pos x="csX0" y="csY0"/>
                </a:cxn>
                <a:cxn ang="0">
                  <a:pos x="csX1" y="csY1"/>
                </a:cxn>
                <a:cxn ang="0">
                  <a:pos x="csX2" y="csY2"/>
                </a:cxn>
                <a:cxn ang="0">
                  <a:pos x="csX3" y="csY3"/>
                </a:cxn>
                <a:cxn ang="0">
                  <a:pos x="csX4" y="csY4"/>
                </a:cxn>
              </a:cxnLst>
              <a:rect l="l" t="t" r="r" b="b"/>
              <a:pathLst>
                <a:path w="21671" h="11828">
                  <a:moveTo>
                    <a:pt x="-9087" y="-5649"/>
                  </a:moveTo>
                  <a:lnTo>
                    <a:pt x="12585" y="-5649"/>
                  </a:lnTo>
                  <a:lnTo>
                    <a:pt x="12585" y="6180"/>
                  </a:lnTo>
                  <a:lnTo>
                    <a:pt x="-9087" y="6180"/>
                  </a:lnTo>
                  <a:lnTo>
                    <a:pt x="-9087" y="-5649"/>
                  </a:lnTo>
                </a:path>
              </a:pathLst>
            </a:custGeom>
            <a:grpFill/>
            <a:ln w="548" cap="flat">
              <a:noFill/>
              <a:prstDash val="solid"/>
              <a:miter/>
            </a:ln>
          </p:spPr>
          <p:txBody>
            <a:bodyPr/>
            <a:lstStyle/>
            <a:p>
              <a:endParaRPr lang="en-US"/>
            </a:p>
          </p:txBody>
        </p:sp>
        <p:sp>
          <p:nvSpPr>
            <p:cNvPr id="482" name="Freeform: Shape 481">
              <a:extLst>
                <a:ext uri="{FF2B5EF4-FFF2-40B4-BE49-F238E27FC236}">
                  <a16:creationId xmlns:a16="http://schemas.microsoft.com/office/drawing/2014/main" id="{4A688073-B6C6-77E7-93D5-E1B7694C28B4}"/>
                </a:ext>
              </a:extLst>
            </p:cNvPr>
            <p:cNvSpPr/>
            <p:nvPr/>
          </p:nvSpPr>
          <p:spPr>
            <a:xfrm flipV="1">
              <a:off x="24453889" y="4213830"/>
              <a:ext cx="21671" cy="11828"/>
            </a:xfrm>
            <a:custGeom>
              <a:avLst/>
              <a:gdLst>
                <a:gd name="csX0" fmla="*/ -9158 w 21671"/>
                <a:gd name="csY0" fmla="*/ -5683 h 11828"/>
                <a:gd name="csX1" fmla="*/ 12513 w 21671"/>
                <a:gd name="csY1" fmla="*/ -5683 h 11828"/>
                <a:gd name="csX2" fmla="*/ 12513 w 21671"/>
                <a:gd name="csY2" fmla="*/ 6146 h 11828"/>
                <a:gd name="csX3" fmla="*/ -9158 w 21671"/>
                <a:gd name="csY3" fmla="*/ 6146 h 11828"/>
                <a:gd name="csX4" fmla="*/ -9158 w 21671"/>
                <a:gd name="csY4" fmla="*/ -5683 h 11828"/>
              </a:gdLst>
              <a:ahLst/>
              <a:cxnLst>
                <a:cxn ang="0">
                  <a:pos x="csX0" y="csY0"/>
                </a:cxn>
                <a:cxn ang="0">
                  <a:pos x="csX1" y="csY1"/>
                </a:cxn>
                <a:cxn ang="0">
                  <a:pos x="csX2" y="csY2"/>
                </a:cxn>
                <a:cxn ang="0">
                  <a:pos x="csX3" y="csY3"/>
                </a:cxn>
                <a:cxn ang="0">
                  <a:pos x="csX4" y="csY4"/>
                </a:cxn>
              </a:cxnLst>
              <a:rect l="l" t="t" r="r" b="b"/>
              <a:pathLst>
                <a:path w="21671" h="11828">
                  <a:moveTo>
                    <a:pt x="-9158" y="-5683"/>
                  </a:moveTo>
                  <a:lnTo>
                    <a:pt x="12513" y="-5683"/>
                  </a:lnTo>
                  <a:lnTo>
                    <a:pt x="12513" y="6146"/>
                  </a:lnTo>
                  <a:lnTo>
                    <a:pt x="-9158" y="6146"/>
                  </a:lnTo>
                  <a:lnTo>
                    <a:pt x="-9158" y="-5683"/>
                  </a:lnTo>
                </a:path>
              </a:pathLst>
            </a:custGeom>
            <a:grpFill/>
            <a:ln w="548" cap="flat">
              <a:noFill/>
              <a:prstDash val="solid"/>
              <a:miter/>
            </a:ln>
          </p:spPr>
          <p:txBody>
            <a:bodyPr/>
            <a:lstStyle/>
            <a:p>
              <a:endParaRPr lang="en-US"/>
            </a:p>
          </p:txBody>
        </p:sp>
        <p:sp>
          <p:nvSpPr>
            <p:cNvPr id="483" name="Freeform: Shape 482">
              <a:extLst>
                <a:ext uri="{FF2B5EF4-FFF2-40B4-BE49-F238E27FC236}">
                  <a16:creationId xmlns:a16="http://schemas.microsoft.com/office/drawing/2014/main" id="{B8A6F9A8-D25C-F47F-5B27-399D075752FA}"/>
                </a:ext>
              </a:extLst>
            </p:cNvPr>
            <p:cNvSpPr/>
            <p:nvPr/>
          </p:nvSpPr>
          <p:spPr>
            <a:xfrm flipV="1">
              <a:off x="24453889" y="4228061"/>
              <a:ext cx="21671" cy="11828"/>
            </a:xfrm>
            <a:custGeom>
              <a:avLst/>
              <a:gdLst>
                <a:gd name="csX0" fmla="*/ -9158 w 21671"/>
                <a:gd name="csY0" fmla="*/ -5649 h 11828"/>
                <a:gd name="csX1" fmla="*/ 12513 w 21671"/>
                <a:gd name="csY1" fmla="*/ -5649 h 11828"/>
                <a:gd name="csX2" fmla="*/ 12513 w 21671"/>
                <a:gd name="csY2" fmla="*/ 6180 h 11828"/>
                <a:gd name="csX3" fmla="*/ -9158 w 21671"/>
                <a:gd name="csY3" fmla="*/ 6180 h 11828"/>
                <a:gd name="csX4" fmla="*/ -9158 w 21671"/>
                <a:gd name="csY4" fmla="*/ -5649 h 11828"/>
              </a:gdLst>
              <a:ahLst/>
              <a:cxnLst>
                <a:cxn ang="0">
                  <a:pos x="csX0" y="csY0"/>
                </a:cxn>
                <a:cxn ang="0">
                  <a:pos x="csX1" y="csY1"/>
                </a:cxn>
                <a:cxn ang="0">
                  <a:pos x="csX2" y="csY2"/>
                </a:cxn>
                <a:cxn ang="0">
                  <a:pos x="csX3" y="csY3"/>
                </a:cxn>
                <a:cxn ang="0">
                  <a:pos x="csX4" y="csY4"/>
                </a:cxn>
              </a:cxnLst>
              <a:rect l="l" t="t" r="r" b="b"/>
              <a:pathLst>
                <a:path w="21671" h="11828">
                  <a:moveTo>
                    <a:pt x="-9158" y="-5649"/>
                  </a:moveTo>
                  <a:lnTo>
                    <a:pt x="12513" y="-5649"/>
                  </a:lnTo>
                  <a:lnTo>
                    <a:pt x="12513" y="6180"/>
                  </a:lnTo>
                  <a:lnTo>
                    <a:pt x="-9158" y="6180"/>
                  </a:lnTo>
                  <a:lnTo>
                    <a:pt x="-9158" y="-5649"/>
                  </a:lnTo>
                </a:path>
              </a:pathLst>
            </a:custGeom>
            <a:grpFill/>
            <a:ln w="548" cap="flat">
              <a:noFill/>
              <a:prstDash val="solid"/>
              <a:miter/>
            </a:ln>
          </p:spPr>
          <p:txBody>
            <a:bodyPr/>
            <a:lstStyle/>
            <a:p>
              <a:endParaRPr lang="en-US"/>
            </a:p>
          </p:txBody>
        </p:sp>
        <p:sp>
          <p:nvSpPr>
            <p:cNvPr id="484" name="Freeform: Shape 483">
              <a:extLst>
                <a:ext uri="{FF2B5EF4-FFF2-40B4-BE49-F238E27FC236}">
                  <a16:creationId xmlns:a16="http://schemas.microsoft.com/office/drawing/2014/main" id="{25E15411-1DD7-E037-FF10-DD09463A45CD}"/>
                </a:ext>
              </a:extLst>
            </p:cNvPr>
            <p:cNvSpPr/>
            <p:nvPr/>
          </p:nvSpPr>
          <p:spPr>
            <a:xfrm flipV="1">
              <a:off x="24396391" y="4273346"/>
              <a:ext cx="21671" cy="11828"/>
            </a:xfrm>
            <a:custGeom>
              <a:avLst/>
              <a:gdLst>
                <a:gd name="csX0" fmla="*/ -9087 w 21671"/>
                <a:gd name="csY0" fmla="*/ -5540 h 11828"/>
                <a:gd name="csX1" fmla="*/ 12585 w 21671"/>
                <a:gd name="csY1" fmla="*/ -5540 h 11828"/>
                <a:gd name="csX2" fmla="*/ 12585 w 21671"/>
                <a:gd name="csY2" fmla="*/ 6289 h 11828"/>
                <a:gd name="csX3" fmla="*/ -9087 w 21671"/>
                <a:gd name="csY3" fmla="*/ 6289 h 11828"/>
                <a:gd name="csX4" fmla="*/ -9087 w 21671"/>
                <a:gd name="csY4" fmla="*/ -5540 h 11828"/>
              </a:gdLst>
              <a:ahLst/>
              <a:cxnLst>
                <a:cxn ang="0">
                  <a:pos x="csX0" y="csY0"/>
                </a:cxn>
                <a:cxn ang="0">
                  <a:pos x="csX1" y="csY1"/>
                </a:cxn>
                <a:cxn ang="0">
                  <a:pos x="csX2" y="csY2"/>
                </a:cxn>
                <a:cxn ang="0">
                  <a:pos x="csX3" y="csY3"/>
                </a:cxn>
                <a:cxn ang="0">
                  <a:pos x="csX4" y="csY4"/>
                </a:cxn>
              </a:cxnLst>
              <a:rect l="l" t="t" r="r" b="b"/>
              <a:pathLst>
                <a:path w="21671" h="11828">
                  <a:moveTo>
                    <a:pt x="-9087" y="-5540"/>
                  </a:moveTo>
                  <a:lnTo>
                    <a:pt x="12585" y="-5540"/>
                  </a:lnTo>
                  <a:lnTo>
                    <a:pt x="12585" y="6289"/>
                  </a:lnTo>
                  <a:lnTo>
                    <a:pt x="-9087" y="6289"/>
                  </a:lnTo>
                  <a:lnTo>
                    <a:pt x="-9087" y="-5540"/>
                  </a:lnTo>
                </a:path>
              </a:pathLst>
            </a:custGeom>
            <a:grpFill/>
            <a:ln w="548" cap="flat">
              <a:noFill/>
              <a:prstDash val="solid"/>
              <a:miter/>
            </a:ln>
          </p:spPr>
          <p:txBody>
            <a:bodyPr/>
            <a:lstStyle/>
            <a:p>
              <a:endParaRPr lang="en-US"/>
            </a:p>
          </p:txBody>
        </p:sp>
        <p:sp>
          <p:nvSpPr>
            <p:cNvPr id="485" name="Freeform: Shape 484">
              <a:extLst>
                <a:ext uri="{FF2B5EF4-FFF2-40B4-BE49-F238E27FC236}">
                  <a16:creationId xmlns:a16="http://schemas.microsoft.com/office/drawing/2014/main" id="{6712F4F6-24DA-6216-6D75-353D950AD585}"/>
                </a:ext>
              </a:extLst>
            </p:cNvPr>
            <p:cNvSpPr/>
            <p:nvPr/>
          </p:nvSpPr>
          <p:spPr>
            <a:xfrm flipV="1">
              <a:off x="24396391" y="4287583"/>
              <a:ext cx="21671" cy="11828"/>
            </a:xfrm>
            <a:custGeom>
              <a:avLst/>
              <a:gdLst>
                <a:gd name="csX0" fmla="*/ -9087 w 21671"/>
                <a:gd name="csY0" fmla="*/ -5506 h 11828"/>
                <a:gd name="csX1" fmla="*/ 12585 w 21671"/>
                <a:gd name="csY1" fmla="*/ -5506 h 11828"/>
                <a:gd name="csX2" fmla="*/ 12585 w 21671"/>
                <a:gd name="csY2" fmla="*/ 6323 h 11828"/>
                <a:gd name="csX3" fmla="*/ -9087 w 21671"/>
                <a:gd name="csY3" fmla="*/ 6323 h 11828"/>
                <a:gd name="csX4" fmla="*/ -9087 w 21671"/>
                <a:gd name="csY4" fmla="*/ -5506 h 11828"/>
              </a:gdLst>
              <a:ahLst/>
              <a:cxnLst>
                <a:cxn ang="0">
                  <a:pos x="csX0" y="csY0"/>
                </a:cxn>
                <a:cxn ang="0">
                  <a:pos x="csX1" y="csY1"/>
                </a:cxn>
                <a:cxn ang="0">
                  <a:pos x="csX2" y="csY2"/>
                </a:cxn>
                <a:cxn ang="0">
                  <a:pos x="csX3" y="csY3"/>
                </a:cxn>
                <a:cxn ang="0">
                  <a:pos x="csX4" y="csY4"/>
                </a:cxn>
              </a:cxnLst>
              <a:rect l="l" t="t" r="r" b="b"/>
              <a:pathLst>
                <a:path w="21671" h="11828">
                  <a:moveTo>
                    <a:pt x="-9087" y="-5506"/>
                  </a:moveTo>
                  <a:lnTo>
                    <a:pt x="12585" y="-5506"/>
                  </a:lnTo>
                  <a:lnTo>
                    <a:pt x="12585" y="6323"/>
                  </a:lnTo>
                  <a:lnTo>
                    <a:pt x="-9087" y="6323"/>
                  </a:lnTo>
                  <a:lnTo>
                    <a:pt x="-9087" y="-5506"/>
                  </a:lnTo>
                </a:path>
              </a:pathLst>
            </a:custGeom>
            <a:grpFill/>
            <a:ln w="548" cap="flat">
              <a:noFill/>
              <a:prstDash val="solid"/>
              <a:miter/>
            </a:ln>
          </p:spPr>
          <p:txBody>
            <a:bodyPr/>
            <a:lstStyle/>
            <a:p>
              <a:endParaRPr lang="en-US"/>
            </a:p>
          </p:txBody>
        </p:sp>
        <p:sp>
          <p:nvSpPr>
            <p:cNvPr id="486" name="Freeform: Shape 485">
              <a:extLst>
                <a:ext uri="{FF2B5EF4-FFF2-40B4-BE49-F238E27FC236}">
                  <a16:creationId xmlns:a16="http://schemas.microsoft.com/office/drawing/2014/main" id="{E59828D7-BFF7-4992-D34B-B33D29E4CE99}"/>
                </a:ext>
              </a:extLst>
            </p:cNvPr>
            <p:cNvSpPr/>
            <p:nvPr/>
          </p:nvSpPr>
          <p:spPr>
            <a:xfrm flipV="1">
              <a:off x="24453889" y="4273346"/>
              <a:ext cx="21671" cy="11828"/>
            </a:xfrm>
            <a:custGeom>
              <a:avLst/>
              <a:gdLst>
                <a:gd name="csX0" fmla="*/ -9158 w 21671"/>
                <a:gd name="csY0" fmla="*/ -5540 h 11828"/>
                <a:gd name="csX1" fmla="*/ 12513 w 21671"/>
                <a:gd name="csY1" fmla="*/ -5540 h 11828"/>
                <a:gd name="csX2" fmla="*/ 12513 w 21671"/>
                <a:gd name="csY2" fmla="*/ 6289 h 11828"/>
                <a:gd name="csX3" fmla="*/ -9158 w 21671"/>
                <a:gd name="csY3" fmla="*/ 6289 h 11828"/>
                <a:gd name="csX4" fmla="*/ -9158 w 21671"/>
                <a:gd name="csY4" fmla="*/ -5540 h 11828"/>
              </a:gdLst>
              <a:ahLst/>
              <a:cxnLst>
                <a:cxn ang="0">
                  <a:pos x="csX0" y="csY0"/>
                </a:cxn>
                <a:cxn ang="0">
                  <a:pos x="csX1" y="csY1"/>
                </a:cxn>
                <a:cxn ang="0">
                  <a:pos x="csX2" y="csY2"/>
                </a:cxn>
                <a:cxn ang="0">
                  <a:pos x="csX3" y="csY3"/>
                </a:cxn>
                <a:cxn ang="0">
                  <a:pos x="csX4" y="csY4"/>
                </a:cxn>
              </a:cxnLst>
              <a:rect l="l" t="t" r="r" b="b"/>
              <a:pathLst>
                <a:path w="21671" h="11828">
                  <a:moveTo>
                    <a:pt x="-9158" y="-5540"/>
                  </a:moveTo>
                  <a:lnTo>
                    <a:pt x="12513" y="-5540"/>
                  </a:lnTo>
                  <a:lnTo>
                    <a:pt x="12513" y="6289"/>
                  </a:lnTo>
                  <a:lnTo>
                    <a:pt x="-9158" y="6289"/>
                  </a:lnTo>
                  <a:lnTo>
                    <a:pt x="-9158" y="-5540"/>
                  </a:lnTo>
                </a:path>
              </a:pathLst>
            </a:custGeom>
            <a:grpFill/>
            <a:ln w="548" cap="flat">
              <a:noFill/>
              <a:prstDash val="solid"/>
              <a:miter/>
            </a:ln>
          </p:spPr>
          <p:txBody>
            <a:bodyPr/>
            <a:lstStyle/>
            <a:p>
              <a:endParaRPr lang="en-US"/>
            </a:p>
          </p:txBody>
        </p:sp>
        <p:sp>
          <p:nvSpPr>
            <p:cNvPr id="487" name="Freeform: Shape 486">
              <a:extLst>
                <a:ext uri="{FF2B5EF4-FFF2-40B4-BE49-F238E27FC236}">
                  <a16:creationId xmlns:a16="http://schemas.microsoft.com/office/drawing/2014/main" id="{B2F10C9A-BC4B-D64C-202A-253724EB85ED}"/>
                </a:ext>
              </a:extLst>
            </p:cNvPr>
            <p:cNvSpPr/>
            <p:nvPr/>
          </p:nvSpPr>
          <p:spPr>
            <a:xfrm flipV="1">
              <a:off x="24453889" y="4287583"/>
              <a:ext cx="21671" cy="11828"/>
            </a:xfrm>
            <a:custGeom>
              <a:avLst/>
              <a:gdLst>
                <a:gd name="csX0" fmla="*/ -9158 w 21671"/>
                <a:gd name="csY0" fmla="*/ -5506 h 11828"/>
                <a:gd name="csX1" fmla="*/ 12513 w 21671"/>
                <a:gd name="csY1" fmla="*/ -5506 h 11828"/>
                <a:gd name="csX2" fmla="*/ 12513 w 21671"/>
                <a:gd name="csY2" fmla="*/ 6323 h 11828"/>
                <a:gd name="csX3" fmla="*/ -9158 w 21671"/>
                <a:gd name="csY3" fmla="*/ 6323 h 11828"/>
                <a:gd name="csX4" fmla="*/ -9158 w 21671"/>
                <a:gd name="csY4" fmla="*/ -5506 h 11828"/>
              </a:gdLst>
              <a:ahLst/>
              <a:cxnLst>
                <a:cxn ang="0">
                  <a:pos x="csX0" y="csY0"/>
                </a:cxn>
                <a:cxn ang="0">
                  <a:pos x="csX1" y="csY1"/>
                </a:cxn>
                <a:cxn ang="0">
                  <a:pos x="csX2" y="csY2"/>
                </a:cxn>
                <a:cxn ang="0">
                  <a:pos x="csX3" y="csY3"/>
                </a:cxn>
                <a:cxn ang="0">
                  <a:pos x="csX4" y="csY4"/>
                </a:cxn>
              </a:cxnLst>
              <a:rect l="l" t="t" r="r" b="b"/>
              <a:pathLst>
                <a:path w="21671" h="11828">
                  <a:moveTo>
                    <a:pt x="-9158" y="-5506"/>
                  </a:moveTo>
                  <a:lnTo>
                    <a:pt x="12513" y="-5506"/>
                  </a:lnTo>
                  <a:lnTo>
                    <a:pt x="12513" y="6323"/>
                  </a:lnTo>
                  <a:lnTo>
                    <a:pt x="-9158" y="6323"/>
                  </a:lnTo>
                  <a:lnTo>
                    <a:pt x="-9158" y="-5506"/>
                  </a:lnTo>
                </a:path>
              </a:pathLst>
            </a:custGeom>
            <a:grpFill/>
            <a:ln w="548" cap="flat">
              <a:noFill/>
              <a:prstDash val="solid"/>
              <a:miter/>
            </a:ln>
          </p:spPr>
          <p:txBody>
            <a:bodyPr/>
            <a:lstStyle/>
            <a:p>
              <a:endParaRPr lang="en-US"/>
            </a:p>
          </p:txBody>
        </p:sp>
        <p:sp>
          <p:nvSpPr>
            <p:cNvPr id="488" name="Freeform: Shape 487">
              <a:extLst>
                <a:ext uri="{FF2B5EF4-FFF2-40B4-BE49-F238E27FC236}">
                  <a16:creationId xmlns:a16="http://schemas.microsoft.com/office/drawing/2014/main" id="{5482B785-0509-0CF5-4696-F8EEE6DF5B61}"/>
                </a:ext>
              </a:extLst>
            </p:cNvPr>
            <p:cNvSpPr/>
            <p:nvPr/>
          </p:nvSpPr>
          <p:spPr>
            <a:xfrm flipV="1">
              <a:off x="24396391" y="4332868"/>
              <a:ext cx="21671" cy="11823"/>
            </a:xfrm>
            <a:custGeom>
              <a:avLst/>
              <a:gdLst>
                <a:gd name="csX0" fmla="*/ -9087 w 21671"/>
                <a:gd name="csY0" fmla="*/ -5397 h 11823"/>
                <a:gd name="csX1" fmla="*/ 12585 w 21671"/>
                <a:gd name="csY1" fmla="*/ -5397 h 11823"/>
                <a:gd name="csX2" fmla="*/ 12585 w 21671"/>
                <a:gd name="csY2" fmla="*/ 6427 h 11823"/>
                <a:gd name="csX3" fmla="*/ -9087 w 21671"/>
                <a:gd name="csY3" fmla="*/ 6427 h 11823"/>
                <a:gd name="csX4" fmla="*/ -9087 w 21671"/>
                <a:gd name="csY4" fmla="*/ -5397 h 11823"/>
              </a:gdLst>
              <a:ahLst/>
              <a:cxnLst>
                <a:cxn ang="0">
                  <a:pos x="csX0" y="csY0"/>
                </a:cxn>
                <a:cxn ang="0">
                  <a:pos x="csX1" y="csY1"/>
                </a:cxn>
                <a:cxn ang="0">
                  <a:pos x="csX2" y="csY2"/>
                </a:cxn>
                <a:cxn ang="0">
                  <a:pos x="csX3" y="csY3"/>
                </a:cxn>
                <a:cxn ang="0">
                  <a:pos x="csX4" y="csY4"/>
                </a:cxn>
              </a:cxnLst>
              <a:rect l="l" t="t" r="r" b="b"/>
              <a:pathLst>
                <a:path w="21671" h="11823">
                  <a:moveTo>
                    <a:pt x="-9087" y="-5397"/>
                  </a:moveTo>
                  <a:lnTo>
                    <a:pt x="12585" y="-5397"/>
                  </a:lnTo>
                  <a:lnTo>
                    <a:pt x="12585" y="6427"/>
                  </a:lnTo>
                  <a:lnTo>
                    <a:pt x="-9087" y="6427"/>
                  </a:lnTo>
                  <a:lnTo>
                    <a:pt x="-9087" y="-5397"/>
                  </a:lnTo>
                </a:path>
              </a:pathLst>
            </a:custGeom>
            <a:grpFill/>
            <a:ln w="548" cap="flat">
              <a:noFill/>
              <a:prstDash val="solid"/>
              <a:miter/>
            </a:ln>
          </p:spPr>
          <p:txBody>
            <a:bodyPr/>
            <a:lstStyle/>
            <a:p>
              <a:endParaRPr lang="en-US"/>
            </a:p>
          </p:txBody>
        </p:sp>
        <p:sp>
          <p:nvSpPr>
            <p:cNvPr id="489" name="Freeform: Shape 488">
              <a:extLst>
                <a:ext uri="{FF2B5EF4-FFF2-40B4-BE49-F238E27FC236}">
                  <a16:creationId xmlns:a16="http://schemas.microsoft.com/office/drawing/2014/main" id="{774C9C35-E61B-5E99-9DB0-330C90E4CF3B}"/>
                </a:ext>
              </a:extLst>
            </p:cNvPr>
            <p:cNvSpPr/>
            <p:nvPr/>
          </p:nvSpPr>
          <p:spPr>
            <a:xfrm flipV="1">
              <a:off x="24396391" y="4347100"/>
              <a:ext cx="21671" cy="11828"/>
            </a:xfrm>
            <a:custGeom>
              <a:avLst/>
              <a:gdLst>
                <a:gd name="csX0" fmla="*/ -9087 w 21671"/>
                <a:gd name="csY0" fmla="*/ -5362 h 11828"/>
                <a:gd name="csX1" fmla="*/ 12585 w 21671"/>
                <a:gd name="csY1" fmla="*/ -5362 h 11828"/>
                <a:gd name="csX2" fmla="*/ 12585 w 21671"/>
                <a:gd name="csY2" fmla="*/ 6466 h 11828"/>
                <a:gd name="csX3" fmla="*/ -9087 w 21671"/>
                <a:gd name="csY3" fmla="*/ 6466 h 11828"/>
                <a:gd name="csX4" fmla="*/ -9087 w 21671"/>
                <a:gd name="csY4" fmla="*/ -5362 h 11828"/>
              </a:gdLst>
              <a:ahLst/>
              <a:cxnLst>
                <a:cxn ang="0">
                  <a:pos x="csX0" y="csY0"/>
                </a:cxn>
                <a:cxn ang="0">
                  <a:pos x="csX1" y="csY1"/>
                </a:cxn>
                <a:cxn ang="0">
                  <a:pos x="csX2" y="csY2"/>
                </a:cxn>
                <a:cxn ang="0">
                  <a:pos x="csX3" y="csY3"/>
                </a:cxn>
                <a:cxn ang="0">
                  <a:pos x="csX4" y="csY4"/>
                </a:cxn>
              </a:cxnLst>
              <a:rect l="l" t="t" r="r" b="b"/>
              <a:pathLst>
                <a:path w="21671" h="11828">
                  <a:moveTo>
                    <a:pt x="-9087" y="-5362"/>
                  </a:moveTo>
                  <a:lnTo>
                    <a:pt x="12585" y="-5362"/>
                  </a:lnTo>
                  <a:lnTo>
                    <a:pt x="12585" y="6466"/>
                  </a:lnTo>
                  <a:lnTo>
                    <a:pt x="-9087" y="6466"/>
                  </a:lnTo>
                  <a:lnTo>
                    <a:pt x="-9087" y="-5362"/>
                  </a:lnTo>
                </a:path>
              </a:pathLst>
            </a:custGeom>
            <a:grpFill/>
            <a:ln w="548" cap="flat">
              <a:noFill/>
              <a:prstDash val="solid"/>
              <a:miter/>
            </a:ln>
          </p:spPr>
          <p:txBody>
            <a:bodyPr/>
            <a:lstStyle/>
            <a:p>
              <a:endParaRPr lang="en-US"/>
            </a:p>
          </p:txBody>
        </p:sp>
        <p:sp>
          <p:nvSpPr>
            <p:cNvPr id="490" name="Freeform: Shape 489">
              <a:extLst>
                <a:ext uri="{FF2B5EF4-FFF2-40B4-BE49-F238E27FC236}">
                  <a16:creationId xmlns:a16="http://schemas.microsoft.com/office/drawing/2014/main" id="{ED758DB2-AE80-6FF2-D604-1D57E4B9EDE9}"/>
                </a:ext>
              </a:extLst>
            </p:cNvPr>
            <p:cNvSpPr/>
            <p:nvPr/>
          </p:nvSpPr>
          <p:spPr>
            <a:xfrm flipV="1">
              <a:off x="24453889" y="4332868"/>
              <a:ext cx="21671" cy="11823"/>
            </a:xfrm>
            <a:custGeom>
              <a:avLst/>
              <a:gdLst>
                <a:gd name="csX0" fmla="*/ -9158 w 21671"/>
                <a:gd name="csY0" fmla="*/ -5397 h 11823"/>
                <a:gd name="csX1" fmla="*/ 12513 w 21671"/>
                <a:gd name="csY1" fmla="*/ -5397 h 11823"/>
                <a:gd name="csX2" fmla="*/ 12513 w 21671"/>
                <a:gd name="csY2" fmla="*/ 6427 h 11823"/>
                <a:gd name="csX3" fmla="*/ -9158 w 21671"/>
                <a:gd name="csY3" fmla="*/ 6427 h 11823"/>
                <a:gd name="csX4" fmla="*/ -9158 w 21671"/>
                <a:gd name="csY4" fmla="*/ -5397 h 11823"/>
              </a:gdLst>
              <a:ahLst/>
              <a:cxnLst>
                <a:cxn ang="0">
                  <a:pos x="csX0" y="csY0"/>
                </a:cxn>
                <a:cxn ang="0">
                  <a:pos x="csX1" y="csY1"/>
                </a:cxn>
                <a:cxn ang="0">
                  <a:pos x="csX2" y="csY2"/>
                </a:cxn>
                <a:cxn ang="0">
                  <a:pos x="csX3" y="csY3"/>
                </a:cxn>
                <a:cxn ang="0">
                  <a:pos x="csX4" y="csY4"/>
                </a:cxn>
              </a:cxnLst>
              <a:rect l="l" t="t" r="r" b="b"/>
              <a:pathLst>
                <a:path w="21671" h="11823">
                  <a:moveTo>
                    <a:pt x="-9158" y="-5397"/>
                  </a:moveTo>
                  <a:lnTo>
                    <a:pt x="12513" y="-5397"/>
                  </a:lnTo>
                  <a:lnTo>
                    <a:pt x="12513" y="6427"/>
                  </a:lnTo>
                  <a:lnTo>
                    <a:pt x="-9158" y="6427"/>
                  </a:lnTo>
                  <a:lnTo>
                    <a:pt x="-9158" y="-5397"/>
                  </a:lnTo>
                </a:path>
              </a:pathLst>
            </a:custGeom>
            <a:grpFill/>
            <a:ln w="548" cap="flat">
              <a:noFill/>
              <a:prstDash val="solid"/>
              <a:miter/>
            </a:ln>
          </p:spPr>
          <p:txBody>
            <a:bodyPr/>
            <a:lstStyle/>
            <a:p>
              <a:endParaRPr lang="en-US"/>
            </a:p>
          </p:txBody>
        </p:sp>
        <p:sp>
          <p:nvSpPr>
            <p:cNvPr id="491" name="Freeform: Shape 490">
              <a:extLst>
                <a:ext uri="{FF2B5EF4-FFF2-40B4-BE49-F238E27FC236}">
                  <a16:creationId xmlns:a16="http://schemas.microsoft.com/office/drawing/2014/main" id="{DEE15860-E49E-5531-F376-D5CA2DB89B36}"/>
                </a:ext>
              </a:extLst>
            </p:cNvPr>
            <p:cNvSpPr/>
            <p:nvPr/>
          </p:nvSpPr>
          <p:spPr>
            <a:xfrm flipV="1">
              <a:off x="24453889" y="4347100"/>
              <a:ext cx="21671" cy="11828"/>
            </a:xfrm>
            <a:custGeom>
              <a:avLst/>
              <a:gdLst>
                <a:gd name="csX0" fmla="*/ -9158 w 21671"/>
                <a:gd name="csY0" fmla="*/ -5362 h 11828"/>
                <a:gd name="csX1" fmla="*/ 12513 w 21671"/>
                <a:gd name="csY1" fmla="*/ -5362 h 11828"/>
                <a:gd name="csX2" fmla="*/ 12513 w 21671"/>
                <a:gd name="csY2" fmla="*/ 6466 h 11828"/>
                <a:gd name="csX3" fmla="*/ -9158 w 21671"/>
                <a:gd name="csY3" fmla="*/ 6466 h 11828"/>
                <a:gd name="csX4" fmla="*/ -9158 w 21671"/>
                <a:gd name="csY4" fmla="*/ -5362 h 11828"/>
              </a:gdLst>
              <a:ahLst/>
              <a:cxnLst>
                <a:cxn ang="0">
                  <a:pos x="csX0" y="csY0"/>
                </a:cxn>
                <a:cxn ang="0">
                  <a:pos x="csX1" y="csY1"/>
                </a:cxn>
                <a:cxn ang="0">
                  <a:pos x="csX2" y="csY2"/>
                </a:cxn>
                <a:cxn ang="0">
                  <a:pos x="csX3" y="csY3"/>
                </a:cxn>
                <a:cxn ang="0">
                  <a:pos x="csX4" y="csY4"/>
                </a:cxn>
              </a:cxnLst>
              <a:rect l="l" t="t" r="r" b="b"/>
              <a:pathLst>
                <a:path w="21671" h="11828">
                  <a:moveTo>
                    <a:pt x="-9158" y="-5362"/>
                  </a:moveTo>
                  <a:lnTo>
                    <a:pt x="12513" y="-5362"/>
                  </a:lnTo>
                  <a:lnTo>
                    <a:pt x="12513" y="6466"/>
                  </a:lnTo>
                  <a:lnTo>
                    <a:pt x="-9158" y="6466"/>
                  </a:lnTo>
                  <a:lnTo>
                    <a:pt x="-9158" y="-5362"/>
                  </a:lnTo>
                </a:path>
              </a:pathLst>
            </a:custGeom>
            <a:grpFill/>
            <a:ln w="548" cap="flat">
              <a:noFill/>
              <a:prstDash val="solid"/>
              <a:miter/>
            </a:ln>
          </p:spPr>
          <p:txBody>
            <a:bodyPr/>
            <a:lstStyle/>
            <a:p>
              <a:endParaRPr lang="en-US"/>
            </a:p>
          </p:txBody>
        </p:sp>
        <p:sp>
          <p:nvSpPr>
            <p:cNvPr id="492" name="Freeform: Shape 491">
              <a:extLst>
                <a:ext uri="{FF2B5EF4-FFF2-40B4-BE49-F238E27FC236}">
                  <a16:creationId xmlns:a16="http://schemas.microsoft.com/office/drawing/2014/main" id="{3ED3A177-7E48-D181-0E2C-84BB3F9F1BC9}"/>
                </a:ext>
              </a:extLst>
            </p:cNvPr>
            <p:cNvSpPr/>
            <p:nvPr/>
          </p:nvSpPr>
          <p:spPr>
            <a:xfrm flipV="1">
              <a:off x="22477084" y="4573370"/>
              <a:ext cx="13249" cy="32594"/>
            </a:xfrm>
            <a:custGeom>
              <a:avLst/>
              <a:gdLst>
                <a:gd name="csX0" fmla="*/ -6703 w 13249"/>
                <a:gd name="csY0" fmla="*/ 27752 h 32594"/>
                <a:gd name="csX1" fmla="*/ -6703 w 13249"/>
                <a:gd name="csY1" fmla="*/ -4793 h 32594"/>
                <a:gd name="csX2" fmla="*/ 6547 w 13249"/>
                <a:gd name="csY2" fmla="*/ -4793 h 32594"/>
                <a:gd name="csX3" fmla="*/ 6547 w 13249"/>
                <a:gd name="csY3" fmla="*/ 27802 h 32594"/>
                <a:gd name="csX4" fmla="*/ 6306 w 13249"/>
                <a:gd name="csY4" fmla="*/ 27752 h 32594"/>
                <a:gd name="csX5" fmla="*/ -6703 w 13249"/>
                <a:gd name="csY5" fmla="*/ 27752 h 32594"/>
              </a:gdLst>
              <a:ahLst/>
              <a:cxnLst>
                <a:cxn ang="0">
                  <a:pos x="csX0" y="csY0"/>
                </a:cxn>
                <a:cxn ang="0">
                  <a:pos x="csX1" y="csY1"/>
                </a:cxn>
                <a:cxn ang="0">
                  <a:pos x="csX2" y="csY2"/>
                </a:cxn>
                <a:cxn ang="0">
                  <a:pos x="csX3" y="csY3"/>
                </a:cxn>
                <a:cxn ang="0">
                  <a:pos x="csX4" y="csY4"/>
                </a:cxn>
                <a:cxn ang="0">
                  <a:pos x="csX5" y="csY5"/>
                </a:cxn>
              </a:cxnLst>
              <a:rect l="l" t="t" r="r" b="b"/>
              <a:pathLst>
                <a:path w="13249" h="32594">
                  <a:moveTo>
                    <a:pt x="-6703" y="27752"/>
                  </a:moveTo>
                  <a:lnTo>
                    <a:pt x="-6703" y="-4793"/>
                  </a:lnTo>
                  <a:lnTo>
                    <a:pt x="6547" y="-4793"/>
                  </a:lnTo>
                  <a:lnTo>
                    <a:pt x="6547" y="27802"/>
                  </a:lnTo>
                  <a:cubicBezTo>
                    <a:pt x="6465" y="27785"/>
                    <a:pt x="6393" y="27752"/>
                    <a:pt x="6306" y="27752"/>
                  </a:cubicBezTo>
                  <a:lnTo>
                    <a:pt x="-6703" y="27752"/>
                  </a:lnTo>
                </a:path>
              </a:pathLst>
            </a:custGeom>
            <a:grpFill/>
            <a:ln w="548" cap="flat">
              <a:noFill/>
              <a:prstDash val="solid"/>
              <a:miter/>
            </a:ln>
          </p:spPr>
          <p:txBody>
            <a:bodyPr/>
            <a:lstStyle/>
            <a:p>
              <a:endParaRPr lang="en-US"/>
            </a:p>
          </p:txBody>
        </p:sp>
        <p:sp>
          <p:nvSpPr>
            <p:cNvPr id="493" name="Freeform: Shape 492">
              <a:extLst>
                <a:ext uri="{FF2B5EF4-FFF2-40B4-BE49-F238E27FC236}">
                  <a16:creationId xmlns:a16="http://schemas.microsoft.com/office/drawing/2014/main" id="{8153F4B8-D59C-44AD-38BF-7A7D98A9C24F}"/>
                </a:ext>
              </a:extLst>
            </p:cNvPr>
            <p:cNvSpPr/>
            <p:nvPr/>
          </p:nvSpPr>
          <p:spPr>
            <a:xfrm flipV="1">
              <a:off x="22477035" y="4554113"/>
              <a:ext cx="13298" cy="17068"/>
            </a:xfrm>
            <a:custGeom>
              <a:avLst/>
              <a:gdLst>
                <a:gd name="csX0" fmla="*/ -6653 w 13298"/>
                <a:gd name="csY0" fmla="*/ -4809 h 17068"/>
                <a:gd name="csX1" fmla="*/ 6355 w 13298"/>
                <a:gd name="csY1" fmla="*/ -4809 h 17068"/>
                <a:gd name="csX2" fmla="*/ 6596 w 13298"/>
                <a:gd name="csY2" fmla="*/ -4858 h 17068"/>
                <a:gd name="csX3" fmla="*/ 6596 w 13298"/>
                <a:gd name="csY3" fmla="*/ 12210 h 17068"/>
                <a:gd name="csX4" fmla="*/ -6703 w 13298"/>
                <a:gd name="csY4" fmla="*/ 12210 h 17068"/>
                <a:gd name="csX5" fmla="*/ -6653 w 13298"/>
                <a:gd name="csY5" fmla="*/ 11969 h 17068"/>
                <a:gd name="csX6" fmla="*/ -6653 w 13298"/>
                <a:gd name="csY6" fmla="*/ -4809 h 17068"/>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13298" h="17068">
                  <a:moveTo>
                    <a:pt x="-6653" y="-4809"/>
                  </a:moveTo>
                  <a:lnTo>
                    <a:pt x="6355" y="-4809"/>
                  </a:lnTo>
                  <a:cubicBezTo>
                    <a:pt x="6443" y="-4809"/>
                    <a:pt x="6514" y="-4842"/>
                    <a:pt x="6596" y="-4858"/>
                  </a:cubicBezTo>
                  <a:lnTo>
                    <a:pt x="6596" y="12210"/>
                  </a:lnTo>
                  <a:lnTo>
                    <a:pt x="-6703" y="12210"/>
                  </a:lnTo>
                  <a:cubicBezTo>
                    <a:pt x="-6687" y="12128"/>
                    <a:pt x="-6653" y="12057"/>
                    <a:pt x="-6653" y="11969"/>
                  </a:cubicBezTo>
                  <a:lnTo>
                    <a:pt x="-6653" y="-4809"/>
                  </a:lnTo>
                </a:path>
              </a:pathLst>
            </a:custGeom>
            <a:grpFill/>
            <a:ln w="548" cap="flat">
              <a:noFill/>
              <a:prstDash val="solid"/>
              <a:miter/>
            </a:ln>
          </p:spPr>
          <p:txBody>
            <a:bodyPr/>
            <a:lstStyle/>
            <a:p>
              <a:endParaRPr lang="en-US"/>
            </a:p>
          </p:txBody>
        </p:sp>
        <p:sp>
          <p:nvSpPr>
            <p:cNvPr id="494" name="Freeform: Shape 493">
              <a:extLst>
                <a:ext uri="{FF2B5EF4-FFF2-40B4-BE49-F238E27FC236}">
                  <a16:creationId xmlns:a16="http://schemas.microsoft.com/office/drawing/2014/main" id="{B906C04A-0C0C-6A92-D757-E365C6B4ED86}"/>
                </a:ext>
              </a:extLst>
            </p:cNvPr>
            <p:cNvSpPr/>
            <p:nvPr/>
          </p:nvSpPr>
          <p:spPr>
            <a:xfrm flipV="1">
              <a:off x="22477084" y="4608252"/>
              <a:ext cx="13249" cy="17035"/>
            </a:xfrm>
            <a:custGeom>
              <a:avLst/>
              <a:gdLst>
                <a:gd name="csX0" fmla="*/ 6547 w 13249"/>
                <a:gd name="csY0" fmla="*/ 12308 h 17035"/>
                <a:gd name="csX1" fmla="*/ -6703 w 13249"/>
                <a:gd name="csY1" fmla="*/ 12308 h 17035"/>
                <a:gd name="csX2" fmla="*/ -6703 w 13249"/>
                <a:gd name="csY2" fmla="*/ -4728 h 17035"/>
                <a:gd name="csX3" fmla="*/ 6547 w 13249"/>
                <a:gd name="csY3" fmla="*/ -4728 h 17035"/>
                <a:gd name="csX4" fmla="*/ 6547 w 13249"/>
                <a:gd name="csY4" fmla="*/ 12308 h 17035"/>
              </a:gdLst>
              <a:ahLst/>
              <a:cxnLst>
                <a:cxn ang="0">
                  <a:pos x="csX0" y="csY0"/>
                </a:cxn>
                <a:cxn ang="0">
                  <a:pos x="csX1" y="csY1"/>
                </a:cxn>
                <a:cxn ang="0">
                  <a:pos x="csX2" y="csY2"/>
                </a:cxn>
                <a:cxn ang="0">
                  <a:pos x="csX3" y="csY3"/>
                </a:cxn>
                <a:cxn ang="0">
                  <a:pos x="csX4" y="csY4"/>
                </a:cxn>
              </a:cxnLst>
              <a:rect l="l" t="t" r="r" b="b"/>
              <a:pathLst>
                <a:path w="13249" h="17035">
                  <a:moveTo>
                    <a:pt x="6547" y="12308"/>
                  </a:moveTo>
                  <a:lnTo>
                    <a:pt x="-6703" y="12308"/>
                  </a:lnTo>
                  <a:lnTo>
                    <a:pt x="-6703" y="-4728"/>
                  </a:lnTo>
                  <a:lnTo>
                    <a:pt x="6547" y="-4728"/>
                  </a:lnTo>
                  <a:lnTo>
                    <a:pt x="6547" y="12308"/>
                  </a:lnTo>
                </a:path>
              </a:pathLst>
            </a:custGeom>
            <a:grpFill/>
            <a:ln w="548" cap="flat">
              <a:noFill/>
              <a:prstDash val="solid"/>
              <a:miter/>
            </a:ln>
          </p:spPr>
          <p:txBody>
            <a:bodyPr/>
            <a:lstStyle/>
            <a:p>
              <a:endParaRPr lang="en-US"/>
            </a:p>
          </p:txBody>
        </p:sp>
        <p:sp>
          <p:nvSpPr>
            <p:cNvPr id="495" name="Freeform: Shape 494">
              <a:extLst>
                <a:ext uri="{FF2B5EF4-FFF2-40B4-BE49-F238E27FC236}">
                  <a16:creationId xmlns:a16="http://schemas.microsoft.com/office/drawing/2014/main" id="{BC47EFB9-4838-792A-C46E-0749805153DA}"/>
                </a:ext>
              </a:extLst>
            </p:cNvPr>
            <p:cNvSpPr/>
            <p:nvPr/>
          </p:nvSpPr>
          <p:spPr>
            <a:xfrm flipV="1">
              <a:off x="22462024" y="4573419"/>
              <a:ext cx="12772" cy="32545"/>
            </a:xfrm>
            <a:custGeom>
              <a:avLst/>
              <a:gdLst>
                <a:gd name="csX0" fmla="*/ -6684 w 12772"/>
                <a:gd name="csY0" fmla="*/ -4793 h 32545"/>
                <a:gd name="csX1" fmla="*/ 6089 w 12772"/>
                <a:gd name="csY1" fmla="*/ -4793 h 32545"/>
                <a:gd name="csX2" fmla="*/ 6089 w 12772"/>
                <a:gd name="csY2" fmla="*/ 27752 h 32545"/>
                <a:gd name="csX3" fmla="*/ -6684 w 12772"/>
                <a:gd name="csY3" fmla="*/ 27752 h 32545"/>
                <a:gd name="csX4" fmla="*/ -6684 w 12772"/>
                <a:gd name="csY4" fmla="*/ -4793 h 32545"/>
              </a:gdLst>
              <a:ahLst/>
              <a:cxnLst>
                <a:cxn ang="0">
                  <a:pos x="csX0" y="csY0"/>
                </a:cxn>
                <a:cxn ang="0">
                  <a:pos x="csX1" y="csY1"/>
                </a:cxn>
                <a:cxn ang="0">
                  <a:pos x="csX2" y="csY2"/>
                </a:cxn>
                <a:cxn ang="0">
                  <a:pos x="csX3" y="csY3"/>
                </a:cxn>
                <a:cxn ang="0">
                  <a:pos x="csX4" y="csY4"/>
                </a:cxn>
              </a:cxnLst>
              <a:rect l="l" t="t" r="r" b="b"/>
              <a:pathLst>
                <a:path w="12772" h="32545">
                  <a:moveTo>
                    <a:pt x="-6684" y="-4793"/>
                  </a:moveTo>
                  <a:lnTo>
                    <a:pt x="6089" y="-4793"/>
                  </a:lnTo>
                  <a:lnTo>
                    <a:pt x="6089" y="27752"/>
                  </a:lnTo>
                  <a:lnTo>
                    <a:pt x="-6684" y="27752"/>
                  </a:lnTo>
                  <a:lnTo>
                    <a:pt x="-6684" y="-4793"/>
                  </a:lnTo>
                </a:path>
              </a:pathLst>
            </a:custGeom>
            <a:grpFill/>
            <a:ln w="548" cap="flat">
              <a:noFill/>
              <a:prstDash val="solid"/>
              <a:miter/>
            </a:ln>
          </p:spPr>
          <p:txBody>
            <a:bodyPr/>
            <a:lstStyle/>
            <a:p>
              <a:endParaRPr lang="en-US"/>
            </a:p>
          </p:txBody>
        </p:sp>
        <p:sp>
          <p:nvSpPr>
            <p:cNvPr id="496" name="Freeform: Shape 495">
              <a:extLst>
                <a:ext uri="{FF2B5EF4-FFF2-40B4-BE49-F238E27FC236}">
                  <a16:creationId xmlns:a16="http://schemas.microsoft.com/office/drawing/2014/main" id="{ADDE4D3D-B162-4EF0-42D0-944131F817DD}"/>
                </a:ext>
              </a:extLst>
            </p:cNvPr>
            <p:cNvSpPr/>
            <p:nvPr/>
          </p:nvSpPr>
          <p:spPr>
            <a:xfrm flipV="1">
              <a:off x="22462024" y="4608252"/>
              <a:ext cx="12772" cy="17035"/>
            </a:xfrm>
            <a:custGeom>
              <a:avLst/>
              <a:gdLst>
                <a:gd name="csX0" fmla="*/ -6684 w 12772"/>
                <a:gd name="csY0" fmla="*/ -4728 h 17035"/>
                <a:gd name="csX1" fmla="*/ 6089 w 12772"/>
                <a:gd name="csY1" fmla="*/ -4728 h 17035"/>
                <a:gd name="csX2" fmla="*/ 6089 w 12772"/>
                <a:gd name="csY2" fmla="*/ 12308 h 17035"/>
                <a:gd name="csX3" fmla="*/ -6684 w 12772"/>
                <a:gd name="csY3" fmla="*/ 12308 h 17035"/>
                <a:gd name="csX4" fmla="*/ -6684 w 12772"/>
                <a:gd name="csY4" fmla="*/ -4728 h 17035"/>
              </a:gdLst>
              <a:ahLst/>
              <a:cxnLst>
                <a:cxn ang="0">
                  <a:pos x="csX0" y="csY0"/>
                </a:cxn>
                <a:cxn ang="0">
                  <a:pos x="csX1" y="csY1"/>
                </a:cxn>
                <a:cxn ang="0">
                  <a:pos x="csX2" y="csY2"/>
                </a:cxn>
                <a:cxn ang="0">
                  <a:pos x="csX3" y="csY3"/>
                </a:cxn>
                <a:cxn ang="0">
                  <a:pos x="csX4" y="csY4"/>
                </a:cxn>
              </a:cxnLst>
              <a:rect l="l" t="t" r="r" b="b"/>
              <a:pathLst>
                <a:path w="12772" h="17035">
                  <a:moveTo>
                    <a:pt x="-6684" y="-4728"/>
                  </a:moveTo>
                  <a:lnTo>
                    <a:pt x="6089" y="-4728"/>
                  </a:lnTo>
                  <a:lnTo>
                    <a:pt x="6089" y="12308"/>
                  </a:lnTo>
                  <a:lnTo>
                    <a:pt x="-6684" y="12308"/>
                  </a:lnTo>
                  <a:lnTo>
                    <a:pt x="-6684" y="-4728"/>
                  </a:lnTo>
                </a:path>
              </a:pathLst>
            </a:custGeom>
            <a:grpFill/>
            <a:ln w="548" cap="flat">
              <a:noFill/>
              <a:prstDash val="solid"/>
              <a:miter/>
            </a:ln>
          </p:spPr>
          <p:txBody>
            <a:bodyPr/>
            <a:lstStyle/>
            <a:p>
              <a:endParaRPr lang="en-US"/>
            </a:p>
          </p:txBody>
        </p:sp>
        <p:sp>
          <p:nvSpPr>
            <p:cNvPr id="497" name="Freeform: Shape 496">
              <a:extLst>
                <a:ext uri="{FF2B5EF4-FFF2-40B4-BE49-F238E27FC236}">
                  <a16:creationId xmlns:a16="http://schemas.microsoft.com/office/drawing/2014/main" id="{A280EB93-B145-6471-1CA7-8F4D6EBAB1C4}"/>
                </a:ext>
              </a:extLst>
            </p:cNvPr>
            <p:cNvSpPr/>
            <p:nvPr/>
          </p:nvSpPr>
          <p:spPr>
            <a:xfrm flipV="1">
              <a:off x="22462024" y="4554113"/>
              <a:ext cx="12821" cy="17018"/>
            </a:xfrm>
            <a:custGeom>
              <a:avLst/>
              <a:gdLst>
                <a:gd name="csX0" fmla="*/ -6684 w 12821"/>
                <a:gd name="csY0" fmla="*/ -4858 h 17018"/>
                <a:gd name="csX1" fmla="*/ 6089 w 12821"/>
                <a:gd name="csY1" fmla="*/ -4858 h 17018"/>
                <a:gd name="csX2" fmla="*/ 6089 w 12821"/>
                <a:gd name="csY2" fmla="*/ 11919 h 17018"/>
                <a:gd name="csX3" fmla="*/ 6138 w 12821"/>
                <a:gd name="csY3" fmla="*/ 12161 h 17018"/>
                <a:gd name="csX4" fmla="*/ -6684 w 12821"/>
                <a:gd name="csY4" fmla="*/ 12161 h 17018"/>
                <a:gd name="csX5" fmla="*/ -6684 w 12821"/>
                <a:gd name="csY5" fmla="*/ -4858 h 17018"/>
              </a:gdLst>
              <a:ahLst/>
              <a:cxnLst>
                <a:cxn ang="0">
                  <a:pos x="csX0" y="csY0"/>
                </a:cxn>
                <a:cxn ang="0">
                  <a:pos x="csX1" y="csY1"/>
                </a:cxn>
                <a:cxn ang="0">
                  <a:pos x="csX2" y="csY2"/>
                </a:cxn>
                <a:cxn ang="0">
                  <a:pos x="csX3" y="csY3"/>
                </a:cxn>
                <a:cxn ang="0">
                  <a:pos x="csX4" y="csY4"/>
                </a:cxn>
                <a:cxn ang="0">
                  <a:pos x="csX5" y="csY5"/>
                </a:cxn>
              </a:cxnLst>
              <a:rect l="l" t="t" r="r" b="b"/>
              <a:pathLst>
                <a:path w="12821" h="17018">
                  <a:moveTo>
                    <a:pt x="-6684" y="-4858"/>
                  </a:moveTo>
                  <a:lnTo>
                    <a:pt x="6089" y="-4858"/>
                  </a:lnTo>
                  <a:lnTo>
                    <a:pt x="6089" y="11919"/>
                  </a:lnTo>
                  <a:cubicBezTo>
                    <a:pt x="6089" y="12007"/>
                    <a:pt x="6121" y="12079"/>
                    <a:pt x="6138" y="12161"/>
                  </a:cubicBezTo>
                  <a:lnTo>
                    <a:pt x="-6684" y="12161"/>
                  </a:lnTo>
                  <a:lnTo>
                    <a:pt x="-6684" y="-4858"/>
                  </a:lnTo>
                </a:path>
              </a:pathLst>
            </a:custGeom>
            <a:grpFill/>
            <a:ln w="548" cap="flat">
              <a:noFill/>
              <a:prstDash val="solid"/>
              <a:miter/>
            </a:ln>
          </p:spPr>
          <p:txBody>
            <a:bodyPr/>
            <a:lstStyle/>
            <a:p>
              <a:endParaRPr lang="en-US"/>
            </a:p>
          </p:txBody>
        </p:sp>
        <p:sp>
          <p:nvSpPr>
            <p:cNvPr id="498" name="Freeform: Shape 497">
              <a:extLst>
                <a:ext uri="{FF2B5EF4-FFF2-40B4-BE49-F238E27FC236}">
                  <a16:creationId xmlns:a16="http://schemas.microsoft.com/office/drawing/2014/main" id="{137FF2A6-D6B2-73F2-209B-EFF8FCC29BDA}"/>
                </a:ext>
              </a:extLst>
            </p:cNvPr>
            <p:cNvSpPr/>
            <p:nvPr/>
          </p:nvSpPr>
          <p:spPr>
            <a:xfrm flipV="1">
              <a:off x="22791839" y="4573178"/>
              <a:ext cx="13002" cy="32786"/>
            </a:xfrm>
            <a:custGeom>
              <a:avLst/>
              <a:gdLst>
                <a:gd name="csX0" fmla="*/ 5910 w 13002"/>
                <a:gd name="csY0" fmla="*/ 27993 h 32786"/>
                <a:gd name="csX1" fmla="*/ -7093 w 13002"/>
                <a:gd name="csY1" fmla="*/ 27993 h 32786"/>
                <a:gd name="csX2" fmla="*/ -7093 w 13002"/>
                <a:gd name="csY2" fmla="*/ -4793 h 32786"/>
                <a:gd name="csX3" fmla="*/ 5910 w 13002"/>
                <a:gd name="csY3" fmla="*/ -4793 h 32786"/>
                <a:gd name="csX4" fmla="*/ 5910 w 13002"/>
                <a:gd name="csY4" fmla="*/ 27993 h 32786"/>
              </a:gdLst>
              <a:ahLst/>
              <a:cxnLst>
                <a:cxn ang="0">
                  <a:pos x="csX0" y="csY0"/>
                </a:cxn>
                <a:cxn ang="0">
                  <a:pos x="csX1" y="csY1"/>
                </a:cxn>
                <a:cxn ang="0">
                  <a:pos x="csX2" y="csY2"/>
                </a:cxn>
                <a:cxn ang="0">
                  <a:pos x="csX3" y="csY3"/>
                </a:cxn>
                <a:cxn ang="0">
                  <a:pos x="csX4" y="csY4"/>
                </a:cxn>
              </a:cxnLst>
              <a:rect l="l" t="t" r="r" b="b"/>
              <a:pathLst>
                <a:path w="13002" h="32786">
                  <a:moveTo>
                    <a:pt x="5910" y="27993"/>
                  </a:moveTo>
                  <a:lnTo>
                    <a:pt x="-7093" y="27993"/>
                  </a:lnTo>
                  <a:lnTo>
                    <a:pt x="-7093" y="-4793"/>
                  </a:lnTo>
                  <a:lnTo>
                    <a:pt x="5910" y="-4793"/>
                  </a:lnTo>
                  <a:lnTo>
                    <a:pt x="5910" y="27993"/>
                  </a:lnTo>
                </a:path>
              </a:pathLst>
            </a:custGeom>
            <a:grpFill/>
            <a:ln w="548" cap="flat">
              <a:noFill/>
              <a:prstDash val="solid"/>
              <a:miter/>
            </a:ln>
          </p:spPr>
          <p:txBody>
            <a:bodyPr/>
            <a:lstStyle/>
            <a:p>
              <a:endParaRPr lang="en-US"/>
            </a:p>
          </p:txBody>
        </p:sp>
        <p:sp>
          <p:nvSpPr>
            <p:cNvPr id="499" name="Freeform: Shape 498">
              <a:extLst>
                <a:ext uri="{FF2B5EF4-FFF2-40B4-BE49-F238E27FC236}">
                  <a16:creationId xmlns:a16="http://schemas.microsoft.com/office/drawing/2014/main" id="{3E0CF49C-978D-5EF3-0C8B-6708D04E06CD}"/>
                </a:ext>
              </a:extLst>
            </p:cNvPr>
            <p:cNvSpPr/>
            <p:nvPr/>
          </p:nvSpPr>
          <p:spPr>
            <a:xfrm flipV="1">
              <a:off x="22776586" y="4573178"/>
              <a:ext cx="13002" cy="32786"/>
            </a:xfrm>
            <a:custGeom>
              <a:avLst/>
              <a:gdLst>
                <a:gd name="csX0" fmla="*/ -7074 w 13002"/>
                <a:gd name="csY0" fmla="*/ -4793 h 32786"/>
                <a:gd name="csX1" fmla="*/ 5929 w 13002"/>
                <a:gd name="csY1" fmla="*/ -4793 h 32786"/>
                <a:gd name="csX2" fmla="*/ 5929 w 13002"/>
                <a:gd name="csY2" fmla="*/ 27993 h 32786"/>
                <a:gd name="csX3" fmla="*/ -7074 w 13002"/>
                <a:gd name="csY3" fmla="*/ 27993 h 32786"/>
                <a:gd name="csX4" fmla="*/ -7074 w 13002"/>
                <a:gd name="csY4" fmla="*/ -4793 h 32786"/>
              </a:gdLst>
              <a:ahLst/>
              <a:cxnLst>
                <a:cxn ang="0">
                  <a:pos x="csX0" y="csY0"/>
                </a:cxn>
                <a:cxn ang="0">
                  <a:pos x="csX1" y="csY1"/>
                </a:cxn>
                <a:cxn ang="0">
                  <a:pos x="csX2" y="csY2"/>
                </a:cxn>
                <a:cxn ang="0">
                  <a:pos x="csX3" y="csY3"/>
                </a:cxn>
                <a:cxn ang="0">
                  <a:pos x="csX4" y="csY4"/>
                </a:cxn>
              </a:cxnLst>
              <a:rect l="l" t="t" r="r" b="b"/>
              <a:pathLst>
                <a:path w="13002" h="32786">
                  <a:moveTo>
                    <a:pt x="-7074" y="-4793"/>
                  </a:moveTo>
                  <a:lnTo>
                    <a:pt x="5929" y="-4793"/>
                  </a:lnTo>
                  <a:lnTo>
                    <a:pt x="5929" y="27993"/>
                  </a:lnTo>
                  <a:lnTo>
                    <a:pt x="-7074" y="27993"/>
                  </a:lnTo>
                  <a:lnTo>
                    <a:pt x="-7074" y="-4793"/>
                  </a:lnTo>
                </a:path>
              </a:pathLst>
            </a:custGeom>
            <a:grpFill/>
            <a:ln w="548" cap="flat">
              <a:noFill/>
              <a:prstDash val="solid"/>
              <a:miter/>
            </a:ln>
          </p:spPr>
          <p:txBody>
            <a:bodyPr/>
            <a:lstStyle/>
            <a:p>
              <a:endParaRPr lang="en-US"/>
            </a:p>
          </p:txBody>
        </p:sp>
        <p:sp>
          <p:nvSpPr>
            <p:cNvPr id="500" name="Freeform: Shape 499">
              <a:extLst>
                <a:ext uri="{FF2B5EF4-FFF2-40B4-BE49-F238E27FC236}">
                  <a16:creationId xmlns:a16="http://schemas.microsoft.com/office/drawing/2014/main" id="{5AF6DAE3-056E-A43E-6859-B4EAEA0CAEC4}"/>
                </a:ext>
              </a:extLst>
            </p:cNvPr>
            <p:cNvSpPr/>
            <p:nvPr/>
          </p:nvSpPr>
          <p:spPr>
            <a:xfrm flipV="1">
              <a:off x="22791839" y="4554113"/>
              <a:ext cx="13002" cy="16777"/>
            </a:xfrm>
            <a:custGeom>
              <a:avLst/>
              <a:gdLst>
                <a:gd name="csX0" fmla="*/ 5910 w 13002"/>
                <a:gd name="csY0" fmla="*/ 11919 h 16777"/>
                <a:gd name="csX1" fmla="*/ -7093 w 13002"/>
                <a:gd name="csY1" fmla="*/ 11919 h 16777"/>
                <a:gd name="csX2" fmla="*/ -7093 w 13002"/>
                <a:gd name="csY2" fmla="*/ -4858 h 16777"/>
                <a:gd name="csX3" fmla="*/ 5910 w 13002"/>
                <a:gd name="csY3" fmla="*/ -4858 h 16777"/>
                <a:gd name="csX4" fmla="*/ 5910 w 13002"/>
                <a:gd name="csY4" fmla="*/ 11919 h 16777"/>
              </a:gdLst>
              <a:ahLst/>
              <a:cxnLst>
                <a:cxn ang="0">
                  <a:pos x="csX0" y="csY0"/>
                </a:cxn>
                <a:cxn ang="0">
                  <a:pos x="csX1" y="csY1"/>
                </a:cxn>
                <a:cxn ang="0">
                  <a:pos x="csX2" y="csY2"/>
                </a:cxn>
                <a:cxn ang="0">
                  <a:pos x="csX3" y="csY3"/>
                </a:cxn>
                <a:cxn ang="0">
                  <a:pos x="csX4" y="csY4"/>
                </a:cxn>
              </a:cxnLst>
              <a:rect l="l" t="t" r="r" b="b"/>
              <a:pathLst>
                <a:path w="13002" h="16777">
                  <a:moveTo>
                    <a:pt x="5910" y="11919"/>
                  </a:moveTo>
                  <a:lnTo>
                    <a:pt x="-7093" y="11919"/>
                  </a:lnTo>
                  <a:lnTo>
                    <a:pt x="-7093" y="-4858"/>
                  </a:lnTo>
                  <a:lnTo>
                    <a:pt x="5910" y="-4858"/>
                  </a:lnTo>
                  <a:lnTo>
                    <a:pt x="5910" y="11919"/>
                  </a:lnTo>
                </a:path>
              </a:pathLst>
            </a:custGeom>
            <a:grpFill/>
            <a:ln w="548" cap="flat">
              <a:noFill/>
              <a:prstDash val="solid"/>
              <a:miter/>
            </a:ln>
          </p:spPr>
          <p:txBody>
            <a:bodyPr/>
            <a:lstStyle/>
            <a:p>
              <a:endParaRPr lang="en-US"/>
            </a:p>
          </p:txBody>
        </p:sp>
        <p:sp>
          <p:nvSpPr>
            <p:cNvPr id="501" name="Freeform: Shape 500">
              <a:extLst>
                <a:ext uri="{FF2B5EF4-FFF2-40B4-BE49-F238E27FC236}">
                  <a16:creationId xmlns:a16="http://schemas.microsoft.com/office/drawing/2014/main" id="{2A3CEC4C-A431-4A3A-B6C8-CF515BE48D97}"/>
                </a:ext>
              </a:extLst>
            </p:cNvPr>
            <p:cNvSpPr/>
            <p:nvPr/>
          </p:nvSpPr>
          <p:spPr>
            <a:xfrm flipV="1">
              <a:off x="22791839" y="4608252"/>
              <a:ext cx="13002" cy="17035"/>
            </a:xfrm>
            <a:custGeom>
              <a:avLst/>
              <a:gdLst>
                <a:gd name="csX0" fmla="*/ 5910 w 13002"/>
                <a:gd name="csY0" fmla="*/ 12308 h 17035"/>
                <a:gd name="csX1" fmla="*/ -7093 w 13002"/>
                <a:gd name="csY1" fmla="*/ 12308 h 17035"/>
                <a:gd name="csX2" fmla="*/ -7093 w 13002"/>
                <a:gd name="csY2" fmla="*/ -4728 h 17035"/>
                <a:gd name="csX3" fmla="*/ 5910 w 13002"/>
                <a:gd name="csY3" fmla="*/ -4728 h 17035"/>
                <a:gd name="csX4" fmla="*/ 5910 w 13002"/>
                <a:gd name="csY4" fmla="*/ 12308 h 17035"/>
              </a:gdLst>
              <a:ahLst/>
              <a:cxnLst>
                <a:cxn ang="0">
                  <a:pos x="csX0" y="csY0"/>
                </a:cxn>
                <a:cxn ang="0">
                  <a:pos x="csX1" y="csY1"/>
                </a:cxn>
                <a:cxn ang="0">
                  <a:pos x="csX2" y="csY2"/>
                </a:cxn>
                <a:cxn ang="0">
                  <a:pos x="csX3" y="csY3"/>
                </a:cxn>
                <a:cxn ang="0">
                  <a:pos x="csX4" y="csY4"/>
                </a:cxn>
              </a:cxnLst>
              <a:rect l="l" t="t" r="r" b="b"/>
              <a:pathLst>
                <a:path w="13002" h="17035">
                  <a:moveTo>
                    <a:pt x="5910" y="12308"/>
                  </a:moveTo>
                  <a:lnTo>
                    <a:pt x="-7093" y="12308"/>
                  </a:lnTo>
                  <a:lnTo>
                    <a:pt x="-7093" y="-4728"/>
                  </a:lnTo>
                  <a:lnTo>
                    <a:pt x="5910" y="-4728"/>
                  </a:lnTo>
                  <a:lnTo>
                    <a:pt x="5910" y="12308"/>
                  </a:lnTo>
                </a:path>
              </a:pathLst>
            </a:custGeom>
            <a:grpFill/>
            <a:ln w="548" cap="flat">
              <a:noFill/>
              <a:prstDash val="solid"/>
              <a:miter/>
            </a:ln>
          </p:spPr>
          <p:txBody>
            <a:bodyPr/>
            <a:lstStyle/>
            <a:p>
              <a:endParaRPr lang="en-US"/>
            </a:p>
          </p:txBody>
        </p:sp>
        <p:sp>
          <p:nvSpPr>
            <p:cNvPr id="502" name="Freeform: Shape 501">
              <a:extLst>
                <a:ext uri="{FF2B5EF4-FFF2-40B4-BE49-F238E27FC236}">
                  <a16:creationId xmlns:a16="http://schemas.microsoft.com/office/drawing/2014/main" id="{D3A98189-9CCE-17C1-C6D4-EE0EC32F8DE5}"/>
                </a:ext>
              </a:extLst>
            </p:cNvPr>
            <p:cNvSpPr/>
            <p:nvPr/>
          </p:nvSpPr>
          <p:spPr>
            <a:xfrm flipV="1">
              <a:off x="22776586" y="4554113"/>
              <a:ext cx="13002" cy="16777"/>
            </a:xfrm>
            <a:custGeom>
              <a:avLst/>
              <a:gdLst>
                <a:gd name="csX0" fmla="*/ -7074 w 13002"/>
                <a:gd name="csY0" fmla="*/ -4858 h 16777"/>
                <a:gd name="csX1" fmla="*/ 5929 w 13002"/>
                <a:gd name="csY1" fmla="*/ -4858 h 16777"/>
                <a:gd name="csX2" fmla="*/ 5929 w 13002"/>
                <a:gd name="csY2" fmla="*/ 11919 h 16777"/>
                <a:gd name="csX3" fmla="*/ -7074 w 13002"/>
                <a:gd name="csY3" fmla="*/ 11919 h 16777"/>
                <a:gd name="csX4" fmla="*/ -7074 w 13002"/>
                <a:gd name="csY4" fmla="*/ -4858 h 16777"/>
              </a:gdLst>
              <a:ahLst/>
              <a:cxnLst>
                <a:cxn ang="0">
                  <a:pos x="csX0" y="csY0"/>
                </a:cxn>
                <a:cxn ang="0">
                  <a:pos x="csX1" y="csY1"/>
                </a:cxn>
                <a:cxn ang="0">
                  <a:pos x="csX2" y="csY2"/>
                </a:cxn>
                <a:cxn ang="0">
                  <a:pos x="csX3" y="csY3"/>
                </a:cxn>
                <a:cxn ang="0">
                  <a:pos x="csX4" y="csY4"/>
                </a:cxn>
              </a:cxnLst>
              <a:rect l="l" t="t" r="r" b="b"/>
              <a:pathLst>
                <a:path w="13002" h="16777">
                  <a:moveTo>
                    <a:pt x="-7074" y="-4858"/>
                  </a:moveTo>
                  <a:lnTo>
                    <a:pt x="5929" y="-4858"/>
                  </a:lnTo>
                  <a:lnTo>
                    <a:pt x="5929" y="11919"/>
                  </a:lnTo>
                  <a:lnTo>
                    <a:pt x="-7074" y="11919"/>
                  </a:lnTo>
                  <a:lnTo>
                    <a:pt x="-7074" y="-4858"/>
                  </a:lnTo>
                </a:path>
              </a:pathLst>
            </a:custGeom>
            <a:grpFill/>
            <a:ln w="548" cap="flat">
              <a:noFill/>
              <a:prstDash val="solid"/>
              <a:miter/>
            </a:ln>
          </p:spPr>
          <p:txBody>
            <a:bodyPr/>
            <a:lstStyle/>
            <a:p>
              <a:endParaRPr lang="en-US"/>
            </a:p>
          </p:txBody>
        </p:sp>
        <p:sp>
          <p:nvSpPr>
            <p:cNvPr id="503" name="Freeform: Shape 502">
              <a:extLst>
                <a:ext uri="{FF2B5EF4-FFF2-40B4-BE49-F238E27FC236}">
                  <a16:creationId xmlns:a16="http://schemas.microsoft.com/office/drawing/2014/main" id="{FA43E74A-42D2-DD13-4C3E-37EE0B7B3068}"/>
                </a:ext>
              </a:extLst>
            </p:cNvPr>
            <p:cNvSpPr/>
            <p:nvPr/>
          </p:nvSpPr>
          <p:spPr>
            <a:xfrm flipV="1">
              <a:off x="22776586" y="4608252"/>
              <a:ext cx="13002" cy="17035"/>
            </a:xfrm>
            <a:custGeom>
              <a:avLst/>
              <a:gdLst>
                <a:gd name="csX0" fmla="*/ -7074 w 13002"/>
                <a:gd name="csY0" fmla="*/ -4728 h 17035"/>
                <a:gd name="csX1" fmla="*/ 5929 w 13002"/>
                <a:gd name="csY1" fmla="*/ -4728 h 17035"/>
                <a:gd name="csX2" fmla="*/ 5929 w 13002"/>
                <a:gd name="csY2" fmla="*/ 12308 h 17035"/>
                <a:gd name="csX3" fmla="*/ -7074 w 13002"/>
                <a:gd name="csY3" fmla="*/ 12308 h 17035"/>
                <a:gd name="csX4" fmla="*/ -7074 w 13002"/>
                <a:gd name="csY4" fmla="*/ -4728 h 17035"/>
              </a:gdLst>
              <a:ahLst/>
              <a:cxnLst>
                <a:cxn ang="0">
                  <a:pos x="csX0" y="csY0"/>
                </a:cxn>
                <a:cxn ang="0">
                  <a:pos x="csX1" y="csY1"/>
                </a:cxn>
                <a:cxn ang="0">
                  <a:pos x="csX2" y="csY2"/>
                </a:cxn>
                <a:cxn ang="0">
                  <a:pos x="csX3" y="csY3"/>
                </a:cxn>
                <a:cxn ang="0">
                  <a:pos x="csX4" y="csY4"/>
                </a:cxn>
              </a:cxnLst>
              <a:rect l="l" t="t" r="r" b="b"/>
              <a:pathLst>
                <a:path w="13002" h="17035">
                  <a:moveTo>
                    <a:pt x="-7074" y="-4728"/>
                  </a:moveTo>
                  <a:lnTo>
                    <a:pt x="5929" y="-4728"/>
                  </a:lnTo>
                  <a:lnTo>
                    <a:pt x="5929" y="12308"/>
                  </a:lnTo>
                  <a:lnTo>
                    <a:pt x="-7074" y="12308"/>
                  </a:lnTo>
                  <a:lnTo>
                    <a:pt x="-7074" y="-4728"/>
                  </a:lnTo>
                </a:path>
              </a:pathLst>
            </a:custGeom>
            <a:grpFill/>
            <a:ln w="548" cap="flat">
              <a:noFill/>
              <a:prstDash val="solid"/>
              <a:miter/>
            </a:ln>
          </p:spPr>
          <p:txBody>
            <a:bodyPr/>
            <a:lstStyle/>
            <a:p>
              <a:endParaRPr lang="en-US"/>
            </a:p>
          </p:txBody>
        </p:sp>
        <p:sp>
          <p:nvSpPr>
            <p:cNvPr id="504" name="Freeform: Shape 503">
              <a:extLst>
                <a:ext uri="{FF2B5EF4-FFF2-40B4-BE49-F238E27FC236}">
                  <a16:creationId xmlns:a16="http://schemas.microsoft.com/office/drawing/2014/main" id="{50DF8FD8-E1DD-4A7D-9E2E-5FCC86FF42D9}"/>
                </a:ext>
              </a:extLst>
            </p:cNvPr>
            <p:cNvSpPr/>
            <p:nvPr/>
          </p:nvSpPr>
          <p:spPr>
            <a:xfrm flipV="1">
              <a:off x="21441800" y="4428496"/>
              <a:ext cx="1475293" cy="495114"/>
            </a:xfrm>
            <a:custGeom>
              <a:avLst/>
              <a:gdLst>
                <a:gd name="csX0" fmla="*/ 902250 w 1475293"/>
                <a:gd name="csY0" fmla="*/ 490530 h 495114"/>
                <a:gd name="csX1" fmla="*/ 902250 w 1475293"/>
                <a:gd name="csY1" fmla="*/ 460524 h 495114"/>
                <a:gd name="csX2" fmla="*/ 914040 w 1475293"/>
                <a:gd name="csY2" fmla="*/ 460524 h 495114"/>
                <a:gd name="csX3" fmla="*/ 914040 w 1475293"/>
                <a:gd name="csY3" fmla="*/ 435397 h 495114"/>
                <a:gd name="csX4" fmla="*/ 919280 w 1475293"/>
                <a:gd name="csY4" fmla="*/ 435397 h 495114"/>
                <a:gd name="csX5" fmla="*/ 919280 w 1475293"/>
                <a:gd name="csY5" fmla="*/ 85644 h 495114"/>
                <a:gd name="csX6" fmla="*/ 910117 w 1475293"/>
                <a:gd name="csY6" fmla="*/ 85644 h 495114"/>
                <a:gd name="csX7" fmla="*/ 910117 w 1475293"/>
                <a:gd name="csY7" fmla="*/ 49099 h 495114"/>
                <a:gd name="csX8" fmla="*/ 902250 w 1475293"/>
                <a:gd name="csY8" fmla="*/ 49099 h 495114"/>
                <a:gd name="csX9" fmla="*/ 902250 w 1475293"/>
                <a:gd name="csY9" fmla="*/ 384867 h 495114"/>
                <a:gd name="csX10" fmla="*/ -6325 w 1475293"/>
                <a:gd name="csY10" fmla="*/ 384867 h 495114"/>
                <a:gd name="csX11" fmla="*/ -6325 w 1475293"/>
                <a:gd name="csY11" fmla="*/ -4585 h 495114"/>
                <a:gd name="csX12" fmla="*/ 902250 w 1475293"/>
                <a:gd name="csY12" fmla="*/ -4585 h 495114"/>
                <a:gd name="csX13" fmla="*/ 1085249 w 1475293"/>
                <a:gd name="csY13" fmla="*/ -4585 h 495114"/>
                <a:gd name="csX14" fmla="*/ 1100221 w 1475293"/>
                <a:gd name="csY14" fmla="*/ -4585 h 495114"/>
                <a:gd name="csX15" fmla="*/ 1115314 w 1475293"/>
                <a:gd name="csY15" fmla="*/ -4585 h 495114"/>
                <a:gd name="csX16" fmla="*/ 1144996 w 1475293"/>
                <a:gd name="csY16" fmla="*/ -4585 h 495114"/>
                <a:gd name="csX17" fmla="*/ 1226249 w 1475293"/>
                <a:gd name="csY17" fmla="*/ -4585 h 495114"/>
                <a:gd name="csX18" fmla="*/ 1255327 w 1475293"/>
                <a:gd name="csY18" fmla="*/ -4585 h 495114"/>
                <a:gd name="csX19" fmla="*/ 1270415 w 1475293"/>
                <a:gd name="csY19" fmla="*/ -4585 h 495114"/>
                <a:gd name="csX20" fmla="*/ 1329119 w 1475293"/>
                <a:gd name="csY20" fmla="*/ -4585 h 495114"/>
                <a:gd name="csX21" fmla="*/ 1468364 w 1475293"/>
                <a:gd name="csY21" fmla="*/ -4585 h 495114"/>
                <a:gd name="csX22" fmla="*/ 1468364 w 1475293"/>
                <a:gd name="csY22" fmla="*/ 49099 h 495114"/>
                <a:gd name="csX23" fmla="*/ 1460518 w 1475293"/>
                <a:gd name="csY23" fmla="*/ 49099 h 495114"/>
                <a:gd name="csX24" fmla="*/ 1460518 w 1475293"/>
                <a:gd name="csY24" fmla="*/ 85644 h 495114"/>
                <a:gd name="csX25" fmla="*/ 1451356 w 1475293"/>
                <a:gd name="csY25" fmla="*/ 85644 h 495114"/>
                <a:gd name="csX26" fmla="*/ 1451356 w 1475293"/>
                <a:gd name="csY26" fmla="*/ 435397 h 495114"/>
                <a:gd name="csX27" fmla="*/ 1456623 w 1475293"/>
                <a:gd name="csY27" fmla="*/ 435397 h 495114"/>
                <a:gd name="csX28" fmla="*/ 1456623 w 1475293"/>
                <a:gd name="csY28" fmla="*/ 460524 h 495114"/>
                <a:gd name="csX29" fmla="*/ 1468968 w 1475293"/>
                <a:gd name="csY29" fmla="*/ 460524 h 495114"/>
                <a:gd name="csX30" fmla="*/ 1468968 w 1475293"/>
                <a:gd name="csY30" fmla="*/ 490530 h 495114"/>
                <a:gd name="csX31" fmla="*/ 806073 w 1475293"/>
                <a:gd name="csY31" fmla="*/ 310482 h 495114"/>
                <a:gd name="csX32" fmla="*/ 830839 w 1475293"/>
                <a:gd name="csY32" fmla="*/ 310482 h 495114"/>
                <a:gd name="csX33" fmla="*/ 830839 w 1475293"/>
                <a:gd name="csY33" fmla="*/ 276258 h 495114"/>
                <a:gd name="csX34" fmla="*/ 806073 w 1475293"/>
                <a:gd name="csY34" fmla="*/ 276258 h 495114"/>
                <a:gd name="csX35" fmla="*/ 833121 w 1475293"/>
                <a:gd name="csY35" fmla="*/ 310482 h 495114"/>
                <a:gd name="csX36" fmla="*/ 857887 w 1475293"/>
                <a:gd name="csY36" fmla="*/ 310482 h 495114"/>
                <a:gd name="csX37" fmla="*/ 857887 w 1475293"/>
                <a:gd name="csY37" fmla="*/ 276258 h 495114"/>
                <a:gd name="csX38" fmla="*/ 833121 w 1475293"/>
                <a:gd name="csY38" fmla="*/ 276258 h 495114"/>
                <a:gd name="csX39" fmla="*/ 857887 w 1475293"/>
                <a:gd name="csY39" fmla="*/ 346989 h 495114"/>
                <a:gd name="csX40" fmla="*/ 857887 w 1475293"/>
                <a:gd name="csY40" fmla="*/ 312765 h 495114"/>
                <a:gd name="csX41" fmla="*/ 833121 w 1475293"/>
                <a:gd name="csY41" fmla="*/ 312765 h 495114"/>
                <a:gd name="csX42" fmla="*/ 833121 w 1475293"/>
                <a:gd name="csY42" fmla="*/ 346989 h 495114"/>
                <a:gd name="csX43" fmla="*/ 806073 w 1475293"/>
                <a:gd name="csY43" fmla="*/ 346989 h 495114"/>
                <a:gd name="csX44" fmla="*/ 830839 w 1475293"/>
                <a:gd name="csY44" fmla="*/ 346989 h 495114"/>
                <a:gd name="csX45" fmla="*/ 830839 w 1475293"/>
                <a:gd name="csY45" fmla="*/ 312765 h 495114"/>
                <a:gd name="csX46" fmla="*/ 806073 w 1475293"/>
                <a:gd name="csY46" fmla="*/ 312765 h 495114"/>
                <a:gd name="csX47" fmla="*/ 803456 w 1475293"/>
                <a:gd name="csY47" fmla="*/ 154691 h 495114"/>
                <a:gd name="csX48" fmla="*/ 831980 w 1475293"/>
                <a:gd name="csY48" fmla="*/ 183209 h 495114"/>
                <a:gd name="csX49" fmla="*/ 860498 w 1475293"/>
                <a:gd name="csY49" fmla="*/ 154691 h 495114"/>
                <a:gd name="csX50" fmla="*/ 860498 w 1475293"/>
                <a:gd name="csY50" fmla="*/ 147459 h 495114"/>
                <a:gd name="csX51" fmla="*/ 803456 w 1475293"/>
                <a:gd name="csY51" fmla="*/ 147459 h 495114"/>
                <a:gd name="csX52" fmla="*/ 614055 w 1475293"/>
                <a:gd name="csY52" fmla="*/ 310482 h 495114"/>
                <a:gd name="csX53" fmla="*/ 638820 w 1475293"/>
                <a:gd name="csY53" fmla="*/ 310482 h 495114"/>
                <a:gd name="csX54" fmla="*/ 638820 w 1475293"/>
                <a:gd name="csY54" fmla="*/ 276258 h 495114"/>
                <a:gd name="csX55" fmla="*/ 614055 w 1475293"/>
                <a:gd name="csY55" fmla="*/ 276258 h 495114"/>
                <a:gd name="csX56" fmla="*/ 641102 w 1475293"/>
                <a:gd name="csY56" fmla="*/ 310482 h 495114"/>
                <a:gd name="csX57" fmla="*/ 665868 w 1475293"/>
                <a:gd name="csY57" fmla="*/ 310482 h 495114"/>
                <a:gd name="csX58" fmla="*/ 665868 w 1475293"/>
                <a:gd name="csY58" fmla="*/ 276258 h 495114"/>
                <a:gd name="csX59" fmla="*/ 641102 w 1475293"/>
                <a:gd name="csY59" fmla="*/ 276258 h 495114"/>
                <a:gd name="csX60" fmla="*/ 665868 w 1475293"/>
                <a:gd name="csY60" fmla="*/ 346989 h 495114"/>
                <a:gd name="csX61" fmla="*/ 665868 w 1475293"/>
                <a:gd name="csY61" fmla="*/ 312765 h 495114"/>
                <a:gd name="csX62" fmla="*/ 641102 w 1475293"/>
                <a:gd name="csY62" fmla="*/ 312765 h 495114"/>
                <a:gd name="csX63" fmla="*/ 641102 w 1475293"/>
                <a:gd name="csY63" fmla="*/ 346989 h 495114"/>
                <a:gd name="csX64" fmla="*/ 614055 w 1475293"/>
                <a:gd name="csY64" fmla="*/ 346989 h 495114"/>
                <a:gd name="csX65" fmla="*/ 638820 w 1475293"/>
                <a:gd name="csY65" fmla="*/ 346989 h 495114"/>
                <a:gd name="csX66" fmla="*/ 638820 w 1475293"/>
                <a:gd name="csY66" fmla="*/ 312765 h 495114"/>
                <a:gd name="csX67" fmla="*/ 614055 w 1475293"/>
                <a:gd name="csY67" fmla="*/ 312765 h 495114"/>
                <a:gd name="csX68" fmla="*/ 611443 w 1475293"/>
                <a:gd name="csY68" fmla="*/ 154691 h 495114"/>
                <a:gd name="csX69" fmla="*/ 639961 w 1475293"/>
                <a:gd name="csY69" fmla="*/ 183209 h 495114"/>
                <a:gd name="csX70" fmla="*/ 668480 w 1475293"/>
                <a:gd name="csY70" fmla="*/ 154691 h 495114"/>
                <a:gd name="csX71" fmla="*/ 668480 w 1475293"/>
                <a:gd name="csY71" fmla="*/ 147459 h 495114"/>
                <a:gd name="csX72" fmla="*/ 611443 w 1475293"/>
                <a:gd name="csY72" fmla="*/ 147459 h 495114"/>
                <a:gd name="csX73" fmla="*/ 229941 w 1475293"/>
                <a:gd name="csY73" fmla="*/ 310482 h 495114"/>
                <a:gd name="csX74" fmla="*/ 254707 w 1475293"/>
                <a:gd name="csY74" fmla="*/ 310482 h 495114"/>
                <a:gd name="csX75" fmla="*/ 254707 w 1475293"/>
                <a:gd name="csY75" fmla="*/ 276258 h 495114"/>
                <a:gd name="csX76" fmla="*/ 229941 w 1475293"/>
                <a:gd name="csY76" fmla="*/ 276258 h 495114"/>
                <a:gd name="csX77" fmla="*/ 256994 w 1475293"/>
                <a:gd name="csY77" fmla="*/ 310482 h 495114"/>
                <a:gd name="csX78" fmla="*/ 281760 w 1475293"/>
                <a:gd name="csY78" fmla="*/ 310482 h 495114"/>
                <a:gd name="csX79" fmla="*/ 281760 w 1475293"/>
                <a:gd name="csY79" fmla="*/ 276258 h 495114"/>
                <a:gd name="csX80" fmla="*/ 256994 w 1475293"/>
                <a:gd name="csY80" fmla="*/ 276258 h 495114"/>
                <a:gd name="csX81" fmla="*/ 281760 w 1475293"/>
                <a:gd name="csY81" fmla="*/ 346989 h 495114"/>
                <a:gd name="csX82" fmla="*/ 281760 w 1475293"/>
                <a:gd name="csY82" fmla="*/ 312765 h 495114"/>
                <a:gd name="csX83" fmla="*/ 256994 w 1475293"/>
                <a:gd name="csY83" fmla="*/ 312765 h 495114"/>
                <a:gd name="csX84" fmla="*/ 256994 w 1475293"/>
                <a:gd name="csY84" fmla="*/ 346989 h 495114"/>
                <a:gd name="csX85" fmla="*/ 229941 w 1475293"/>
                <a:gd name="csY85" fmla="*/ 346989 h 495114"/>
                <a:gd name="csX86" fmla="*/ 254707 w 1475293"/>
                <a:gd name="csY86" fmla="*/ 346989 h 495114"/>
                <a:gd name="csX87" fmla="*/ 254707 w 1475293"/>
                <a:gd name="csY87" fmla="*/ 312765 h 495114"/>
                <a:gd name="csX88" fmla="*/ 229941 w 1475293"/>
                <a:gd name="csY88" fmla="*/ 312765 h 495114"/>
                <a:gd name="csX89" fmla="*/ 227406 w 1475293"/>
                <a:gd name="csY89" fmla="*/ 154691 h 495114"/>
                <a:gd name="csX90" fmla="*/ 255924 w 1475293"/>
                <a:gd name="csY90" fmla="*/ 183209 h 495114"/>
                <a:gd name="csX91" fmla="*/ 284442 w 1475293"/>
                <a:gd name="csY91" fmla="*/ 154691 h 495114"/>
                <a:gd name="csX92" fmla="*/ 284442 w 1475293"/>
                <a:gd name="csY92" fmla="*/ 147459 h 495114"/>
                <a:gd name="csX93" fmla="*/ 227406 w 1475293"/>
                <a:gd name="csY93" fmla="*/ 147459 h 495114"/>
                <a:gd name="csX94" fmla="*/ 66194 w 1475293"/>
                <a:gd name="csY94" fmla="*/ 310482 h 495114"/>
                <a:gd name="csX95" fmla="*/ 89741 w 1475293"/>
                <a:gd name="csY95" fmla="*/ 310482 h 495114"/>
                <a:gd name="csX96" fmla="*/ 89741 w 1475293"/>
                <a:gd name="csY96" fmla="*/ 276258 h 495114"/>
                <a:gd name="csX97" fmla="*/ 66194 w 1475293"/>
                <a:gd name="csY97" fmla="*/ 276258 h 495114"/>
                <a:gd name="csX98" fmla="*/ 89741 w 1475293"/>
                <a:gd name="csY98" fmla="*/ 346989 h 495114"/>
                <a:gd name="csX99" fmla="*/ 89741 w 1475293"/>
                <a:gd name="csY99" fmla="*/ 312765 h 495114"/>
                <a:gd name="csX100" fmla="*/ 66194 w 1475293"/>
                <a:gd name="csY100" fmla="*/ 312765 h 495114"/>
                <a:gd name="csX101" fmla="*/ 66194 w 1475293"/>
                <a:gd name="csY101" fmla="*/ 346989 h 495114"/>
                <a:gd name="csX102" fmla="*/ 37928 w 1475293"/>
                <a:gd name="csY102" fmla="*/ 346989 h 495114"/>
                <a:gd name="csX103" fmla="*/ 63906 w 1475293"/>
                <a:gd name="csY103" fmla="*/ 346989 h 495114"/>
                <a:gd name="csX104" fmla="*/ 63906 w 1475293"/>
                <a:gd name="csY104" fmla="*/ 312765 h 495114"/>
                <a:gd name="csX105" fmla="*/ 39140 w 1475293"/>
                <a:gd name="csY105" fmla="*/ 312765 h 495114"/>
                <a:gd name="csX106" fmla="*/ 37999 w 1475293"/>
                <a:gd name="csY106" fmla="*/ 311624 h 495114"/>
                <a:gd name="csX107" fmla="*/ 39140 w 1475293"/>
                <a:gd name="csY107" fmla="*/ 310482 h 495114"/>
                <a:gd name="csX108" fmla="*/ 63906 w 1475293"/>
                <a:gd name="csY108" fmla="*/ 310482 h 495114"/>
                <a:gd name="csX109" fmla="*/ 63906 w 1475293"/>
                <a:gd name="csY109" fmla="*/ 276258 h 495114"/>
                <a:gd name="csX110" fmla="*/ 37928 w 1475293"/>
                <a:gd name="csY110" fmla="*/ 276258 h 495114"/>
                <a:gd name="csX111" fmla="*/ 35387 w 1475293"/>
                <a:gd name="csY111" fmla="*/ 154691 h 495114"/>
                <a:gd name="csX112" fmla="*/ 63906 w 1475293"/>
                <a:gd name="csY112" fmla="*/ 183209 h 495114"/>
                <a:gd name="csX113" fmla="*/ 92430 w 1475293"/>
                <a:gd name="csY113" fmla="*/ 154691 h 495114"/>
                <a:gd name="csX114" fmla="*/ 92430 w 1475293"/>
                <a:gd name="csY114" fmla="*/ 147459 h 495114"/>
                <a:gd name="csX115" fmla="*/ 35387 w 1475293"/>
                <a:gd name="csY115" fmla="*/ 147459 h 495114"/>
                <a:gd name="csX116" fmla="*/ 33357 w 1475293"/>
                <a:gd name="csY116" fmla="*/ 276258 h 495114"/>
                <a:gd name="csX117" fmla="*/ 7445 w 1475293"/>
                <a:gd name="csY117" fmla="*/ 276258 h 495114"/>
                <a:gd name="csX118" fmla="*/ 7445 w 1475293"/>
                <a:gd name="csY118" fmla="*/ 346989 h 495114"/>
                <a:gd name="csX119" fmla="*/ 33357 w 1475293"/>
                <a:gd name="csY119" fmla="*/ 346989 h 495114"/>
                <a:gd name="csX120" fmla="*/ 35387 w 1475293"/>
                <a:gd name="csY120" fmla="*/ 73207 h 495114"/>
                <a:gd name="csX121" fmla="*/ 35387 w 1475293"/>
                <a:gd name="csY121" fmla="*/ 145177 h 495114"/>
                <a:gd name="csX122" fmla="*/ 62765 w 1475293"/>
                <a:gd name="csY122" fmla="*/ 145177 h 495114"/>
                <a:gd name="csX123" fmla="*/ 62765 w 1475293"/>
                <a:gd name="csY123" fmla="*/ 73207 h 495114"/>
                <a:gd name="csX124" fmla="*/ 92430 w 1475293"/>
                <a:gd name="csY124" fmla="*/ 73207 h 495114"/>
                <a:gd name="csX125" fmla="*/ 65052 w 1475293"/>
                <a:gd name="csY125" fmla="*/ 73207 h 495114"/>
                <a:gd name="csX126" fmla="*/ 65052 w 1475293"/>
                <a:gd name="csY126" fmla="*/ 145177 h 495114"/>
                <a:gd name="csX127" fmla="*/ 92430 w 1475293"/>
                <a:gd name="csY127" fmla="*/ 145177 h 495114"/>
                <a:gd name="csX128" fmla="*/ 120224 w 1475293"/>
                <a:gd name="csY128" fmla="*/ 276258 h 495114"/>
                <a:gd name="csX129" fmla="*/ 94311 w 1475293"/>
                <a:gd name="csY129" fmla="*/ 276258 h 495114"/>
                <a:gd name="csX130" fmla="*/ 94311 w 1475293"/>
                <a:gd name="csY130" fmla="*/ 346989 h 495114"/>
                <a:gd name="csX131" fmla="*/ 120224 w 1475293"/>
                <a:gd name="csY131" fmla="*/ 346989 h 495114"/>
                <a:gd name="csX132" fmla="*/ 225370 w 1475293"/>
                <a:gd name="csY132" fmla="*/ 276258 h 495114"/>
                <a:gd name="csX133" fmla="*/ 199464 w 1475293"/>
                <a:gd name="csY133" fmla="*/ 276258 h 495114"/>
                <a:gd name="csX134" fmla="*/ 199464 w 1475293"/>
                <a:gd name="csY134" fmla="*/ 346989 h 495114"/>
                <a:gd name="csX135" fmla="*/ 225370 w 1475293"/>
                <a:gd name="csY135" fmla="*/ 346989 h 495114"/>
                <a:gd name="csX136" fmla="*/ 227406 w 1475293"/>
                <a:gd name="csY136" fmla="*/ 73207 h 495114"/>
                <a:gd name="csX137" fmla="*/ 227406 w 1475293"/>
                <a:gd name="csY137" fmla="*/ 145177 h 495114"/>
                <a:gd name="csX138" fmla="*/ 254783 w 1475293"/>
                <a:gd name="csY138" fmla="*/ 145177 h 495114"/>
                <a:gd name="csX139" fmla="*/ 254783 w 1475293"/>
                <a:gd name="csY139" fmla="*/ 73207 h 495114"/>
                <a:gd name="csX140" fmla="*/ 284442 w 1475293"/>
                <a:gd name="csY140" fmla="*/ 73207 h 495114"/>
                <a:gd name="csX141" fmla="*/ 257071 w 1475293"/>
                <a:gd name="csY141" fmla="*/ 73207 h 495114"/>
                <a:gd name="csX142" fmla="*/ 257071 w 1475293"/>
                <a:gd name="csY142" fmla="*/ 145177 h 495114"/>
                <a:gd name="csX143" fmla="*/ 284442 w 1475293"/>
                <a:gd name="csY143" fmla="*/ 145177 h 495114"/>
                <a:gd name="csX144" fmla="*/ 312237 w 1475293"/>
                <a:gd name="csY144" fmla="*/ 276258 h 495114"/>
                <a:gd name="csX145" fmla="*/ 286335 w 1475293"/>
                <a:gd name="csY145" fmla="*/ 276258 h 495114"/>
                <a:gd name="csX146" fmla="*/ 286335 w 1475293"/>
                <a:gd name="csY146" fmla="*/ 346989 h 495114"/>
                <a:gd name="csX147" fmla="*/ 312237 w 1475293"/>
                <a:gd name="csY147" fmla="*/ 346989 h 495114"/>
                <a:gd name="csX148" fmla="*/ 476461 w 1475293"/>
                <a:gd name="csY148" fmla="*/ 147459 h 495114"/>
                <a:gd name="csX149" fmla="*/ 419425 w 1475293"/>
                <a:gd name="csY149" fmla="*/ 147459 h 495114"/>
                <a:gd name="csX150" fmla="*/ 419425 w 1475293"/>
                <a:gd name="csY150" fmla="*/ 154691 h 495114"/>
                <a:gd name="csX151" fmla="*/ 447943 w 1475293"/>
                <a:gd name="csY151" fmla="*/ 183209 h 495114"/>
                <a:gd name="csX152" fmla="*/ 476461 w 1475293"/>
                <a:gd name="csY152" fmla="*/ 154691 h 495114"/>
                <a:gd name="csX153" fmla="*/ 419425 w 1475293"/>
                <a:gd name="csY153" fmla="*/ 73207 h 495114"/>
                <a:gd name="csX154" fmla="*/ 419425 w 1475293"/>
                <a:gd name="csY154" fmla="*/ 145177 h 495114"/>
                <a:gd name="csX155" fmla="*/ 446802 w 1475293"/>
                <a:gd name="csY155" fmla="*/ 145177 h 495114"/>
                <a:gd name="csX156" fmla="*/ 446802 w 1475293"/>
                <a:gd name="csY156" fmla="*/ 73207 h 495114"/>
                <a:gd name="csX157" fmla="*/ 476461 w 1475293"/>
                <a:gd name="csY157" fmla="*/ 73207 h 495114"/>
                <a:gd name="csX158" fmla="*/ 449084 w 1475293"/>
                <a:gd name="csY158" fmla="*/ 73207 h 495114"/>
                <a:gd name="csX159" fmla="*/ 449084 w 1475293"/>
                <a:gd name="csY159" fmla="*/ 145177 h 495114"/>
                <a:gd name="csX160" fmla="*/ 476461 w 1475293"/>
                <a:gd name="csY160" fmla="*/ 145177 h 495114"/>
                <a:gd name="csX161" fmla="*/ 526080 w 1475293"/>
                <a:gd name="csY161" fmla="*/ 222804 h 495114"/>
                <a:gd name="csX162" fmla="*/ 369805 w 1475293"/>
                <a:gd name="csY162" fmla="*/ 222804 h 495114"/>
                <a:gd name="csX163" fmla="*/ 369805 w 1475293"/>
                <a:gd name="csY163" fmla="*/ 369110 h 495114"/>
                <a:gd name="csX164" fmla="*/ 526080 w 1475293"/>
                <a:gd name="csY164" fmla="*/ 369110 h 495114"/>
                <a:gd name="csX165" fmla="*/ 609484 w 1475293"/>
                <a:gd name="csY165" fmla="*/ 276258 h 495114"/>
                <a:gd name="csX166" fmla="*/ 583572 w 1475293"/>
                <a:gd name="csY166" fmla="*/ 276258 h 495114"/>
                <a:gd name="csX167" fmla="*/ 583572 w 1475293"/>
                <a:gd name="csY167" fmla="*/ 346989 h 495114"/>
                <a:gd name="csX168" fmla="*/ 609484 w 1475293"/>
                <a:gd name="csY168" fmla="*/ 346989 h 495114"/>
                <a:gd name="csX169" fmla="*/ 611443 w 1475293"/>
                <a:gd name="csY169" fmla="*/ 73207 h 495114"/>
                <a:gd name="csX170" fmla="*/ 611443 w 1475293"/>
                <a:gd name="csY170" fmla="*/ 145177 h 495114"/>
                <a:gd name="csX171" fmla="*/ 638820 w 1475293"/>
                <a:gd name="csY171" fmla="*/ 145177 h 495114"/>
                <a:gd name="csX172" fmla="*/ 638820 w 1475293"/>
                <a:gd name="csY172" fmla="*/ 73207 h 495114"/>
                <a:gd name="csX173" fmla="*/ 668480 w 1475293"/>
                <a:gd name="csY173" fmla="*/ 73207 h 495114"/>
                <a:gd name="csX174" fmla="*/ 641102 w 1475293"/>
                <a:gd name="csY174" fmla="*/ 73207 h 495114"/>
                <a:gd name="csX175" fmla="*/ 641102 w 1475293"/>
                <a:gd name="csY175" fmla="*/ 145177 h 495114"/>
                <a:gd name="csX176" fmla="*/ 668480 w 1475293"/>
                <a:gd name="csY176" fmla="*/ 145177 h 495114"/>
                <a:gd name="csX177" fmla="*/ 696345 w 1475293"/>
                <a:gd name="csY177" fmla="*/ 276258 h 495114"/>
                <a:gd name="csX178" fmla="*/ 670439 w 1475293"/>
                <a:gd name="csY178" fmla="*/ 276258 h 495114"/>
                <a:gd name="csX179" fmla="*/ 670439 w 1475293"/>
                <a:gd name="csY179" fmla="*/ 346989 h 495114"/>
                <a:gd name="csX180" fmla="*/ 696345 w 1475293"/>
                <a:gd name="csY180" fmla="*/ 346989 h 495114"/>
                <a:gd name="csX181" fmla="*/ 801498 w 1475293"/>
                <a:gd name="csY181" fmla="*/ 276258 h 495114"/>
                <a:gd name="csX182" fmla="*/ 775591 w 1475293"/>
                <a:gd name="csY182" fmla="*/ 276258 h 495114"/>
                <a:gd name="csX183" fmla="*/ 775591 w 1475293"/>
                <a:gd name="csY183" fmla="*/ 346989 h 495114"/>
                <a:gd name="csX184" fmla="*/ 801498 w 1475293"/>
                <a:gd name="csY184" fmla="*/ 346989 h 495114"/>
                <a:gd name="csX185" fmla="*/ 803456 w 1475293"/>
                <a:gd name="csY185" fmla="*/ 73207 h 495114"/>
                <a:gd name="csX186" fmla="*/ 803456 w 1475293"/>
                <a:gd name="csY186" fmla="*/ 145177 h 495114"/>
                <a:gd name="csX187" fmla="*/ 830839 w 1475293"/>
                <a:gd name="csY187" fmla="*/ 145177 h 495114"/>
                <a:gd name="csX188" fmla="*/ 830839 w 1475293"/>
                <a:gd name="csY188" fmla="*/ 73207 h 495114"/>
                <a:gd name="csX189" fmla="*/ 860498 w 1475293"/>
                <a:gd name="csY189" fmla="*/ 73207 h 495114"/>
                <a:gd name="csX190" fmla="*/ 833121 w 1475293"/>
                <a:gd name="csY190" fmla="*/ 73207 h 495114"/>
                <a:gd name="csX191" fmla="*/ 833121 w 1475293"/>
                <a:gd name="csY191" fmla="*/ 145177 h 495114"/>
                <a:gd name="csX192" fmla="*/ 860498 w 1475293"/>
                <a:gd name="csY192" fmla="*/ 145177 h 495114"/>
                <a:gd name="csX193" fmla="*/ 888369 w 1475293"/>
                <a:gd name="csY193" fmla="*/ 276258 h 495114"/>
                <a:gd name="csX194" fmla="*/ 862457 w 1475293"/>
                <a:gd name="csY194" fmla="*/ 276258 h 495114"/>
                <a:gd name="csX195" fmla="*/ 862457 w 1475293"/>
                <a:gd name="csY195" fmla="*/ 346989 h 495114"/>
                <a:gd name="csX196" fmla="*/ 888369 w 1475293"/>
                <a:gd name="csY196" fmla="*/ 346989 h 495114"/>
                <a:gd name="csX197" fmla="*/ 948599 w 1475293"/>
                <a:gd name="csY197" fmla="*/ 435397 h 495114"/>
                <a:gd name="csX198" fmla="*/ 953839 w 1475293"/>
                <a:gd name="csY198" fmla="*/ 435397 h 495114"/>
                <a:gd name="csX199" fmla="*/ 953839 w 1475293"/>
                <a:gd name="csY199" fmla="*/ 460524 h 495114"/>
                <a:gd name="csX200" fmla="*/ 971033 w 1475293"/>
                <a:gd name="csY200" fmla="*/ 460524 h 495114"/>
                <a:gd name="csX201" fmla="*/ 971033 w 1475293"/>
                <a:gd name="csY201" fmla="*/ 435397 h 495114"/>
                <a:gd name="csX202" fmla="*/ 976267 w 1475293"/>
                <a:gd name="csY202" fmla="*/ 435397 h 495114"/>
                <a:gd name="csX203" fmla="*/ 976267 w 1475293"/>
                <a:gd name="csY203" fmla="*/ 85644 h 495114"/>
                <a:gd name="csX204" fmla="*/ 948599 w 1475293"/>
                <a:gd name="csY204" fmla="*/ 85644 h 495114"/>
                <a:gd name="csX205" fmla="*/ 1014957 w 1475293"/>
                <a:gd name="csY205" fmla="*/ 49099 h 495114"/>
                <a:gd name="csX206" fmla="*/ 1014957 w 1475293"/>
                <a:gd name="csY206" fmla="*/ 85644 h 495114"/>
                <a:gd name="csX207" fmla="*/ 1005592 w 1475293"/>
                <a:gd name="csY207" fmla="*/ 85644 h 495114"/>
                <a:gd name="csX208" fmla="*/ 1005592 w 1475293"/>
                <a:gd name="csY208" fmla="*/ 435397 h 495114"/>
                <a:gd name="csX209" fmla="*/ 1010826 w 1475293"/>
                <a:gd name="csY209" fmla="*/ 435397 h 495114"/>
                <a:gd name="csX210" fmla="*/ 1010826 w 1475293"/>
                <a:gd name="csY210" fmla="*/ 460524 h 495114"/>
                <a:gd name="csX211" fmla="*/ 1045456 w 1475293"/>
                <a:gd name="csY211" fmla="*/ 460524 h 495114"/>
                <a:gd name="csX212" fmla="*/ 1045456 w 1475293"/>
                <a:gd name="csY212" fmla="*/ 435397 h 495114"/>
                <a:gd name="csX213" fmla="*/ 1050690 w 1475293"/>
                <a:gd name="csY213" fmla="*/ 435397 h 495114"/>
                <a:gd name="csX214" fmla="*/ 1050690 w 1475293"/>
                <a:gd name="csY214" fmla="*/ 85644 h 495114"/>
                <a:gd name="csX215" fmla="*/ 1041528 w 1475293"/>
                <a:gd name="csY215" fmla="*/ 85644 h 495114"/>
                <a:gd name="csX216" fmla="*/ 1041528 w 1475293"/>
                <a:gd name="csY216" fmla="*/ 49099 h 495114"/>
                <a:gd name="csX217" fmla="*/ 1100221 w 1475293"/>
                <a:gd name="csY217" fmla="*/ 8028 h 495114"/>
                <a:gd name="csX218" fmla="*/ 1100221 w 1475293"/>
                <a:gd name="csY218" fmla="*/ 49099 h 495114"/>
                <a:gd name="csX219" fmla="*/ 1089177 w 1475293"/>
                <a:gd name="csY219" fmla="*/ 49099 h 495114"/>
                <a:gd name="csX220" fmla="*/ 1089177 w 1475293"/>
                <a:gd name="csY220" fmla="*/ 85644 h 495114"/>
                <a:gd name="csX221" fmla="*/ 1080014 w 1475293"/>
                <a:gd name="csY221" fmla="*/ 85644 h 495114"/>
                <a:gd name="csX222" fmla="*/ 1080014 w 1475293"/>
                <a:gd name="csY222" fmla="*/ 435397 h 495114"/>
                <a:gd name="csX223" fmla="*/ 1085249 w 1475293"/>
                <a:gd name="csY223" fmla="*/ 435397 h 495114"/>
                <a:gd name="csX224" fmla="*/ 1085249 w 1475293"/>
                <a:gd name="csY224" fmla="*/ 460524 h 495114"/>
                <a:gd name="csX225" fmla="*/ 1115314 w 1475293"/>
                <a:gd name="csY225" fmla="*/ 460524 h 495114"/>
                <a:gd name="csX226" fmla="*/ 1115314 w 1475293"/>
                <a:gd name="csY226" fmla="*/ 8028 h 495114"/>
                <a:gd name="csX227" fmla="*/ 1141265 w 1475293"/>
                <a:gd name="csY227" fmla="*/ 228653 h 495114"/>
                <a:gd name="csX228" fmla="*/ 1141265 w 1475293"/>
                <a:gd name="csY228" fmla="*/ 243718 h 495114"/>
                <a:gd name="csX229" fmla="*/ 1229376 w 1475293"/>
                <a:gd name="csY229" fmla="*/ 243718 h 495114"/>
                <a:gd name="csX230" fmla="*/ 1229376 w 1475293"/>
                <a:gd name="csY230" fmla="*/ 228653 h 495114"/>
                <a:gd name="csX231" fmla="*/ 1223287 w 1475293"/>
                <a:gd name="csY231" fmla="*/ 224077 h 495114"/>
                <a:gd name="csX232" fmla="*/ 1223287 w 1475293"/>
                <a:gd name="csY232" fmla="*/ 213746 h 495114"/>
                <a:gd name="csX233" fmla="*/ 1215002 w 1475293"/>
                <a:gd name="csY233" fmla="*/ 213746 h 495114"/>
                <a:gd name="csX234" fmla="*/ 1215002 w 1475293"/>
                <a:gd name="csY234" fmla="*/ 224077 h 495114"/>
                <a:gd name="csX235" fmla="*/ 1155639 w 1475293"/>
                <a:gd name="csY235" fmla="*/ 224077 h 495114"/>
                <a:gd name="csX236" fmla="*/ 1155639 w 1475293"/>
                <a:gd name="csY236" fmla="*/ 213746 h 495114"/>
                <a:gd name="csX237" fmla="*/ 1147355 w 1475293"/>
                <a:gd name="csY237" fmla="*/ 213746 h 495114"/>
                <a:gd name="csX238" fmla="*/ 1147355 w 1475293"/>
                <a:gd name="csY238" fmla="*/ 224077 h 495114"/>
                <a:gd name="csX239" fmla="*/ 1229376 w 1475293"/>
                <a:gd name="csY239" fmla="*/ 248289 h 495114"/>
                <a:gd name="csX240" fmla="*/ 1141265 w 1475293"/>
                <a:gd name="csY240" fmla="*/ 248289 h 495114"/>
                <a:gd name="csX241" fmla="*/ 1141265 w 1475293"/>
                <a:gd name="csY241" fmla="*/ 285009 h 495114"/>
                <a:gd name="csX242" fmla="*/ 1229376 w 1475293"/>
                <a:gd name="csY242" fmla="*/ 285009 h 495114"/>
                <a:gd name="csX243" fmla="*/ 1154761 w 1475293"/>
                <a:gd name="csY243" fmla="*/ 293738 h 495114"/>
                <a:gd name="csX244" fmla="*/ 1154761 w 1475293"/>
                <a:gd name="csY244" fmla="*/ 351148 h 495114"/>
                <a:gd name="csX245" fmla="*/ 1185595 w 1475293"/>
                <a:gd name="csY245" fmla="*/ 381981 h 495114"/>
                <a:gd name="csX246" fmla="*/ 1216429 w 1475293"/>
                <a:gd name="csY246" fmla="*/ 351148 h 495114"/>
                <a:gd name="csX247" fmla="*/ 1216429 w 1475293"/>
                <a:gd name="csY247" fmla="*/ 293738 h 495114"/>
                <a:gd name="csX248" fmla="*/ 1144996 w 1475293"/>
                <a:gd name="csY248" fmla="*/ 8028 h 495114"/>
                <a:gd name="csX249" fmla="*/ 1144996 w 1475293"/>
                <a:gd name="csY249" fmla="*/ 164380 h 495114"/>
                <a:gd name="csX250" fmla="*/ 1185595 w 1475293"/>
                <a:gd name="csY250" fmla="*/ 205028 h 495114"/>
                <a:gd name="csX251" fmla="*/ 1226249 w 1475293"/>
                <a:gd name="csY251" fmla="*/ 164380 h 495114"/>
                <a:gd name="csX252" fmla="*/ 1226249 w 1475293"/>
                <a:gd name="csY252" fmla="*/ 8028 h 495114"/>
                <a:gd name="csX253" fmla="*/ 1255327 w 1475293"/>
                <a:gd name="csY253" fmla="*/ 8028 h 495114"/>
                <a:gd name="csX254" fmla="*/ 1255327 w 1475293"/>
                <a:gd name="csY254" fmla="*/ 460524 h 495114"/>
                <a:gd name="csX255" fmla="*/ 1285392 w 1475293"/>
                <a:gd name="csY255" fmla="*/ 460524 h 495114"/>
                <a:gd name="csX256" fmla="*/ 1285392 w 1475293"/>
                <a:gd name="csY256" fmla="*/ 435397 h 495114"/>
                <a:gd name="csX257" fmla="*/ 1290604 w 1475293"/>
                <a:gd name="csY257" fmla="*/ 435397 h 495114"/>
                <a:gd name="csX258" fmla="*/ 1290604 w 1475293"/>
                <a:gd name="csY258" fmla="*/ 85644 h 495114"/>
                <a:gd name="csX259" fmla="*/ 1281443 w 1475293"/>
                <a:gd name="csY259" fmla="*/ 85644 h 495114"/>
                <a:gd name="csX260" fmla="*/ 1281443 w 1475293"/>
                <a:gd name="csY260" fmla="*/ 49099 h 495114"/>
                <a:gd name="csX261" fmla="*/ 1270415 w 1475293"/>
                <a:gd name="csY261" fmla="*/ 49099 h 495114"/>
                <a:gd name="csX262" fmla="*/ 1270415 w 1475293"/>
                <a:gd name="csY262" fmla="*/ 8028 h 495114"/>
                <a:gd name="csX263" fmla="*/ 1329119 w 1475293"/>
                <a:gd name="csY263" fmla="*/ 49099 h 495114"/>
                <a:gd name="csX264" fmla="*/ 1329119 w 1475293"/>
                <a:gd name="csY264" fmla="*/ 85644 h 495114"/>
                <a:gd name="csX265" fmla="*/ 1319957 w 1475293"/>
                <a:gd name="csY265" fmla="*/ 85644 h 495114"/>
                <a:gd name="csX266" fmla="*/ 1319957 w 1475293"/>
                <a:gd name="csY266" fmla="*/ 435397 h 495114"/>
                <a:gd name="csX267" fmla="*/ 1325169 w 1475293"/>
                <a:gd name="csY267" fmla="*/ 435397 h 495114"/>
                <a:gd name="csX268" fmla="*/ 1325169 w 1475293"/>
                <a:gd name="csY268" fmla="*/ 460524 h 495114"/>
                <a:gd name="csX269" fmla="*/ 1359788 w 1475293"/>
                <a:gd name="csY269" fmla="*/ 460524 h 495114"/>
                <a:gd name="csX270" fmla="*/ 1359788 w 1475293"/>
                <a:gd name="csY270" fmla="*/ 435397 h 495114"/>
                <a:gd name="csX271" fmla="*/ 1365055 w 1475293"/>
                <a:gd name="csY271" fmla="*/ 435397 h 495114"/>
                <a:gd name="csX272" fmla="*/ 1365055 w 1475293"/>
                <a:gd name="csY272" fmla="*/ 85644 h 495114"/>
                <a:gd name="csX273" fmla="*/ 1355673 w 1475293"/>
                <a:gd name="csY273" fmla="*/ 85644 h 495114"/>
                <a:gd name="csX274" fmla="*/ 1355673 w 1475293"/>
                <a:gd name="csY274" fmla="*/ 49099 h 495114"/>
                <a:gd name="csX275" fmla="*/ 1422059 w 1475293"/>
                <a:gd name="csY275" fmla="*/ 435397 h 495114"/>
                <a:gd name="csX276" fmla="*/ 1422059 w 1475293"/>
                <a:gd name="csY276" fmla="*/ 85644 h 495114"/>
                <a:gd name="csX277" fmla="*/ 1394353 w 1475293"/>
                <a:gd name="csY277" fmla="*/ 85644 h 495114"/>
                <a:gd name="csX278" fmla="*/ 1394353 w 1475293"/>
                <a:gd name="csY278" fmla="*/ 435397 h 495114"/>
                <a:gd name="csX279" fmla="*/ 1399619 w 1475293"/>
                <a:gd name="csY279" fmla="*/ 435397 h 495114"/>
                <a:gd name="csX280" fmla="*/ 1399619 w 1475293"/>
                <a:gd name="csY280" fmla="*/ 460524 h 495114"/>
                <a:gd name="csX281" fmla="*/ 1416792 w 1475293"/>
                <a:gd name="csY281" fmla="*/ 460524 h 495114"/>
                <a:gd name="csX282" fmla="*/ 1416792 w 1475293"/>
                <a:gd name="csY282" fmla="*/ 435397 h 495114"/>
                <a:gd name="csX283" fmla="*/ 1422059 w 1475293"/>
                <a:gd name="csY283" fmla="*/ 435397 h 49511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 ang="0">
                  <a:pos x="csX97" y="csY97"/>
                </a:cxn>
                <a:cxn ang="0">
                  <a:pos x="csX98" y="csY98"/>
                </a:cxn>
                <a:cxn ang="0">
                  <a:pos x="csX99" y="csY99"/>
                </a:cxn>
                <a:cxn ang="0">
                  <a:pos x="csX100" y="csY100"/>
                </a:cxn>
                <a:cxn ang="0">
                  <a:pos x="csX101" y="csY101"/>
                </a:cxn>
                <a:cxn ang="0">
                  <a:pos x="csX102" y="csY102"/>
                </a:cxn>
                <a:cxn ang="0">
                  <a:pos x="csX103" y="csY103"/>
                </a:cxn>
                <a:cxn ang="0">
                  <a:pos x="csX104" y="csY104"/>
                </a:cxn>
                <a:cxn ang="0">
                  <a:pos x="csX105" y="csY105"/>
                </a:cxn>
                <a:cxn ang="0">
                  <a:pos x="csX106" y="csY106"/>
                </a:cxn>
                <a:cxn ang="0">
                  <a:pos x="csX107" y="csY107"/>
                </a:cxn>
                <a:cxn ang="0">
                  <a:pos x="csX108" y="csY108"/>
                </a:cxn>
                <a:cxn ang="0">
                  <a:pos x="csX109" y="csY109"/>
                </a:cxn>
                <a:cxn ang="0">
                  <a:pos x="csX110" y="csY110"/>
                </a:cxn>
                <a:cxn ang="0">
                  <a:pos x="csX111" y="csY111"/>
                </a:cxn>
                <a:cxn ang="0">
                  <a:pos x="csX112" y="csY112"/>
                </a:cxn>
                <a:cxn ang="0">
                  <a:pos x="csX113" y="csY113"/>
                </a:cxn>
                <a:cxn ang="0">
                  <a:pos x="csX114" y="csY114"/>
                </a:cxn>
                <a:cxn ang="0">
                  <a:pos x="csX115" y="csY115"/>
                </a:cxn>
                <a:cxn ang="0">
                  <a:pos x="csX116" y="csY116"/>
                </a:cxn>
                <a:cxn ang="0">
                  <a:pos x="csX117" y="csY117"/>
                </a:cxn>
                <a:cxn ang="0">
                  <a:pos x="csX118" y="csY118"/>
                </a:cxn>
                <a:cxn ang="0">
                  <a:pos x="csX119" y="csY119"/>
                </a:cxn>
                <a:cxn ang="0">
                  <a:pos x="csX120" y="csY120"/>
                </a:cxn>
                <a:cxn ang="0">
                  <a:pos x="csX121" y="csY121"/>
                </a:cxn>
                <a:cxn ang="0">
                  <a:pos x="csX122" y="csY122"/>
                </a:cxn>
                <a:cxn ang="0">
                  <a:pos x="csX123" y="csY123"/>
                </a:cxn>
                <a:cxn ang="0">
                  <a:pos x="csX124" y="csY124"/>
                </a:cxn>
                <a:cxn ang="0">
                  <a:pos x="csX125" y="csY125"/>
                </a:cxn>
                <a:cxn ang="0">
                  <a:pos x="csX126" y="csY126"/>
                </a:cxn>
                <a:cxn ang="0">
                  <a:pos x="csX127" y="csY127"/>
                </a:cxn>
                <a:cxn ang="0">
                  <a:pos x="csX128" y="csY128"/>
                </a:cxn>
                <a:cxn ang="0">
                  <a:pos x="csX129" y="csY129"/>
                </a:cxn>
                <a:cxn ang="0">
                  <a:pos x="csX130" y="csY130"/>
                </a:cxn>
                <a:cxn ang="0">
                  <a:pos x="csX131" y="csY131"/>
                </a:cxn>
                <a:cxn ang="0">
                  <a:pos x="csX132" y="csY132"/>
                </a:cxn>
                <a:cxn ang="0">
                  <a:pos x="csX133" y="csY133"/>
                </a:cxn>
                <a:cxn ang="0">
                  <a:pos x="csX134" y="csY134"/>
                </a:cxn>
                <a:cxn ang="0">
                  <a:pos x="csX135" y="csY135"/>
                </a:cxn>
                <a:cxn ang="0">
                  <a:pos x="csX136" y="csY136"/>
                </a:cxn>
                <a:cxn ang="0">
                  <a:pos x="csX137" y="csY137"/>
                </a:cxn>
                <a:cxn ang="0">
                  <a:pos x="csX138" y="csY138"/>
                </a:cxn>
                <a:cxn ang="0">
                  <a:pos x="csX139" y="csY139"/>
                </a:cxn>
                <a:cxn ang="0">
                  <a:pos x="csX140" y="csY140"/>
                </a:cxn>
                <a:cxn ang="0">
                  <a:pos x="csX141" y="csY141"/>
                </a:cxn>
                <a:cxn ang="0">
                  <a:pos x="csX142" y="csY142"/>
                </a:cxn>
                <a:cxn ang="0">
                  <a:pos x="csX143" y="csY143"/>
                </a:cxn>
                <a:cxn ang="0">
                  <a:pos x="csX144" y="csY144"/>
                </a:cxn>
                <a:cxn ang="0">
                  <a:pos x="csX145" y="csY145"/>
                </a:cxn>
                <a:cxn ang="0">
                  <a:pos x="csX146" y="csY146"/>
                </a:cxn>
                <a:cxn ang="0">
                  <a:pos x="csX147" y="csY147"/>
                </a:cxn>
                <a:cxn ang="0">
                  <a:pos x="csX148" y="csY148"/>
                </a:cxn>
                <a:cxn ang="0">
                  <a:pos x="csX149" y="csY149"/>
                </a:cxn>
                <a:cxn ang="0">
                  <a:pos x="csX150" y="csY150"/>
                </a:cxn>
                <a:cxn ang="0">
                  <a:pos x="csX151" y="csY151"/>
                </a:cxn>
                <a:cxn ang="0">
                  <a:pos x="csX152" y="csY152"/>
                </a:cxn>
                <a:cxn ang="0">
                  <a:pos x="csX153" y="csY153"/>
                </a:cxn>
                <a:cxn ang="0">
                  <a:pos x="csX154" y="csY154"/>
                </a:cxn>
                <a:cxn ang="0">
                  <a:pos x="csX155" y="csY155"/>
                </a:cxn>
                <a:cxn ang="0">
                  <a:pos x="csX156" y="csY156"/>
                </a:cxn>
                <a:cxn ang="0">
                  <a:pos x="csX157" y="csY157"/>
                </a:cxn>
                <a:cxn ang="0">
                  <a:pos x="csX158" y="csY158"/>
                </a:cxn>
                <a:cxn ang="0">
                  <a:pos x="csX159" y="csY159"/>
                </a:cxn>
                <a:cxn ang="0">
                  <a:pos x="csX160" y="csY160"/>
                </a:cxn>
                <a:cxn ang="0">
                  <a:pos x="csX161" y="csY161"/>
                </a:cxn>
                <a:cxn ang="0">
                  <a:pos x="csX162" y="csY162"/>
                </a:cxn>
                <a:cxn ang="0">
                  <a:pos x="csX163" y="csY163"/>
                </a:cxn>
                <a:cxn ang="0">
                  <a:pos x="csX164" y="csY164"/>
                </a:cxn>
                <a:cxn ang="0">
                  <a:pos x="csX165" y="csY165"/>
                </a:cxn>
                <a:cxn ang="0">
                  <a:pos x="csX166" y="csY166"/>
                </a:cxn>
                <a:cxn ang="0">
                  <a:pos x="csX167" y="csY167"/>
                </a:cxn>
                <a:cxn ang="0">
                  <a:pos x="csX168" y="csY168"/>
                </a:cxn>
                <a:cxn ang="0">
                  <a:pos x="csX169" y="csY169"/>
                </a:cxn>
                <a:cxn ang="0">
                  <a:pos x="csX170" y="csY170"/>
                </a:cxn>
                <a:cxn ang="0">
                  <a:pos x="csX171" y="csY171"/>
                </a:cxn>
                <a:cxn ang="0">
                  <a:pos x="csX172" y="csY172"/>
                </a:cxn>
                <a:cxn ang="0">
                  <a:pos x="csX173" y="csY173"/>
                </a:cxn>
                <a:cxn ang="0">
                  <a:pos x="csX174" y="csY174"/>
                </a:cxn>
                <a:cxn ang="0">
                  <a:pos x="csX175" y="csY175"/>
                </a:cxn>
                <a:cxn ang="0">
                  <a:pos x="csX176" y="csY176"/>
                </a:cxn>
                <a:cxn ang="0">
                  <a:pos x="csX177" y="csY177"/>
                </a:cxn>
                <a:cxn ang="0">
                  <a:pos x="csX178" y="csY178"/>
                </a:cxn>
                <a:cxn ang="0">
                  <a:pos x="csX179" y="csY179"/>
                </a:cxn>
                <a:cxn ang="0">
                  <a:pos x="csX180" y="csY180"/>
                </a:cxn>
                <a:cxn ang="0">
                  <a:pos x="csX181" y="csY181"/>
                </a:cxn>
                <a:cxn ang="0">
                  <a:pos x="csX182" y="csY182"/>
                </a:cxn>
                <a:cxn ang="0">
                  <a:pos x="csX183" y="csY183"/>
                </a:cxn>
                <a:cxn ang="0">
                  <a:pos x="csX184" y="csY184"/>
                </a:cxn>
                <a:cxn ang="0">
                  <a:pos x="csX185" y="csY185"/>
                </a:cxn>
                <a:cxn ang="0">
                  <a:pos x="csX186" y="csY186"/>
                </a:cxn>
                <a:cxn ang="0">
                  <a:pos x="csX187" y="csY187"/>
                </a:cxn>
                <a:cxn ang="0">
                  <a:pos x="csX188" y="csY188"/>
                </a:cxn>
                <a:cxn ang="0">
                  <a:pos x="csX189" y="csY189"/>
                </a:cxn>
                <a:cxn ang="0">
                  <a:pos x="csX190" y="csY190"/>
                </a:cxn>
                <a:cxn ang="0">
                  <a:pos x="csX191" y="csY191"/>
                </a:cxn>
                <a:cxn ang="0">
                  <a:pos x="csX192" y="csY192"/>
                </a:cxn>
                <a:cxn ang="0">
                  <a:pos x="csX193" y="csY193"/>
                </a:cxn>
                <a:cxn ang="0">
                  <a:pos x="csX194" y="csY194"/>
                </a:cxn>
                <a:cxn ang="0">
                  <a:pos x="csX195" y="csY195"/>
                </a:cxn>
                <a:cxn ang="0">
                  <a:pos x="csX196" y="csY196"/>
                </a:cxn>
                <a:cxn ang="0">
                  <a:pos x="csX197" y="csY197"/>
                </a:cxn>
                <a:cxn ang="0">
                  <a:pos x="csX198" y="csY198"/>
                </a:cxn>
                <a:cxn ang="0">
                  <a:pos x="csX199" y="csY199"/>
                </a:cxn>
                <a:cxn ang="0">
                  <a:pos x="csX200" y="csY200"/>
                </a:cxn>
                <a:cxn ang="0">
                  <a:pos x="csX201" y="csY201"/>
                </a:cxn>
                <a:cxn ang="0">
                  <a:pos x="csX202" y="csY202"/>
                </a:cxn>
                <a:cxn ang="0">
                  <a:pos x="csX203" y="csY203"/>
                </a:cxn>
                <a:cxn ang="0">
                  <a:pos x="csX204" y="csY204"/>
                </a:cxn>
                <a:cxn ang="0">
                  <a:pos x="csX205" y="csY205"/>
                </a:cxn>
                <a:cxn ang="0">
                  <a:pos x="csX206" y="csY206"/>
                </a:cxn>
                <a:cxn ang="0">
                  <a:pos x="csX207" y="csY207"/>
                </a:cxn>
                <a:cxn ang="0">
                  <a:pos x="csX208" y="csY208"/>
                </a:cxn>
                <a:cxn ang="0">
                  <a:pos x="csX209" y="csY209"/>
                </a:cxn>
                <a:cxn ang="0">
                  <a:pos x="csX210" y="csY210"/>
                </a:cxn>
                <a:cxn ang="0">
                  <a:pos x="csX211" y="csY211"/>
                </a:cxn>
                <a:cxn ang="0">
                  <a:pos x="csX212" y="csY212"/>
                </a:cxn>
                <a:cxn ang="0">
                  <a:pos x="csX213" y="csY213"/>
                </a:cxn>
                <a:cxn ang="0">
                  <a:pos x="csX214" y="csY214"/>
                </a:cxn>
                <a:cxn ang="0">
                  <a:pos x="csX215" y="csY215"/>
                </a:cxn>
                <a:cxn ang="0">
                  <a:pos x="csX216" y="csY216"/>
                </a:cxn>
                <a:cxn ang="0">
                  <a:pos x="csX217" y="csY217"/>
                </a:cxn>
                <a:cxn ang="0">
                  <a:pos x="csX218" y="csY218"/>
                </a:cxn>
                <a:cxn ang="0">
                  <a:pos x="csX219" y="csY219"/>
                </a:cxn>
                <a:cxn ang="0">
                  <a:pos x="csX220" y="csY220"/>
                </a:cxn>
                <a:cxn ang="0">
                  <a:pos x="csX221" y="csY221"/>
                </a:cxn>
                <a:cxn ang="0">
                  <a:pos x="csX222" y="csY222"/>
                </a:cxn>
                <a:cxn ang="0">
                  <a:pos x="csX223" y="csY223"/>
                </a:cxn>
                <a:cxn ang="0">
                  <a:pos x="csX224" y="csY224"/>
                </a:cxn>
                <a:cxn ang="0">
                  <a:pos x="csX225" y="csY225"/>
                </a:cxn>
                <a:cxn ang="0">
                  <a:pos x="csX226" y="csY226"/>
                </a:cxn>
                <a:cxn ang="0">
                  <a:pos x="csX227" y="csY227"/>
                </a:cxn>
                <a:cxn ang="0">
                  <a:pos x="csX228" y="csY228"/>
                </a:cxn>
                <a:cxn ang="0">
                  <a:pos x="csX229" y="csY229"/>
                </a:cxn>
                <a:cxn ang="0">
                  <a:pos x="csX230" y="csY230"/>
                </a:cxn>
                <a:cxn ang="0">
                  <a:pos x="csX231" y="csY231"/>
                </a:cxn>
                <a:cxn ang="0">
                  <a:pos x="csX232" y="csY232"/>
                </a:cxn>
                <a:cxn ang="0">
                  <a:pos x="csX233" y="csY233"/>
                </a:cxn>
                <a:cxn ang="0">
                  <a:pos x="csX234" y="csY234"/>
                </a:cxn>
                <a:cxn ang="0">
                  <a:pos x="csX235" y="csY235"/>
                </a:cxn>
                <a:cxn ang="0">
                  <a:pos x="csX236" y="csY236"/>
                </a:cxn>
                <a:cxn ang="0">
                  <a:pos x="csX237" y="csY237"/>
                </a:cxn>
                <a:cxn ang="0">
                  <a:pos x="csX238" y="csY238"/>
                </a:cxn>
                <a:cxn ang="0">
                  <a:pos x="csX239" y="csY239"/>
                </a:cxn>
                <a:cxn ang="0">
                  <a:pos x="csX240" y="csY240"/>
                </a:cxn>
                <a:cxn ang="0">
                  <a:pos x="csX241" y="csY241"/>
                </a:cxn>
                <a:cxn ang="0">
                  <a:pos x="csX242" y="csY242"/>
                </a:cxn>
                <a:cxn ang="0">
                  <a:pos x="csX243" y="csY243"/>
                </a:cxn>
                <a:cxn ang="0">
                  <a:pos x="csX244" y="csY244"/>
                </a:cxn>
                <a:cxn ang="0">
                  <a:pos x="csX245" y="csY245"/>
                </a:cxn>
                <a:cxn ang="0">
                  <a:pos x="csX246" y="csY246"/>
                </a:cxn>
                <a:cxn ang="0">
                  <a:pos x="csX247" y="csY247"/>
                </a:cxn>
                <a:cxn ang="0">
                  <a:pos x="csX248" y="csY248"/>
                </a:cxn>
                <a:cxn ang="0">
                  <a:pos x="csX249" y="csY249"/>
                </a:cxn>
                <a:cxn ang="0">
                  <a:pos x="csX250" y="csY250"/>
                </a:cxn>
                <a:cxn ang="0">
                  <a:pos x="csX251" y="csY251"/>
                </a:cxn>
                <a:cxn ang="0">
                  <a:pos x="csX252" y="csY252"/>
                </a:cxn>
                <a:cxn ang="0">
                  <a:pos x="csX253" y="csY253"/>
                </a:cxn>
                <a:cxn ang="0">
                  <a:pos x="csX254" y="csY254"/>
                </a:cxn>
                <a:cxn ang="0">
                  <a:pos x="csX255" y="csY255"/>
                </a:cxn>
                <a:cxn ang="0">
                  <a:pos x="csX256" y="csY256"/>
                </a:cxn>
                <a:cxn ang="0">
                  <a:pos x="csX257" y="csY257"/>
                </a:cxn>
                <a:cxn ang="0">
                  <a:pos x="csX258" y="csY258"/>
                </a:cxn>
                <a:cxn ang="0">
                  <a:pos x="csX259" y="csY259"/>
                </a:cxn>
                <a:cxn ang="0">
                  <a:pos x="csX260" y="csY260"/>
                </a:cxn>
                <a:cxn ang="0">
                  <a:pos x="csX261" y="csY261"/>
                </a:cxn>
                <a:cxn ang="0">
                  <a:pos x="csX262" y="csY262"/>
                </a:cxn>
                <a:cxn ang="0">
                  <a:pos x="csX263" y="csY263"/>
                </a:cxn>
                <a:cxn ang="0">
                  <a:pos x="csX264" y="csY264"/>
                </a:cxn>
                <a:cxn ang="0">
                  <a:pos x="csX265" y="csY265"/>
                </a:cxn>
                <a:cxn ang="0">
                  <a:pos x="csX266" y="csY266"/>
                </a:cxn>
                <a:cxn ang="0">
                  <a:pos x="csX267" y="csY267"/>
                </a:cxn>
                <a:cxn ang="0">
                  <a:pos x="csX268" y="csY268"/>
                </a:cxn>
                <a:cxn ang="0">
                  <a:pos x="csX269" y="csY269"/>
                </a:cxn>
                <a:cxn ang="0">
                  <a:pos x="csX270" y="csY270"/>
                </a:cxn>
                <a:cxn ang="0">
                  <a:pos x="csX271" y="csY271"/>
                </a:cxn>
                <a:cxn ang="0">
                  <a:pos x="csX272" y="csY272"/>
                </a:cxn>
                <a:cxn ang="0">
                  <a:pos x="csX273" y="csY273"/>
                </a:cxn>
                <a:cxn ang="0">
                  <a:pos x="csX274" y="csY274"/>
                </a:cxn>
                <a:cxn ang="0">
                  <a:pos x="csX275" y="csY275"/>
                </a:cxn>
                <a:cxn ang="0">
                  <a:pos x="csX276" y="csY276"/>
                </a:cxn>
                <a:cxn ang="0">
                  <a:pos x="csX277" y="csY277"/>
                </a:cxn>
                <a:cxn ang="0">
                  <a:pos x="csX278" y="csY278"/>
                </a:cxn>
                <a:cxn ang="0">
                  <a:pos x="csX279" y="csY279"/>
                </a:cxn>
                <a:cxn ang="0">
                  <a:pos x="csX280" y="csY280"/>
                </a:cxn>
                <a:cxn ang="0">
                  <a:pos x="csX281" y="csY281"/>
                </a:cxn>
                <a:cxn ang="0">
                  <a:pos x="csX282" y="csY282"/>
                </a:cxn>
                <a:cxn ang="0">
                  <a:pos x="csX283" y="csY283"/>
                </a:cxn>
              </a:cxnLst>
              <a:rect l="l" t="t" r="r" b="b"/>
              <a:pathLst>
                <a:path w="1475293" h="495114">
                  <a:moveTo>
                    <a:pt x="902250" y="490530"/>
                  </a:moveTo>
                  <a:lnTo>
                    <a:pt x="902250" y="460524"/>
                  </a:lnTo>
                  <a:lnTo>
                    <a:pt x="914040" y="460524"/>
                  </a:lnTo>
                  <a:lnTo>
                    <a:pt x="914040" y="435397"/>
                  </a:lnTo>
                  <a:lnTo>
                    <a:pt x="919280" y="435397"/>
                  </a:lnTo>
                  <a:lnTo>
                    <a:pt x="919280" y="85644"/>
                  </a:lnTo>
                  <a:lnTo>
                    <a:pt x="910117" y="85644"/>
                  </a:lnTo>
                  <a:lnTo>
                    <a:pt x="910117" y="49099"/>
                  </a:lnTo>
                  <a:lnTo>
                    <a:pt x="902250" y="49099"/>
                  </a:lnTo>
                  <a:lnTo>
                    <a:pt x="902250" y="384867"/>
                  </a:lnTo>
                  <a:lnTo>
                    <a:pt x="-6325" y="384867"/>
                  </a:lnTo>
                  <a:lnTo>
                    <a:pt x="-6325" y="-4585"/>
                  </a:lnTo>
                  <a:lnTo>
                    <a:pt x="902250" y="-4585"/>
                  </a:lnTo>
                  <a:lnTo>
                    <a:pt x="1085249" y="-4585"/>
                  </a:lnTo>
                  <a:lnTo>
                    <a:pt x="1100221" y="-4585"/>
                  </a:lnTo>
                  <a:lnTo>
                    <a:pt x="1115314" y="-4585"/>
                  </a:lnTo>
                  <a:lnTo>
                    <a:pt x="1144996" y="-4585"/>
                  </a:lnTo>
                  <a:lnTo>
                    <a:pt x="1226249" y="-4585"/>
                  </a:lnTo>
                  <a:lnTo>
                    <a:pt x="1255327" y="-4585"/>
                  </a:lnTo>
                  <a:lnTo>
                    <a:pt x="1270415" y="-4585"/>
                  </a:lnTo>
                  <a:lnTo>
                    <a:pt x="1329119" y="-4585"/>
                  </a:lnTo>
                  <a:lnTo>
                    <a:pt x="1468364" y="-4585"/>
                  </a:lnTo>
                  <a:lnTo>
                    <a:pt x="1468364" y="49099"/>
                  </a:lnTo>
                  <a:lnTo>
                    <a:pt x="1460518" y="49099"/>
                  </a:lnTo>
                  <a:lnTo>
                    <a:pt x="1460518" y="85644"/>
                  </a:lnTo>
                  <a:lnTo>
                    <a:pt x="1451356" y="85644"/>
                  </a:lnTo>
                  <a:lnTo>
                    <a:pt x="1451356" y="435397"/>
                  </a:lnTo>
                  <a:lnTo>
                    <a:pt x="1456623" y="435397"/>
                  </a:lnTo>
                  <a:lnTo>
                    <a:pt x="1456623" y="460524"/>
                  </a:lnTo>
                  <a:lnTo>
                    <a:pt x="1468968" y="460524"/>
                  </a:lnTo>
                  <a:lnTo>
                    <a:pt x="1468968" y="490530"/>
                  </a:lnTo>
                  <a:close/>
                  <a:moveTo>
                    <a:pt x="806073" y="310482"/>
                  </a:moveTo>
                  <a:lnTo>
                    <a:pt x="830839" y="310482"/>
                  </a:lnTo>
                  <a:lnTo>
                    <a:pt x="830839" y="276258"/>
                  </a:lnTo>
                  <a:lnTo>
                    <a:pt x="806073" y="276258"/>
                  </a:lnTo>
                  <a:close/>
                  <a:moveTo>
                    <a:pt x="833121" y="310482"/>
                  </a:moveTo>
                  <a:lnTo>
                    <a:pt x="857887" y="310482"/>
                  </a:lnTo>
                  <a:lnTo>
                    <a:pt x="857887" y="276258"/>
                  </a:lnTo>
                  <a:lnTo>
                    <a:pt x="833121" y="276258"/>
                  </a:lnTo>
                  <a:close/>
                  <a:moveTo>
                    <a:pt x="857887" y="346989"/>
                  </a:moveTo>
                  <a:lnTo>
                    <a:pt x="857887" y="312765"/>
                  </a:lnTo>
                  <a:lnTo>
                    <a:pt x="833121" y="312765"/>
                  </a:lnTo>
                  <a:lnTo>
                    <a:pt x="833121" y="346989"/>
                  </a:lnTo>
                  <a:close/>
                  <a:moveTo>
                    <a:pt x="806073" y="346989"/>
                  </a:moveTo>
                  <a:lnTo>
                    <a:pt x="830839" y="346989"/>
                  </a:lnTo>
                  <a:lnTo>
                    <a:pt x="830839" y="312765"/>
                  </a:lnTo>
                  <a:lnTo>
                    <a:pt x="806073" y="312765"/>
                  </a:lnTo>
                  <a:close/>
                  <a:moveTo>
                    <a:pt x="803456" y="154691"/>
                  </a:moveTo>
                  <a:cubicBezTo>
                    <a:pt x="803456" y="170448"/>
                    <a:pt x="816228" y="183209"/>
                    <a:pt x="831980" y="183209"/>
                  </a:cubicBezTo>
                  <a:cubicBezTo>
                    <a:pt x="847731" y="183209"/>
                    <a:pt x="860498" y="170448"/>
                    <a:pt x="860498" y="154691"/>
                  </a:cubicBezTo>
                  <a:lnTo>
                    <a:pt x="860498" y="147459"/>
                  </a:lnTo>
                  <a:lnTo>
                    <a:pt x="803456" y="147459"/>
                  </a:lnTo>
                  <a:close/>
                  <a:moveTo>
                    <a:pt x="614055" y="310482"/>
                  </a:moveTo>
                  <a:lnTo>
                    <a:pt x="638820" y="310482"/>
                  </a:lnTo>
                  <a:lnTo>
                    <a:pt x="638820" y="276258"/>
                  </a:lnTo>
                  <a:lnTo>
                    <a:pt x="614055" y="276258"/>
                  </a:lnTo>
                  <a:close/>
                  <a:moveTo>
                    <a:pt x="641102" y="310482"/>
                  </a:moveTo>
                  <a:lnTo>
                    <a:pt x="665868" y="310482"/>
                  </a:lnTo>
                  <a:lnTo>
                    <a:pt x="665868" y="276258"/>
                  </a:lnTo>
                  <a:lnTo>
                    <a:pt x="641102" y="276258"/>
                  </a:lnTo>
                  <a:close/>
                  <a:moveTo>
                    <a:pt x="665868" y="346989"/>
                  </a:moveTo>
                  <a:lnTo>
                    <a:pt x="665868" y="312765"/>
                  </a:lnTo>
                  <a:lnTo>
                    <a:pt x="641102" y="312765"/>
                  </a:lnTo>
                  <a:lnTo>
                    <a:pt x="641102" y="346989"/>
                  </a:lnTo>
                  <a:close/>
                  <a:moveTo>
                    <a:pt x="614055" y="346989"/>
                  </a:moveTo>
                  <a:lnTo>
                    <a:pt x="638820" y="346989"/>
                  </a:lnTo>
                  <a:lnTo>
                    <a:pt x="638820" y="312765"/>
                  </a:lnTo>
                  <a:lnTo>
                    <a:pt x="614055" y="312765"/>
                  </a:lnTo>
                  <a:close/>
                  <a:moveTo>
                    <a:pt x="611443" y="154691"/>
                  </a:moveTo>
                  <a:cubicBezTo>
                    <a:pt x="611443" y="170448"/>
                    <a:pt x="624210" y="183209"/>
                    <a:pt x="639961" y="183209"/>
                  </a:cubicBezTo>
                  <a:cubicBezTo>
                    <a:pt x="655713" y="183209"/>
                    <a:pt x="668480" y="170448"/>
                    <a:pt x="668480" y="154691"/>
                  </a:cubicBezTo>
                  <a:lnTo>
                    <a:pt x="668480" y="147459"/>
                  </a:lnTo>
                  <a:lnTo>
                    <a:pt x="611443" y="147459"/>
                  </a:lnTo>
                  <a:close/>
                  <a:moveTo>
                    <a:pt x="229941" y="310482"/>
                  </a:moveTo>
                  <a:lnTo>
                    <a:pt x="254707" y="310482"/>
                  </a:lnTo>
                  <a:lnTo>
                    <a:pt x="254707" y="276258"/>
                  </a:lnTo>
                  <a:lnTo>
                    <a:pt x="229941" y="276258"/>
                  </a:lnTo>
                  <a:close/>
                  <a:moveTo>
                    <a:pt x="256994" y="310482"/>
                  </a:moveTo>
                  <a:lnTo>
                    <a:pt x="281760" y="310482"/>
                  </a:lnTo>
                  <a:lnTo>
                    <a:pt x="281760" y="276258"/>
                  </a:lnTo>
                  <a:lnTo>
                    <a:pt x="256994" y="276258"/>
                  </a:lnTo>
                  <a:close/>
                  <a:moveTo>
                    <a:pt x="281760" y="346989"/>
                  </a:moveTo>
                  <a:lnTo>
                    <a:pt x="281760" y="312765"/>
                  </a:lnTo>
                  <a:lnTo>
                    <a:pt x="256994" y="312765"/>
                  </a:lnTo>
                  <a:lnTo>
                    <a:pt x="256994" y="346989"/>
                  </a:lnTo>
                  <a:close/>
                  <a:moveTo>
                    <a:pt x="229941" y="346989"/>
                  </a:moveTo>
                  <a:lnTo>
                    <a:pt x="254707" y="346989"/>
                  </a:lnTo>
                  <a:lnTo>
                    <a:pt x="254707" y="312765"/>
                  </a:lnTo>
                  <a:lnTo>
                    <a:pt x="229941" y="312765"/>
                  </a:lnTo>
                  <a:close/>
                  <a:moveTo>
                    <a:pt x="227406" y="154691"/>
                  </a:moveTo>
                  <a:cubicBezTo>
                    <a:pt x="227406" y="170448"/>
                    <a:pt x="240173" y="183209"/>
                    <a:pt x="255924" y="183209"/>
                  </a:cubicBezTo>
                  <a:cubicBezTo>
                    <a:pt x="271676" y="183209"/>
                    <a:pt x="284442" y="170448"/>
                    <a:pt x="284442" y="154691"/>
                  </a:cubicBezTo>
                  <a:lnTo>
                    <a:pt x="284442" y="147459"/>
                  </a:lnTo>
                  <a:lnTo>
                    <a:pt x="227406" y="147459"/>
                  </a:lnTo>
                  <a:close/>
                  <a:moveTo>
                    <a:pt x="66194" y="310482"/>
                  </a:moveTo>
                  <a:lnTo>
                    <a:pt x="89741" y="310482"/>
                  </a:lnTo>
                  <a:lnTo>
                    <a:pt x="89741" y="276258"/>
                  </a:lnTo>
                  <a:lnTo>
                    <a:pt x="66194" y="276258"/>
                  </a:lnTo>
                  <a:close/>
                  <a:moveTo>
                    <a:pt x="89741" y="346989"/>
                  </a:moveTo>
                  <a:lnTo>
                    <a:pt x="89741" y="312765"/>
                  </a:lnTo>
                  <a:lnTo>
                    <a:pt x="66194" y="312765"/>
                  </a:lnTo>
                  <a:lnTo>
                    <a:pt x="66194" y="346989"/>
                  </a:lnTo>
                  <a:close/>
                  <a:moveTo>
                    <a:pt x="37928" y="346989"/>
                  </a:moveTo>
                  <a:lnTo>
                    <a:pt x="63906" y="346989"/>
                  </a:lnTo>
                  <a:lnTo>
                    <a:pt x="63906" y="312765"/>
                  </a:lnTo>
                  <a:lnTo>
                    <a:pt x="39140" y="312765"/>
                  </a:lnTo>
                  <a:cubicBezTo>
                    <a:pt x="38509" y="312765"/>
                    <a:pt x="37999" y="312254"/>
                    <a:pt x="37999" y="311624"/>
                  </a:cubicBezTo>
                  <a:cubicBezTo>
                    <a:pt x="37999" y="310993"/>
                    <a:pt x="38509" y="310482"/>
                    <a:pt x="39140" y="310482"/>
                  </a:cubicBezTo>
                  <a:lnTo>
                    <a:pt x="63906" y="310482"/>
                  </a:lnTo>
                  <a:lnTo>
                    <a:pt x="63906" y="276258"/>
                  </a:lnTo>
                  <a:lnTo>
                    <a:pt x="37928" y="276258"/>
                  </a:lnTo>
                  <a:close/>
                  <a:moveTo>
                    <a:pt x="35387" y="154691"/>
                  </a:moveTo>
                  <a:cubicBezTo>
                    <a:pt x="35387" y="170448"/>
                    <a:pt x="48154" y="183209"/>
                    <a:pt x="63906" y="183209"/>
                  </a:cubicBezTo>
                  <a:cubicBezTo>
                    <a:pt x="79657" y="183209"/>
                    <a:pt x="92430" y="170448"/>
                    <a:pt x="92430" y="154691"/>
                  </a:cubicBezTo>
                  <a:lnTo>
                    <a:pt x="92430" y="147459"/>
                  </a:lnTo>
                  <a:lnTo>
                    <a:pt x="35387" y="147459"/>
                  </a:lnTo>
                  <a:close/>
                  <a:moveTo>
                    <a:pt x="33357" y="276258"/>
                  </a:moveTo>
                  <a:lnTo>
                    <a:pt x="7445" y="276258"/>
                  </a:lnTo>
                  <a:lnTo>
                    <a:pt x="7445" y="346989"/>
                  </a:lnTo>
                  <a:lnTo>
                    <a:pt x="33357" y="346989"/>
                  </a:lnTo>
                  <a:close/>
                  <a:moveTo>
                    <a:pt x="35387" y="73207"/>
                  </a:moveTo>
                  <a:lnTo>
                    <a:pt x="35387" y="145177"/>
                  </a:lnTo>
                  <a:lnTo>
                    <a:pt x="62765" y="145177"/>
                  </a:lnTo>
                  <a:lnTo>
                    <a:pt x="62765" y="73207"/>
                  </a:lnTo>
                  <a:close/>
                  <a:moveTo>
                    <a:pt x="92430" y="73207"/>
                  </a:moveTo>
                  <a:lnTo>
                    <a:pt x="65052" y="73207"/>
                  </a:lnTo>
                  <a:lnTo>
                    <a:pt x="65052" y="145177"/>
                  </a:lnTo>
                  <a:lnTo>
                    <a:pt x="92430" y="145177"/>
                  </a:lnTo>
                  <a:close/>
                  <a:moveTo>
                    <a:pt x="120224" y="276258"/>
                  </a:moveTo>
                  <a:lnTo>
                    <a:pt x="94311" y="276258"/>
                  </a:lnTo>
                  <a:lnTo>
                    <a:pt x="94311" y="346989"/>
                  </a:lnTo>
                  <a:lnTo>
                    <a:pt x="120224" y="346989"/>
                  </a:lnTo>
                  <a:close/>
                  <a:moveTo>
                    <a:pt x="225370" y="276258"/>
                  </a:moveTo>
                  <a:lnTo>
                    <a:pt x="199464" y="276258"/>
                  </a:lnTo>
                  <a:lnTo>
                    <a:pt x="199464" y="346989"/>
                  </a:lnTo>
                  <a:lnTo>
                    <a:pt x="225370" y="346989"/>
                  </a:lnTo>
                  <a:close/>
                  <a:moveTo>
                    <a:pt x="227406" y="73207"/>
                  </a:moveTo>
                  <a:lnTo>
                    <a:pt x="227406" y="145177"/>
                  </a:lnTo>
                  <a:lnTo>
                    <a:pt x="254783" y="145177"/>
                  </a:lnTo>
                  <a:lnTo>
                    <a:pt x="254783" y="73207"/>
                  </a:lnTo>
                  <a:close/>
                  <a:moveTo>
                    <a:pt x="284442" y="73207"/>
                  </a:moveTo>
                  <a:lnTo>
                    <a:pt x="257071" y="73207"/>
                  </a:lnTo>
                  <a:lnTo>
                    <a:pt x="257071" y="145177"/>
                  </a:lnTo>
                  <a:lnTo>
                    <a:pt x="284442" y="145177"/>
                  </a:lnTo>
                  <a:close/>
                  <a:moveTo>
                    <a:pt x="312237" y="276258"/>
                  </a:moveTo>
                  <a:lnTo>
                    <a:pt x="286335" y="276258"/>
                  </a:lnTo>
                  <a:lnTo>
                    <a:pt x="286335" y="346989"/>
                  </a:lnTo>
                  <a:lnTo>
                    <a:pt x="312237" y="346989"/>
                  </a:lnTo>
                  <a:close/>
                  <a:moveTo>
                    <a:pt x="476461" y="147459"/>
                  </a:moveTo>
                  <a:lnTo>
                    <a:pt x="419425" y="147459"/>
                  </a:lnTo>
                  <a:lnTo>
                    <a:pt x="419425" y="154691"/>
                  </a:lnTo>
                  <a:cubicBezTo>
                    <a:pt x="419425" y="170448"/>
                    <a:pt x="432192" y="183209"/>
                    <a:pt x="447943" y="183209"/>
                  </a:cubicBezTo>
                  <a:cubicBezTo>
                    <a:pt x="463695" y="183209"/>
                    <a:pt x="476461" y="170448"/>
                    <a:pt x="476461" y="154691"/>
                  </a:cubicBezTo>
                  <a:close/>
                  <a:moveTo>
                    <a:pt x="419425" y="73207"/>
                  </a:moveTo>
                  <a:lnTo>
                    <a:pt x="419425" y="145177"/>
                  </a:lnTo>
                  <a:lnTo>
                    <a:pt x="446802" y="145177"/>
                  </a:lnTo>
                  <a:lnTo>
                    <a:pt x="446802" y="73207"/>
                  </a:lnTo>
                  <a:close/>
                  <a:moveTo>
                    <a:pt x="476461" y="73207"/>
                  </a:moveTo>
                  <a:lnTo>
                    <a:pt x="449084" y="73207"/>
                  </a:lnTo>
                  <a:lnTo>
                    <a:pt x="449084" y="145177"/>
                  </a:lnTo>
                  <a:lnTo>
                    <a:pt x="476461" y="145177"/>
                  </a:lnTo>
                  <a:close/>
                  <a:moveTo>
                    <a:pt x="526080" y="222804"/>
                  </a:moveTo>
                  <a:lnTo>
                    <a:pt x="369805" y="222804"/>
                  </a:lnTo>
                  <a:lnTo>
                    <a:pt x="369805" y="369110"/>
                  </a:lnTo>
                  <a:lnTo>
                    <a:pt x="526080" y="369110"/>
                  </a:lnTo>
                  <a:close/>
                  <a:moveTo>
                    <a:pt x="609484" y="276258"/>
                  </a:moveTo>
                  <a:lnTo>
                    <a:pt x="583572" y="276258"/>
                  </a:lnTo>
                  <a:lnTo>
                    <a:pt x="583572" y="346989"/>
                  </a:lnTo>
                  <a:lnTo>
                    <a:pt x="609484" y="346989"/>
                  </a:lnTo>
                  <a:close/>
                  <a:moveTo>
                    <a:pt x="611443" y="73207"/>
                  </a:moveTo>
                  <a:lnTo>
                    <a:pt x="611443" y="145177"/>
                  </a:lnTo>
                  <a:lnTo>
                    <a:pt x="638820" y="145177"/>
                  </a:lnTo>
                  <a:lnTo>
                    <a:pt x="638820" y="73207"/>
                  </a:lnTo>
                  <a:close/>
                  <a:moveTo>
                    <a:pt x="668480" y="73207"/>
                  </a:moveTo>
                  <a:lnTo>
                    <a:pt x="641102" y="73207"/>
                  </a:lnTo>
                  <a:lnTo>
                    <a:pt x="641102" y="145177"/>
                  </a:lnTo>
                  <a:lnTo>
                    <a:pt x="668480" y="145177"/>
                  </a:lnTo>
                  <a:close/>
                  <a:moveTo>
                    <a:pt x="696345" y="276258"/>
                  </a:moveTo>
                  <a:lnTo>
                    <a:pt x="670439" y="276258"/>
                  </a:lnTo>
                  <a:lnTo>
                    <a:pt x="670439" y="346989"/>
                  </a:lnTo>
                  <a:lnTo>
                    <a:pt x="696345" y="346989"/>
                  </a:lnTo>
                  <a:close/>
                  <a:moveTo>
                    <a:pt x="801498" y="276258"/>
                  </a:moveTo>
                  <a:lnTo>
                    <a:pt x="775591" y="276258"/>
                  </a:lnTo>
                  <a:lnTo>
                    <a:pt x="775591" y="346989"/>
                  </a:lnTo>
                  <a:lnTo>
                    <a:pt x="801498" y="346989"/>
                  </a:lnTo>
                  <a:close/>
                  <a:moveTo>
                    <a:pt x="803456" y="73207"/>
                  </a:moveTo>
                  <a:lnTo>
                    <a:pt x="803456" y="145177"/>
                  </a:lnTo>
                  <a:lnTo>
                    <a:pt x="830839" y="145177"/>
                  </a:lnTo>
                  <a:lnTo>
                    <a:pt x="830839" y="73207"/>
                  </a:lnTo>
                  <a:close/>
                  <a:moveTo>
                    <a:pt x="860498" y="73207"/>
                  </a:moveTo>
                  <a:lnTo>
                    <a:pt x="833121" y="73207"/>
                  </a:lnTo>
                  <a:lnTo>
                    <a:pt x="833121" y="145177"/>
                  </a:lnTo>
                  <a:lnTo>
                    <a:pt x="860498" y="145177"/>
                  </a:lnTo>
                  <a:close/>
                  <a:moveTo>
                    <a:pt x="888369" y="276258"/>
                  </a:moveTo>
                  <a:lnTo>
                    <a:pt x="862457" y="276258"/>
                  </a:lnTo>
                  <a:lnTo>
                    <a:pt x="862457" y="346989"/>
                  </a:lnTo>
                  <a:lnTo>
                    <a:pt x="888369" y="346989"/>
                  </a:lnTo>
                  <a:close/>
                  <a:moveTo>
                    <a:pt x="948599" y="435397"/>
                  </a:moveTo>
                  <a:lnTo>
                    <a:pt x="953839" y="435397"/>
                  </a:lnTo>
                  <a:lnTo>
                    <a:pt x="953839" y="460524"/>
                  </a:lnTo>
                  <a:lnTo>
                    <a:pt x="971033" y="460524"/>
                  </a:lnTo>
                  <a:lnTo>
                    <a:pt x="971033" y="435397"/>
                  </a:lnTo>
                  <a:lnTo>
                    <a:pt x="976267" y="435397"/>
                  </a:lnTo>
                  <a:lnTo>
                    <a:pt x="976267" y="85644"/>
                  </a:lnTo>
                  <a:lnTo>
                    <a:pt x="948599" y="85644"/>
                  </a:lnTo>
                  <a:close/>
                  <a:moveTo>
                    <a:pt x="1014957" y="49099"/>
                  </a:moveTo>
                  <a:lnTo>
                    <a:pt x="1014957" y="85644"/>
                  </a:lnTo>
                  <a:lnTo>
                    <a:pt x="1005592" y="85644"/>
                  </a:lnTo>
                  <a:lnTo>
                    <a:pt x="1005592" y="435397"/>
                  </a:lnTo>
                  <a:lnTo>
                    <a:pt x="1010826" y="435397"/>
                  </a:lnTo>
                  <a:lnTo>
                    <a:pt x="1010826" y="460524"/>
                  </a:lnTo>
                  <a:lnTo>
                    <a:pt x="1045456" y="460524"/>
                  </a:lnTo>
                  <a:lnTo>
                    <a:pt x="1045456" y="435397"/>
                  </a:lnTo>
                  <a:lnTo>
                    <a:pt x="1050690" y="435397"/>
                  </a:lnTo>
                  <a:lnTo>
                    <a:pt x="1050690" y="85644"/>
                  </a:lnTo>
                  <a:lnTo>
                    <a:pt x="1041528" y="85644"/>
                  </a:lnTo>
                  <a:lnTo>
                    <a:pt x="1041528" y="49099"/>
                  </a:lnTo>
                  <a:close/>
                  <a:moveTo>
                    <a:pt x="1100221" y="8028"/>
                  </a:moveTo>
                  <a:lnTo>
                    <a:pt x="1100221" y="49099"/>
                  </a:lnTo>
                  <a:lnTo>
                    <a:pt x="1089177" y="49099"/>
                  </a:lnTo>
                  <a:lnTo>
                    <a:pt x="1089177" y="85644"/>
                  </a:lnTo>
                  <a:lnTo>
                    <a:pt x="1080014" y="85644"/>
                  </a:lnTo>
                  <a:lnTo>
                    <a:pt x="1080014" y="435397"/>
                  </a:lnTo>
                  <a:lnTo>
                    <a:pt x="1085249" y="435397"/>
                  </a:lnTo>
                  <a:lnTo>
                    <a:pt x="1085249" y="460524"/>
                  </a:lnTo>
                  <a:lnTo>
                    <a:pt x="1115314" y="460524"/>
                  </a:lnTo>
                  <a:lnTo>
                    <a:pt x="1115314" y="8028"/>
                  </a:lnTo>
                  <a:close/>
                  <a:moveTo>
                    <a:pt x="1141265" y="228653"/>
                  </a:moveTo>
                  <a:lnTo>
                    <a:pt x="1141265" y="243718"/>
                  </a:lnTo>
                  <a:lnTo>
                    <a:pt x="1229376" y="243718"/>
                  </a:lnTo>
                  <a:lnTo>
                    <a:pt x="1229376" y="228653"/>
                  </a:lnTo>
                  <a:close/>
                  <a:moveTo>
                    <a:pt x="1223287" y="224077"/>
                  </a:moveTo>
                  <a:lnTo>
                    <a:pt x="1223287" y="213746"/>
                  </a:lnTo>
                  <a:lnTo>
                    <a:pt x="1215002" y="213746"/>
                  </a:lnTo>
                  <a:lnTo>
                    <a:pt x="1215002" y="224077"/>
                  </a:lnTo>
                  <a:close/>
                  <a:moveTo>
                    <a:pt x="1155639" y="224077"/>
                  </a:moveTo>
                  <a:lnTo>
                    <a:pt x="1155639" y="213746"/>
                  </a:lnTo>
                  <a:lnTo>
                    <a:pt x="1147355" y="213746"/>
                  </a:lnTo>
                  <a:lnTo>
                    <a:pt x="1147355" y="224077"/>
                  </a:lnTo>
                  <a:close/>
                  <a:moveTo>
                    <a:pt x="1229376" y="248289"/>
                  </a:moveTo>
                  <a:lnTo>
                    <a:pt x="1141265" y="248289"/>
                  </a:lnTo>
                  <a:lnTo>
                    <a:pt x="1141265" y="285009"/>
                  </a:lnTo>
                  <a:lnTo>
                    <a:pt x="1229376" y="285009"/>
                  </a:lnTo>
                  <a:close/>
                  <a:moveTo>
                    <a:pt x="1154761" y="293738"/>
                  </a:moveTo>
                  <a:lnTo>
                    <a:pt x="1154761" y="351148"/>
                  </a:lnTo>
                  <a:cubicBezTo>
                    <a:pt x="1154761" y="368177"/>
                    <a:pt x="1168587" y="381981"/>
                    <a:pt x="1185595" y="381981"/>
                  </a:cubicBezTo>
                  <a:cubicBezTo>
                    <a:pt x="1202658" y="381981"/>
                    <a:pt x="1216429" y="368177"/>
                    <a:pt x="1216429" y="351148"/>
                  </a:cubicBezTo>
                  <a:lnTo>
                    <a:pt x="1216429" y="293738"/>
                  </a:lnTo>
                  <a:close/>
                  <a:moveTo>
                    <a:pt x="1144996" y="8028"/>
                  </a:moveTo>
                  <a:lnTo>
                    <a:pt x="1144996" y="164380"/>
                  </a:lnTo>
                  <a:cubicBezTo>
                    <a:pt x="1144996" y="186830"/>
                    <a:pt x="1163155" y="205028"/>
                    <a:pt x="1185595" y="205028"/>
                  </a:cubicBezTo>
                  <a:cubicBezTo>
                    <a:pt x="1208089" y="205028"/>
                    <a:pt x="1226249" y="186830"/>
                    <a:pt x="1226249" y="164380"/>
                  </a:cubicBezTo>
                  <a:lnTo>
                    <a:pt x="1226249" y="8028"/>
                  </a:lnTo>
                  <a:close/>
                  <a:moveTo>
                    <a:pt x="1255327" y="8028"/>
                  </a:moveTo>
                  <a:lnTo>
                    <a:pt x="1255327" y="460524"/>
                  </a:lnTo>
                  <a:lnTo>
                    <a:pt x="1285392" y="460524"/>
                  </a:lnTo>
                  <a:lnTo>
                    <a:pt x="1285392" y="435397"/>
                  </a:lnTo>
                  <a:lnTo>
                    <a:pt x="1290604" y="435397"/>
                  </a:lnTo>
                  <a:lnTo>
                    <a:pt x="1290604" y="85644"/>
                  </a:lnTo>
                  <a:lnTo>
                    <a:pt x="1281443" y="85644"/>
                  </a:lnTo>
                  <a:lnTo>
                    <a:pt x="1281443" y="49099"/>
                  </a:lnTo>
                  <a:lnTo>
                    <a:pt x="1270415" y="49099"/>
                  </a:lnTo>
                  <a:lnTo>
                    <a:pt x="1270415" y="8028"/>
                  </a:lnTo>
                  <a:close/>
                  <a:moveTo>
                    <a:pt x="1329119" y="49099"/>
                  </a:moveTo>
                  <a:lnTo>
                    <a:pt x="1329119" y="85644"/>
                  </a:lnTo>
                  <a:lnTo>
                    <a:pt x="1319957" y="85644"/>
                  </a:lnTo>
                  <a:lnTo>
                    <a:pt x="1319957" y="435397"/>
                  </a:lnTo>
                  <a:lnTo>
                    <a:pt x="1325169" y="435397"/>
                  </a:lnTo>
                  <a:lnTo>
                    <a:pt x="1325169" y="460524"/>
                  </a:lnTo>
                  <a:lnTo>
                    <a:pt x="1359788" y="460524"/>
                  </a:lnTo>
                  <a:lnTo>
                    <a:pt x="1359788" y="435397"/>
                  </a:lnTo>
                  <a:lnTo>
                    <a:pt x="1365055" y="435397"/>
                  </a:lnTo>
                  <a:lnTo>
                    <a:pt x="1365055" y="85644"/>
                  </a:lnTo>
                  <a:lnTo>
                    <a:pt x="1355673" y="85644"/>
                  </a:lnTo>
                  <a:lnTo>
                    <a:pt x="1355673" y="49099"/>
                  </a:lnTo>
                  <a:close/>
                  <a:moveTo>
                    <a:pt x="1422059" y="435397"/>
                  </a:moveTo>
                  <a:lnTo>
                    <a:pt x="1422059" y="85644"/>
                  </a:lnTo>
                  <a:lnTo>
                    <a:pt x="1394353" y="85644"/>
                  </a:lnTo>
                  <a:lnTo>
                    <a:pt x="1394353" y="435397"/>
                  </a:lnTo>
                  <a:lnTo>
                    <a:pt x="1399619" y="435397"/>
                  </a:lnTo>
                  <a:lnTo>
                    <a:pt x="1399619" y="460524"/>
                  </a:lnTo>
                  <a:lnTo>
                    <a:pt x="1416792" y="460524"/>
                  </a:lnTo>
                  <a:lnTo>
                    <a:pt x="1416792" y="435397"/>
                  </a:lnTo>
                  <a:lnTo>
                    <a:pt x="1422059" y="435397"/>
                  </a:lnTo>
                </a:path>
              </a:pathLst>
            </a:custGeom>
            <a:grpFill/>
            <a:ln w="548" cap="flat">
              <a:noFill/>
              <a:prstDash val="solid"/>
              <a:miter/>
            </a:ln>
          </p:spPr>
          <p:txBody>
            <a:bodyPr/>
            <a:lstStyle/>
            <a:p>
              <a:endParaRPr lang="en-US"/>
            </a:p>
          </p:txBody>
        </p:sp>
        <p:sp>
          <p:nvSpPr>
            <p:cNvPr id="505" name="Freeform: Shape 504">
              <a:extLst>
                <a:ext uri="{FF2B5EF4-FFF2-40B4-BE49-F238E27FC236}">
                  <a16:creationId xmlns:a16="http://schemas.microsoft.com/office/drawing/2014/main" id="{E491A7BE-4154-FDB3-DFA4-F4E4B62B1A22}"/>
                </a:ext>
              </a:extLst>
            </p:cNvPr>
            <p:cNvSpPr/>
            <p:nvPr/>
          </p:nvSpPr>
          <p:spPr>
            <a:xfrm flipV="1">
              <a:off x="22286810" y="4263119"/>
              <a:ext cx="693267" cy="158518"/>
            </a:xfrm>
            <a:custGeom>
              <a:avLst/>
              <a:gdLst>
                <a:gd name="csX0" fmla="*/ 18898 w 693267"/>
                <a:gd name="csY0" fmla="*/ -5388 h 158518"/>
                <a:gd name="csX1" fmla="*/ 661196 w 693267"/>
                <a:gd name="csY1" fmla="*/ -5388 h 158518"/>
                <a:gd name="csX2" fmla="*/ 661196 w 693267"/>
                <a:gd name="csY2" fmla="*/ 7823 h 158518"/>
                <a:gd name="csX3" fmla="*/ 686379 w 693267"/>
                <a:gd name="csY3" fmla="*/ 7823 h 158518"/>
                <a:gd name="csX4" fmla="*/ 339748 w 693267"/>
                <a:gd name="csY4" fmla="*/ 153131 h 158518"/>
                <a:gd name="csX5" fmla="*/ -6888 w 693267"/>
                <a:gd name="csY5" fmla="*/ 7823 h 158518"/>
                <a:gd name="csX6" fmla="*/ 18898 w 693267"/>
                <a:gd name="csY6" fmla="*/ 7823 h 158518"/>
                <a:gd name="csX7" fmla="*/ 339748 w 693267"/>
                <a:gd name="csY7" fmla="*/ 136600 h 158518"/>
                <a:gd name="csX8" fmla="*/ 610612 w 693267"/>
                <a:gd name="csY8" fmla="*/ 23059 h 158518"/>
                <a:gd name="csX9" fmla="*/ 68890 w 693267"/>
                <a:gd name="csY9" fmla="*/ 23059 h 15851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Lst>
              <a:rect l="l" t="t" r="r" b="b"/>
              <a:pathLst>
                <a:path w="693267" h="158518">
                  <a:moveTo>
                    <a:pt x="18898" y="-5388"/>
                  </a:moveTo>
                  <a:lnTo>
                    <a:pt x="661196" y="-5388"/>
                  </a:lnTo>
                  <a:lnTo>
                    <a:pt x="661196" y="7823"/>
                  </a:lnTo>
                  <a:lnTo>
                    <a:pt x="686379" y="7823"/>
                  </a:lnTo>
                  <a:lnTo>
                    <a:pt x="339748" y="153131"/>
                  </a:lnTo>
                  <a:lnTo>
                    <a:pt x="-6888" y="7823"/>
                  </a:lnTo>
                  <a:lnTo>
                    <a:pt x="18898" y="7823"/>
                  </a:lnTo>
                  <a:close/>
                  <a:moveTo>
                    <a:pt x="339748" y="136600"/>
                  </a:moveTo>
                  <a:lnTo>
                    <a:pt x="610612" y="23059"/>
                  </a:lnTo>
                  <a:lnTo>
                    <a:pt x="68890" y="23059"/>
                  </a:lnTo>
                  <a:close/>
                </a:path>
              </a:pathLst>
            </a:custGeom>
            <a:grpFill/>
            <a:ln w="548" cap="flat">
              <a:noFill/>
              <a:prstDash val="solid"/>
              <a:miter/>
            </a:ln>
          </p:spPr>
          <p:txBody>
            <a:bodyPr/>
            <a:lstStyle/>
            <a:p>
              <a:endParaRPr lang="en-US"/>
            </a:p>
          </p:txBody>
        </p:sp>
        <p:sp>
          <p:nvSpPr>
            <p:cNvPr id="506" name="Freeform: Shape 505">
              <a:extLst>
                <a:ext uri="{FF2B5EF4-FFF2-40B4-BE49-F238E27FC236}">
                  <a16:creationId xmlns:a16="http://schemas.microsoft.com/office/drawing/2014/main" id="{83457630-C8F5-2E6C-50A1-0E5C77CE32E8}"/>
                </a:ext>
              </a:extLst>
            </p:cNvPr>
            <p:cNvSpPr/>
            <p:nvPr/>
          </p:nvSpPr>
          <p:spPr>
            <a:xfrm flipV="1">
              <a:off x="23224057" y="4369122"/>
              <a:ext cx="338785" cy="104444"/>
            </a:xfrm>
            <a:custGeom>
              <a:avLst/>
              <a:gdLst>
                <a:gd name="csX0" fmla="*/ 139041 w 338785"/>
                <a:gd name="csY0" fmla="*/ -5198 h 104444"/>
                <a:gd name="csX1" fmla="*/ 184084 w 338785"/>
                <a:gd name="csY1" fmla="*/ -5198 h 104444"/>
                <a:gd name="csX2" fmla="*/ 184084 w 338785"/>
                <a:gd name="csY2" fmla="*/ 16726 h 104444"/>
                <a:gd name="csX3" fmla="*/ 330955 w 338785"/>
                <a:gd name="csY3" fmla="*/ 16726 h 104444"/>
                <a:gd name="csX4" fmla="*/ 330955 w 338785"/>
                <a:gd name="csY4" fmla="*/ 32093 h 104444"/>
                <a:gd name="csX5" fmla="*/ 263801 w 338785"/>
                <a:gd name="csY5" fmla="*/ 32093 h 104444"/>
                <a:gd name="csX6" fmla="*/ 263801 w 338785"/>
                <a:gd name="csY6" fmla="*/ 62137 h 104444"/>
                <a:gd name="csX7" fmla="*/ 209541 w 338785"/>
                <a:gd name="csY7" fmla="*/ 62137 h 104444"/>
                <a:gd name="csX8" fmla="*/ 209541 w 338785"/>
                <a:gd name="csY8" fmla="*/ 32093 h 104444"/>
                <a:gd name="csX9" fmla="*/ 184084 w 338785"/>
                <a:gd name="csY9" fmla="*/ 32093 h 104444"/>
                <a:gd name="csX10" fmla="*/ 184084 w 338785"/>
                <a:gd name="csY10" fmla="*/ 72605 h 104444"/>
                <a:gd name="csX11" fmla="*/ 184084 w 338785"/>
                <a:gd name="csY11" fmla="*/ 91867 h 104444"/>
                <a:gd name="csX12" fmla="*/ 187376 w 338785"/>
                <a:gd name="csY12" fmla="*/ 91867 h 104444"/>
                <a:gd name="csX13" fmla="*/ 187376 w 338785"/>
                <a:gd name="csY13" fmla="*/ 99247 h 104444"/>
                <a:gd name="csX14" fmla="*/ 135804 w 338785"/>
                <a:gd name="csY14" fmla="*/ 99247 h 104444"/>
                <a:gd name="csX15" fmla="*/ 135804 w 338785"/>
                <a:gd name="csY15" fmla="*/ 91867 h 104444"/>
                <a:gd name="csX16" fmla="*/ 139041 w 338785"/>
                <a:gd name="csY16" fmla="*/ 91867 h 104444"/>
                <a:gd name="csX17" fmla="*/ 139041 w 338785"/>
                <a:gd name="csY17" fmla="*/ 72605 h 104444"/>
                <a:gd name="csX18" fmla="*/ 139041 w 338785"/>
                <a:gd name="csY18" fmla="*/ 32093 h 104444"/>
                <a:gd name="csX19" fmla="*/ -7830 w 338785"/>
                <a:gd name="csY19" fmla="*/ 32093 h 104444"/>
                <a:gd name="csX20" fmla="*/ -7830 w 338785"/>
                <a:gd name="csY20" fmla="*/ 16726 h 104444"/>
                <a:gd name="csX21" fmla="*/ 139041 w 338785"/>
                <a:gd name="csY21" fmla="*/ 16726 h 104444"/>
                <a:gd name="csX22" fmla="*/ 139041 w 338785"/>
                <a:gd name="csY22" fmla="*/ -5198 h 10444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Lst>
              <a:rect l="l" t="t" r="r" b="b"/>
              <a:pathLst>
                <a:path w="338785" h="104444">
                  <a:moveTo>
                    <a:pt x="139041" y="-5198"/>
                  </a:moveTo>
                  <a:lnTo>
                    <a:pt x="184084" y="-5198"/>
                  </a:lnTo>
                  <a:lnTo>
                    <a:pt x="184084" y="16726"/>
                  </a:lnTo>
                  <a:lnTo>
                    <a:pt x="330955" y="16726"/>
                  </a:lnTo>
                  <a:lnTo>
                    <a:pt x="330955" y="32093"/>
                  </a:lnTo>
                  <a:lnTo>
                    <a:pt x="263801" y="32093"/>
                  </a:lnTo>
                  <a:lnTo>
                    <a:pt x="263801" y="62137"/>
                  </a:lnTo>
                  <a:lnTo>
                    <a:pt x="209541" y="62137"/>
                  </a:lnTo>
                  <a:lnTo>
                    <a:pt x="209541" y="32093"/>
                  </a:lnTo>
                  <a:lnTo>
                    <a:pt x="184084" y="32093"/>
                  </a:lnTo>
                  <a:lnTo>
                    <a:pt x="184084" y="72605"/>
                  </a:lnTo>
                  <a:lnTo>
                    <a:pt x="184084" y="91867"/>
                  </a:lnTo>
                  <a:lnTo>
                    <a:pt x="187376" y="91867"/>
                  </a:lnTo>
                  <a:lnTo>
                    <a:pt x="187376" y="99247"/>
                  </a:lnTo>
                  <a:lnTo>
                    <a:pt x="135804" y="99247"/>
                  </a:lnTo>
                  <a:lnTo>
                    <a:pt x="135804" y="91867"/>
                  </a:lnTo>
                  <a:lnTo>
                    <a:pt x="139041" y="91867"/>
                  </a:lnTo>
                  <a:lnTo>
                    <a:pt x="139041" y="72605"/>
                  </a:lnTo>
                  <a:lnTo>
                    <a:pt x="139041" y="32093"/>
                  </a:lnTo>
                  <a:lnTo>
                    <a:pt x="-7830" y="32093"/>
                  </a:lnTo>
                  <a:lnTo>
                    <a:pt x="-7830" y="16726"/>
                  </a:lnTo>
                  <a:lnTo>
                    <a:pt x="139041" y="16726"/>
                  </a:lnTo>
                  <a:lnTo>
                    <a:pt x="139041" y="-5198"/>
                  </a:lnTo>
                </a:path>
              </a:pathLst>
            </a:custGeom>
            <a:grpFill/>
            <a:ln w="548" cap="flat">
              <a:noFill/>
              <a:prstDash val="solid"/>
              <a:miter/>
            </a:ln>
          </p:spPr>
          <p:txBody>
            <a:bodyPr/>
            <a:lstStyle/>
            <a:p>
              <a:endParaRPr lang="en-US"/>
            </a:p>
          </p:txBody>
        </p:sp>
        <p:sp>
          <p:nvSpPr>
            <p:cNvPr id="507" name="Freeform: Shape 506">
              <a:extLst>
                <a:ext uri="{FF2B5EF4-FFF2-40B4-BE49-F238E27FC236}">
                  <a16:creationId xmlns:a16="http://schemas.microsoft.com/office/drawing/2014/main" id="{C11AC632-E62C-D8BE-13D6-C6FDBAF07CE8}"/>
                </a:ext>
              </a:extLst>
            </p:cNvPr>
            <p:cNvSpPr/>
            <p:nvPr/>
          </p:nvSpPr>
          <p:spPr>
            <a:xfrm flipV="1">
              <a:off x="23886101" y="4735817"/>
              <a:ext cx="57058" cy="35749"/>
            </a:xfrm>
            <a:custGeom>
              <a:avLst/>
              <a:gdLst>
                <a:gd name="csX0" fmla="*/ 20053 w 57058"/>
                <a:gd name="csY0" fmla="*/ 31351 h 35749"/>
                <a:gd name="csX1" fmla="*/ -8476 w 57058"/>
                <a:gd name="csY1" fmla="*/ 2833 h 35749"/>
                <a:gd name="csX2" fmla="*/ -8476 w 57058"/>
                <a:gd name="csY2" fmla="*/ -4398 h 35749"/>
                <a:gd name="csX3" fmla="*/ 48582 w 57058"/>
                <a:gd name="csY3" fmla="*/ -4398 h 35749"/>
                <a:gd name="csX4" fmla="*/ 48582 w 57058"/>
                <a:gd name="csY4" fmla="*/ 2833 h 35749"/>
                <a:gd name="csX5" fmla="*/ 20053 w 57058"/>
                <a:gd name="csY5" fmla="*/ 31351 h 35749"/>
              </a:gdLst>
              <a:ahLst/>
              <a:cxnLst>
                <a:cxn ang="0">
                  <a:pos x="csX0" y="csY0"/>
                </a:cxn>
                <a:cxn ang="0">
                  <a:pos x="csX1" y="csY1"/>
                </a:cxn>
                <a:cxn ang="0">
                  <a:pos x="csX2" y="csY2"/>
                </a:cxn>
                <a:cxn ang="0">
                  <a:pos x="csX3" y="csY3"/>
                </a:cxn>
                <a:cxn ang="0">
                  <a:pos x="csX4" y="csY4"/>
                </a:cxn>
                <a:cxn ang="0">
                  <a:pos x="csX5" y="csY5"/>
                </a:cxn>
              </a:cxnLst>
              <a:rect l="l" t="t" r="r" b="b"/>
              <a:pathLst>
                <a:path w="57058" h="35749">
                  <a:moveTo>
                    <a:pt x="20053" y="31351"/>
                  </a:moveTo>
                  <a:cubicBezTo>
                    <a:pt x="4307" y="31351"/>
                    <a:pt x="-8476" y="18590"/>
                    <a:pt x="-8476" y="2833"/>
                  </a:cubicBezTo>
                  <a:lnTo>
                    <a:pt x="-8476" y="-4398"/>
                  </a:lnTo>
                  <a:lnTo>
                    <a:pt x="48582" y="-4398"/>
                  </a:lnTo>
                  <a:lnTo>
                    <a:pt x="48582" y="2833"/>
                  </a:lnTo>
                  <a:cubicBezTo>
                    <a:pt x="48582" y="18590"/>
                    <a:pt x="35799" y="31351"/>
                    <a:pt x="20053" y="31351"/>
                  </a:cubicBezTo>
                </a:path>
              </a:pathLst>
            </a:custGeom>
            <a:grpFill/>
            <a:ln w="548" cap="flat">
              <a:noFill/>
              <a:prstDash val="solid"/>
              <a:miter/>
            </a:ln>
          </p:spPr>
          <p:txBody>
            <a:bodyPr/>
            <a:lstStyle/>
            <a:p>
              <a:endParaRPr lang="en-US"/>
            </a:p>
          </p:txBody>
        </p:sp>
        <p:sp>
          <p:nvSpPr>
            <p:cNvPr id="508" name="Freeform: Shape 507">
              <a:extLst>
                <a:ext uri="{FF2B5EF4-FFF2-40B4-BE49-F238E27FC236}">
                  <a16:creationId xmlns:a16="http://schemas.microsoft.com/office/drawing/2014/main" id="{A7385ED1-6762-AC79-6E16-6BF23F2A058A}"/>
                </a:ext>
              </a:extLst>
            </p:cNvPr>
            <p:cNvSpPr/>
            <p:nvPr/>
          </p:nvSpPr>
          <p:spPr>
            <a:xfrm flipV="1">
              <a:off x="23886101" y="4773848"/>
              <a:ext cx="27376" cy="71970"/>
            </a:xfrm>
            <a:custGeom>
              <a:avLst/>
              <a:gdLst>
                <a:gd name="csX0" fmla="*/ -8458 w 27376"/>
                <a:gd name="csY0" fmla="*/ -4263 h 71970"/>
                <a:gd name="csX1" fmla="*/ 18919 w 27376"/>
                <a:gd name="csY1" fmla="*/ -4263 h 71970"/>
                <a:gd name="csX2" fmla="*/ 18919 w 27376"/>
                <a:gd name="csY2" fmla="*/ 67707 h 71970"/>
                <a:gd name="csX3" fmla="*/ -8458 w 27376"/>
                <a:gd name="csY3" fmla="*/ 67707 h 71970"/>
                <a:gd name="csX4" fmla="*/ -8458 w 27376"/>
                <a:gd name="csY4" fmla="*/ -4263 h 71970"/>
              </a:gdLst>
              <a:ahLst/>
              <a:cxnLst>
                <a:cxn ang="0">
                  <a:pos x="csX0" y="csY0"/>
                </a:cxn>
                <a:cxn ang="0">
                  <a:pos x="csX1" y="csY1"/>
                </a:cxn>
                <a:cxn ang="0">
                  <a:pos x="csX2" y="csY2"/>
                </a:cxn>
                <a:cxn ang="0">
                  <a:pos x="csX3" y="csY3"/>
                </a:cxn>
                <a:cxn ang="0">
                  <a:pos x="csX4" y="csY4"/>
                </a:cxn>
              </a:cxnLst>
              <a:rect l="l" t="t" r="r" b="b"/>
              <a:pathLst>
                <a:path w="27376" h="71970">
                  <a:moveTo>
                    <a:pt x="-8458" y="-4263"/>
                  </a:moveTo>
                  <a:lnTo>
                    <a:pt x="18919" y="-4263"/>
                  </a:lnTo>
                  <a:lnTo>
                    <a:pt x="18919" y="67707"/>
                  </a:lnTo>
                  <a:lnTo>
                    <a:pt x="-8458" y="67707"/>
                  </a:lnTo>
                  <a:lnTo>
                    <a:pt x="-8458" y="-4263"/>
                  </a:lnTo>
                </a:path>
              </a:pathLst>
            </a:custGeom>
            <a:grpFill/>
            <a:ln w="548" cap="flat">
              <a:noFill/>
              <a:prstDash val="solid"/>
              <a:miter/>
            </a:ln>
          </p:spPr>
          <p:txBody>
            <a:bodyPr/>
            <a:lstStyle/>
            <a:p>
              <a:endParaRPr lang="en-US"/>
            </a:p>
          </p:txBody>
        </p:sp>
        <p:sp>
          <p:nvSpPr>
            <p:cNvPr id="509" name="Freeform: Shape 508">
              <a:extLst>
                <a:ext uri="{FF2B5EF4-FFF2-40B4-BE49-F238E27FC236}">
                  <a16:creationId xmlns:a16="http://schemas.microsoft.com/office/drawing/2014/main" id="{35E754AB-63A4-25C3-453D-6291A7EDBDDC}"/>
                </a:ext>
              </a:extLst>
            </p:cNvPr>
            <p:cNvSpPr/>
            <p:nvPr/>
          </p:nvSpPr>
          <p:spPr>
            <a:xfrm flipV="1">
              <a:off x="23915783" y="4773848"/>
              <a:ext cx="27377" cy="71970"/>
            </a:xfrm>
            <a:custGeom>
              <a:avLst/>
              <a:gdLst>
                <a:gd name="csX0" fmla="*/ -8495 w 27377"/>
                <a:gd name="csY0" fmla="*/ -4263 h 71970"/>
                <a:gd name="csX1" fmla="*/ 18883 w 27377"/>
                <a:gd name="csY1" fmla="*/ -4263 h 71970"/>
                <a:gd name="csX2" fmla="*/ 18883 w 27377"/>
                <a:gd name="csY2" fmla="*/ 67707 h 71970"/>
                <a:gd name="csX3" fmla="*/ -8495 w 27377"/>
                <a:gd name="csY3" fmla="*/ 67707 h 71970"/>
                <a:gd name="csX4" fmla="*/ -8495 w 27377"/>
                <a:gd name="csY4" fmla="*/ -4263 h 71970"/>
              </a:gdLst>
              <a:ahLst/>
              <a:cxnLst>
                <a:cxn ang="0">
                  <a:pos x="csX0" y="csY0"/>
                </a:cxn>
                <a:cxn ang="0">
                  <a:pos x="csX1" y="csY1"/>
                </a:cxn>
                <a:cxn ang="0">
                  <a:pos x="csX2" y="csY2"/>
                </a:cxn>
                <a:cxn ang="0">
                  <a:pos x="csX3" y="csY3"/>
                </a:cxn>
                <a:cxn ang="0">
                  <a:pos x="csX4" y="csY4"/>
                </a:cxn>
              </a:cxnLst>
              <a:rect l="l" t="t" r="r" b="b"/>
              <a:pathLst>
                <a:path w="27377" h="71970">
                  <a:moveTo>
                    <a:pt x="-8495" y="-4263"/>
                  </a:moveTo>
                  <a:lnTo>
                    <a:pt x="18883" y="-4263"/>
                  </a:lnTo>
                  <a:lnTo>
                    <a:pt x="18883" y="67707"/>
                  </a:lnTo>
                  <a:lnTo>
                    <a:pt x="-8495" y="67707"/>
                  </a:lnTo>
                  <a:lnTo>
                    <a:pt x="-8495" y="-4263"/>
                  </a:lnTo>
                </a:path>
              </a:pathLst>
            </a:custGeom>
            <a:grpFill/>
            <a:ln w="548" cap="flat">
              <a:noFill/>
              <a:prstDash val="solid"/>
              <a:miter/>
            </a:ln>
          </p:spPr>
          <p:txBody>
            <a:bodyPr/>
            <a:lstStyle/>
            <a:p>
              <a:endParaRPr lang="en-US"/>
            </a:p>
          </p:txBody>
        </p:sp>
        <p:sp>
          <p:nvSpPr>
            <p:cNvPr id="510" name="Freeform: Shape 509">
              <a:extLst>
                <a:ext uri="{FF2B5EF4-FFF2-40B4-BE49-F238E27FC236}">
                  <a16:creationId xmlns:a16="http://schemas.microsoft.com/office/drawing/2014/main" id="{064A0F9F-79B9-4800-094D-811ABC441AAF}"/>
                </a:ext>
              </a:extLst>
            </p:cNvPr>
            <p:cNvSpPr/>
            <p:nvPr/>
          </p:nvSpPr>
          <p:spPr>
            <a:xfrm flipV="1">
              <a:off x="22917093" y="4534159"/>
              <a:ext cx="908602" cy="389452"/>
            </a:xfrm>
            <a:custGeom>
              <a:avLst/>
              <a:gdLst>
                <a:gd name="csX0" fmla="*/ -7803 w 908602"/>
                <a:gd name="csY0" fmla="*/ -4458 h 389452"/>
                <a:gd name="csX1" fmla="*/ 900800 w 908602"/>
                <a:gd name="csY1" fmla="*/ -4458 h 389452"/>
                <a:gd name="csX2" fmla="*/ 900800 w 908602"/>
                <a:gd name="csY2" fmla="*/ 384994 h 389452"/>
                <a:gd name="csX3" fmla="*/ -7803 w 908602"/>
                <a:gd name="csY3" fmla="*/ 384994 h 389452"/>
                <a:gd name="csX4" fmla="*/ 33948 w 908602"/>
                <a:gd name="csY4" fmla="*/ 73334 h 389452"/>
                <a:gd name="csX5" fmla="*/ 33948 w 908602"/>
                <a:gd name="csY5" fmla="*/ 145304 h 389452"/>
                <a:gd name="csX6" fmla="*/ 61326 w 908602"/>
                <a:gd name="csY6" fmla="*/ 145304 h 389452"/>
                <a:gd name="csX7" fmla="*/ 61326 w 908602"/>
                <a:gd name="csY7" fmla="*/ 73334 h 389452"/>
                <a:gd name="csX8" fmla="*/ 91007 w 908602"/>
                <a:gd name="csY8" fmla="*/ 73334 h 389452"/>
                <a:gd name="csX9" fmla="*/ 63630 w 908602"/>
                <a:gd name="csY9" fmla="*/ 73334 h 389452"/>
                <a:gd name="csX10" fmla="*/ 63630 w 908602"/>
                <a:gd name="csY10" fmla="*/ 145304 h 389452"/>
                <a:gd name="csX11" fmla="*/ 91007 w 908602"/>
                <a:gd name="csY11" fmla="*/ 145304 h 389452"/>
                <a:gd name="csX12" fmla="*/ 225972 w 908602"/>
                <a:gd name="csY12" fmla="*/ 73334 h 389452"/>
                <a:gd name="csX13" fmla="*/ 225972 w 908602"/>
                <a:gd name="csY13" fmla="*/ 145304 h 389452"/>
                <a:gd name="csX14" fmla="*/ 253350 w 908602"/>
                <a:gd name="csY14" fmla="*/ 145304 h 389452"/>
                <a:gd name="csX15" fmla="*/ 253350 w 908602"/>
                <a:gd name="csY15" fmla="*/ 73334 h 389452"/>
                <a:gd name="csX16" fmla="*/ 283031 w 908602"/>
                <a:gd name="csY16" fmla="*/ 73334 h 389452"/>
                <a:gd name="csX17" fmla="*/ 255654 w 908602"/>
                <a:gd name="csY17" fmla="*/ 73334 h 389452"/>
                <a:gd name="csX18" fmla="*/ 255654 w 908602"/>
                <a:gd name="csY18" fmla="*/ 145304 h 389452"/>
                <a:gd name="csX19" fmla="*/ 283031 w 908602"/>
                <a:gd name="csY19" fmla="*/ 145304 h 389452"/>
                <a:gd name="csX20" fmla="*/ 475055 w 908602"/>
                <a:gd name="csY20" fmla="*/ 147587 h 389452"/>
                <a:gd name="csX21" fmla="*/ 417996 w 908602"/>
                <a:gd name="csY21" fmla="*/ 147587 h 389452"/>
                <a:gd name="csX22" fmla="*/ 417996 w 908602"/>
                <a:gd name="csY22" fmla="*/ 154818 h 389452"/>
                <a:gd name="csX23" fmla="*/ 446526 w 908602"/>
                <a:gd name="csY23" fmla="*/ 183336 h 389452"/>
                <a:gd name="csX24" fmla="*/ 475055 w 908602"/>
                <a:gd name="csY24" fmla="*/ 154818 h 389452"/>
                <a:gd name="csX25" fmla="*/ 417996 w 908602"/>
                <a:gd name="csY25" fmla="*/ 73334 h 389452"/>
                <a:gd name="csX26" fmla="*/ 417996 w 908602"/>
                <a:gd name="csY26" fmla="*/ 145304 h 389452"/>
                <a:gd name="csX27" fmla="*/ 445374 w 908602"/>
                <a:gd name="csY27" fmla="*/ 145304 h 389452"/>
                <a:gd name="csX28" fmla="*/ 445374 w 908602"/>
                <a:gd name="csY28" fmla="*/ 73334 h 389452"/>
                <a:gd name="csX29" fmla="*/ 475055 w 908602"/>
                <a:gd name="csY29" fmla="*/ 73334 h 389452"/>
                <a:gd name="csX30" fmla="*/ 447678 w 908602"/>
                <a:gd name="csY30" fmla="*/ 73334 h 389452"/>
                <a:gd name="csX31" fmla="*/ 447678 w 908602"/>
                <a:gd name="csY31" fmla="*/ 145304 h 389452"/>
                <a:gd name="csX32" fmla="*/ 475055 w 908602"/>
                <a:gd name="csY32" fmla="*/ 145304 h 389452"/>
                <a:gd name="csX33" fmla="*/ 610021 w 908602"/>
                <a:gd name="csY33" fmla="*/ 73334 h 389452"/>
                <a:gd name="csX34" fmla="*/ 610021 w 908602"/>
                <a:gd name="csY34" fmla="*/ 145304 h 389452"/>
                <a:gd name="csX35" fmla="*/ 637398 w 908602"/>
                <a:gd name="csY35" fmla="*/ 145304 h 389452"/>
                <a:gd name="csX36" fmla="*/ 637398 w 908602"/>
                <a:gd name="csY36" fmla="*/ 73334 h 389452"/>
                <a:gd name="csX37" fmla="*/ 667079 w 908602"/>
                <a:gd name="csY37" fmla="*/ 73334 h 389452"/>
                <a:gd name="csX38" fmla="*/ 639702 w 908602"/>
                <a:gd name="csY38" fmla="*/ 73334 h 389452"/>
                <a:gd name="csX39" fmla="*/ 639702 w 908602"/>
                <a:gd name="csY39" fmla="*/ 145304 h 389452"/>
                <a:gd name="csX40" fmla="*/ 667079 w 908602"/>
                <a:gd name="csY40" fmla="*/ 145304 h 389452"/>
                <a:gd name="csX41" fmla="*/ 802045 w 908602"/>
                <a:gd name="csY41" fmla="*/ 73334 h 389452"/>
                <a:gd name="csX42" fmla="*/ 802045 w 908602"/>
                <a:gd name="csY42" fmla="*/ 145304 h 389452"/>
                <a:gd name="csX43" fmla="*/ 829422 w 908602"/>
                <a:gd name="csY43" fmla="*/ 145304 h 389452"/>
                <a:gd name="csX44" fmla="*/ 829422 w 908602"/>
                <a:gd name="csY44" fmla="*/ 73334 h 389452"/>
                <a:gd name="csX45" fmla="*/ 859103 w 908602"/>
                <a:gd name="csY45" fmla="*/ 73334 h 389452"/>
                <a:gd name="csX46" fmla="*/ 831726 w 908602"/>
                <a:gd name="csY46" fmla="*/ 73334 h 389452"/>
                <a:gd name="csX47" fmla="*/ 831726 w 908602"/>
                <a:gd name="csY47" fmla="*/ 145304 h 389452"/>
                <a:gd name="csX48" fmla="*/ 859103 w 908602"/>
                <a:gd name="csY48" fmla="*/ 145304 h 389452"/>
                <a:gd name="csX49" fmla="*/ 861133 w 908602"/>
                <a:gd name="csY49" fmla="*/ 347116 h 389452"/>
                <a:gd name="csX50" fmla="*/ 887029 w 908602"/>
                <a:gd name="csY50" fmla="*/ 347116 h 389452"/>
                <a:gd name="csX51" fmla="*/ 887029 w 908602"/>
                <a:gd name="csY51" fmla="*/ 276385 h 389452"/>
                <a:gd name="csX52" fmla="*/ 861133 w 908602"/>
                <a:gd name="csY52" fmla="*/ 276385 h 389452"/>
                <a:gd name="csX53" fmla="*/ 856524 w 908602"/>
                <a:gd name="csY53" fmla="*/ 347116 h 389452"/>
                <a:gd name="csX54" fmla="*/ 856524 w 908602"/>
                <a:gd name="csY54" fmla="*/ 276385 h 389452"/>
                <a:gd name="csX55" fmla="*/ 830574 w 908602"/>
                <a:gd name="csY55" fmla="*/ 276385 h 389452"/>
                <a:gd name="csX56" fmla="*/ 830574 w 908602"/>
                <a:gd name="csY56" fmla="*/ 310609 h 389452"/>
                <a:gd name="csX57" fmla="*/ 855318 w 908602"/>
                <a:gd name="csY57" fmla="*/ 310609 h 389452"/>
                <a:gd name="csX58" fmla="*/ 856470 w 908602"/>
                <a:gd name="csY58" fmla="*/ 311751 h 389452"/>
                <a:gd name="csX59" fmla="*/ 855318 w 908602"/>
                <a:gd name="csY59" fmla="*/ 312892 h 389452"/>
                <a:gd name="csX60" fmla="*/ 830574 w 908602"/>
                <a:gd name="csY60" fmla="*/ 312892 h 389452"/>
                <a:gd name="csX61" fmla="*/ 830574 w 908602"/>
                <a:gd name="csY61" fmla="*/ 347116 h 389452"/>
                <a:gd name="csX62" fmla="*/ 804733 w 908602"/>
                <a:gd name="csY62" fmla="*/ 310609 h 389452"/>
                <a:gd name="csX63" fmla="*/ 828269 w 908602"/>
                <a:gd name="csY63" fmla="*/ 310609 h 389452"/>
                <a:gd name="csX64" fmla="*/ 828269 w 908602"/>
                <a:gd name="csY64" fmla="*/ 276385 h 389452"/>
                <a:gd name="csX65" fmla="*/ 804733 w 908602"/>
                <a:gd name="csY65" fmla="*/ 276385 h 389452"/>
                <a:gd name="csX66" fmla="*/ 828269 w 908602"/>
                <a:gd name="csY66" fmla="*/ 347116 h 389452"/>
                <a:gd name="csX67" fmla="*/ 828269 w 908602"/>
                <a:gd name="csY67" fmla="*/ 312892 h 389452"/>
                <a:gd name="csX68" fmla="*/ 804733 w 908602"/>
                <a:gd name="csY68" fmla="*/ 312892 h 389452"/>
                <a:gd name="csX69" fmla="*/ 804733 w 908602"/>
                <a:gd name="csY69" fmla="*/ 347116 h 389452"/>
                <a:gd name="csX70" fmla="*/ 802045 w 908602"/>
                <a:gd name="csY70" fmla="*/ 154818 h 389452"/>
                <a:gd name="csX71" fmla="*/ 830574 w 908602"/>
                <a:gd name="csY71" fmla="*/ 183336 h 389452"/>
                <a:gd name="csX72" fmla="*/ 859103 w 908602"/>
                <a:gd name="csY72" fmla="*/ 154818 h 389452"/>
                <a:gd name="csX73" fmla="*/ 859103 w 908602"/>
                <a:gd name="csY73" fmla="*/ 147587 h 389452"/>
                <a:gd name="csX74" fmla="*/ 802045 w 908602"/>
                <a:gd name="csY74" fmla="*/ 147587 h 389452"/>
                <a:gd name="csX75" fmla="*/ 774228 w 908602"/>
                <a:gd name="csY75" fmla="*/ 347116 h 389452"/>
                <a:gd name="csX76" fmla="*/ 800179 w 908602"/>
                <a:gd name="csY76" fmla="*/ 347116 h 389452"/>
                <a:gd name="csX77" fmla="*/ 800179 w 908602"/>
                <a:gd name="csY77" fmla="*/ 276385 h 389452"/>
                <a:gd name="csX78" fmla="*/ 774228 w 908602"/>
                <a:gd name="csY78" fmla="*/ 276385 h 389452"/>
                <a:gd name="csX79" fmla="*/ 669109 w 908602"/>
                <a:gd name="csY79" fmla="*/ 347116 h 389452"/>
                <a:gd name="csX80" fmla="*/ 695005 w 908602"/>
                <a:gd name="csY80" fmla="*/ 347116 h 389452"/>
                <a:gd name="csX81" fmla="*/ 695005 w 908602"/>
                <a:gd name="csY81" fmla="*/ 276385 h 389452"/>
                <a:gd name="csX82" fmla="*/ 669109 w 908602"/>
                <a:gd name="csY82" fmla="*/ 276385 h 389452"/>
                <a:gd name="csX83" fmla="*/ 612709 w 908602"/>
                <a:gd name="csY83" fmla="*/ 310609 h 389452"/>
                <a:gd name="csX84" fmla="*/ 637453 w 908602"/>
                <a:gd name="csY84" fmla="*/ 310609 h 389452"/>
                <a:gd name="csX85" fmla="*/ 637453 w 908602"/>
                <a:gd name="csY85" fmla="*/ 276385 h 389452"/>
                <a:gd name="csX86" fmla="*/ 612709 w 908602"/>
                <a:gd name="csY86" fmla="*/ 276385 h 389452"/>
                <a:gd name="csX87" fmla="*/ 639757 w 908602"/>
                <a:gd name="csY87" fmla="*/ 310609 h 389452"/>
                <a:gd name="csX88" fmla="*/ 664500 w 908602"/>
                <a:gd name="csY88" fmla="*/ 310609 h 389452"/>
                <a:gd name="csX89" fmla="*/ 664500 w 908602"/>
                <a:gd name="csY89" fmla="*/ 276385 h 389452"/>
                <a:gd name="csX90" fmla="*/ 639757 w 908602"/>
                <a:gd name="csY90" fmla="*/ 276385 h 389452"/>
                <a:gd name="csX91" fmla="*/ 664500 w 908602"/>
                <a:gd name="csY91" fmla="*/ 347116 h 389452"/>
                <a:gd name="csX92" fmla="*/ 664500 w 908602"/>
                <a:gd name="csY92" fmla="*/ 312892 h 389452"/>
                <a:gd name="csX93" fmla="*/ 639757 w 908602"/>
                <a:gd name="csY93" fmla="*/ 312892 h 389452"/>
                <a:gd name="csX94" fmla="*/ 639757 w 908602"/>
                <a:gd name="csY94" fmla="*/ 347116 h 389452"/>
                <a:gd name="csX95" fmla="*/ 612709 w 908602"/>
                <a:gd name="csY95" fmla="*/ 347116 h 389452"/>
                <a:gd name="csX96" fmla="*/ 637453 w 908602"/>
                <a:gd name="csY96" fmla="*/ 347116 h 389452"/>
                <a:gd name="csX97" fmla="*/ 637453 w 908602"/>
                <a:gd name="csY97" fmla="*/ 312892 h 389452"/>
                <a:gd name="csX98" fmla="*/ 612709 w 908602"/>
                <a:gd name="csY98" fmla="*/ 312892 h 389452"/>
                <a:gd name="csX99" fmla="*/ 610021 w 908602"/>
                <a:gd name="csY99" fmla="*/ 154818 h 389452"/>
                <a:gd name="csX100" fmla="*/ 638550 w 908602"/>
                <a:gd name="csY100" fmla="*/ 183336 h 389452"/>
                <a:gd name="csX101" fmla="*/ 667079 w 908602"/>
                <a:gd name="csY101" fmla="*/ 154818 h 389452"/>
                <a:gd name="csX102" fmla="*/ 667079 w 908602"/>
                <a:gd name="csY102" fmla="*/ 147587 h 389452"/>
                <a:gd name="csX103" fmla="*/ 610021 w 908602"/>
                <a:gd name="csY103" fmla="*/ 147587 h 389452"/>
                <a:gd name="csX104" fmla="*/ 582204 w 908602"/>
                <a:gd name="csY104" fmla="*/ 347116 h 389452"/>
                <a:gd name="csX105" fmla="*/ 608155 w 908602"/>
                <a:gd name="csY105" fmla="*/ 347116 h 389452"/>
                <a:gd name="csX106" fmla="*/ 608155 w 908602"/>
                <a:gd name="csY106" fmla="*/ 276385 h 389452"/>
                <a:gd name="csX107" fmla="*/ 582204 w 908602"/>
                <a:gd name="csY107" fmla="*/ 276385 h 389452"/>
                <a:gd name="csX108" fmla="*/ 368400 w 908602"/>
                <a:gd name="csY108" fmla="*/ 369237 h 389452"/>
                <a:gd name="csX109" fmla="*/ 524652 w 908602"/>
                <a:gd name="csY109" fmla="*/ 369237 h 389452"/>
                <a:gd name="csX110" fmla="*/ 524652 w 908602"/>
                <a:gd name="csY110" fmla="*/ 222931 h 389452"/>
                <a:gd name="csX111" fmla="*/ 368400 w 908602"/>
                <a:gd name="csY111" fmla="*/ 222931 h 389452"/>
                <a:gd name="csX112" fmla="*/ 285006 w 908602"/>
                <a:gd name="csY112" fmla="*/ 347116 h 389452"/>
                <a:gd name="csX113" fmla="*/ 310902 w 908602"/>
                <a:gd name="csY113" fmla="*/ 347116 h 389452"/>
                <a:gd name="csX114" fmla="*/ 310902 w 908602"/>
                <a:gd name="csY114" fmla="*/ 276385 h 389452"/>
                <a:gd name="csX115" fmla="*/ 285006 w 908602"/>
                <a:gd name="csY115" fmla="*/ 276385 h 389452"/>
                <a:gd name="csX116" fmla="*/ 228606 w 908602"/>
                <a:gd name="csY116" fmla="*/ 310609 h 389452"/>
                <a:gd name="csX117" fmla="*/ 253350 w 908602"/>
                <a:gd name="csY117" fmla="*/ 310609 h 389452"/>
                <a:gd name="csX118" fmla="*/ 253350 w 908602"/>
                <a:gd name="csY118" fmla="*/ 276385 h 389452"/>
                <a:gd name="csX119" fmla="*/ 228606 w 908602"/>
                <a:gd name="csY119" fmla="*/ 276385 h 389452"/>
                <a:gd name="csX120" fmla="*/ 255654 w 908602"/>
                <a:gd name="csY120" fmla="*/ 310609 h 389452"/>
                <a:gd name="csX121" fmla="*/ 280398 w 908602"/>
                <a:gd name="csY121" fmla="*/ 310609 h 389452"/>
                <a:gd name="csX122" fmla="*/ 280398 w 908602"/>
                <a:gd name="csY122" fmla="*/ 276385 h 389452"/>
                <a:gd name="csX123" fmla="*/ 255654 w 908602"/>
                <a:gd name="csY123" fmla="*/ 276385 h 389452"/>
                <a:gd name="csX124" fmla="*/ 280398 w 908602"/>
                <a:gd name="csY124" fmla="*/ 347116 h 389452"/>
                <a:gd name="csX125" fmla="*/ 280398 w 908602"/>
                <a:gd name="csY125" fmla="*/ 312892 h 389452"/>
                <a:gd name="csX126" fmla="*/ 255654 w 908602"/>
                <a:gd name="csY126" fmla="*/ 312892 h 389452"/>
                <a:gd name="csX127" fmla="*/ 255654 w 908602"/>
                <a:gd name="csY127" fmla="*/ 347116 h 389452"/>
                <a:gd name="csX128" fmla="*/ 228606 w 908602"/>
                <a:gd name="csY128" fmla="*/ 347116 h 389452"/>
                <a:gd name="csX129" fmla="*/ 253350 w 908602"/>
                <a:gd name="csY129" fmla="*/ 347116 h 389452"/>
                <a:gd name="csX130" fmla="*/ 253350 w 908602"/>
                <a:gd name="csY130" fmla="*/ 312892 h 389452"/>
                <a:gd name="csX131" fmla="*/ 228606 w 908602"/>
                <a:gd name="csY131" fmla="*/ 312892 h 389452"/>
                <a:gd name="csX132" fmla="*/ 225972 w 908602"/>
                <a:gd name="csY132" fmla="*/ 154818 h 389452"/>
                <a:gd name="csX133" fmla="*/ 254502 w 908602"/>
                <a:gd name="csY133" fmla="*/ 183336 h 389452"/>
                <a:gd name="csX134" fmla="*/ 283031 w 908602"/>
                <a:gd name="csY134" fmla="*/ 154818 h 389452"/>
                <a:gd name="csX135" fmla="*/ 283031 w 908602"/>
                <a:gd name="csY135" fmla="*/ 147587 h 389452"/>
                <a:gd name="csX136" fmla="*/ 225972 w 908602"/>
                <a:gd name="csY136" fmla="*/ 147587 h 389452"/>
                <a:gd name="csX137" fmla="*/ 198102 w 908602"/>
                <a:gd name="csY137" fmla="*/ 347116 h 389452"/>
                <a:gd name="csX138" fmla="*/ 224052 w 908602"/>
                <a:gd name="csY138" fmla="*/ 347116 h 389452"/>
                <a:gd name="csX139" fmla="*/ 224052 w 908602"/>
                <a:gd name="csY139" fmla="*/ 276385 h 389452"/>
                <a:gd name="csX140" fmla="*/ 198102 w 908602"/>
                <a:gd name="csY140" fmla="*/ 276385 h 389452"/>
                <a:gd name="csX141" fmla="*/ 92982 w 908602"/>
                <a:gd name="csY141" fmla="*/ 347116 h 389452"/>
                <a:gd name="csX142" fmla="*/ 118878 w 908602"/>
                <a:gd name="csY142" fmla="*/ 347116 h 389452"/>
                <a:gd name="csX143" fmla="*/ 118878 w 908602"/>
                <a:gd name="csY143" fmla="*/ 276385 h 389452"/>
                <a:gd name="csX144" fmla="*/ 92982 w 908602"/>
                <a:gd name="csY144" fmla="*/ 276385 h 389452"/>
                <a:gd name="csX145" fmla="*/ 36582 w 908602"/>
                <a:gd name="csY145" fmla="*/ 310609 h 389452"/>
                <a:gd name="csX146" fmla="*/ 61326 w 908602"/>
                <a:gd name="csY146" fmla="*/ 310609 h 389452"/>
                <a:gd name="csX147" fmla="*/ 61326 w 908602"/>
                <a:gd name="csY147" fmla="*/ 276385 h 389452"/>
                <a:gd name="csX148" fmla="*/ 36582 w 908602"/>
                <a:gd name="csY148" fmla="*/ 276385 h 389452"/>
                <a:gd name="csX149" fmla="*/ 63630 w 908602"/>
                <a:gd name="csY149" fmla="*/ 310609 h 389452"/>
                <a:gd name="csX150" fmla="*/ 88374 w 908602"/>
                <a:gd name="csY150" fmla="*/ 310609 h 389452"/>
                <a:gd name="csX151" fmla="*/ 88374 w 908602"/>
                <a:gd name="csY151" fmla="*/ 276385 h 389452"/>
                <a:gd name="csX152" fmla="*/ 63630 w 908602"/>
                <a:gd name="csY152" fmla="*/ 276385 h 389452"/>
                <a:gd name="csX153" fmla="*/ 88374 w 908602"/>
                <a:gd name="csY153" fmla="*/ 347116 h 389452"/>
                <a:gd name="csX154" fmla="*/ 88374 w 908602"/>
                <a:gd name="csY154" fmla="*/ 312892 h 389452"/>
                <a:gd name="csX155" fmla="*/ 63630 w 908602"/>
                <a:gd name="csY155" fmla="*/ 312892 h 389452"/>
                <a:gd name="csX156" fmla="*/ 63630 w 908602"/>
                <a:gd name="csY156" fmla="*/ 347116 h 389452"/>
                <a:gd name="csX157" fmla="*/ 36582 w 908602"/>
                <a:gd name="csY157" fmla="*/ 347116 h 389452"/>
                <a:gd name="csX158" fmla="*/ 61326 w 908602"/>
                <a:gd name="csY158" fmla="*/ 347116 h 389452"/>
                <a:gd name="csX159" fmla="*/ 61326 w 908602"/>
                <a:gd name="csY159" fmla="*/ 312892 h 389452"/>
                <a:gd name="csX160" fmla="*/ 36582 w 908602"/>
                <a:gd name="csY160" fmla="*/ 312892 h 389452"/>
                <a:gd name="csX161" fmla="*/ 33948 w 908602"/>
                <a:gd name="csY161" fmla="*/ 154818 h 389452"/>
                <a:gd name="csX162" fmla="*/ 62478 w 908602"/>
                <a:gd name="csY162" fmla="*/ 183336 h 389452"/>
                <a:gd name="csX163" fmla="*/ 91007 w 908602"/>
                <a:gd name="csY163" fmla="*/ 154818 h 389452"/>
                <a:gd name="csX164" fmla="*/ 91007 w 908602"/>
                <a:gd name="csY164" fmla="*/ 147587 h 389452"/>
                <a:gd name="csX165" fmla="*/ 33948 w 908602"/>
                <a:gd name="csY165" fmla="*/ 147587 h 389452"/>
                <a:gd name="csX166" fmla="*/ 6078 w 908602"/>
                <a:gd name="csY166" fmla="*/ 347116 h 389452"/>
                <a:gd name="csX167" fmla="*/ 32028 w 908602"/>
                <a:gd name="csY167" fmla="*/ 347116 h 389452"/>
                <a:gd name="csX168" fmla="*/ 32028 w 908602"/>
                <a:gd name="csY168" fmla="*/ 276385 h 389452"/>
                <a:gd name="csX169" fmla="*/ 6078 w 908602"/>
                <a:gd name="csY169" fmla="*/ 276385 h 389452"/>
                <a:gd name="csX170" fmla="*/ 6078 w 908602"/>
                <a:gd name="csY170" fmla="*/ 347116 h 38945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 ang="0">
                  <a:pos x="csX97" y="csY97"/>
                </a:cxn>
                <a:cxn ang="0">
                  <a:pos x="csX98" y="csY98"/>
                </a:cxn>
                <a:cxn ang="0">
                  <a:pos x="csX99" y="csY99"/>
                </a:cxn>
                <a:cxn ang="0">
                  <a:pos x="csX100" y="csY100"/>
                </a:cxn>
                <a:cxn ang="0">
                  <a:pos x="csX101" y="csY101"/>
                </a:cxn>
                <a:cxn ang="0">
                  <a:pos x="csX102" y="csY102"/>
                </a:cxn>
                <a:cxn ang="0">
                  <a:pos x="csX103" y="csY103"/>
                </a:cxn>
                <a:cxn ang="0">
                  <a:pos x="csX104" y="csY104"/>
                </a:cxn>
                <a:cxn ang="0">
                  <a:pos x="csX105" y="csY105"/>
                </a:cxn>
                <a:cxn ang="0">
                  <a:pos x="csX106" y="csY106"/>
                </a:cxn>
                <a:cxn ang="0">
                  <a:pos x="csX107" y="csY107"/>
                </a:cxn>
                <a:cxn ang="0">
                  <a:pos x="csX108" y="csY108"/>
                </a:cxn>
                <a:cxn ang="0">
                  <a:pos x="csX109" y="csY109"/>
                </a:cxn>
                <a:cxn ang="0">
                  <a:pos x="csX110" y="csY110"/>
                </a:cxn>
                <a:cxn ang="0">
                  <a:pos x="csX111" y="csY111"/>
                </a:cxn>
                <a:cxn ang="0">
                  <a:pos x="csX112" y="csY112"/>
                </a:cxn>
                <a:cxn ang="0">
                  <a:pos x="csX113" y="csY113"/>
                </a:cxn>
                <a:cxn ang="0">
                  <a:pos x="csX114" y="csY114"/>
                </a:cxn>
                <a:cxn ang="0">
                  <a:pos x="csX115" y="csY115"/>
                </a:cxn>
                <a:cxn ang="0">
                  <a:pos x="csX116" y="csY116"/>
                </a:cxn>
                <a:cxn ang="0">
                  <a:pos x="csX117" y="csY117"/>
                </a:cxn>
                <a:cxn ang="0">
                  <a:pos x="csX118" y="csY118"/>
                </a:cxn>
                <a:cxn ang="0">
                  <a:pos x="csX119" y="csY119"/>
                </a:cxn>
                <a:cxn ang="0">
                  <a:pos x="csX120" y="csY120"/>
                </a:cxn>
                <a:cxn ang="0">
                  <a:pos x="csX121" y="csY121"/>
                </a:cxn>
                <a:cxn ang="0">
                  <a:pos x="csX122" y="csY122"/>
                </a:cxn>
                <a:cxn ang="0">
                  <a:pos x="csX123" y="csY123"/>
                </a:cxn>
                <a:cxn ang="0">
                  <a:pos x="csX124" y="csY124"/>
                </a:cxn>
                <a:cxn ang="0">
                  <a:pos x="csX125" y="csY125"/>
                </a:cxn>
                <a:cxn ang="0">
                  <a:pos x="csX126" y="csY126"/>
                </a:cxn>
                <a:cxn ang="0">
                  <a:pos x="csX127" y="csY127"/>
                </a:cxn>
                <a:cxn ang="0">
                  <a:pos x="csX128" y="csY128"/>
                </a:cxn>
                <a:cxn ang="0">
                  <a:pos x="csX129" y="csY129"/>
                </a:cxn>
                <a:cxn ang="0">
                  <a:pos x="csX130" y="csY130"/>
                </a:cxn>
                <a:cxn ang="0">
                  <a:pos x="csX131" y="csY131"/>
                </a:cxn>
                <a:cxn ang="0">
                  <a:pos x="csX132" y="csY132"/>
                </a:cxn>
                <a:cxn ang="0">
                  <a:pos x="csX133" y="csY133"/>
                </a:cxn>
                <a:cxn ang="0">
                  <a:pos x="csX134" y="csY134"/>
                </a:cxn>
                <a:cxn ang="0">
                  <a:pos x="csX135" y="csY135"/>
                </a:cxn>
                <a:cxn ang="0">
                  <a:pos x="csX136" y="csY136"/>
                </a:cxn>
                <a:cxn ang="0">
                  <a:pos x="csX137" y="csY137"/>
                </a:cxn>
                <a:cxn ang="0">
                  <a:pos x="csX138" y="csY138"/>
                </a:cxn>
                <a:cxn ang="0">
                  <a:pos x="csX139" y="csY139"/>
                </a:cxn>
                <a:cxn ang="0">
                  <a:pos x="csX140" y="csY140"/>
                </a:cxn>
                <a:cxn ang="0">
                  <a:pos x="csX141" y="csY141"/>
                </a:cxn>
                <a:cxn ang="0">
                  <a:pos x="csX142" y="csY142"/>
                </a:cxn>
                <a:cxn ang="0">
                  <a:pos x="csX143" y="csY143"/>
                </a:cxn>
                <a:cxn ang="0">
                  <a:pos x="csX144" y="csY144"/>
                </a:cxn>
                <a:cxn ang="0">
                  <a:pos x="csX145" y="csY145"/>
                </a:cxn>
                <a:cxn ang="0">
                  <a:pos x="csX146" y="csY146"/>
                </a:cxn>
                <a:cxn ang="0">
                  <a:pos x="csX147" y="csY147"/>
                </a:cxn>
                <a:cxn ang="0">
                  <a:pos x="csX148" y="csY148"/>
                </a:cxn>
                <a:cxn ang="0">
                  <a:pos x="csX149" y="csY149"/>
                </a:cxn>
                <a:cxn ang="0">
                  <a:pos x="csX150" y="csY150"/>
                </a:cxn>
                <a:cxn ang="0">
                  <a:pos x="csX151" y="csY151"/>
                </a:cxn>
                <a:cxn ang="0">
                  <a:pos x="csX152" y="csY152"/>
                </a:cxn>
                <a:cxn ang="0">
                  <a:pos x="csX153" y="csY153"/>
                </a:cxn>
                <a:cxn ang="0">
                  <a:pos x="csX154" y="csY154"/>
                </a:cxn>
                <a:cxn ang="0">
                  <a:pos x="csX155" y="csY155"/>
                </a:cxn>
                <a:cxn ang="0">
                  <a:pos x="csX156" y="csY156"/>
                </a:cxn>
                <a:cxn ang="0">
                  <a:pos x="csX157" y="csY157"/>
                </a:cxn>
                <a:cxn ang="0">
                  <a:pos x="csX158" y="csY158"/>
                </a:cxn>
                <a:cxn ang="0">
                  <a:pos x="csX159" y="csY159"/>
                </a:cxn>
                <a:cxn ang="0">
                  <a:pos x="csX160" y="csY160"/>
                </a:cxn>
                <a:cxn ang="0">
                  <a:pos x="csX161" y="csY161"/>
                </a:cxn>
                <a:cxn ang="0">
                  <a:pos x="csX162" y="csY162"/>
                </a:cxn>
                <a:cxn ang="0">
                  <a:pos x="csX163" y="csY163"/>
                </a:cxn>
                <a:cxn ang="0">
                  <a:pos x="csX164" y="csY164"/>
                </a:cxn>
                <a:cxn ang="0">
                  <a:pos x="csX165" y="csY165"/>
                </a:cxn>
                <a:cxn ang="0">
                  <a:pos x="csX166" y="csY166"/>
                </a:cxn>
                <a:cxn ang="0">
                  <a:pos x="csX167" y="csY167"/>
                </a:cxn>
                <a:cxn ang="0">
                  <a:pos x="csX168" y="csY168"/>
                </a:cxn>
                <a:cxn ang="0">
                  <a:pos x="csX169" y="csY169"/>
                </a:cxn>
                <a:cxn ang="0">
                  <a:pos x="csX170" y="csY170"/>
                </a:cxn>
              </a:cxnLst>
              <a:rect l="l" t="t" r="r" b="b"/>
              <a:pathLst>
                <a:path w="908602" h="389452">
                  <a:moveTo>
                    <a:pt x="-7803" y="-4458"/>
                  </a:moveTo>
                  <a:lnTo>
                    <a:pt x="900800" y="-4458"/>
                  </a:lnTo>
                  <a:lnTo>
                    <a:pt x="900800" y="384994"/>
                  </a:lnTo>
                  <a:lnTo>
                    <a:pt x="-7803" y="384994"/>
                  </a:lnTo>
                  <a:close/>
                  <a:moveTo>
                    <a:pt x="33948" y="73334"/>
                  </a:moveTo>
                  <a:lnTo>
                    <a:pt x="33948" y="145304"/>
                  </a:lnTo>
                  <a:lnTo>
                    <a:pt x="61326" y="145304"/>
                  </a:lnTo>
                  <a:lnTo>
                    <a:pt x="61326" y="73334"/>
                  </a:lnTo>
                  <a:close/>
                  <a:moveTo>
                    <a:pt x="91007" y="73334"/>
                  </a:moveTo>
                  <a:lnTo>
                    <a:pt x="63630" y="73334"/>
                  </a:lnTo>
                  <a:lnTo>
                    <a:pt x="63630" y="145304"/>
                  </a:lnTo>
                  <a:lnTo>
                    <a:pt x="91007" y="145304"/>
                  </a:lnTo>
                  <a:close/>
                  <a:moveTo>
                    <a:pt x="225972" y="73334"/>
                  </a:moveTo>
                  <a:lnTo>
                    <a:pt x="225972" y="145304"/>
                  </a:lnTo>
                  <a:lnTo>
                    <a:pt x="253350" y="145304"/>
                  </a:lnTo>
                  <a:lnTo>
                    <a:pt x="253350" y="73334"/>
                  </a:lnTo>
                  <a:close/>
                  <a:moveTo>
                    <a:pt x="283031" y="73334"/>
                  </a:moveTo>
                  <a:lnTo>
                    <a:pt x="255654" y="73334"/>
                  </a:lnTo>
                  <a:lnTo>
                    <a:pt x="255654" y="145304"/>
                  </a:lnTo>
                  <a:lnTo>
                    <a:pt x="283031" y="145304"/>
                  </a:lnTo>
                  <a:close/>
                  <a:moveTo>
                    <a:pt x="475055" y="147587"/>
                  </a:moveTo>
                  <a:lnTo>
                    <a:pt x="417996" y="147587"/>
                  </a:lnTo>
                  <a:lnTo>
                    <a:pt x="417996" y="154818"/>
                  </a:lnTo>
                  <a:cubicBezTo>
                    <a:pt x="417996" y="170575"/>
                    <a:pt x="430780" y="183336"/>
                    <a:pt x="446526" y="183336"/>
                  </a:cubicBezTo>
                  <a:cubicBezTo>
                    <a:pt x="462272" y="183336"/>
                    <a:pt x="475055" y="170575"/>
                    <a:pt x="475055" y="154818"/>
                  </a:cubicBezTo>
                  <a:close/>
                  <a:moveTo>
                    <a:pt x="417996" y="73334"/>
                  </a:moveTo>
                  <a:lnTo>
                    <a:pt x="417996" y="145304"/>
                  </a:lnTo>
                  <a:lnTo>
                    <a:pt x="445374" y="145304"/>
                  </a:lnTo>
                  <a:lnTo>
                    <a:pt x="445374" y="73334"/>
                  </a:lnTo>
                  <a:close/>
                  <a:moveTo>
                    <a:pt x="475055" y="73334"/>
                  </a:moveTo>
                  <a:lnTo>
                    <a:pt x="447678" y="73334"/>
                  </a:lnTo>
                  <a:lnTo>
                    <a:pt x="447678" y="145304"/>
                  </a:lnTo>
                  <a:lnTo>
                    <a:pt x="475055" y="145304"/>
                  </a:lnTo>
                  <a:close/>
                  <a:moveTo>
                    <a:pt x="610021" y="73334"/>
                  </a:moveTo>
                  <a:lnTo>
                    <a:pt x="610021" y="145304"/>
                  </a:lnTo>
                  <a:lnTo>
                    <a:pt x="637398" y="145304"/>
                  </a:lnTo>
                  <a:lnTo>
                    <a:pt x="637398" y="73334"/>
                  </a:lnTo>
                  <a:close/>
                  <a:moveTo>
                    <a:pt x="667079" y="73334"/>
                  </a:moveTo>
                  <a:lnTo>
                    <a:pt x="639702" y="73334"/>
                  </a:lnTo>
                  <a:lnTo>
                    <a:pt x="639702" y="145304"/>
                  </a:lnTo>
                  <a:lnTo>
                    <a:pt x="667079" y="145304"/>
                  </a:lnTo>
                  <a:close/>
                  <a:moveTo>
                    <a:pt x="802045" y="73334"/>
                  </a:moveTo>
                  <a:lnTo>
                    <a:pt x="802045" y="145304"/>
                  </a:lnTo>
                  <a:lnTo>
                    <a:pt x="829422" y="145304"/>
                  </a:lnTo>
                  <a:lnTo>
                    <a:pt x="829422" y="73334"/>
                  </a:lnTo>
                  <a:close/>
                  <a:moveTo>
                    <a:pt x="859103" y="73334"/>
                  </a:moveTo>
                  <a:lnTo>
                    <a:pt x="831726" y="73334"/>
                  </a:lnTo>
                  <a:lnTo>
                    <a:pt x="831726" y="145304"/>
                  </a:lnTo>
                  <a:lnTo>
                    <a:pt x="859103" y="145304"/>
                  </a:lnTo>
                  <a:close/>
                  <a:moveTo>
                    <a:pt x="861133" y="347116"/>
                  </a:moveTo>
                  <a:lnTo>
                    <a:pt x="887029" y="347116"/>
                  </a:lnTo>
                  <a:lnTo>
                    <a:pt x="887029" y="276385"/>
                  </a:lnTo>
                  <a:lnTo>
                    <a:pt x="861133" y="276385"/>
                  </a:lnTo>
                  <a:close/>
                  <a:moveTo>
                    <a:pt x="856524" y="347116"/>
                  </a:moveTo>
                  <a:lnTo>
                    <a:pt x="856524" y="276385"/>
                  </a:lnTo>
                  <a:lnTo>
                    <a:pt x="830574" y="276385"/>
                  </a:lnTo>
                  <a:lnTo>
                    <a:pt x="830574" y="310609"/>
                  </a:lnTo>
                  <a:lnTo>
                    <a:pt x="855318" y="310609"/>
                  </a:lnTo>
                  <a:cubicBezTo>
                    <a:pt x="855976" y="310609"/>
                    <a:pt x="856470" y="311120"/>
                    <a:pt x="856470" y="311751"/>
                  </a:cubicBezTo>
                  <a:cubicBezTo>
                    <a:pt x="856470" y="312382"/>
                    <a:pt x="855976" y="312892"/>
                    <a:pt x="855318" y="312892"/>
                  </a:cubicBezTo>
                  <a:lnTo>
                    <a:pt x="830574" y="312892"/>
                  </a:lnTo>
                  <a:lnTo>
                    <a:pt x="830574" y="347116"/>
                  </a:lnTo>
                  <a:close/>
                  <a:moveTo>
                    <a:pt x="804733" y="310609"/>
                  </a:moveTo>
                  <a:lnTo>
                    <a:pt x="828269" y="310609"/>
                  </a:lnTo>
                  <a:lnTo>
                    <a:pt x="828269" y="276385"/>
                  </a:lnTo>
                  <a:lnTo>
                    <a:pt x="804733" y="276385"/>
                  </a:lnTo>
                  <a:close/>
                  <a:moveTo>
                    <a:pt x="828269" y="347116"/>
                  </a:moveTo>
                  <a:lnTo>
                    <a:pt x="828269" y="312892"/>
                  </a:lnTo>
                  <a:lnTo>
                    <a:pt x="804733" y="312892"/>
                  </a:lnTo>
                  <a:lnTo>
                    <a:pt x="804733" y="347116"/>
                  </a:lnTo>
                  <a:close/>
                  <a:moveTo>
                    <a:pt x="802045" y="154818"/>
                  </a:moveTo>
                  <a:cubicBezTo>
                    <a:pt x="802045" y="170575"/>
                    <a:pt x="814828" y="183336"/>
                    <a:pt x="830574" y="183336"/>
                  </a:cubicBezTo>
                  <a:cubicBezTo>
                    <a:pt x="846320" y="183336"/>
                    <a:pt x="859103" y="170575"/>
                    <a:pt x="859103" y="154818"/>
                  </a:cubicBezTo>
                  <a:lnTo>
                    <a:pt x="859103" y="147587"/>
                  </a:lnTo>
                  <a:lnTo>
                    <a:pt x="802045" y="147587"/>
                  </a:lnTo>
                  <a:close/>
                  <a:moveTo>
                    <a:pt x="774228" y="347116"/>
                  </a:moveTo>
                  <a:lnTo>
                    <a:pt x="800179" y="347116"/>
                  </a:lnTo>
                  <a:lnTo>
                    <a:pt x="800179" y="276385"/>
                  </a:lnTo>
                  <a:lnTo>
                    <a:pt x="774228" y="276385"/>
                  </a:lnTo>
                  <a:close/>
                  <a:moveTo>
                    <a:pt x="669109" y="347116"/>
                  </a:moveTo>
                  <a:lnTo>
                    <a:pt x="695005" y="347116"/>
                  </a:lnTo>
                  <a:lnTo>
                    <a:pt x="695005" y="276385"/>
                  </a:lnTo>
                  <a:lnTo>
                    <a:pt x="669109" y="276385"/>
                  </a:lnTo>
                  <a:close/>
                  <a:moveTo>
                    <a:pt x="612709" y="310609"/>
                  </a:moveTo>
                  <a:lnTo>
                    <a:pt x="637453" y="310609"/>
                  </a:lnTo>
                  <a:lnTo>
                    <a:pt x="637453" y="276385"/>
                  </a:lnTo>
                  <a:lnTo>
                    <a:pt x="612709" y="276385"/>
                  </a:lnTo>
                  <a:close/>
                  <a:moveTo>
                    <a:pt x="639757" y="310609"/>
                  </a:moveTo>
                  <a:lnTo>
                    <a:pt x="664500" y="310609"/>
                  </a:lnTo>
                  <a:lnTo>
                    <a:pt x="664500" y="276385"/>
                  </a:lnTo>
                  <a:lnTo>
                    <a:pt x="639757" y="276385"/>
                  </a:lnTo>
                  <a:close/>
                  <a:moveTo>
                    <a:pt x="664500" y="347116"/>
                  </a:moveTo>
                  <a:lnTo>
                    <a:pt x="664500" y="312892"/>
                  </a:lnTo>
                  <a:lnTo>
                    <a:pt x="639757" y="312892"/>
                  </a:lnTo>
                  <a:lnTo>
                    <a:pt x="639757" y="347116"/>
                  </a:lnTo>
                  <a:close/>
                  <a:moveTo>
                    <a:pt x="612709" y="347116"/>
                  </a:moveTo>
                  <a:lnTo>
                    <a:pt x="637453" y="347116"/>
                  </a:lnTo>
                  <a:lnTo>
                    <a:pt x="637453" y="312892"/>
                  </a:lnTo>
                  <a:lnTo>
                    <a:pt x="612709" y="312892"/>
                  </a:lnTo>
                  <a:close/>
                  <a:moveTo>
                    <a:pt x="610021" y="154818"/>
                  </a:moveTo>
                  <a:cubicBezTo>
                    <a:pt x="610021" y="170575"/>
                    <a:pt x="622804" y="183336"/>
                    <a:pt x="638550" y="183336"/>
                  </a:cubicBezTo>
                  <a:cubicBezTo>
                    <a:pt x="654296" y="183336"/>
                    <a:pt x="667079" y="170575"/>
                    <a:pt x="667079" y="154818"/>
                  </a:cubicBezTo>
                  <a:lnTo>
                    <a:pt x="667079" y="147587"/>
                  </a:lnTo>
                  <a:lnTo>
                    <a:pt x="610021" y="147587"/>
                  </a:lnTo>
                  <a:close/>
                  <a:moveTo>
                    <a:pt x="582204" y="347116"/>
                  </a:moveTo>
                  <a:lnTo>
                    <a:pt x="608155" y="347116"/>
                  </a:lnTo>
                  <a:lnTo>
                    <a:pt x="608155" y="276385"/>
                  </a:lnTo>
                  <a:lnTo>
                    <a:pt x="582204" y="276385"/>
                  </a:lnTo>
                  <a:close/>
                  <a:moveTo>
                    <a:pt x="368400" y="369237"/>
                  </a:moveTo>
                  <a:lnTo>
                    <a:pt x="524652" y="369237"/>
                  </a:lnTo>
                  <a:lnTo>
                    <a:pt x="524652" y="222931"/>
                  </a:lnTo>
                  <a:lnTo>
                    <a:pt x="368400" y="222931"/>
                  </a:lnTo>
                  <a:close/>
                  <a:moveTo>
                    <a:pt x="285006" y="347116"/>
                  </a:moveTo>
                  <a:lnTo>
                    <a:pt x="310902" y="347116"/>
                  </a:lnTo>
                  <a:lnTo>
                    <a:pt x="310902" y="276385"/>
                  </a:lnTo>
                  <a:lnTo>
                    <a:pt x="285006" y="276385"/>
                  </a:lnTo>
                  <a:close/>
                  <a:moveTo>
                    <a:pt x="228606" y="310609"/>
                  </a:moveTo>
                  <a:lnTo>
                    <a:pt x="253350" y="310609"/>
                  </a:lnTo>
                  <a:lnTo>
                    <a:pt x="253350" y="276385"/>
                  </a:lnTo>
                  <a:lnTo>
                    <a:pt x="228606" y="276385"/>
                  </a:lnTo>
                  <a:close/>
                  <a:moveTo>
                    <a:pt x="255654" y="310609"/>
                  </a:moveTo>
                  <a:lnTo>
                    <a:pt x="280398" y="310609"/>
                  </a:lnTo>
                  <a:lnTo>
                    <a:pt x="280398" y="276385"/>
                  </a:lnTo>
                  <a:lnTo>
                    <a:pt x="255654" y="276385"/>
                  </a:lnTo>
                  <a:close/>
                  <a:moveTo>
                    <a:pt x="280398" y="347116"/>
                  </a:moveTo>
                  <a:lnTo>
                    <a:pt x="280398" y="312892"/>
                  </a:lnTo>
                  <a:lnTo>
                    <a:pt x="255654" y="312892"/>
                  </a:lnTo>
                  <a:lnTo>
                    <a:pt x="255654" y="347116"/>
                  </a:lnTo>
                  <a:close/>
                  <a:moveTo>
                    <a:pt x="228606" y="347116"/>
                  </a:moveTo>
                  <a:lnTo>
                    <a:pt x="253350" y="347116"/>
                  </a:lnTo>
                  <a:lnTo>
                    <a:pt x="253350" y="312892"/>
                  </a:lnTo>
                  <a:lnTo>
                    <a:pt x="228606" y="312892"/>
                  </a:lnTo>
                  <a:close/>
                  <a:moveTo>
                    <a:pt x="225972" y="154818"/>
                  </a:moveTo>
                  <a:cubicBezTo>
                    <a:pt x="225972" y="170575"/>
                    <a:pt x="238756" y="183336"/>
                    <a:pt x="254502" y="183336"/>
                  </a:cubicBezTo>
                  <a:cubicBezTo>
                    <a:pt x="270248" y="183336"/>
                    <a:pt x="283031" y="170575"/>
                    <a:pt x="283031" y="154818"/>
                  </a:cubicBezTo>
                  <a:lnTo>
                    <a:pt x="283031" y="147587"/>
                  </a:lnTo>
                  <a:lnTo>
                    <a:pt x="225972" y="147587"/>
                  </a:lnTo>
                  <a:close/>
                  <a:moveTo>
                    <a:pt x="198102" y="347116"/>
                  </a:moveTo>
                  <a:lnTo>
                    <a:pt x="224052" y="347116"/>
                  </a:lnTo>
                  <a:lnTo>
                    <a:pt x="224052" y="276385"/>
                  </a:lnTo>
                  <a:lnTo>
                    <a:pt x="198102" y="276385"/>
                  </a:lnTo>
                  <a:close/>
                  <a:moveTo>
                    <a:pt x="92982" y="347116"/>
                  </a:moveTo>
                  <a:lnTo>
                    <a:pt x="118878" y="347116"/>
                  </a:lnTo>
                  <a:lnTo>
                    <a:pt x="118878" y="276385"/>
                  </a:lnTo>
                  <a:lnTo>
                    <a:pt x="92982" y="276385"/>
                  </a:lnTo>
                  <a:close/>
                  <a:moveTo>
                    <a:pt x="36582" y="310609"/>
                  </a:moveTo>
                  <a:lnTo>
                    <a:pt x="61326" y="310609"/>
                  </a:lnTo>
                  <a:lnTo>
                    <a:pt x="61326" y="276385"/>
                  </a:lnTo>
                  <a:lnTo>
                    <a:pt x="36582" y="276385"/>
                  </a:lnTo>
                  <a:close/>
                  <a:moveTo>
                    <a:pt x="63630" y="310609"/>
                  </a:moveTo>
                  <a:lnTo>
                    <a:pt x="88374" y="310609"/>
                  </a:lnTo>
                  <a:lnTo>
                    <a:pt x="88374" y="276385"/>
                  </a:lnTo>
                  <a:lnTo>
                    <a:pt x="63630" y="276385"/>
                  </a:lnTo>
                  <a:close/>
                  <a:moveTo>
                    <a:pt x="88374" y="347116"/>
                  </a:moveTo>
                  <a:lnTo>
                    <a:pt x="88374" y="312892"/>
                  </a:lnTo>
                  <a:lnTo>
                    <a:pt x="63630" y="312892"/>
                  </a:lnTo>
                  <a:lnTo>
                    <a:pt x="63630" y="347116"/>
                  </a:lnTo>
                  <a:close/>
                  <a:moveTo>
                    <a:pt x="36582" y="347116"/>
                  </a:moveTo>
                  <a:lnTo>
                    <a:pt x="61326" y="347116"/>
                  </a:lnTo>
                  <a:lnTo>
                    <a:pt x="61326" y="312892"/>
                  </a:lnTo>
                  <a:lnTo>
                    <a:pt x="36582" y="312892"/>
                  </a:lnTo>
                  <a:close/>
                  <a:moveTo>
                    <a:pt x="33948" y="154818"/>
                  </a:moveTo>
                  <a:cubicBezTo>
                    <a:pt x="33948" y="170575"/>
                    <a:pt x="46732" y="183336"/>
                    <a:pt x="62478" y="183336"/>
                  </a:cubicBezTo>
                  <a:cubicBezTo>
                    <a:pt x="78224" y="183336"/>
                    <a:pt x="91007" y="170575"/>
                    <a:pt x="91007" y="154818"/>
                  </a:cubicBezTo>
                  <a:lnTo>
                    <a:pt x="91007" y="147587"/>
                  </a:lnTo>
                  <a:lnTo>
                    <a:pt x="33948" y="147587"/>
                  </a:lnTo>
                  <a:close/>
                  <a:moveTo>
                    <a:pt x="6078" y="347116"/>
                  </a:moveTo>
                  <a:lnTo>
                    <a:pt x="32028" y="347116"/>
                  </a:lnTo>
                  <a:lnTo>
                    <a:pt x="32028" y="276385"/>
                  </a:lnTo>
                  <a:lnTo>
                    <a:pt x="6078" y="276385"/>
                  </a:lnTo>
                  <a:lnTo>
                    <a:pt x="6078" y="347116"/>
                  </a:lnTo>
                </a:path>
              </a:pathLst>
            </a:custGeom>
            <a:grpFill/>
            <a:ln w="548" cap="flat">
              <a:noFill/>
              <a:prstDash val="solid"/>
              <a:miter/>
            </a:ln>
          </p:spPr>
          <p:txBody>
            <a:bodyPr/>
            <a:lstStyle/>
            <a:p>
              <a:endParaRPr lang="en-US"/>
            </a:p>
          </p:txBody>
        </p:sp>
        <p:sp>
          <p:nvSpPr>
            <p:cNvPr id="511" name="Freeform: Shape 510">
              <a:extLst>
                <a:ext uri="{FF2B5EF4-FFF2-40B4-BE49-F238E27FC236}">
                  <a16:creationId xmlns:a16="http://schemas.microsoft.com/office/drawing/2014/main" id="{AF70BBF7-F7C3-8BE8-0260-B267B73D01D6}"/>
                </a:ext>
              </a:extLst>
            </p:cNvPr>
            <p:cNvSpPr/>
            <p:nvPr/>
          </p:nvSpPr>
          <p:spPr>
            <a:xfrm flipV="1">
              <a:off x="23345526" y="4581270"/>
              <a:ext cx="24743" cy="34224"/>
            </a:xfrm>
            <a:custGeom>
              <a:avLst/>
              <a:gdLst>
                <a:gd name="csX0" fmla="*/ 16958 w 24743"/>
                <a:gd name="csY0" fmla="*/ 29452 h 34224"/>
                <a:gd name="csX1" fmla="*/ -7786 w 24743"/>
                <a:gd name="csY1" fmla="*/ 29452 h 34224"/>
                <a:gd name="csX2" fmla="*/ -7786 w 24743"/>
                <a:gd name="csY2" fmla="*/ -4772 h 34224"/>
                <a:gd name="csX3" fmla="*/ 16958 w 24743"/>
                <a:gd name="csY3" fmla="*/ -4772 h 34224"/>
                <a:gd name="csX4" fmla="*/ 16958 w 24743"/>
                <a:gd name="csY4" fmla="*/ 29452 h 34224"/>
              </a:gdLst>
              <a:ahLst/>
              <a:cxnLst>
                <a:cxn ang="0">
                  <a:pos x="csX0" y="csY0"/>
                </a:cxn>
                <a:cxn ang="0">
                  <a:pos x="csX1" y="csY1"/>
                </a:cxn>
                <a:cxn ang="0">
                  <a:pos x="csX2" y="csY2"/>
                </a:cxn>
                <a:cxn ang="0">
                  <a:pos x="csX3" y="csY3"/>
                </a:cxn>
                <a:cxn ang="0">
                  <a:pos x="csX4" y="csY4"/>
                </a:cxn>
              </a:cxnLst>
              <a:rect l="l" t="t" r="r" b="b"/>
              <a:pathLst>
                <a:path w="24743" h="34224">
                  <a:moveTo>
                    <a:pt x="16958" y="29452"/>
                  </a:moveTo>
                  <a:lnTo>
                    <a:pt x="-7786" y="29452"/>
                  </a:lnTo>
                  <a:lnTo>
                    <a:pt x="-7786" y="-4772"/>
                  </a:lnTo>
                  <a:lnTo>
                    <a:pt x="16958" y="-4772"/>
                  </a:lnTo>
                  <a:lnTo>
                    <a:pt x="16958" y="29452"/>
                  </a:lnTo>
                </a:path>
              </a:pathLst>
            </a:custGeom>
            <a:grpFill/>
            <a:ln w="548" cap="flat">
              <a:noFill/>
              <a:prstDash val="solid"/>
              <a:miter/>
            </a:ln>
          </p:spPr>
          <p:txBody>
            <a:bodyPr/>
            <a:lstStyle/>
            <a:p>
              <a:endParaRPr lang="en-US"/>
            </a:p>
          </p:txBody>
        </p:sp>
        <p:sp>
          <p:nvSpPr>
            <p:cNvPr id="512" name="Freeform: Shape 511">
              <a:extLst>
                <a:ext uri="{FF2B5EF4-FFF2-40B4-BE49-F238E27FC236}">
                  <a16:creationId xmlns:a16="http://schemas.microsoft.com/office/drawing/2014/main" id="{4180BA8A-D1A5-6C24-8148-13CDC61CB086}"/>
                </a:ext>
              </a:extLst>
            </p:cNvPr>
            <p:cNvSpPr/>
            <p:nvPr/>
          </p:nvSpPr>
          <p:spPr>
            <a:xfrm flipV="1">
              <a:off x="23372574" y="4581270"/>
              <a:ext cx="24743" cy="34224"/>
            </a:xfrm>
            <a:custGeom>
              <a:avLst/>
              <a:gdLst>
                <a:gd name="csX0" fmla="*/ 16924 w 24743"/>
                <a:gd name="csY0" fmla="*/ 29452 h 34224"/>
                <a:gd name="csX1" fmla="*/ -7820 w 24743"/>
                <a:gd name="csY1" fmla="*/ 29452 h 34224"/>
                <a:gd name="csX2" fmla="*/ -7820 w 24743"/>
                <a:gd name="csY2" fmla="*/ -4772 h 34224"/>
                <a:gd name="csX3" fmla="*/ 16924 w 24743"/>
                <a:gd name="csY3" fmla="*/ -4772 h 34224"/>
                <a:gd name="csX4" fmla="*/ 16924 w 24743"/>
                <a:gd name="csY4" fmla="*/ 29452 h 34224"/>
              </a:gdLst>
              <a:ahLst/>
              <a:cxnLst>
                <a:cxn ang="0">
                  <a:pos x="csX0" y="csY0"/>
                </a:cxn>
                <a:cxn ang="0">
                  <a:pos x="csX1" y="csY1"/>
                </a:cxn>
                <a:cxn ang="0">
                  <a:pos x="csX2" y="csY2"/>
                </a:cxn>
                <a:cxn ang="0">
                  <a:pos x="csX3" y="csY3"/>
                </a:cxn>
                <a:cxn ang="0">
                  <a:pos x="csX4" y="csY4"/>
                </a:cxn>
              </a:cxnLst>
              <a:rect l="l" t="t" r="r" b="b"/>
              <a:pathLst>
                <a:path w="24743" h="34224">
                  <a:moveTo>
                    <a:pt x="16924" y="29452"/>
                  </a:moveTo>
                  <a:lnTo>
                    <a:pt x="-7820" y="29452"/>
                  </a:lnTo>
                  <a:lnTo>
                    <a:pt x="-7820" y="-4772"/>
                  </a:lnTo>
                  <a:lnTo>
                    <a:pt x="16924" y="-4772"/>
                  </a:lnTo>
                  <a:lnTo>
                    <a:pt x="16924" y="29452"/>
                  </a:lnTo>
                </a:path>
              </a:pathLst>
            </a:custGeom>
            <a:grpFill/>
            <a:ln w="548" cap="flat">
              <a:noFill/>
              <a:prstDash val="solid"/>
              <a:miter/>
            </a:ln>
          </p:spPr>
          <p:txBody>
            <a:bodyPr/>
            <a:lstStyle/>
            <a:p>
              <a:endParaRPr lang="en-US"/>
            </a:p>
          </p:txBody>
        </p:sp>
        <p:sp>
          <p:nvSpPr>
            <p:cNvPr id="513" name="Freeform: Shape 512">
              <a:extLst>
                <a:ext uri="{FF2B5EF4-FFF2-40B4-BE49-F238E27FC236}">
                  <a16:creationId xmlns:a16="http://schemas.microsoft.com/office/drawing/2014/main" id="{57D05BFC-3FF2-7A49-E75D-2D151CB25FCE}"/>
                </a:ext>
              </a:extLst>
            </p:cNvPr>
            <p:cNvSpPr/>
            <p:nvPr/>
          </p:nvSpPr>
          <p:spPr>
            <a:xfrm flipV="1">
              <a:off x="23372574" y="4617777"/>
              <a:ext cx="24743" cy="34224"/>
            </a:xfrm>
            <a:custGeom>
              <a:avLst/>
              <a:gdLst>
                <a:gd name="csX0" fmla="*/ 16924 w 24743"/>
                <a:gd name="csY0" fmla="*/ 29540 h 34224"/>
                <a:gd name="csX1" fmla="*/ -7820 w 24743"/>
                <a:gd name="csY1" fmla="*/ 29540 h 34224"/>
                <a:gd name="csX2" fmla="*/ -7820 w 24743"/>
                <a:gd name="csY2" fmla="*/ -4684 h 34224"/>
                <a:gd name="csX3" fmla="*/ 16924 w 24743"/>
                <a:gd name="csY3" fmla="*/ -4684 h 34224"/>
                <a:gd name="csX4" fmla="*/ 16924 w 24743"/>
                <a:gd name="csY4" fmla="*/ 29540 h 34224"/>
              </a:gdLst>
              <a:ahLst/>
              <a:cxnLst>
                <a:cxn ang="0">
                  <a:pos x="csX0" y="csY0"/>
                </a:cxn>
                <a:cxn ang="0">
                  <a:pos x="csX1" y="csY1"/>
                </a:cxn>
                <a:cxn ang="0">
                  <a:pos x="csX2" y="csY2"/>
                </a:cxn>
                <a:cxn ang="0">
                  <a:pos x="csX3" y="csY3"/>
                </a:cxn>
                <a:cxn ang="0">
                  <a:pos x="csX4" y="csY4"/>
                </a:cxn>
              </a:cxnLst>
              <a:rect l="l" t="t" r="r" b="b"/>
              <a:pathLst>
                <a:path w="24743" h="34224">
                  <a:moveTo>
                    <a:pt x="16924" y="29540"/>
                  </a:moveTo>
                  <a:lnTo>
                    <a:pt x="-7820" y="29540"/>
                  </a:lnTo>
                  <a:lnTo>
                    <a:pt x="-7820" y="-4684"/>
                  </a:lnTo>
                  <a:lnTo>
                    <a:pt x="16924" y="-4684"/>
                  </a:lnTo>
                  <a:lnTo>
                    <a:pt x="16924" y="29540"/>
                  </a:lnTo>
                </a:path>
              </a:pathLst>
            </a:custGeom>
            <a:grpFill/>
            <a:ln w="548" cap="flat">
              <a:noFill/>
              <a:prstDash val="solid"/>
              <a:miter/>
            </a:ln>
          </p:spPr>
          <p:txBody>
            <a:bodyPr/>
            <a:lstStyle/>
            <a:p>
              <a:endParaRPr lang="en-US"/>
            </a:p>
          </p:txBody>
        </p:sp>
        <p:sp>
          <p:nvSpPr>
            <p:cNvPr id="514" name="Freeform: Shape 513">
              <a:extLst>
                <a:ext uri="{FF2B5EF4-FFF2-40B4-BE49-F238E27FC236}">
                  <a16:creationId xmlns:a16="http://schemas.microsoft.com/office/drawing/2014/main" id="{F77926D0-6A0A-B56B-E01D-46C3AE54937F}"/>
                </a:ext>
              </a:extLst>
            </p:cNvPr>
            <p:cNvSpPr/>
            <p:nvPr/>
          </p:nvSpPr>
          <p:spPr>
            <a:xfrm flipV="1">
              <a:off x="23345526" y="4617777"/>
              <a:ext cx="24743" cy="34224"/>
            </a:xfrm>
            <a:custGeom>
              <a:avLst/>
              <a:gdLst>
                <a:gd name="csX0" fmla="*/ 16958 w 24743"/>
                <a:gd name="csY0" fmla="*/ 29540 h 34224"/>
                <a:gd name="csX1" fmla="*/ -7786 w 24743"/>
                <a:gd name="csY1" fmla="*/ 29540 h 34224"/>
                <a:gd name="csX2" fmla="*/ -7786 w 24743"/>
                <a:gd name="csY2" fmla="*/ -4684 h 34224"/>
                <a:gd name="csX3" fmla="*/ 16958 w 24743"/>
                <a:gd name="csY3" fmla="*/ -4684 h 34224"/>
                <a:gd name="csX4" fmla="*/ 16958 w 24743"/>
                <a:gd name="csY4" fmla="*/ 29540 h 34224"/>
              </a:gdLst>
              <a:ahLst/>
              <a:cxnLst>
                <a:cxn ang="0">
                  <a:pos x="csX0" y="csY0"/>
                </a:cxn>
                <a:cxn ang="0">
                  <a:pos x="csX1" y="csY1"/>
                </a:cxn>
                <a:cxn ang="0">
                  <a:pos x="csX2" y="csY2"/>
                </a:cxn>
                <a:cxn ang="0">
                  <a:pos x="csX3" y="csY3"/>
                </a:cxn>
                <a:cxn ang="0">
                  <a:pos x="csX4" y="csY4"/>
                </a:cxn>
              </a:cxnLst>
              <a:rect l="l" t="t" r="r" b="b"/>
              <a:pathLst>
                <a:path w="24743" h="34224">
                  <a:moveTo>
                    <a:pt x="16958" y="29540"/>
                  </a:moveTo>
                  <a:lnTo>
                    <a:pt x="-7786" y="29540"/>
                  </a:lnTo>
                  <a:lnTo>
                    <a:pt x="-7786" y="-4684"/>
                  </a:lnTo>
                  <a:lnTo>
                    <a:pt x="16958" y="-4684"/>
                  </a:lnTo>
                  <a:lnTo>
                    <a:pt x="16958" y="29540"/>
                  </a:lnTo>
                </a:path>
              </a:pathLst>
            </a:custGeom>
            <a:grpFill/>
            <a:ln w="548" cap="flat">
              <a:noFill/>
              <a:prstDash val="solid"/>
              <a:miter/>
            </a:ln>
          </p:spPr>
          <p:txBody>
            <a:bodyPr/>
            <a:lstStyle/>
            <a:p>
              <a:endParaRPr lang="en-US"/>
            </a:p>
          </p:txBody>
        </p:sp>
        <p:sp>
          <p:nvSpPr>
            <p:cNvPr id="515" name="Freeform: Shape 514">
              <a:extLst>
                <a:ext uri="{FF2B5EF4-FFF2-40B4-BE49-F238E27FC236}">
                  <a16:creationId xmlns:a16="http://schemas.microsoft.com/office/drawing/2014/main" id="{C5AAFF11-2F81-AE43-F8A5-B722B1DBC5FB}"/>
                </a:ext>
              </a:extLst>
            </p:cNvPr>
            <p:cNvSpPr/>
            <p:nvPr/>
          </p:nvSpPr>
          <p:spPr>
            <a:xfrm flipV="1">
              <a:off x="22917093" y="4458501"/>
              <a:ext cx="1075663" cy="465109"/>
            </a:xfrm>
            <a:custGeom>
              <a:avLst/>
              <a:gdLst>
                <a:gd name="csX0" fmla="*/ 497830 w 1075663"/>
                <a:gd name="csY0" fmla="*/ 460561 h 465109"/>
                <a:gd name="csX1" fmla="*/ 497830 w 1075663"/>
                <a:gd name="csY1" fmla="*/ 438637 h 465109"/>
                <a:gd name="csX2" fmla="*/ 439071 w 1075663"/>
                <a:gd name="csY2" fmla="*/ 438637 h 465109"/>
                <a:gd name="csX3" fmla="*/ 439071 w 1075663"/>
                <a:gd name="csY3" fmla="*/ 460561 h 465109"/>
                <a:gd name="csX4" fmla="*/ -7906 w 1075663"/>
                <a:gd name="csY4" fmla="*/ 460561 h 465109"/>
                <a:gd name="csX5" fmla="*/ -7906 w 1075663"/>
                <a:gd name="csY5" fmla="*/ 395152 h 465109"/>
                <a:gd name="csX6" fmla="*/ 1056949 w 1075663"/>
                <a:gd name="csY6" fmla="*/ 395152 h 465109"/>
                <a:gd name="csX7" fmla="*/ 1056949 w 1075663"/>
                <a:gd name="csY7" fmla="*/ 369146 h 465109"/>
                <a:gd name="csX8" fmla="*/ 1045263 w 1075663"/>
                <a:gd name="csY8" fmla="*/ 369146 h 465109"/>
                <a:gd name="csX9" fmla="*/ 933999 w 1075663"/>
                <a:gd name="csY9" fmla="*/ 369146 h 465109"/>
                <a:gd name="csX10" fmla="*/ 922313 w 1075663"/>
                <a:gd name="csY10" fmla="*/ 369146 h 465109"/>
                <a:gd name="csX11" fmla="*/ 922313 w 1075663"/>
                <a:gd name="csY11" fmla="*/ 384903 h 465109"/>
                <a:gd name="csX12" fmla="*/ 911505 w 1075663"/>
                <a:gd name="csY12" fmla="*/ 384903 h 465109"/>
                <a:gd name="csX13" fmla="*/ 911505 w 1075663"/>
                <a:gd name="csY13" fmla="*/ 369146 h 465109"/>
                <a:gd name="csX14" fmla="*/ 911505 w 1075663"/>
                <a:gd name="csY14" fmla="*/ 222840 h 465109"/>
                <a:gd name="csX15" fmla="*/ 911505 w 1075663"/>
                <a:gd name="csY15" fmla="*/ 8064 h 465109"/>
                <a:gd name="csX16" fmla="*/ 911505 w 1075663"/>
                <a:gd name="csY16" fmla="*/ -4549 h 465109"/>
                <a:gd name="csX17" fmla="*/ 922313 w 1075663"/>
                <a:gd name="csY17" fmla="*/ -4549 h 465109"/>
                <a:gd name="csX18" fmla="*/ 1056949 w 1075663"/>
                <a:gd name="csY18" fmla="*/ -4549 h 465109"/>
                <a:gd name="csX19" fmla="*/ 1067757 w 1075663"/>
                <a:gd name="csY19" fmla="*/ -4549 h 465109"/>
                <a:gd name="csX20" fmla="*/ 1067757 w 1075663"/>
                <a:gd name="csY20" fmla="*/ 8064 h 465109"/>
                <a:gd name="csX21" fmla="*/ 1067757 w 1075663"/>
                <a:gd name="csY21" fmla="*/ 222840 h 465109"/>
                <a:gd name="csX22" fmla="*/ 1067757 w 1075663"/>
                <a:gd name="csY22" fmla="*/ 369146 h 465109"/>
                <a:gd name="csX23" fmla="*/ 1067757 w 1075663"/>
                <a:gd name="csY23" fmla="*/ 395152 h 465109"/>
                <a:gd name="csX24" fmla="*/ 1067757 w 1075663"/>
                <a:gd name="csY24" fmla="*/ 401176 h 465109"/>
                <a:gd name="csX25" fmla="*/ 1067757 w 1075663"/>
                <a:gd name="csY25" fmla="*/ 460561 h 465109"/>
                <a:gd name="csX26" fmla="*/ 963735 w 1075663"/>
                <a:gd name="csY26" fmla="*/ 301285 h 465109"/>
                <a:gd name="csX27" fmla="*/ 988479 w 1075663"/>
                <a:gd name="csY27" fmla="*/ 301285 h 465109"/>
                <a:gd name="csX28" fmla="*/ 988479 w 1075663"/>
                <a:gd name="csY28" fmla="*/ 267061 h 465109"/>
                <a:gd name="csX29" fmla="*/ 963735 w 1075663"/>
                <a:gd name="csY29" fmla="*/ 267061 h 465109"/>
                <a:gd name="csX30" fmla="*/ 990783 w 1075663"/>
                <a:gd name="csY30" fmla="*/ 301285 h 465109"/>
                <a:gd name="csX31" fmla="*/ 1015526 w 1075663"/>
                <a:gd name="csY31" fmla="*/ 301285 h 465109"/>
                <a:gd name="csX32" fmla="*/ 1015526 w 1075663"/>
                <a:gd name="csY32" fmla="*/ 267061 h 465109"/>
                <a:gd name="csX33" fmla="*/ 990783 w 1075663"/>
                <a:gd name="csY33" fmla="*/ 267061 h 465109"/>
                <a:gd name="csX34" fmla="*/ 1015526 w 1075663"/>
                <a:gd name="csY34" fmla="*/ 337791 h 465109"/>
                <a:gd name="csX35" fmla="*/ 1015526 w 1075663"/>
                <a:gd name="csY35" fmla="*/ 303567 h 465109"/>
                <a:gd name="csX36" fmla="*/ 990783 w 1075663"/>
                <a:gd name="csY36" fmla="*/ 303567 h 465109"/>
                <a:gd name="csX37" fmla="*/ 990783 w 1075663"/>
                <a:gd name="csY37" fmla="*/ 337791 h 465109"/>
                <a:gd name="csX38" fmla="*/ 963735 w 1075663"/>
                <a:gd name="csY38" fmla="*/ 337791 h 465109"/>
                <a:gd name="csX39" fmla="*/ 988479 w 1075663"/>
                <a:gd name="csY39" fmla="*/ 337791 h 465109"/>
                <a:gd name="csX40" fmla="*/ 988479 w 1075663"/>
                <a:gd name="csY40" fmla="*/ 303567 h 465109"/>
                <a:gd name="csX41" fmla="*/ 963735 w 1075663"/>
                <a:gd name="csY41" fmla="*/ 303567 h 465109"/>
                <a:gd name="csX42" fmla="*/ 1056949 w 1075663"/>
                <a:gd name="csY42" fmla="*/ 8064 h 465109"/>
                <a:gd name="csX43" fmla="*/ 922313 w 1075663"/>
                <a:gd name="csY43" fmla="*/ 8064 h 465109"/>
                <a:gd name="csX44" fmla="*/ 922313 w 1075663"/>
                <a:gd name="csY44" fmla="*/ 222840 h 465109"/>
                <a:gd name="csX45" fmla="*/ 1056949 w 1075663"/>
                <a:gd name="csY45" fmla="*/ 222840 h 465109"/>
                <a:gd name="csX46" fmla="*/ 1056949 w 1075663"/>
                <a:gd name="csY46" fmla="*/ 8064 h 46510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Lst>
              <a:rect l="l" t="t" r="r" b="b"/>
              <a:pathLst>
                <a:path w="1075663" h="465109">
                  <a:moveTo>
                    <a:pt x="497830" y="460561"/>
                  </a:moveTo>
                  <a:lnTo>
                    <a:pt x="497830" y="438637"/>
                  </a:lnTo>
                  <a:lnTo>
                    <a:pt x="439071" y="438637"/>
                  </a:lnTo>
                  <a:lnTo>
                    <a:pt x="439071" y="460561"/>
                  </a:lnTo>
                  <a:lnTo>
                    <a:pt x="-7906" y="460561"/>
                  </a:lnTo>
                  <a:lnTo>
                    <a:pt x="-7906" y="395152"/>
                  </a:lnTo>
                  <a:lnTo>
                    <a:pt x="1056949" y="395152"/>
                  </a:lnTo>
                  <a:lnTo>
                    <a:pt x="1056949" y="369146"/>
                  </a:lnTo>
                  <a:lnTo>
                    <a:pt x="1045263" y="369146"/>
                  </a:lnTo>
                  <a:lnTo>
                    <a:pt x="933999" y="369146"/>
                  </a:lnTo>
                  <a:lnTo>
                    <a:pt x="922313" y="369146"/>
                  </a:lnTo>
                  <a:lnTo>
                    <a:pt x="922313" y="384903"/>
                  </a:lnTo>
                  <a:lnTo>
                    <a:pt x="911505" y="384903"/>
                  </a:lnTo>
                  <a:lnTo>
                    <a:pt x="911505" y="369146"/>
                  </a:lnTo>
                  <a:lnTo>
                    <a:pt x="911505" y="222840"/>
                  </a:lnTo>
                  <a:lnTo>
                    <a:pt x="911505" y="8064"/>
                  </a:lnTo>
                  <a:lnTo>
                    <a:pt x="911505" y="-4549"/>
                  </a:lnTo>
                  <a:lnTo>
                    <a:pt x="922313" y="-4549"/>
                  </a:lnTo>
                  <a:lnTo>
                    <a:pt x="1056949" y="-4549"/>
                  </a:lnTo>
                  <a:lnTo>
                    <a:pt x="1067757" y="-4549"/>
                  </a:lnTo>
                  <a:lnTo>
                    <a:pt x="1067757" y="8064"/>
                  </a:lnTo>
                  <a:lnTo>
                    <a:pt x="1067757" y="222840"/>
                  </a:lnTo>
                  <a:lnTo>
                    <a:pt x="1067757" y="369146"/>
                  </a:lnTo>
                  <a:lnTo>
                    <a:pt x="1067757" y="395152"/>
                  </a:lnTo>
                  <a:lnTo>
                    <a:pt x="1067757" y="401176"/>
                  </a:lnTo>
                  <a:lnTo>
                    <a:pt x="1067757" y="460561"/>
                  </a:lnTo>
                  <a:close/>
                  <a:moveTo>
                    <a:pt x="963735" y="301285"/>
                  </a:moveTo>
                  <a:lnTo>
                    <a:pt x="988479" y="301285"/>
                  </a:lnTo>
                  <a:lnTo>
                    <a:pt x="988479" y="267061"/>
                  </a:lnTo>
                  <a:lnTo>
                    <a:pt x="963735" y="267061"/>
                  </a:lnTo>
                  <a:close/>
                  <a:moveTo>
                    <a:pt x="990783" y="301285"/>
                  </a:moveTo>
                  <a:lnTo>
                    <a:pt x="1015526" y="301285"/>
                  </a:lnTo>
                  <a:lnTo>
                    <a:pt x="1015526" y="267061"/>
                  </a:lnTo>
                  <a:lnTo>
                    <a:pt x="990783" y="267061"/>
                  </a:lnTo>
                  <a:close/>
                  <a:moveTo>
                    <a:pt x="1015526" y="337791"/>
                  </a:moveTo>
                  <a:lnTo>
                    <a:pt x="1015526" y="303567"/>
                  </a:lnTo>
                  <a:lnTo>
                    <a:pt x="990783" y="303567"/>
                  </a:lnTo>
                  <a:lnTo>
                    <a:pt x="990783" y="337791"/>
                  </a:lnTo>
                  <a:close/>
                  <a:moveTo>
                    <a:pt x="963735" y="337791"/>
                  </a:moveTo>
                  <a:lnTo>
                    <a:pt x="988479" y="337791"/>
                  </a:lnTo>
                  <a:lnTo>
                    <a:pt x="988479" y="303567"/>
                  </a:lnTo>
                  <a:lnTo>
                    <a:pt x="963735" y="303567"/>
                  </a:lnTo>
                  <a:close/>
                  <a:moveTo>
                    <a:pt x="1056949" y="8064"/>
                  </a:moveTo>
                  <a:lnTo>
                    <a:pt x="922313" y="8064"/>
                  </a:lnTo>
                  <a:lnTo>
                    <a:pt x="922313" y="222840"/>
                  </a:lnTo>
                  <a:lnTo>
                    <a:pt x="1056949" y="222840"/>
                  </a:lnTo>
                  <a:lnTo>
                    <a:pt x="1056949" y="8064"/>
                  </a:lnTo>
                </a:path>
              </a:pathLst>
            </a:custGeom>
            <a:grpFill/>
            <a:ln w="548" cap="flat">
              <a:noFill/>
              <a:prstDash val="solid"/>
              <a:miter/>
            </a:ln>
          </p:spPr>
          <p:txBody>
            <a:bodyPr/>
            <a:lstStyle/>
            <a:p>
              <a:endParaRPr lang="en-US"/>
            </a:p>
          </p:txBody>
        </p:sp>
        <p:sp>
          <p:nvSpPr>
            <p:cNvPr id="516" name="Freeform: Shape 515">
              <a:extLst>
                <a:ext uri="{FF2B5EF4-FFF2-40B4-BE49-F238E27FC236}">
                  <a16:creationId xmlns:a16="http://schemas.microsoft.com/office/drawing/2014/main" id="{14B60151-BF78-DE08-6499-A6BA7A3CE20E}"/>
                </a:ext>
              </a:extLst>
            </p:cNvPr>
            <p:cNvSpPr/>
            <p:nvPr/>
          </p:nvSpPr>
          <p:spPr>
            <a:xfrm flipV="1">
              <a:off x="23306298" y="4661075"/>
              <a:ext cx="130247" cy="26691"/>
            </a:xfrm>
            <a:custGeom>
              <a:avLst/>
              <a:gdLst>
                <a:gd name="csX0" fmla="*/ 122444 w 130247"/>
                <a:gd name="csY0" fmla="*/ 22102 h 26691"/>
                <a:gd name="csX1" fmla="*/ -7803 w 130247"/>
                <a:gd name="csY1" fmla="*/ 22102 h 26691"/>
                <a:gd name="csX2" fmla="*/ -7803 w 130247"/>
                <a:gd name="csY2" fmla="*/ -4589 h 26691"/>
                <a:gd name="csX3" fmla="*/ 122444 w 130247"/>
                <a:gd name="csY3" fmla="*/ -4589 h 26691"/>
                <a:gd name="csX4" fmla="*/ 122444 w 130247"/>
                <a:gd name="csY4" fmla="*/ 22102 h 26691"/>
              </a:gdLst>
              <a:ahLst/>
              <a:cxnLst>
                <a:cxn ang="0">
                  <a:pos x="csX0" y="csY0"/>
                </a:cxn>
                <a:cxn ang="0">
                  <a:pos x="csX1" y="csY1"/>
                </a:cxn>
                <a:cxn ang="0">
                  <a:pos x="csX2" y="csY2"/>
                </a:cxn>
                <a:cxn ang="0">
                  <a:pos x="csX3" y="csY3"/>
                </a:cxn>
                <a:cxn ang="0">
                  <a:pos x="csX4" y="csY4"/>
                </a:cxn>
              </a:cxnLst>
              <a:rect l="l" t="t" r="r" b="b"/>
              <a:pathLst>
                <a:path w="130247" h="26691">
                  <a:moveTo>
                    <a:pt x="122444" y="22102"/>
                  </a:moveTo>
                  <a:lnTo>
                    <a:pt x="-7803" y="22102"/>
                  </a:lnTo>
                  <a:lnTo>
                    <a:pt x="-7803" y="-4589"/>
                  </a:lnTo>
                  <a:lnTo>
                    <a:pt x="122444" y="-4589"/>
                  </a:lnTo>
                  <a:lnTo>
                    <a:pt x="122444" y="22102"/>
                  </a:lnTo>
                </a:path>
              </a:pathLst>
            </a:custGeom>
            <a:grpFill/>
            <a:ln w="548" cap="flat">
              <a:noFill/>
              <a:prstDash val="solid"/>
              <a:miter/>
            </a:ln>
          </p:spPr>
          <p:txBody>
            <a:bodyPr/>
            <a:lstStyle/>
            <a:p>
              <a:endParaRPr lang="en-US"/>
            </a:p>
          </p:txBody>
        </p:sp>
        <p:sp>
          <p:nvSpPr>
            <p:cNvPr id="517" name="Freeform: Shape 516">
              <a:extLst>
                <a:ext uri="{FF2B5EF4-FFF2-40B4-BE49-F238E27FC236}">
                  <a16:creationId xmlns:a16="http://schemas.microsoft.com/office/drawing/2014/main" id="{135F4502-F938-1A71-194A-A6362D264F81}"/>
                </a:ext>
              </a:extLst>
            </p:cNvPr>
            <p:cNvSpPr/>
            <p:nvPr/>
          </p:nvSpPr>
          <p:spPr>
            <a:xfrm flipV="1">
              <a:off x="21704632" y="4369122"/>
              <a:ext cx="338779" cy="104444"/>
            </a:xfrm>
            <a:custGeom>
              <a:avLst/>
              <a:gdLst>
                <a:gd name="csX0" fmla="*/ 140924 w 338779"/>
                <a:gd name="csY0" fmla="*/ -5198 h 104444"/>
                <a:gd name="csX1" fmla="*/ 185962 w 338779"/>
                <a:gd name="csY1" fmla="*/ -5198 h 104444"/>
                <a:gd name="csX2" fmla="*/ 185962 w 338779"/>
                <a:gd name="csY2" fmla="*/ 16726 h 104444"/>
                <a:gd name="csX3" fmla="*/ 332833 w 338779"/>
                <a:gd name="csY3" fmla="*/ 16726 h 104444"/>
                <a:gd name="csX4" fmla="*/ 332833 w 338779"/>
                <a:gd name="csY4" fmla="*/ 32093 h 104444"/>
                <a:gd name="csX5" fmla="*/ 185962 w 338779"/>
                <a:gd name="csY5" fmla="*/ 32093 h 104444"/>
                <a:gd name="csX6" fmla="*/ 185962 w 338779"/>
                <a:gd name="csY6" fmla="*/ 72605 h 104444"/>
                <a:gd name="csX7" fmla="*/ 185962 w 338779"/>
                <a:gd name="csY7" fmla="*/ 91867 h 104444"/>
                <a:gd name="csX8" fmla="*/ 189216 w 338779"/>
                <a:gd name="csY8" fmla="*/ 91867 h 104444"/>
                <a:gd name="csX9" fmla="*/ 189216 w 338779"/>
                <a:gd name="csY9" fmla="*/ 99247 h 104444"/>
                <a:gd name="csX10" fmla="*/ 137671 w 338779"/>
                <a:gd name="csY10" fmla="*/ 99247 h 104444"/>
                <a:gd name="csX11" fmla="*/ 137671 w 338779"/>
                <a:gd name="csY11" fmla="*/ 91867 h 104444"/>
                <a:gd name="csX12" fmla="*/ 140924 w 338779"/>
                <a:gd name="csY12" fmla="*/ 91867 h 104444"/>
                <a:gd name="csX13" fmla="*/ 140924 w 338779"/>
                <a:gd name="csY13" fmla="*/ 72605 h 104444"/>
                <a:gd name="csX14" fmla="*/ 140924 w 338779"/>
                <a:gd name="csY14" fmla="*/ 32093 h 104444"/>
                <a:gd name="csX15" fmla="*/ 115506 w 338779"/>
                <a:gd name="csY15" fmla="*/ 32093 h 104444"/>
                <a:gd name="csX16" fmla="*/ 115506 w 338779"/>
                <a:gd name="csY16" fmla="*/ 62137 h 104444"/>
                <a:gd name="csX17" fmla="*/ 61201 w 338779"/>
                <a:gd name="csY17" fmla="*/ 62137 h 104444"/>
                <a:gd name="csX18" fmla="*/ 61201 w 338779"/>
                <a:gd name="csY18" fmla="*/ 32093 h 104444"/>
                <a:gd name="csX19" fmla="*/ -5947 w 338779"/>
                <a:gd name="csY19" fmla="*/ 32093 h 104444"/>
                <a:gd name="csX20" fmla="*/ -5947 w 338779"/>
                <a:gd name="csY20" fmla="*/ 16726 h 104444"/>
                <a:gd name="csX21" fmla="*/ 140924 w 338779"/>
                <a:gd name="csY21" fmla="*/ 16726 h 104444"/>
                <a:gd name="csX22" fmla="*/ 140924 w 338779"/>
                <a:gd name="csY22" fmla="*/ -5198 h 10444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Lst>
              <a:rect l="l" t="t" r="r" b="b"/>
              <a:pathLst>
                <a:path w="338779" h="104444">
                  <a:moveTo>
                    <a:pt x="140924" y="-5198"/>
                  </a:moveTo>
                  <a:lnTo>
                    <a:pt x="185962" y="-5198"/>
                  </a:lnTo>
                  <a:lnTo>
                    <a:pt x="185962" y="16726"/>
                  </a:lnTo>
                  <a:lnTo>
                    <a:pt x="332833" y="16726"/>
                  </a:lnTo>
                  <a:lnTo>
                    <a:pt x="332833" y="32093"/>
                  </a:lnTo>
                  <a:lnTo>
                    <a:pt x="185962" y="32093"/>
                  </a:lnTo>
                  <a:lnTo>
                    <a:pt x="185962" y="72605"/>
                  </a:lnTo>
                  <a:lnTo>
                    <a:pt x="185962" y="91867"/>
                  </a:lnTo>
                  <a:lnTo>
                    <a:pt x="189216" y="91867"/>
                  </a:lnTo>
                  <a:lnTo>
                    <a:pt x="189216" y="99247"/>
                  </a:lnTo>
                  <a:lnTo>
                    <a:pt x="137671" y="99247"/>
                  </a:lnTo>
                  <a:lnTo>
                    <a:pt x="137671" y="91867"/>
                  </a:lnTo>
                  <a:lnTo>
                    <a:pt x="140924" y="91867"/>
                  </a:lnTo>
                  <a:lnTo>
                    <a:pt x="140924" y="72605"/>
                  </a:lnTo>
                  <a:lnTo>
                    <a:pt x="140924" y="32093"/>
                  </a:lnTo>
                  <a:lnTo>
                    <a:pt x="115506" y="32093"/>
                  </a:lnTo>
                  <a:lnTo>
                    <a:pt x="115506" y="62137"/>
                  </a:lnTo>
                  <a:lnTo>
                    <a:pt x="61201" y="62137"/>
                  </a:lnTo>
                  <a:lnTo>
                    <a:pt x="61201" y="32093"/>
                  </a:lnTo>
                  <a:lnTo>
                    <a:pt x="-5947" y="32093"/>
                  </a:lnTo>
                  <a:lnTo>
                    <a:pt x="-5947" y="16726"/>
                  </a:lnTo>
                  <a:lnTo>
                    <a:pt x="140924" y="16726"/>
                  </a:lnTo>
                  <a:lnTo>
                    <a:pt x="140924" y="-5198"/>
                  </a:lnTo>
                </a:path>
              </a:pathLst>
            </a:custGeom>
            <a:grpFill/>
            <a:ln w="548" cap="flat">
              <a:noFill/>
              <a:prstDash val="solid"/>
              <a:miter/>
            </a:ln>
          </p:spPr>
          <p:txBody>
            <a:bodyPr/>
            <a:lstStyle/>
            <a:p>
              <a:endParaRPr lang="en-US"/>
            </a:p>
          </p:txBody>
        </p:sp>
        <p:sp>
          <p:nvSpPr>
            <p:cNvPr id="518" name="Freeform: Shape 517">
              <a:extLst>
                <a:ext uri="{FF2B5EF4-FFF2-40B4-BE49-F238E27FC236}">
                  <a16:creationId xmlns:a16="http://schemas.microsoft.com/office/drawing/2014/main" id="{BAC4C12E-8D02-21EF-6BAB-9ADB80710495}"/>
                </a:ext>
              </a:extLst>
            </p:cNvPr>
            <p:cNvSpPr/>
            <p:nvPr/>
          </p:nvSpPr>
          <p:spPr>
            <a:xfrm flipV="1">
              <a:off x="21324331" y="4735817"/>
              <a:ext cx="57042" cy="35749"/>
            </a:xfrm>
            <a:custGeom>
              <a:avLst/>
              <a:gdLst>
                <a:gd name="csX0" fmla="*/ 51741 w 57042"/>
                <a:gd name="csY0" fmla="*/ 2833 h 35749"/>
                <a:gd name="csX1" fmla="*/ 23223 w 57042"/>
                <a:gd name="csY1" fmla="*/ 31351 h 35749"/>
                <a:gd name="csX2" fmla="*/ -5301 w 57042"/>
                <a:gd name="csY2" fmla="*/ 2833 h 35749"/>
                <a:gd name="csX3" fmla="*/ -5301 w 57042"/>
                <a:gd name="csY3" fmla="*/ -4398 h 35749"/>
                <a:gd name="csX4" fmla="*/ 51741 w 57042"/>
                <a:gd name="csY4" fmla="*/ -4398 h 35749"/>
                <a:gd name="csX5" fmla="*/ 51741 w 57042"/>
                <a:gd name="csY5" fmla="*/ 2833 h 35749"/>
              </a:gdLst>
              <a:ahLst/>
              <a:cxnLst>
                <a:cxn ang="0">
                  <a:pos x="csX0" y="csY0"/>
                </a:cxn>
                <a:cxn ang="0">
                  <a:pos x="csX1" y="csY1"/>
                </a:cxn>
                <a:cxn ang="0">
                  <a:pos x="csX2" y="csY2"/>
                </a:cxn>
                <a:cxn ang="0">
                  <a:pos x="csX3" y="csY3"/>
                </a:cxn>
                <a:cxn ang="0">
                  <a:pos x="csX4" y="csY4"/>
                </a:cxn>
                <a:cxn ang="0">
                  <a:pos x="csX5" y="csY5"/>
                </a:cxn>
              </a:cxnLst>
              <a:rect l="l" t="t" r="r" b="b"/>
              <a:pathLst>
                <a:path w="57042" h="35749">
                  <a:moveTo>
                    <a:pt x="51741" y="2833"/>
                  </a:moveTo>
                  <a:cubicBezTo>
                    <a:pt x="51741" y="18590"/>
                    <a:pt x="38974" y="31351"/>
                    <a:pt x="23223" y="31351"/>
                  </a:cubicBezTo>
                  <a:cubicBezTo>
                    <a:pt x="7471" y="31351"/>
                    <a:pt x="-5301" y="18590"/>
                    <a:pt x="-5301" y="2833"/>
                  </a:cubicBezTo>
                  <a:lnTo>
                    <a:pt x="-5301" y="-4398"/>
                  </a:lnTo>
                  <a:lnTo>
                    <a:pt x="51741" y="-4398"/>
                  </a:lnTo>
                  <a:lnTo>
                    <a:pt x="51741" y="2833"/>
                  </a:lnTo>
                </a:path>
              </a:pathLst>
            </a:custGeom>
            <a:grpFill/>
            <a:ln w="548" cap="flat">
              <a:noFill/>
              <a:prstDash val="solid"/>
              <a:miter/>
            </a:ln>
          </p:spPr>
          <p:txBody>
            <a:bodyPr/>
            <a:lstStyle/>
            <a:p>
              <a:endParaRPr lang="en-US"/>
            </a:p>
          </p:txBody>
        </p:sp>
        <p:sp>
          <p:nvSpPr>
            <p:cNvPr id="519" name="Freeform: Shape 518">
              <a:extLst>
                <a:ext uri="{FF2B5EF4-FFF2-40B4-BE49-F238E27FC236}">
                  <a16:creationId xmlns:a16="http://schemas.microsoft.com/office/drawing/2014/main" id="{C5480836-8467-9E05-5E40-E24C69126371}"/>
                </a:ext>
              </a:extLst>
            </p:cNvPr>
            <p:cNvSpPr/>
            <p:nvPr/>
          </p:nvSpPr>
          <p:spPr>
            <a:xfrm flipV="1">
              <a:off x="21353996" y="4773848"/>
              <a:ext cx="27377" cy="71970"/>
            </a:xfrm>
            <a:custGeom>
              <a:avLst/>
              <a:gdLst>
                <a:gd name="csX0" fmla="*/ -5319 w 27377"/>
                <a:gd name="csY0" fmla="*/ -4263 h 71970"/>
                <a:gd name="csX1" fmla="*/ 22058 w 27377"/>
                <a:gd name="csY1" fmla="*/ -4263 h 71970"/>
                <a:gd name="csX2" fmla="*/ 22058 w 27377"/>
                <a:gd name="csY2" fmla="*/ 67707 h 71970"/>
                <a:gd name="csX3" fmla="*/ -5319 w 27377"/>
                <a:gd name="csY3" fmla="*/ 67707 h 71970"/>
                <a:gd name="csX4" fmla="*/ -5319 w 27377"/>
                <a:gd name="csY4" fmla="*/ -4263 h 71970"/>
              </a:gdLst>
              <a:ahLst/>
              <a:cxnLst>
                <a:cxn ang="0">
                  <a:pos x="csX0" y="csY0"/>
                </a:cxn>
                <a:cxn ang="0">
                  <a:pos x="csX1" y="csY1"/>
                </a:cxn>
                <a:cxn ang="0">
                  <a:pos x="csX2" y="csY2"/>
                </a:cxn>
                <a:cxn ang="0">
                  <a:pos x="csX3" y="csY3"/>
                </a:cxn>
                <a:cxn ang="0">
                  <a:pos x="csX4" y="csY4"/>
                </a:cxn>
              </a:cxnLst>
              <a:rect l="l" t="t" r="r" b="b"/>
              <a:pathLst>
                <a:path w="27377" h="71970">
                  <a:moveTo>
                    <a:pt x="-5319" y="-4263"/>
                  </a:moveTo>
                  <a:lnTo>
                    <a:pt x="22058" y="-4263"/>
                  </a:lnTo>
                  <a:lnTo>
                    <a:pt x="22058" y="67707"/>
                  </a:lnTo>
                  <a:lnTo>
                    <a:pt x="-5319" y="67707"/>
                  </a:lnTo>
                  <a:lnTo>
                    <a:pt x="-5319" y="-4263"/>
                  </a:lnTo>
                </a:path>
              </a:pathLst>
            </a:custGeom>
            <a:grpFill/>
            <a:ln w="548" cap="flat">
              <a:noFill/>
              <a:prstDash val="solid"/>
              <a:miter/>
            </a:ln>
          </p:spPr>
          <p:txBody>
            <a:bodyPr/>
            <a:lstStyle/>
            <a:p>
              <a:endParaRPr lang="en-US"/>
            </a:p>
          </p:txBody>
        </p:sp>
        <p:sp>
          <p:nvSpPr>
            <p:cNvPr id="520" name="Freeform: Shape 519">
              <a:extLst>
                <a:ext uri="{FF2B5EF4-FFF2-40B4-BE49-F238E27FC236}">
                  <a16:creationId xmlns:a16="http://schemas.microsoft.com/office/drawing/2014/main" id="{B13869B1-1899-312C-484E-580C338E496B}"/>
                </a:ext>
              </a:extLst>
            </p:cNvPr>
            <p:cNvSpPr/>
            <p:nvPr/>
          </p:nvSpPr>
          <p:spPr>
            <a:xfrm flipV="1">
              <a:off x="21324331" y="4773848"/>
              <a:ext cx="27377" cy="71970"/>
            </a:xfrm>
            <a:custGeom>
              <a:avLst/>
              <a:gdLst>
                <a:gd name="csX0" fmla="*/ 22095 w 27377"/>
                <a:gd name="csY0" fmla="*/ 67707 h 71970"/>
                <a:gd name="csX1" fmla="*/ -5283 w 27377"/>
                <a:gd name="csY1" fmla="*/ 67707 h 71970"/>
                <a:gd name="csX2" fmla="*/ -5283 w 27377"/>
                <a:gd name="csY2" fmla="*/ -4263 h 71970"/>
                <a:gd name="csX3" fmla="*/ 22095 w 27377"/>
                <a:gd name="csY3" fmla="*/ -4263 h 71970"/>
                <a:gd name="csX4" fmla="*/ 22095 w 27377"/>
                <a:gd name="csY4" fmla="*/ 67707 h 71970"/>
              </a:gdLst>
              <a:ahLst/>
              <a:cxnLst>
                <a:cxn ang="0">
                  <a:pos x="csX0" y="csY0"/>
                </a:cxn>
                <a:cxn ang="0">
                  <a:pos x="csX1" y="csY1"/>
                </a:cxn>
                <a:cxn ang="0">
                  <a:pos x="csX2" y="csY2"/>
                </a:cxn>
                <a:cxn ang="0">
                  <a:pos x="csX3" y="csY3"/>
                </a:cxn>
                <a:cxn ang="0">
                  <a:pos x="csX4" y="csY4"/>
                </a:cxn>
              </a:cxnLst>
              <a:rect l="l" t="t" r="r" b="b"/>
              <a:pathLst>
                <a:path w="27377" h="71970">
                  <a:moveTo>
                    <a:pt x="22095" y="67707"/>
                  </a:moveTo>
                  <a:lnTo>
                    <a:pt x="-5283" y="67707"/>
                  </a:lnTo>
                  <a:lnTo>
                    <a:pt x="-5283" y="-4263"/>
                  </a:lnTo>
                  <a:lnTo>
                    <a:pt x="22095" y="-4263"/>
                  </a:lnTo>
                  <a:lnTo>
                    <a:pt x="22095" y="67707"/>
                  </a:lnTo>
                </a:path>
              </a:pathLst>
            </a:custGeom>
            <a:grpFill/>
            <a:ln w="548" cap="flat">
              <a:noFill/>
              <a:prstDash val="solid"/>
              <a:miter/>
            </a:ln>
          </p:spPr>
          <p:txBody>
            <a:bodyPr/>
            <a:lstStyle/>
            <a:p>
              <a:endParaRPr lang="en-US"/>
            </a:p>
          </p:txBody>
        </p:sp>
        <p:sp>
          <p:nvSpPr>
            <p:cNvPr id="521" name="Freeform: Shape 520">
              <a:extLst>
                <a:ext uri="{FF2B5EF4-FFF2-40B4-BE49-F238E27FC236}">
                  <a16:creationId xmlns:a16="http://schemas.microsoft.com/office/drawing/2014/main" id="{1761CC29-0C92-8D60-2A55-9AB3AE16B7CC}"/>
                </a:ext>
              </a:extLst>
            </p:cNvPr>
            <p:cNvSpPr/>
            <p:nvPr/>
          </p:nvSpPr>
          <p:spPr>
            <a:xfrm flipV="1">
              <a:off x="21897210" y="4581270"/>
              <a:ext cx="24765" cy="34224"/>
            </a:xfrm>
            <a:custGeom>
              <a:avLst/>
              <a:gdLst>
                <a:gd name="csX0" fmla="*/ 18775 w 24765"/>
                <a:gd name="csY0" fmla="*/ 29452 h 34224"/>
                <a:gd name="csX1" fmla="*/ -5991 w 24765"/>
                <a:gd name="csY1" fmla="*/ 29452 h 34224"/>
                <a:gd name="csX2" fmla="*/ -5991 w 24765"/>
                <a:gd name="csY2" fmla="*/ -4772 h 34224"/>
                <a:gd name="csX3" fmla="*/ 18775 w 24765"/>
                <a:gd name="csY3" fmla="*/ -4772 h 34224"/>
                <a:gd name="csX4" fmla="*/ 18775 w 24765"/>
                <a:gd name="csY4" fmla="*/ 29452 h 34224"/>
              </a:gdLst>
              <a:ahLst/>
              <a:cxnLst>
                <a:cxn ang="0">
                  <a:pos x="csX0" y="csY0"/>
                </a:cxn>
                <a:cxn ang="0">
                  <a:pos x="csX1" y="csY1"/>
                </a:cxn>
                <a:cxn ang="0">
                  <a:pos x="csX2" y="csY2"/>
                </a:cxn>
                <a:cxn ang="0">
                  <a:pos x="csX3" y="csY3"/>
                </a:cxn>
                <a:cxn ang="0">
                  <a:pos x="csX4" y="csY4"/>
                </a:cxn>
              </a:cxnLst>
              <a:rect l="l" t="t" r="r" b="b"/>
              <a:pathLst>
                <a:path w="24765" h="34224">
                  <a:moveTo>
                    <a:pt x="18775" y="29452"/>
                  </a:moveTo>
                  <a:lnTo>
                    <a:pt x="-5991" y="29452"/>
                  </a:lnTo>
                  <a:lnTo>
                    <a:pt x="-5991" y="-4772"/>
                  </a:lnTo>
                  <a:lnTo>
                    <a:pt x="18775" y="-4772"/>
                  </a:lnTo>
                  <a:lnTo>
                    <a:pt x="18775" y="29452"/>
                  </a:lnTo>
                </a:path>
              </a:pathLst>
            </a:custGeom>
            <a:grpFill/>
            <a:ln w="548" cap="flat">
              <a:noFill/>
              <a:prstDash val="solid"/>
              <a:miter/>
            </a:ln>
          </p:spPr>
          <p:txBody>
            <a:bodyPr/>
            <a:lstStyle/>
            <a:p>
              <a:endParaRPr lang="en-US"/>
            </a:p>
          </p:txBody>
        </p:sp>
        <p:sp>
          <p:nvSpPr>
            <p:cNvPr id="522" name="Freeform: Shape 521">
              <a:extLst>
                <a:ext uri="{FF2B5EF4-FFF2-40B4-BE49-F238E27FC236}">
                  <a16:creationId xmlns:a16="http://schemas.microsoft.com/office/drawing/2014/main" id="{9A62DB40-A6B9-3CC0-5DE7-46E75A5EBDCF}"/>
                </a:ext>
              </a:extLst>
            </p:cNvPr>
            <p:cNvSpPr/>
            <p:nvPr/>
          </p:nvSpPr>
          <p:spPr>
            <a:xfrm flipV="1">
              <a:off x="21870156" y="4581270"/>
              <a:ext cx="24771" cy="34224"/>
            </a:xfrm>
            <a:custGeom>
              <a:avLst/>
              <a:gdLst>
                <a:gd name="csX0" fmla="*/ 18814 w 24771"/>
                <a:gd name="csY0" fmla="*/ 29452 h 34224"/>
                <a:gd name="csX1" fmla="*/ -5958 w 24771"/>
                <a:gd name="csY1" fmla="*/ 29452 h 34224"/>
                <a:gd name="csX2" fmla="*/ -5958 w 24771"/>
                <a:gd name="csY2" fmla="*/ -4772 h 34224"/>
                <a:gd name="csX3" fmla="*/ 18814 w 24771"/>
                <a:gd name="csY3" fmla="*/ -4772 h 34224"/>
                <a:gd name="csX4" fmla="*/ 18814 w 24771"/>
                <a:gd name="csY4" fmla="*/ 29452 h 34224"/>
              </a:gdLst>
              <a:ahLst/>
              <a:cxnLst>
                <a:cxn ang="0">
                  <a:pos x="csX0" y="csY0"/>
                </a:cxn>
                <a:cxn ang="0">
                  <a:pos x="csX1" y="csY1"/>
                </a:cxn>
                <a:cxn ang="0">
                  <a:pos x="csX2" y="csY2"/>
                </a:cxn>
                <a:cxn ang="0">
                  <a:pos x="csX3" y="csY3"/>
                </a:cxn>
                <a:cxn ang="0">
                  <a:pos x="csX4" y="csY4"/>
                </a:cxn>
              </a:cxnLst>
              <a:rect l="l" t="t" r="r" b="b"/>
              <a:pathLst>
                <a:path w="24771" h="34224">
                  <a:moveTo>
                    <a:pt x="18814" y="29452"/>
                  </a:moveTo>
                  <a:lnTo>
                    <a:pt x="-5958" y="29452"/>
                  </a:lnTo>
                  <a:lnTo>
                    <a:pt x="-5958" y="-4772"/>
                  </a:lnTo>
                  <a:lnTo>
                    <a:pt x="18814" y="-4772"/>
                  </a:lnTo>
                  <a:lnTo>
                    <a:pt x="18814" y="29452"/>
                  </a:lnTo>
                </a:path>
              </a:pathLst>
            </a:custGeom>
            <a:grpFill/>
            <a:ln w="548" cap="flat">
              <a:noFill/>
              <a:prstDash val="solid"/>
              <a:miter/>
            </a:ln>
          </p:spPr>
          <p:txBody>
            <a:bodyPr/>
            <a:lstStyle/>
            <a:p>
              <a:endParaRPr lang="en-US"/>
            </a:p>
          </p:txBody>
        </p:sp>
        <p:sp>
          <p:nvSpPr>
            <p:cNvPr id="523" name="Freeform: Shape 522">
              <a:extLst>
                <a:ext uri="{FF2B5EF4-FFF2-40B4-BE49-F238E27FC236}">
                  <a16:creationId xmlns:a16="http://schemas.microsoft.com/office/drawing/2014/main" id="{4B8AD37C-210F-FB58-FA9F-A4F8C0CDABD5}"/>
                </a:ext>
              </a:extLst>
            </p:cNvPr>
            <p:cNvSpPr/>
            <p:nvPr/>
          </p:nvSpPr>
          <p:spPr>
            <a:xfrm flipV="1">
              <a:off x="21870156" y="4617777"/>
              <a:ext cx="24771" cy="34224"/>
            </a:xfrm>
            <a:custGeom>
              <a:avLst/>
              <a:gdLst>
                <a:gd name="csX0" fmla="*/ 18814 w 24771"/>
                <a:gd name="csY0" fmla="*/ 29540 h 34224"/>
                <a:gd name="csX1" fmla="*/ -5958 w 24771"/>
                <a:gd name="csY1" fmla="*/ 29540 h 34224"/>
                <a:gd name="csX2" fmla="*/ -5958 w 24771"/>
                <a:gd name="csY2" fmla="*/ -4684 h 34224"/>
                <a:gd name="csX3" fmla="*/ 18814 w 24771"/>
                <a:gd name="csY3" fmla="*/ -4684 h 34224"/>
                <a:gd name="csX4" fmla="*/ 18814 w 24771"/>
                <a:gd name="csY4" fmla="*/ 29540 h 34224"/>
              </a:gdLst>
              <a:ahLst/>
              <a:cxnLst>
                <a:cxn ang="0">
                  <a:pos x="csX0" y="csY0"/>
                </a:cxn>
                <a:cxn ang="0">
                  <a:pos x="csX1" y="csY1"/>
                </a:cxn>
                <a:cxn ang="0">
                  <a:pos x="csX2" y="csY2"/>
                </a:cxn>
                <a:cxn ang="0">
                  <a:pos x="csX3" y="csY3"/>
                </a:cxn>
                <a:cxn ang="0">
                  <a:pos x="csX4" y="csY4"/>
                </a:cxn>
              </a:cxnLst>
              <a:rect l="l" t="t" r="r" b="b"/>
              <a:pathLst>
                <a:path w="24771" h="34224">
                  <a:moveTo>
                    <a:pt x="18814" y="29540"/>
                  </a:moveTo>
                  <a:lnTo>
                    <a:pt x="-5958" y="29540"/>
                  </a:lnTo>
                  <a:lnTo>
                    <a:pt x="-5958" y="-4684"/>
                  </a:lnTo>
                  <a:lnTo>
                    <a:pt x="18814" y="-4684"/>
                  </a:lnTo>
                  <a:lnTo>
                    <a:pt x="18814" y="29540"/>
                  </a:lnTo>
                </a:path>
              </a:pathLst>
            </a:custGeom>
            <a:grpFill/>
            <a:ln w="548" cap="flat">
              <a:noFill/>
              <a:prstDash val="solid"/>
              <a:miter/>
            </a:ln>
          </p:spPr>
          <p:txBody>
            <a:bodyPr/>
            <a:lstStyle/>
            <a:p>
              <a:endParaRPr lang="en-US"/>
            </a:p>
          </p:txBody>
        </p:sp>
        <p:sp>
          <p:nvSpPr>
            <p:cNvPr id="524" name="Freeform: Shape 523">
              <a:extLst>
                <a:ext uri="{FF2B5EF4-FFF2-40B4-BE49-F238E27FC236}">
                  <a16:creationId xmlns:a16="http://schemas.microsoft.com/office/drawing/2014/main" id="{6CC279D1-37BB-722A-781D-7AAD042FAA6E}"/>
                </a:ext>
              </a:extLst>
            </p:cNvPr>
            <p:cNvSpPr/>
            <p:nvPr/>
          </p:nvSpPr>
          <p:spPr>
            <a:xfrm flipV="1">
              <a:off x="21897210" y="4617777"/>
              <a:ext cx="24765" cy="34224"/>
            </a:xfrm>
            <a:custGeom>
              <a:avLst/>
              <a:gdLst>
                <a:gd name="csX0" fmla="*/ 18775 w 24765"/>
                <a:gd name="csY0" fmla="*/ 29540 h 34224"/>
                <a:gd name="csX1" fmla="*/ -5991 w 24765"/>
                <a:gd name="csY1" fmla="*/ 29540 h 34224"/>
                <a:gd name="csX2" fmla="*/ -5991 w 24765"/>
                <a:gd name="csY2" fmla="*/ -4684 h 34224"/>
                <a:gd name="csX3" fmla="*/ 18775 w 24765"/>
                <a:gd name="csY3" fmla="*/ -4684 h 34224"/>
                <a:gd name="csX4" fmla="*/ 18775 w 24765"/>
                <a:gd name="csY4" fmla="*/ 29540 h 34224"/>
              </a:gdLst>
              <a:ahLst/>
              <a:cxnLst>
                <a:cxn ang="0">
                  <a:pos x="csX0" y="csY0"/>
                </a:cxn>
                <a:cxn ang="0">
                  <a:pos x="csX1" y="csY1"/>
                </a:cxn>
                <a:cxn ang="0">
                  <a:pos x="csX2" y="csY2"/>
                </a:cxn>
                <a:cxn ang="0">
                  <a:pos x="csX3" y="csY3"/>
                </a:cxn>
                <a:cxn ang="0">
                  <a:pos x="csX4" y="csY4"/>
                </a:cxn>
              </a:cxnLst>
              <a:rect l="l" t="t" r="r" b="b"/>
              <a:pathLst>
                <a:path w="24765" h="34224">
                  <a:moveTo>
                    <a:pt x="18775" y="29540"/>
                  </a:moveTo>
                  <a:lnTo>
                    <a:pt x="-5991" y="29540"/>
                  </a:lnTo>
                  <a:lnTo>
                    <a:pt x="-5991" y="-4684"/>
                  </a:lnTo>
                  <a:lnTo>
                    <a:pt x="18775" y="-4684"/>
                  </a:lnTo>
                  <a:lnTo>
                    <a:pt x="18775" y="29540"/>
                  </a:lnTo>
                </a:path>
              </a:pathLst>
            </a:custGeom>
            <a:grpFill/>
            <a:ln w="548" cap="flat">
              <a:noFill/>
              <a:prstDash val="solid"/>
              <a:miter/>
            </a:ln>
          </p:spPr>
          <p:txBody>
            <a:bodyPr/>
            <a:lstStyle/>
            <a:p>
              <a:endParaRPr lang="en-US"/>
            </a:p>
          </p:txBody>
        </p:sp>
        <p:sp>
          <p:nvSpPr>
            <p:cNvPr id="525" name="Freeform: Shape 524">
              <a:extLst>
                <a:ext uri="{FF2B5EF4-FFF2-40B4-BE49-F238E27FC236}">
                  <a16:creationId xmlns:a16="http://schemas.microsoft.com/office/drawing/2014/main" id="{8C619837-1099-6954-622D-E9BFDEF199B0}"/>
                </a:ext>
              </a:extLst>
            </p:cNvPr>
            <p:cNvSpPr/>
            <p:nvPr/>
          </p:nvSpPr>
          <p:spPr>
            <a:xfrm flipV="1">
              <a:off x="21274717" y="4458501"/>
              <a:ext cx="1075658" cy="465109"/>
            </a:xfrm>
            <a:custGeom>
              <a:avLst/>
              <a:gdLst>
                <a:gd name="csX0" fmla="*/ 622810 w 1075658"/>
                <a:gd name="csY0" fmla="*/ 438637 h 465109"/>
                <a:gd name="csX1" fmla="*/ 564056 w 1075658"/>
                <a:gd name="csY1" fmla="*/ 438637 h 465109"/>
                <a:gd name="csX2" fmla="*/ 564056 w 1075658"/>
                <a:gd name="csY2" fmla="*/ 460561 h 465109"/>
                <a:gd name="csX3" fmla="*/ -5871 w 1075658"/>
                <a:gd name="csY3" fmla="*/ 460561 h 465109"/>
                <a:gd name="csX4" fmla="*/ -5871 w 1075658"/>
                <a:gd name="csY4" fmla="*/ 401176 h 465109"/>
                <a:gd name="csX5" fmla="*/ -5871 w 1075658"/>
                <a:gd name="csY5" fmla="*/ 395152 h 465109"/>
                <a:gd name="csX6" fmla="*/ -5871 w 1075658"/>
                <a:gd name="csY6" fmla="*/ 369146 h 465109"/>
                <a:gd name="csX7" fmla="*/ -5871 w 1075658"/>
                <a:gd name="csY7" fmla="*/ 222840 h 465109"/>
                <a:gd name="csX8" fmla="*/ -5871 w 1075658"/>
                <a:gd name="csY8" fmla="*/ 8064 h 465109"/>
                <a:gd name="csX9" fmla="*/ -5871 w 1075658"/>
                <a:gd name="csY9" fmla="*/ -4549 h 465109"/>
                <a:gd name="csX10" fmla="*/ 4943 w 1075658"/>
                <a:gd name="csY10" fmla="*/ -4549 h 465109"/>
                <a:gd name="csX11" fmla="*/ 139584 w 1075658"/>
                <a:gd name="csY11" fmla="*/ -4549 h 465109"/>
                <a:gd name="csX12" fmla="*/ 150398 w 1075658"/>
                <a:gd name="csY12" fmla="*/ -4549 h 465109"/>
                <a:gd name="csX13" fmla="*/ 150398 w 1075658"/>
                <a:gd name="csY13" fmla="*/ 8064 h 465109"/>
                <a:gd name="csX14" fmla="*/ 150398 w 1075658"/>
                <a:gd name="csY14" fmla="*/ 222840 h 465109"/>
                <a:gd name="csX15" fmla="*/ 150398 w 1075658"/>
                <a:gd name="csY15" fmla="*/ 369146 h 465109"/>
                <a:gd name="csX16" fmla="*/ 150398 w 1075658"/>
                <a:gd name="csY16" fmla="*/ 384903 h 465109"/>
                <a:gd name="csX17" fmla="*/ 139584 w 1075658"/>
                <a:gd name="csY17" fmla="*/ 384903 h 465109"/>
                <a:gd name="csX18" fmla="*/ 139584 w 1075658"/>
                <a:gd name="csY18" fmla="*/ 369146 h 465109"/>
                <a:gd name="csX19" fmla="*/ 127899 w 1075658"/>
                <a:gd name="csY19" fmla="*/ 369146 h 465109"/>
                <a:gd name="csX20" fmla="*/ 16629 w 1075658"/>
                <a:gd name="csY20" fmla="*/ 369146 h 465109"/>
                <a:gd name="csX21" fmla="*/ 4943 w 1075658"/>
                <a:gd name="csY21" fmla="*/ 369146 h 465109"/>
                <a:gd name="csX22" fmla="*/ 4943 w 1075658"/>
                <a:gd name="csY22" fmla="*/ 395152 h 465109"/>
                <a:gd name="csX23" fmla="*/ 1069787 w 1075658"/>
                <a:gd name="csY23" fmla="*/ 395152 h 465109"/>
                <a:gd name="csX24" fmla="*/ 1069787 w 1075658"/>
                <a:gd name="csY24" fmla="*/ 460561 h 465109"/>
                <a:gd name="csX25" fmla="*/ 622810 w 1075658"/>
                <a:gd name="csY25" fmla="*/ 460561 h 465109"/>
                <a:gd name="csX26" fmla="*/ 46360 w 1075658"/>
                <a:gd name="csY26" fmla="*/ 301285 h 465109"/>
                <a:gd name="csX27" fmla="*/ 71120 w 1075658"/>
                <a:gd name="csY27" fmla="*/ 301285 h 465109"/>
                <a:gd name="csX28" fmla="*/ 71120 w 1075658"/>
                <a:gd name="csY28" fmla="*/ 267061 h 465109"/>
                <a:gd name="csX29" fmla="*/ 46360 w 1075658"/>
                <a:gd name="csY29" fmla="*/ 267061 h 465109"/>
                <a:gd name="csX30" fmla="*/ 73408 w 1075658"/>
                <a:gd name="csY30" fmla="*/ 301285 h 465109"/>
                <a:gd name="csX31" fmla="*/ 98173 w 1075658"/>
                <a:gd name="csY31" fmla="*/ 301285 h 465109"/>
                <a:gd name="csX32" fmla="*/ 98173 w 1075658"/>
                <a:gd name="csY32" fmla="*/ 267061 h 465109"/>
                <a:gd name="csX33" fmla="*/ 73408 w 1075658"/>
                <a:gd name="csY33" fmla="*/ 267061 h 465109"/>
                <a:gd name="csX34" fmla="*/ 98173 w 1075658"/>
                <a:gd name="csY34" fmla="*/ 337791 h 465109"/>
                <a:gd name="csX35" fmla="*/ 98173 w 1075658"/>
                <a:gd name="csY35" fmla="*/ 303567 h 465109"/>
                <a:gd name="csX36" fmla="*/ 73408 w 1075658"/>
                <a:gd name="csY36" fmla="*/ 303567 h 465109"/>
                <a:gd name="csX37" fmla="*/ 73408 w 1075658"/>
                <a:gd name="csY37" fmla="*/ 337791 h 465109"/>
                <a:gd name="csX38" fmla="*/ 46360 w 1075658"/>
                <a:gd name="csY38" fmla="*/ 337791 h 465109"/>
                <a:gd name="csX39" fmla="*/ 71120 w 1075658"/>
                <a:gd name="csY39" fmla="*/ 337791 h 465109"/>
                <a:gd name="csX40" fmla="*/ 71120 w 1075658"/>
                <a:gd name="csY40" fmla="*/ 303567 h 465109"/>
                <a:gd name="csX41" fmla="*/ 46360 w 1075658"/>
                <a:gd name="csY41" fmla="*/ 303567 h 465109"/>
                <a:gd name="csX42" fmla="*/ 16629 w 1075658"/>
                <a:gd name="csY42" fmla="*/ 222840 h 465109"/>
                <a:gd name="csX43" fmla="*/ 139584 w 1075658"/>
                <a:gd name="csY43" fmla="*/ 222840 h 465109"/>
                <a:gd name="csX44" fmla="*/ 139584 w 1075658"/>
                <a:gd name="csY44" fmla="*/ 8064 h 465109"/>
                <a:gd name="csX45" fmla="*/ 4943 w 1075658"/>
                <a:gd name="csY45" fmla="*/ 8064 h 465109"/>
                <a:gd name="csX46" fmla="*/ 4943 w 1075658"/>
                <a:gd name="csY46" fmla="*/ 222840 h 465109"/>
                <a:gd name="csX47" fmla="*/ 16629 w 1075658"/>
                <a:gd name="csY47" fmla="*/ 222840 h 46510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Lst>
              <a:rect l="l" t="t" r="r" b="b"/>
              <a:pathLst>
                <a:path w="1075658" h="465109">
                  <a:moveTo>
                    <a:pt x="622810" y="438637"/>
                  </a:moveTo>
                  <a:lnTo>
                    <a:pt x="564056" y="438637"/>
                  </a:lnTo>
                  <a:lnTo>
                    <a:pt x="564056" y="460561"/>
                  </a:lnTo>
                  <a:lnTo>
                    <a:pt x="-5871" y="460561"/>
                  </a:lnTo>
                  <a:lnTo>
                    <a:pt x="-5871" y="401176"/>
                  </a:lnTo>
                  <a:lnTo>
                    <a:pt x="-5871" y="395152"/>
                  </a:lnTo>
                  <a:lnTo>
                    <a:pt x="-5871" y="369146"/>
                  </a:lnTo>
                  <a:lnTo>
                    <a:pt x="-5871" y="222840"/>
                  </a:lnTo>
                  <a:lnTo>
                    <a:pt x="-5871" y="8064"/>
                  </a:lnTo>
                  <a:lnTo>
                    <a:pt x="-5871" y="-4549"/>
                  </a:lnTo>
                  <a:lnTo>
                    <a:pt x="4943" y="-4549"/>
                  </a:lnTo>
                  <a:lnTo>
                    <a:pt x="139584" y="-4549"/>
                  </a:lnTo>
                  <a:lnTo>
                    <a:pt x="150398" y="-4549"/>
                  </a:lnTo>
                  <a:lnTo>
                    <a:pt x="150398" y="8064"/>
                  </a:lnTo>
                  <a:lnTo>
                    <a:pt x="150398" y="222840"/>
                  </a:lnTo>
                  <a:lnTo>
                    <a:pt x="150398" y="369146"/>
                  </a:lnTo>
                  <a:lnTo>
                    <a:pt x="150398" y="384903"/>
                  </a:lnTo>
                  <a:lnTo>
                    <a:pt x="139584" y="384903"/>
                  </a:lnTo>
                  <a:lnTo>
                    <a:pt x="139584" y="369146"/>
                  </a:lnTo>
                  <a:lnTo>
                    <a:pt x="127899" y="369146"/>
                  </a:lnTo>
                  <a:lnTo>
                    <a:pt x="16629" y="369146"/>
                  </a:lnTo>
                  <a:lnTo>
                    <a:pt x="4943" y="369146"/>
                  </a:lnTo>
                  <a:lnTo>
                    <a:pt x="4943" y="395152"/>
                  </a:lnTo>
                  <a:lnTo>
                    <a:pt x="1069787" y="395152"/>
                  </a:lnTo>
                  <a:lnTo>
                    <a:pt x="1069787" y="460561"/>
                  </a:lnTo>
                  <a:lnTo>
                    <a:pt x="622810" y="460561"/>
                  </a:lnTo>
                  <a:close/>
                  <a:moveTo>
                    <a:pt x="46360" y="301285"/>
                  </a:moveTo>
                  <a:lnTo>
                    <a:pt x="71120" y="301285"/>
                  </a:lnTo>
                  <a:lnTo>
                    <a:pt x="71120" y="267061"/>
                  </a:lnTo>
                  <a:lnTo>
                    <a:pt x="46360" y="267061"/>
                  </a:lnTo>
                  <a:close/>
                  <a:moveTo>
                    <a:pt x="73408" y="301285"/>
                  </a:moveTo>
                  <a:lnTo>
                    <a:pt x="98173" y="301285"/>
                  </a:lnTo>
                  <a:lnTo>
                    <a:pt x="98173" y="267061"/>
                  </a:lnTo>
                  <a:lnTo>
                    <a:pt x="73408" y="267061"/>
                  </a:lnTo>
                  <a:close/>
                  <a:moveTo>
                    <a:pt x="98173" y="337791"/>
                  </a:moveTo>
                  <a:lnTo>
                    <a:pt x="98173" y="303567"/>
                  </a:lnTo>
                  <a:lnTo>
                    <a:pt x="73408" y="303567"/>
                  </a:lnTo>
                  <a:lnTo>
                    <a:pt x="73408" y="337791"/>
                  </a:lnTo>
                  <a:close/>
                  <a:moveTo>
                    <a:pt x="46360" y="337791"/>
                  </a:moveTo>
                  <a:lnTo>
                    <a:pt x="71120" y="337791"/>
                  </a:lnTo>
                  <a:lnTo>
                    <a:pt x="71120" y="303567"/>
                  </a:lnTo>
                  <a:lnTo>
                    <a:pt x="46360" y="303567"/>
                  </a:lnTo>
                  <a:close/>
                  <a:moveTo>
                    <a:pt x="16629" y="222840"/>
                  </a:moveTo>
                  <a:lnTo>
                    <a:pt x="139584" y="222840"/>
                  </a:lnTo>
                  <a:lnTo>
                    <a:pt x="139584" y="8064"/>
                  </a:lnTo>
                  <a:lnTo>
                    <a:pt x="4943" y="8064"/>
                  </a:lnTo>
                  <a:lnTo>
                    <a:pt x="4943" y="222840"/>
                  </a:lnTo>
                  <a:lnTo>
                    <a:pt x="16629" y="222840"/>
                  </a:lnTo>
                </a:path>
              </a:pathLst>
            </a:custGeom>
            <a:grpFill/>
            <a:ln w="548" cap="flat">
              <a:noFill/>
              <a:prstDash val="solid"/>
              <a:miter/>
            </a:ln>
          </p:spPr>
          <p:txBody>
            <a:bodyPr/>
            <a:lstStyle/>
            <a:p>
              <a:endParaRPr lang="en-US"/>
            </a:p>
          </p:txBody>
        </p:sp>
        <p:sp>
          <p:nvSpPr>
            <p:cNvPr id="526" name="Freeform: Shape 525">
              <a:extLst>
                <a:ext uri="{FF2B5EF4-FFF2-40B4-BE49-F238E27FC236}">
                  <a16:creationId xmlns:a16="http://schemas.microsoft.com/office/drawing/2014/main" id="{B228366C-928A-F5BA-C623-CF4419241972}"/>
                </a:ext>
              </a:extLst>
            </p:cNvPr>
            <p:cNvSpPr/>
            <p:nvPr/>
          </p:nvSpPr>
          <p:spPr>
            <a:xfrm flipV="1">
              <a:off x="21830945" y="4661075"/>
              <a:ext cx="130246" cy="26691"/>
            </a:xfrm>
            <a:custGeom>
              <a:avLst/>
              <a:gdLst>
                <a:gd name="csX0" fmla="*/ -5974 w 130246"/>
                <a:gd name="csY0" fmla="*/ -4589 h 26691"/>
                <a:gd name="csX1" fmla="*/ 124273 w 130246"/>
                <a:gd name="csY1" fmla="*/ -4589 h 26691"/>
                <a:gd name="csX2" fmla="*/ 124273 w 130246"/>
                <a:gd name="csY2" fmla="*/ 22102 h 26691"/>
                <a:gd name="csX3" fmla="*/ -5974 w 130246"/>
                <a:gd name="csY3" fmla="*/ 22102 h 26691"/>
                <a:gd name="csX4" fmla="*/ -5974 w 130246"/>
                <a:gd name="csY4" fmla="*/ -4589 h 26691"/>
              </a:gdLst>
              <a:ahLst/>
              <a:cxnLst>
                <a:cxn ang="0">
                  <a:pos x="csX0" y="csY0"/>
                </a:cxn>
                <a:cxn ang="0">
                  <a:pos x="csX1" y="csY1"/>
                </a:cxn>
                <a:cxn ang="0">
                  <a:pos x="csX2" y="csY2"/>
                </a:cxn>
                <a:cxn ang="0">
                  <a:pos x="csX3" y="csY3"/>
                </a:cxn>
                <a:cxn ang="0">
                  <a:pos x="csX4" y="csY4"/>
                </a:cxn>
              </a:cxnLst>
              <a:rect l="l" t="t" r="r" b="b"/>
              <a:pathLst>
                <a:path w="130246" h="26691">
                  <a:moveTo>
                    <a:pt x="-5974" y="-4589"/>
                  </a:moveTo>
                  <a:lnTo>
                    <a:pt x="124273" y="-4589"/>
                  </a:lnTo>
                  <a:lnTo>
                    <a:pt x="124273" y="22102"/>
                  </a:lnTo>
                  <a:lnTo>
                    <a:pt x="-5974" y="22102"/>
                  </a:lnTo>
                  <a:lnTo>
                    <a:pt x="-5974" y="-4589"/>
                  </a:lnTo>
                </a:path>
              </a:pathLst>
            </a:custGeom>
            <a:grpFill/>
            <a:ln w="548" cap="flat">
              <a:noFill/>
              <a:prstDash val="solid"/>
              <a:miter/>
            </a:ln>
          </p:spPr>
          <p:txBody>
            <a:bodyPr/>
            <a:lstStyle/>
            <a:p>
              <a:endParaRPr lang="en-US"/>
            </a:p>
          </p:txBody>
        </p:sp>
        <p:sp>
          <p:nvSpPr>
            <p:cNvPr id="527" name="Freeform: Shape 526">
              <a:extLst>
                <a:ext uri="{FF2B5EF4-FFF2-40B4-BE49-F238E27FC236}">
                  <a16:creationId xmlns:a16="http://schemas.microsoft.com/office/drawing/2014/main" id="{2EE0A38B-D90C-0442-7FD6-A09412C7AD10}"/>
                </a:ext>
              </a:extLst>
            </p:cNvPr>
            <p:cNvSpPr/>
            <p:nvPr/>
          </p:nvSpPr>
          <p:spPr>
            <a:xfrm flipV="1">
              <a:off x="17801777" y="3224698"/>
              <a:ext cx="636905" cy="1698913"/>
            </a:xfrm>
            <a:custGeom>
              <a:avLst/>
              <a:gdLst>
                <a:gd name="csX0" fmla="*/ 508140 w 636905"/>
                <a:gd name="csY0" fmla="*/ 1619258 h 1698913"/>
                <a:gd name="csX1" fmla="*/ 417724 w 636905"/>
                <a:gd name="csY1" fmla="*/ 1619258 h 1698913"/>
                <a:gd name="csX2" fmla="*/ 417724 w 636905"/>
                <a:gd name="csY2" fmla="*/ 1692880 h 1698913"/>
                <a:gd name="csX3" fmla="*/ 216593 w 636905"/>
                <a:gd name="csY3" fmla="*/ 1692880 h 1698913"/>
                <a:gd name="csX4" fmla="*/ 216593 w 636905"/>
                <a:gd name="csY4" fmla="*/ 1619258 h 1698913"/>
                <a:gd name="csX5" fmla="*/ 201115 w 636905"/>
                <a:gd name="csY5" fmla="*/ 1619258 h 1698913"/>
                <a:gd name="csX6" fmla="*/ 126177 w 636905"/>
                <a:gd name="csY6" fmla="*/ 1619258 h 1698913"/>
                <a:gd name="csX7" fmla="*/ 110705 w 636905"/>
                <a:gd name="csY7" fmla="*/ 1619258 h 1698913"/>
                <a:gd name="csX8" fmla="*/ -1294 w 636905"/>
                <a:gd name="csY8" fmla="*/ 1619258 h 1698913"/>
                <a:gd name="csX9" fmla="*/ -1294 w 636905"/>
                <a:gd name="csY9" fmla="*/ 1555687 h 1698913"/>
                <a:gd name="csX10" fmla="*/ -1294 w 636905"/>
                <a:gd name="csY10" fmla="*/ -6033 h 1698913"/>
                <a:gd name="csX11" fmla="*/ 110705 w 636905"/>
                <a:gd name="csY11" fmla="*/ -6033 h 1698913"/>
                <a:gd name="csX12" fmla="*/ 222699 w 636905"/>
                <a:gd name="csY12" fmla="*/ -6033 h 1698913"/>
                <a:gd name="csX13" fmla="*/ 411618 w 636905"/>
                <a:gd name="csY13" fmla="*/ -6033 h 1698913"/>
                <a:gd name="csX14" fmla="*/ 523612 w 636905"/>
                <a:gd name="csY14" fmla="*/ -6033 h 1698913"/>
                <a:gd name="csX15" fmla="*/ 635611 w 636905"/>
                <a:gd name="csY15" fmla="*/ -6033 h 1698913"/>
                <a:gd name="csX16" fmla="*/ 635611 w 636905"/>
                <a:gd name="csY16" fmla="*/ 1555687 h 1698913"/>
                <a:gd name="csX17" fmla="*/ 635611 w 636905"/>
                <a:gd name="csY17" fmla="*/ 1619258 h 1698913"/>
                <a:gd name="csX18" fmla="*/ 523612 w 636905"/>
                <a:gd name="csY18" fmla="*/ 1619258 h 1698913"/>
                <a:gd name="csX19" fmla="*/ 110705 w 636905"/>
                <a:gd name="csY19" fmla="*/ 1399435 h 1698913"/>
                <a:gd name="csX20" fmla="*/ 110705 w 636905"/>
                <a:gd name="csY20" fmla="*/ 1359691 h 1698913"/>
                <a:gd name="csX21" fmla="*/ 50816 w 636905"/>
                <a:gd name="csY21" fmla="*/ 1359691 h 1698913"/>
                <a:gd name="csX22" fmla="*/ 50816 w 636905"/>
                <a:gd name="csY22" fmla="*/ 1399435 h 1698913"/>
                <a:gd name="csX23" fmla="*/ 50816 w 636905"/>
                <a:gd name="csY23" fmla="*/ 1422988 h 1698913"/>
                <a:gd name="csX24" fmla="*/ 50816 w 636905"/>
                <a:gd name="csY24" fmla="*/ 1462737 h 1698913"/>
                <a:gd name="csX25" fmla="*/ 110705 w 636905"/>
                <a:gd name="csY25" fmla="*/ 1462737 h 1698913"/>
                <a:gd name="csX26" fmla="*/ 110705 w 636905"/>
                <a:gd name="csY26" fmla="*/ 1422988 h 1698913"/>
                <a:gd name="csX27" fmla="*/ 110705 w 636905"/>
                <a:gd name="csY27" fmla="*/ 1336132 h 1698913"/>
                <a:gd name="csX28" fmla="*/ 110705 w 636905"/>
                <a:gd name="csY28" fmla="*/ 1296389 h 1698913"/>
                <a:gd name="csX29" fmla="*/ 50816 w 636905"/>
                <a:gd name="csY29" fmla="*/ 1296389 h 1698913"/>
                <a:gd name="csX30" fmla="*/ 50816 w 636905"/>
                <a:gd name="csY30" fmla="*/ 1336132 h 1698913"/>
                <a:gd name="csX31" fmla="*/ 110705 w 636905"/>
                <a:gd name="csY31" fmla="*/ 1272830 h 1698913"/>
                <a:gd name="csX32" fmla="*/ 110705 w 636905"/>
                <a:gd name="csY32" fmla="*/ 1233087 h 1698913"/>
                <a:gd name="csX33" fmla="*/ 50816 w 636905"/>
                <a:gd name="csY33" fmla="*/ 1233087 h 1698913"/>
                <a:gd name="csX34" fmla="*/ 50816 w 636905"/>
                <a:gd name="csY34" fmla="*/ 1272830 h 1698913"/>
                <a:gd name="csX35" fmla="*/ 110705 w 636905"/>
                <a:gd name="csY35" fmla="*/ 1209533 h 1698913"/>
                <a:gd name="csX36" fmla="*/ 110705 w 636905"/>
                <a:gd name="csY36" fmla="*/ 1169785 h 1698913"/>
                <a:gd name="csX37" fmla="*/ 50816 w 636905"/>
                <a:gd name="csY37" fmla="*/ 1169785 h 1698913"/>
                <a:gd name="csX38" fmla="*/ 50816 w 636905"/>
                <a:gd name="csY38" fmla="*/ 1209533 h 1698913"/>
                <a:gd name="csX39" fmla="*/ 110705 w 636905"/>
                <a:gd name="csY39" fmla="*/ 1146232 h 1698913"/>
                <a:gd name="csX40" fmla="*/ 110705 w 636905"/>
                <a:gd name="csY40" fmla="*/ 1106488 h 1698913"/>
                <a:gd name="csX41" fmla="*/ 50816 w 636905"/>
                <a:gd name="csY41" fmla="*/ 1106488 h 1698913"/>
                <a:gd name="csX42" fmla="*/ 50816 w 636905"/>
                <a:gd name="csY42" fmla="*/ 1146232 h 1698913"/>
                <a:gd name="csX43" fmla="*/ 110705 w 636905"/>
                <a:gd name="csY43" fmla="*/ 1082929 h 1698913"/>
                <a:gd name="csX44" fmla="*/ 110705 w 636905"/>
                <a:gd name="csY44" fmla="*/ 1043186 h 1698913"/>
                <a:gd name="csX45" fmla="*/ 50816 w 636905"/>
                <a:gd name="csY45" fmla="*/ 1043186 h 1698913"/>
                <a:gd name="csX46" fmla="*/ 50816 w 636905"/>
                <a:gd name="csY46" fmla="*/ 1082929 h 1698913"/>
                <a:gd name="csX47" fmla="*/ 110705 w 636905"/>
                <a:gd name="csY47" fmla="*/ 1019633 h 1698913"/>
                <a:gd name="csX48" fmla="*/ 110705 w 636905"/>
                <a:gd name="csY48" fmla="*/ 979889 h 1698913"/>
                <a:gd name="csX49" fmla="*/ 50816 w 636905"/>
                <a:gd name="csY49" fmla="*/ 979889 h 1698913"/>
                <a:gd name="csX50" fmla="*/ 50816 w 636905"/>
                <a:gd name="csY50" fmla="*/ 1019633 h 1698913"/>
                <a:gd name="csX51" fmla="*/ 110705 w 636905"/>
                <a:gd name="csY51" fmla="*/ 956331 h 1698913"/>
                <a:gd name="csX52" fmla="*/ 110705 w 636905"/>
                <a:gd name="csY52" fmla="*/ 916582 h 1698913"/>
                <a:gd name="csX53" fmla="*/ 50816 w 636905"/>
                <a:gd name="csY53" fmla="*/ 916582 h 1698913"/>
                <a:gd name="csX54" fmla="*/ 50816 w 636905"/>
                <a:gd name="csY54" fmla="*/ 956331 h 1698913"/>
                <a:gd name="csX55" fmla="*/ 110705 w 636905"/>
                <a:gd name="csY55" fmla="*/ 893029 h 1698913"/>
                <a:gd name="csX56" fmla="*/ 110705 w 636905"/>
                <a:gd name="csY56" fmla="*/ 853285 h 1698913"/>
                <a:gd name="csX57" fmla="*/ 50816 w 636905"/>
                <a:gd name="csY57" fmla="*/ 853285 h 1698913"/>
                <a:gd name="csX58" fmla="*/ 50816 w 636905"/>
                <a:gd name="csY58" fmla="*/ 893029 h 1698913"/>
                <a:gd name="csX59" fmla="*/ 110705 w 636905"/>
                <a:gd name="csY59" fmla="*/ 829727 h 1698913"/>
                <a:gd name="csX60" fmla="*/ 110705 w 636905"/>
                <a:gd name="csY60" fmla="*/ 789983 h 1698913"/>
                <a:gd name="csX61" fmla="*/ 50816 w 636905"/>
                <a:gd name="csY61" fmla="*/ 789983 h 1698913"/>
                <a:gd name="csX62" fmla="*/ 50816 w 636905"/>
                <a:gd name="csY62" fmla="*/ 829727 h 1698913"/>
                <a:gd name="csX63" fmla="*/ 110705 w 636905"/>
                <a:gd name="csY63" fmla="*/ 766430 h 1698913"/>
                <a:gd name="csX64" fmla="*/ 110705 w 636905"/>
                <a:gd name="csY64" fmla="*/ 726681 h 1698913"/>
                <a:gd name="csX65" fmla="*/ 50816 w 636905"/>
                <a:gd name="csY65" fmla="*/ 726681 h 1698913"/>
                <a:gd name="csX66" fmla="*/ 50816 w 636905"/>
                <a:gd name="csY66" fmla="*/ 766430 h 1698913"/>
                <a:gd name="csX67" fmla="*/ 110705 w 636905"/>
                <a:gd name="csY67" fmla="*/ 703128 h 1698913"/>
                <a:gd name="csX68" fmla="*/ 110705 w 636905"/>
                <a:gd name="csY68" fmla="*/ 663384 h 1698913"/>
                <a:gd name="csX69" fmla="*/ 50816 w 636905"/>
                <a:gd name="csY69" fmla="*/ 663384 h 1698913"/>
                <a:gd name="csX70" fmla="*/ 50816 w 636905"/>
                <a:gd name="csY70" fmla="*/ 703128 h 1698913"/>
                <a:gd name="csX71" fmla="*/ 110705 w 636905"/>
                <a:gd name="csY71" fmla="*/ 639831 h 1698913"/>
                <a:gd name="csX72" fmla="*/ 110705 w 636905"/>
                <a:gd name="csY72" fmla="*/ 600082 h 1698913"/>
                <a:gd name="csX73" fmla="*/ 50816 w 636905"/>
                <a:gd name="csY73" fmla="*/ 600082 h 1698913"/>
                <a:gd name="csX74" fmla="*/ 50816 w 636905"/>
                <a:gd name="csY74" fmla="*/ 639831 h 1698913"/>
                <a:gd name="csX75" fmla="*/ 110705 w 636905"/>
                <a:gd name="csY75" fmla="*/ 576529 h 1698913"/>
                <a:gd name="csX76" fmla="*/ 110705 w 636905"/>
                <a:gd name="csY76" fmla="*/ 536780 h 1698913"/>
                <a:gd name="csX77" fmla="*/ 50816 w 636905"/>
                <a:gd name="csY77" fmla="*/ 536780 h 1698913"/>
                <a:gd name="csX78" fmla="*/ 50816 w 636905"/>
                <a:gd name="csY78" fmla="*/ 576529 h 1698913"/>
                <a:gd name="csX79" fmla="*/ 110705 w 636905"/>
                <a:gd name="csY79" fmla="*/ 513222 h 1698913"/>
                <a:gd name="csX80" fmla="*/ 110705 w 636905"/>
                <a:gd name="csY80" fmla="*/ 473484 h 1698913"/>
                <a:gd name="csX81" fmla="*/ 50816 w 636905"/>
                <a:gd name="csY81" fmla="*/ 473484 h 1698913"/>
                <a:gd name="csX82" fmla="*/ 50816 w 636905"/>
                <a:gd name="csY82" fmla="*/ 513222 h 1698913"/>
                <a:gd name="csX83" fmla="*/ 110705 w 636905"/>
                <a:gd name="csY83" fmla="*/ 449925 h 1698913"/>
                <a:gd name="csX84" fmla="*/ 110705 w 636905"/>
                <a:gd name="csY84" fmla="*/ 410181 h 1698913"/>
                <a:gd name="csX85" fmla="*/ 50816 w 636905"/>
                <a:gd name="csY85" fmla="*/ 410181 h 1698913"/>
                <a:gd name="csX86" fmla="*/ 50816 w 636905"/>
                <a:gd name="csY86" fmla="*/ 449925 h 1698913"/>
                <a:gd name="csX87" fmla="*/ 110705 w 636905"/>
                <a:gd name="csY87" fmla="*/ 386623 h 1698913"/>
                <a:gd name="csX88" fmla="*/ 110705 w 636905"/>
                <a:gd name="csY88" fmla="*/ 346879 h 1698913"/>
                <a:gd name="csX89" fmla="*/ 50816 w 636905"/>
                <a:gd name="csY89" fmla="*/ 346879 h 1698913"/>
                <a:gd name="csX90" fmla="*/ 50816 w 636905"/>
                <a:gd name="csY90" fmla="*/ 386623 h 1698913"/>
                <a:gd name="csX91" fmla="*/ 110705 w 636905"/>
                <a:gd name="csY91" fmla="*/ 323321 h 1698913"/>
                <a:gd name="csX92" fmla="*/ 110705 w 636905"/>
                <a:gd name="csY92" fmla="*/ 283577 h 1698913"/>
                <a:gd name="csX93" fmla="*/ 50816 w 636905"/>
                <a:gd name="csY93" fmla="*/ 283577 h 1698913"/>
                <a:gd name="csX94" fmla="*/ 50816 w 636905"/>
                <a:gd name="csY94" fmla="*/ 323321 h 1698913"/>
                <a:gd name="csX95" fmla="*/ 110705 w 636905"/>
                <a:gd name="csY95" fmla="*/ 260024 h 1698913"/>
                <a:gd name="csX96" fmla="*/ 110705 w 636905"/>
                <a:gd name="csY96" fmla="*/ 220275 h 1698913"/>
                <a:gd name="csX97" fmla="*/ 50816 w 636905"/>
                <a:gd name="csY97" fmla="*/ 220275 h 1698913"/>
                <a:gd name="csX98" fmla="*/ 50816 w 636905"/>
                <a:gd name="csY98" fmla="*/ 260024 h 1698913"/>
                <a:gd name="csX99" fmla="*/ 110705 w 636905"/>
                <a:gd name="csY99" fmla="*/ 196722 h 1698913"/>
                <a:gd name="csX100" fmla="*/ 110705 w 636905"/>
                <a:gd name="csY100" fmla="*/ 156979 h 1698913"/>
                <a:gd name="csX101" fmla="*/ 50816 w 636905"/>
                <a:gd name="csY101" fmla="*/ 156979 h 1698913"/>
                <a:gd name="csX102" fmla="*/ 50816 w 636905"/>
                <a:gd name="csY102" fmla="*/ 196722 h 1698913"/>
                <a:gd name="csX103" fmla="*/ 110705 w 636905"/>
                <a:gd name="csY103" fmla="*/ 133420 h 1698913"/>
                <a:gd name="csX104" fmla="*/ 110705 w 636905"/>
                <a:gd name="csY104" fmla="*/ 93677 h 1698913"/>
                <a:gd name="csX105" fmla="*/ 50816 w 636905"/>
                <a:gd name="csY105" fmla="*/ 93677 h 1698913"/>
                <a:gd name="csX106" fmla="*/ 50816 w 636905"/>
                <a:gd name="csY106" fmla="*/ 133420 h 1698913"/>
                <a:gd name="csX107" fmla="*/ 50816 w 636905"/>
                <a:gd name="csY107" fmla="*/ 30380 h 1698913"/>
                <a:gd name="csX108" fmla="*/ 50816 w 636905"/>
                <a:gd name="csY108" fmla="*/ 70123 h 1698913"/>
                <a:gd name="csX109" fmla="*/ 110705 w 636905"/>
                <a:gd name="csY109" fmla="*/ 70123 h 1698913"/>
                <a:gd name="csX110" fmla="*/ 110705 w 636905"/>
                <a:gd name="csY110" fmla="*/ 30380 h 1698913"/>
                <a:gd name="csX111" fmla="*/ 222699 w 636905"/>
                <a:gd name="csY111" fmla="*/ 24010 h 1698913"/>
                <a:gd name="csX112" fmla="*/ 126177 w 636905"/>
                <a:gd name="csY112" fmla="*/ 24010 h 1698913"/>
                <a:gd name="csX113" fmla="*/ 126177 w 636905"/>
                <a:gd name="csY113" fmla="*/ 1555687 h 1698913"/>
                <a:gd name="csX114" fmla="*/ 222699 w 636905"/>
                <a:gd name="csY114" fmla="*/ 1555687 h 1698913"/>
                <a:gd name="csX115" fmla="*/ 222699 w 636905"/>
                <a:gd name="csY115" fmla="*/ 1539968 h 1698913"/>
                <a:gd name="csX116" fmla="*/ 222699 w 636905"/>
                <a:gd name="csY116" fmla="*/ 1487409 h 1698913"/>
                <a:gd name="csX117" fmla="*/ 222699 w 636905"/>
                <a:gd name="csY117" fmla="*/ 1471696 h 1698913"/>
                <a:gd name="csX118" fmla="*/ 222699 w 636905"/>
                <a:gd name="csY118" fmla="*/ 1419130 h 1698913"/>
                <a:gd name="csX119" fmla="*/ 222699 w 636905"/>
                <a:gd name="csY119" fmla="*/ 1403418 h 1698913"/>
                <a:gd name="csX120" fmla="*/ 222699 w 636905"/>
                <a:gd name="csY120" fmla="*/ 1350852 h 1698913"/>
                <a:gd name="csX121" fmla="*/ 222699 w 636905"/>
                <a:gd name="csY121" fmla="*/ 1335139 h 1698913"/>
                <a:gd name="csX122" fmla="*/ 222699 w 636905"/>
                <a:gd name="csY122" fmla="*/ 1282574 h 1698913"/>
                <a:gd name="csX123" fmla="*/ 222699 w 636905"/>
                <a:gd name="csY123" fmla="*/ 1266861 h 1698913"/>
                <a:gd name="csX124" fmla="*/ 222699 w 636905"/>
                <a:gd name="csY124" fmla="*/ 1214301 h 1698913"/>
                <a:gd name="csX125" fmla="*/ 222699 w 636905"/>
                <a:gd name="csY125" fmla="*/ 1198583 h 1698913"/>
                <a:gd name="csX126" fmla="*/ 222699 w 636905"/>
                <a:gd name="csY126" fmla="*/ 1146023 h 1698913"/>
                <a:gd name="csX127" fmla="*/ 222699 w 636905"/>
                <a:gd name="csY127" fmla="*/ 1130304 h 1698913"/>
                <a:gd name="csX128" fmla="*/ 222699 w 636905"/>
                <a:gd name="csY128" fmla="*/ 1077328 h 1698913"/>
                <a:gd name="csX129" fmla="*/ 222699 w 636905"/>
                <a:gd name="csY129" fmla="*/ 1061609 h 1698913"/>
                <a:gd name="csX130" fmla="*/ 222699 w 636905"/>
                <a:gd name="csY130" fmla="*/ 1008627 h 1698913"/>
                <a:gd name="csX131" fmla="*/ 222699 w 636905"/>
                <a:gd name="csY131" fmla="*/ 992914 h 1698913"/>
                <a:gd name="csX132" fmla="*/ 222699 w 636905"/>
                <a:gd name="csY132" fmla="*/ 939932 h 1698913"/>
                <a:gd name="csX133" fmla="*/ 222699 w 636905"/>
                <a:gd name="csY133" fmla="*/ 924219 h 1698913"/>
                <a:gd name="csX134" fmla="*/ 222699 w 636905"/>
                <a:gd name="csY134" fmla="*/ 871231 h 1698913"/>
                <a:gd name="csX135" fmla="*/ 222699 w 636905"/>
                <a:gd name="csY135" fmla="*/ 855524 h 1698913"/>
                <a:gd name="csX136" fmla="*/ 222699 w 636905"/>
                <a:gd name="csY136" fmla="*/ 802536 h 1698913"/>
                <a:gd name="csX137" fmla="*/ 222699 w 636905"/>
                <a:gd name="csY137" fmla="*/ 786823 h 1698913"/>
                <a:gd name="csX138" fmla="*/ 222699 w 636905"/>
                <a:gd name="csY138" fmla="*/ 733841 h 1698913"/>
                <a:gd name="csX139" fmla="*/ 222699 w 636905"/>
                <a:gd name="csY139" fmla="*/ 718128 h 1698913"/>
                <a:gd name="csX140" fmla="*/ 222699 w 636905"/>
                <a:gd name="csY140" fmla="*/ 665146 h 1698913"/>
                <a:gd name="csX141" fmla="*/ 222699 w 636905"/>
                <a:gd name="csY141" fmla="*/ 649427 h 1698913"/>
                <a:gd name="csX142" fmla="*/ 222699 w 636905"/>
                <a:gd name="csY142" fmla="*/ 596445 h 1698913"/>
                <a:gd name="csX143" fmla="*/ 222699 w 636905"/>
                <a:gd name="csY143" fmla="*/ 580732 h 1698913"/>
                <a:gd name="csX144" fmla="*/ 222699 w 636905"/>
                <a:gd name="csY144" fmla="*/ 527750 h 1698913"/>
                <a:gd name="csX145" fmla="*/ 222699 w 636905"/>
                <a:gd name="csY145" fmla="*/ 512037 h 1698913"/>
                <a:gd name="csX146" fmla="*/ 222699 w 636905"/>
                <a:gd name="csY146" fmla="*/ 459054 h 1698913"/>
                <a:gd name="csX147" fmla="*/ 222699 w 636905"/>
                <a:gd name="csY147" fmla="*/ 443341 h 1698913"/>
                <a:gd name="csX148" fmla="*/ 222699 w 636905"/>
                <a:gd name="csY148" fmla="*/ 390354 h 1698913"/>
                <a:gd name="csX149" fmla="*/ 222699 w 636905"/>
                <a:gd name="csY149" fmla="*/ 374641 h 1698913"/>
                <a:gd name="csX150" fmla="*/ 222699 w 636905"/>
                <a:gd name="csY150" fmla="*/ 321659 h 1698913"/>
                <a:gd name="csX151" fmla="*/ 222699 w 636905"/>
                <a:gd name="csY151" fmla="*/ 305940 h 1698913"/>
                <a:gd name="csX152" fmla="*/ 222699 w 636905"/>
                <a:gd name="csY152" fmla="*/ 252958 h 1698913"/>
                <a:gd name="csX153" fmla="*/ 222699 w 636905"/>
                <a:gd name="csY153" fmla="*/ 237245 h 1698913"/>
                <a:gd name="csX154" fmla="*/ 222699 w 636905"/>
                <a:gd name="csY154" fmla="*/ 184263 h 1698913"/>
                <a:gd name="csX155" fmla="*/ 222699 w 636905"/>
                <a:gd name="csY155" fmla="*/ 168549 h 1698913"/>
                <a:gd name="csX156" fmla="*/ 222699 w 636905"/>
                <a:gd name="csY156" fmla="*/ 115567 h 1698913"/>
                <a:gd name="csX157" fmla="*/ 222699 w 636905"/>
                <a:gd name="csY157" fmla="*/ 99854 h 1698913"/>
                <a:gd name="csX158" fmla="*/ 390166 w 636905"/>
                <a:gd name="csY158" fmla="*/ 1487409 h 1698913"/>
                <a:gd name="csX159" fmla="*/ 375440 w 636905"/>
                <a:gd name="csY159" fmla="*/ 1487409 h 1698913"/>
                <a:gd name="csX160" fmla="*/ 375440 w 636905"/>
                <a:gd name="csY160" fmla="*/ 1539968 h 1698913"/>
                <a:gd name="csX161" fmla="*/ 390166 w 636905"/>
                <a:gd name="csY161" fmla="*/ 1539968 h 1698913"/>
                <a:gd name="csX162" fmla="*/ 390166 w 636905"/>
                <a:gd name="csY162" fmla="*/ 1419130 h 1698913"/>
                <a:gd name="csX163" fmla="*/ 375440 w 636905"/>
                <a:gd name="csY163" fmla="*/ 1419130 h 1698913"/>
                <a:gd name="csX164" fmla="*/ 375440 w 636905"/>
                <a:gd name="csY164" fmla="*/ 1471696 h 1698913"/>
                <a:gd name="csX165" fmla="*/ 390166 w 636905"/>
                <a:gd name="csY165" fmla="*/ 1471696 h 1698913"/>
                <a:gd name="csX166" fmla="*/ 390166 w 636905"/>
                <a:gd name="csY166" fmla="*/ 1350852 h 1698913"/>
                <a:gd name="csX167" fmla="*/ 375440 w 636905"/>
                <a:gd name="csY167" fmla="*/ 1350852 h 1698913"/>
                <a:gd name="csX168" fmla="*/ 375440 w 636905"/>
                <a:gd name="csY168" fmla="*/ 1403418 h 1698913"/>
                <a:gd name="csX169" fmla="*/ 390166 w 636905"/>
                <a:gd name="csY169" fmla="*/ 1403418 h 1698913"/>
                <a:gd name="csX170" fmla="*/ 390166 w 636905"/>
                <a:gd name="csY170" fmla="*/ 1282574 h 1698913"/>
                <a:gd name="csX171" fmla="*/ 375440 w 636905"/>
                <a:gd name="csY171" fmla="*/ 1282574 h 1698913"/>
                <a:gd name="csX172" fmla="*/ 375440 w 636905"/>
                <a:gd name="csY172" fmla="*/ 1335139 h 1698913"/>
                <a:gd name="csX173" fmla="*/ 390166 w 636905"/>
                <a:gd name="csY173" fmla="*/ 1335139 h 1698913"/>
                <a:gd name="csX174" fmla="*/ 390166 w 636905"/>
                <a:gd name="csY174" fmla="*/ 1214301 h 1698913"/>
                <a:gd name="csX175" fmla="*/ 375440 w 636905"/>
                <a:gd name="csY175" fmla="*/ 1214301 h 1698913"/>
                <a:gd name="csX176" fmla="*/ 375440 w 636905"/>
                <a:gd name="csY176" fmla="*/ 1266861 h 1698913"/>
                <a:gd name="csX177" fmla="*/ 390166 w 636905"/>
                <a:gd name="csY177" fmla="*/ 1266861 h 1698913"/>
                <a:gd name="csX178" fmla="*/ 390166 w 636905"/>
                <a:gd name="csY178" fmla="*/ 1146023 h 1698913"/>
                <a:gd name="csX179" fmla="*/ 375440 w 636905"/>
                <a:gd name="csY179" fmla="*/ 1146023 h 1698913"/>
                <a:gd name="csX180" fmla="*/ 375440 w 636905"/>
                <a:gd name="csY180" fmla="*/ 1198583 h 1698913"/>
                <a:gd name="csX181" fmla="*/ 390166 w 636905"/>
                <a:gd name="csY181" fmla="*/ 1198583 h 1698913"/>
                <a:gd name="csX182" fmla="*/ 243673 w 636905"/>
                <a:gd name="csY182" fmla="*/ 168549 h 1698913"/>
                <a:gd name="csX183" fmla="*/ 258410 w 636905"/>
                <a:gd name="csY183" fmla="*/ 168549 h 1698913"/>
                <a:gd name="csX184" fmla="*/ 258410 w 636905"/>
                <a:gd name="csY184" fmla="*/ 115984 h 1698913"/>
                <a:gd name="csX185" fmla="*/ 243673 w 636905"/>
                <a:gd name="csY185" fmla="*/ 115984 h 1698913"/>
                <a:gd name="csX186" fmla="*/ 342500 w 636905"/>
                <a:gd name="csY186" fmla="*/ 168549 h 1698913"/>
                <a:gd name="csX187" fmla="*/ 357225 w 636905"/>
                <a:gd name="csY187" fmla="*/ 168549 h 1698913"/>
                <a:gd name="csX188" fmla="*/ 357225 w 636905"/>
                <a:gd name="csY188" fmla="*/ 115984 h 1698913"/>
                <a:gd name="csX189" fmla="*/ 342500 w 636905"/>
                <a:gd name="csY189" fmla="*/ 115984 h 1698913"/>
                <a:gd name="csX190" fmla="*/ 309560 w 636905"/>
                <a:gd name="csY190" fmla="*/ 168549 h 1698913"/>
                <a:gd name="csX191" fmla="*/ 324285 w 636905"/>
                <a:gd name="csY191" fmla="*/ 168549 h 1698913"/>
                <a:gd name="csX192" fmla="*/ 324285 w 636905"/>
                <a:gd name="csY192" fmla="*/ 115984 h 1698913"/>
                <a:gd name="csX193" fmla="*/ 309560 w 636905"/>
                <a:gd name="csY193" fmla="*/ 115984 h 1698913"/>
                <a:gd name="csX194" fmla="*/ 276619 w 636905"/>
                <a:gd name="csY194" fmla="*/ 168549 h 1698913"/>
                <a:gd name="csX195" fmla="*/ 291345 w 636905"/>
                <a:gd name="csY195" fmla="*/ 168549 h 1698913"/>
                <a:gd name="csX196" fmla="*/ 291345 w 636905"/>
                <a:gd name="csY196" fmla="*/ 115984 h 1698913"/>
                <a:gd name="csX197" fmla="*/ 276619 w 636905"/>
                <a:gd name="csY197" fmla="*/ 115984 h 1698913"/>
                <a:gd name="csX198" fmla="*/ 390166 w 636905"/>
                <a:gd name="csY198" fmla="*/ 115984 h 1698913"/>
                <a:gd name="csX199" fmla="*/ 375440 w 636905"/>
                <a:gd name="csY199" fmla="*/ 115984 h 1698913"/>
                <a:gd name="csX200" fmla="*/ 375440 w 636905"/>
                <a:gd name="csY200" fmla="*/ 168549 h 1698913"/>
                <a:gd name="csX201" fmla="*/ 390166 w 636905"/>
                <a:gd name="csY201" fmla="*/ 168549 h 1698913"/>
                <a:gd name="csX202" fmla="*/ 243673 w 636905"/>
                <a:gd name="csY202" fmla="*/ 237245 h 1698913"/>
                <a:gd name="csX203" fmla="*/ 258410 w 636905"/>
                <a:gd name="csY203" fmla="*/ 237245 h 1698913"/>
                <a:gd name="csX204" fmla="*/ 258410 w 636905"/>
                <a:gd name="csY204" fmla="*/ 184685 h 1698913"/>
                <a:gd name="csX205" fmla="*/ 243673 w 636905"/>
                <a:gd name="csY205" fmla="*/ 184685 h 1698913"/>
                <a:gd name="csX206" fmla="*/ 342500 w 636905"/>
                <a:gd name="csY206" fmla="*/ 237245 h 1698913"/>
                <a:gd name="csX207" fmla="*/ 357225 w 636905"/>
                <a:gd name="csY207" fmla="*/ 237245 h 1698913"/>
                <a:gd name="csX208" fmla="*/ 357225 w 636905"/>
                <a:gd name="csY208" fmla="*/ 184685 h 1698913"/>
                <a:gd name="csX209" fmla="*/ 342500 w 636905"/>
                <a:gd name="csY209" fmla="*/ 184685 h 1698913"/>
                <a:gd name="csX210" fmla="*/ 309560 w 636905"/>
                <a:gd name="csY210" fmla="*/ 237245 h 1698913"/>
                <a:gd name="csX211" fmla="*/ 324285 w 636905"/>
                <a:gd name="csY211" fmla="*/ 237245 h 1698913"/>
                <a:gd name="csX212" fmla="*/ 324285 w 636905"/>
                <a:gd name="csY212" fmla="*/ 184685 h 1698913"/>
                <a:gd name="csX213" fmla="*/ 309560 w 636905"/>
                <a:gd name="csY213" fmla="*/ 184685 h 1698913"/>
                <a:gd name="csX214" fmla="*/ 276619 w 636905"/>
                <a:gd name="csY214" fmla="*/ 237245 h 1698913"/>
                <a:gd name="csX215" fmla="*/ 291345 w 636905"/>
                <a:gd name="csY215" fmla="*/ 237245 h 1698913"/>
                <a:gd name="csX216" fmla="*/ 291345 w 636905"/>
                <a:gd name="csY216" fmla="*/ 184685 h 1698913"/>
                <a:gd name="csX217" fmla="*/ 276619 w 636905"/>
                <a:gd name="csY217" fmla="*/ 184685 h 1698913"/>
                <a:gd name="csX218" fmla="*/ 390166 w 636905"/>
                <a:gd name="csY218" fmla="*/ 184685 h 1698913"/>
                <a:gd name="csX219" fmla="*/ 375440 w 636905"/>
                <a:gd name="csY219" fmla="*/ 184685 h 1698913"/>
                <a:gd name="csX220" fmla="*/ 375440 w 636905"/>
                <a:gd name="csY220" fmla="*/ 237245 h 1698913"/>
                <a:gd name="csX221" fmla="*/ 390166 w 636905"/>
                <a:gd name="csY221" fmla="*/ 237245 h 1698913"/>
                <a:gd name="csX222" fmla="*/ 243673 w 636905"/>
                <a:gd name="csY222" fmla="*/ 305940 h 1698913"/>
                <a:gd name="csX223" fmla="*/ 258410 w 636905"/>
                <a:gd name="csY223" fmla="*/ 305940 h 1698913"/>
                <a:gd name="csX224" fmla="*/ 258410 w 636905"/>
                <a:gd name="csY224" fmla="*/ 253380 h 1698913"/>
                <a:gd name="csX225" fmla="*/ 243673 w 636905"/>
                <a:gd name="csY225" fmla="*/ 253380 h 1698913"/>
                <a:gd name="csX226" fmla="*/ 342500 w 636905"/>
                <a:gd name="csY226" fmla="*/ 305940 h 1698913"/>
                <a:gd name="csX227" fmla="*/ 357225 w 636905"/>
                <a:gd name="csY227" fmla="*/ 305940 h 1698913"/>
                <a:gd name="csX228" fmla="*/ 357225 w 636905"/>
                <a:gd name="csY228" fmla="*/ 253380 h 1698913"/>
                <a:gd name="csX229" fmla="*/ 342500 w 636905"/>
                <a:gd name="csY229" fmla="*/ 253380 h 1698913"/>
                <a:gd name="csX230" fmla="*/ 309560 w 636905"/>
                <a:gd name="csY230" fmla="*/ 305940 h 1698913"/>
                <a:gd name="csX231" fmla="*/ 324285 w 636905"/>
                <a:gd name="csY231" fmla="*/ 305940 h 1698913"/>
                <a:gd name="csX232" fmla="*/ 324285 w 636905"/>
                <a:gd name="csY232" fmla="*/ 253380 h 1698913"/>
                <a:gd name="csX233" fmla="*/ 309560 w 636905"/>
                <a:gd name="csY233" fmla="*/ 253380 h 1698913"/>
                <a:gd name="csX234" fmla="*/ 276619 w 636905"/>
                <a:gd name="csY234" fmla="*/ 305940 h 1698913"/>
                <a:gd name="csX235" fmla="*/ 291345 w 636905"/>
                <a:gd name="csY235" fmla="*/ 305940 h 1698913"/>
                <a:gd name="csX236" fmla="*/ 291345 w 636905"/>
                <a:gd name="csY236" fmla="*/ 253380 h 1698913"/>
                <a:gd name="csX237" fmla="*/ 276619 w 636905"/>
                <a:gd name="csY237" fmla="*/ 253380 h 1698913"/>
                <a:gd name="csX238" fmla="*/ 390166 w 636905"/>
                <a:gd name="csY238" fmla="*/ 253380 h 1698913"/>
                <a:gd name="csX239" fmla="*/ 375440 w 636905"/>
                <a:gd name="csY239" fmla="*/ 253380 h 1698913"/>
                <a:gd name="csX240" fmla="*/ 375440 w 636905"/>
                <a:gd name="csY240" fmla="*/ 305940 h 1698913"/>
                <a:gd name="csX241" fmla="*/ 390166 w 636905"/>
                <a:gd name="csY241" fmla="*/ 305940 h 1698913"/>
                <a:gd name="csX242" fmla="*/ 243673 w 636905"/>
                <a:gd name="csY242" fmla="*/ 374641 h 1698913"/>
                <a:gd name="csX243" fmla="*/ 258410 w 636905"/>
                <a:gd name="csY243" fmla="*/ 374641 h 1698913"/>
                <a:gd name="csX244" fmla="*/ 258410 w 636905"/>
                <a:gd name="csY244" fmla="*/ 322075 h 1698913"/>
                <a:gd name="csX245" fmla="*/ 243673 w 636905"/>
                <a:gd name="csY245" fmla="*/ 322075 h 1698913"/>
                <a:gd name="csX246" fmla="*/ 342500 w 636905"/>
                <a:gd name="csY246" fmla="*/ 374641 h 1698913"/>
                <a:gd name="csX247" fmla="*/ 357225 w 636905"/>
                <a:gd name="csY247" fmla="*/ 374641 h 1698913"/>
                <a:gd name="csX248" fmla="*/ 357225 w 636905"/>
                <a:gd name="csY248" fmla="*/ 322075 h 1698913"/>
                <a:gd name="csX249" fmla="*/ 342500 w 636905"/>
                <a:gd name="csY249" fmla="*/ 322075 h 1698913"/>
                <a:gd name="csX250" fmla="*/ 309560 w 636905"/>
                <a:gd name="csY250" fmla="*/ 374641 h 1698913"/>
                <a:gd name="csX251" fmla="*/ 324285 w 636905"/>
                <a:gd name="csY251" fmla="*/ 374641 h 1698913"/>
                <a:gd name="csX252" fmla="*/ 324285 w 636905"/>
                <a:gd name="csY252" fmla="*/ 322075 h 1698913"/>
                <a:gd name="csX253" fmla="*/ 309560 w 636905"/>
                <a:gd name="csY253" fmla="*/ 322075 h 1698913"/>
                <a:gd name="csX254" fmla="*/ 276619 w 636905"/>
                <a:gd name="csY254" fmla="*/ 374641 h 1698913"/>
                <a:gd name="csX255" fmla="*/ 291345 w 636905"/>
                <a:gd name="csY255" fmla="*/ 374641 h 1698913"/>
                <a:gd name="csX256" fmla="*/ 291345 w 636905"/>
                <a:gd name="csY256" fmla="*/ 322075 h 1698913"/>
                <a:gd name="csX257" fmla="*/ 276619 w 636905"/>
                <a:gd name="csY257" fmla="*/ 322075 h 1698913"/>
                <a:gd name="csX258" fmla="*/ 390166 w 636905"/>
                <a:gd name="csY258" fmla="*/ 322075 h 1698913"/>
                <a:gd name="csX259" fmla="*/ 375440 w 636905"/>
                <a:gd name="csY259" fmla="*/ 322075 h 1698913"/>
                <a:gd name="csX260" fmla="*/ 375440 w 636905"/>
                <a:gd name="csY260" fmla="*/ 374641 h 1698913"/>
                <a:gd name="csX261" fmla="*/ 390166 w 636905"/>
                <a:gd name="csY261" fmla="*/ 374641 h 1698913"/>
                <a:gd name="csX262" fmla="*/ 243673 w 636905"/>
                <a:gd name="csY262" fmla="*/ 443341 h 1698913"/>
                <a:gd name="csX263" fmla="*/ 258410 w 636905"/>
                <a:gd name="csY263" fmla="*/ 443341 h 1698913"/>
                <a:gd name="csX264" fmla="*/ 258410 w 636905"/>
                <a:gd name="csY264" fmla="*/ 390776 h 1698913"/>
                <a:gd name="csX265" fmla="*/ 243673 w 636905"/>
                <a:gd name="csY265" fmla="*/ 390776 h 1698913"/>
                <a:gd name="csX266" fmla="*/ 342500 w 636905"/>
                <a:gd name="csY266" fmla="*/ 443341 h 1698913"/>
                <a:gd name="csX267" fmla="*/ 357225 w 636905"/>
                <a:gd name="csY267" fmla="*/ 443341 h 1698913"/>
                <a:gd name="csX268" fmla="*/ 357225 w 636905"/>
                <a:gd name="csY268" fmla="*/ 390776 h 1698913"/>
                <a:gd name="csX269" fmla="*/ 342500 w 636905"/>
                <a:gd name="csY269" fmla="*/ 390776 h 1698913"/>
                <a:gd name="csX270" fmla="*/ 309560 w 636905"/>
                <a:gd name="csY270" fmla="*/ 443341 h 1698913"/>
                <a:gd name="csX271" fmla="*/ 324285 w 636905"/>
                <a:gd name="csY271" fmla="*/ 443341 h 1698913"/>
                <a:gd name="csX272" fmla="*/ 324285 w 636905"/>
                <a:gd name="csY272" fmla="*/ 390776 h 1698913"/>
                <a:gd name="csX273" fmla="*/ 309560 w 636905"/>
                <a:gd name="csY273" fmla="*/ 390776 h 1698913"/>
                <a:gd name="csX274" fmla="*/ 276619 w 636905"/>
                <a:gd name="csY274" fmla="*/ 443341 h 1698913"/>
                <a:gd name="csX275" fmla="*/ 291345 w 636905"/>
                <a:gd name="csY275" fmla="*/ 443341 h 1698913"/>
                <a:gd name="csX276" fmla="*/ 291345 w 636905"/>
                <a:gd name="csY276" fmla="*/ 390776 h 1698913"/>
                <a:gd name="csX277" fmla="*/ 276619 w 636905"/>
                <a:gd name="csY277" fmla="*/ 390776 h 1698913"/>
                <a:gd name="csX278" fmla="*/ 390166 w 636905"/>
                <a:gd name="csY278" fmla="*/ 390776 h 1698913"/>
                <a:gd name="csX279" fmla="*/ 375440 w 636905"/>
                <a:gd name="csY279" fmla="*/ 390776 h 1698913"/>
                <a:gd name="csX280" fmla="*/ 375440 w 636905"/>
                <a:gd name="csY280" fmla="*/ 443341 h 1698913"/>
                <a:gd name="csX281" fmla="*/ 390166 w 636905"/>
                <a:gd name="csY281" fmla="*/ 443341 h 1698913"/>
                <a:gd name="csX282" fmla="*/ 243673 w 636905"/>
                <a:gd name="csY282" fmla="*/ 512037 h 1698913"/>
                <a:gd name="csX283" fmla="*/ 258410 w 636905"/>
                <a:gd name="csY283" fmla="*/ 512037 h 1698913"/>
                <a:gd name="csX284" fmla="*/ 258410 w 636905"/>
                <a:gd name="csY284" fmla="*/ 459471 h 1698913"/>
                <a:gd name="csX285" fmla="*/ 243673 w 636905"/>
                <a:gd name="csY285" fmla="*/ 459471 h 1698913"/>
                <a:gd name="csX286" fmla="*/ 342500 w 636905"/>
                <a:gd name="csY286" fmla="*/ 512037 h 1698913"/>
                <a:gd name="csX287" fmla="*/ 357225 w 636905"/>
                <a:gd name="csY287" fmla="*/ 512037 h 1698913"/>
                <a:gd name="csX288" fmla="*/ 357225 w 636905"/>
                <a:gd name="csY288" fmla="*/ 459471 h 1698913"/>
                <a:gd name="csX289" fmla="*/ 342500 w 636905"/>
                <a:gd name="csY289" fmla="*/ 459471 h 1698913"/>
                <a:gd name="csX290" fmla="*/ 309560 w 636905"/>
                <a:gd name="csY290" fmla="*/ 512037 h 1698913"/>
                <a:gd name="csX291" fmla="*/ 324285 w 636905"/>
                <a:gd name="csY291" fmla="*/ 512037 h 1698913"/>
                <a:gd name="csX292" fmla="*/ 324285 w 636905"/>
                <a:gd name="csY292" fmla="*/ 459471 h 1698913"/>
                <a:gd name="csX293" fmla="*/ 309560 w 636905"/>
                <a:gd name="csY293" fmla="*/ 459471 h 1698913"/>
                <a:gd name="csX294" fmla="*/ 276619 w 636905"/>
                <a:gd name="csY294" fmla="*/ 512037 h 1698913"/>
                <a:gd name="csX295" fmla="*/ 291345 w 636905"/>
                <a:gd name="csY295" fmla="*/ 512037 h 1698913"/>
                <a:gd name="csX296" fmla="*/ 291345 w 636905"/>
                <a:gd name="csY296" fmla="*/ 459471 h 1698913"/>
                <a:gd name="csX297" fmla="*/ 276619 w 636905"/>
                <a:gd name="csY297" fmla="*/ 459471 h 1698913"/>
                <a:gd name="csX298" fmla="*/ 390166 w 636905"/>
                <a:gd name="csY298" fmla="*/ 459471 h 1698913"/>
                <a:gd name="csX299" fmla="*/ 375440 w 636905"/>
                <a:gd name="csY299" fmla="*/ 459471 h 1698913"/>
                <a:gd name="csX300" fmla="*/ 375440 w 636905"/>
                <a:gd name="csY300" fmla="*/ 512037 h 1698913"/>
                <a:gd name="csX301" fmla="*/ 390166 w 636905"/>
                <a:gd name="csY301" fmla="*/ 512037 h 1698913"/>
                <a:gd name="csX302" fmla="*/ 243673 w 636905"/>
                <a:gd name="csY302" fmla="*/ 580732 h 1698913"/>
                <a:gd name="csX303" fmla="*/ 258410 w 636905"/>
                <a:gd name="csY303" fmla="*/ 580732 h 1698913"/>
                <a:gd name="csX304" fmla="*/ 258410 w 636905"/>
                <a:gd name="csY304" fmla="*/ 528167 h 1698913"/>
                <a:gd name="csX305" fmla="*/ 243673 w 636905"/>
                <a:gd name="csY305" fmla="*/ 528167 h 1698913"/>
                <a:gd name="csX306" fmla="*/ 342500 w 636905"/>
                <a:gd name="csY306" fmla="*/ 580732 h 1698913"/>
                <a:gd name="csX307" fmla="*/ 357225 w 636905"/>
                <a:gd name="csY307" fmla="*/ 580732 h 1698913"/>
                <a:gd name="csX308" fmla="*/ 357225 w 636905"/>
                <a:gd name="csY308" fmla="*/ 528167 h 1698913"/>
                <a:gd name="csX309" fmla="*/ 342500 w 636905"/>
                <a:gd name="csY309" fmla="*/ 528167 h 1698913"/>
                <a:gd name="csX310" fmla="*/ 309560 w 636905"/>
                <a:gd name="csY310" fmla="*/ 580732 h 1698913"/>
                <a:gd name="csX311" fmla="*/ 324285 w 636905"/>
                <a:gd name="csY311" fmla="*/ 580732 h 1698913"/>
                <a:gd name="csX312" fmla="*/ 324285 w 636905"/>
                <a:gd name="csY312" fmla="*/ 528167 h 1698913"/>
                <a:gd name="csX313" fmla="*/ 309560 w 636905"/>
                <a:gd name="csY313" fmla="*/ 528167 h 1698913"/>
                <a:gd name="csX314" fmla="*/ 276619 w 636905"/>
                <a:gd name="csY314" fmla="*/ 580732 h 1698913"/>
                <a:gd name="csX315" fmla="*/ 291345 w 636905"/>
                <a:gd name="csY315" fmla="*/ 580732 h 1698913"/>
                <a:gd name="csX316" fmla="*/ 291345 w 636905"/>
                <a:gd name="csY316" fmla="*/ 528167 h 1698913"/>
                <a:gd name="csX317" fmla="*/ 276619 w 636905"/>
                <a:gd name="csY317" fmla="*/ 528167 h 1698913"/>
                <a:gd name="csX318" fmla="*/ 390166 w 636905"/>
                <a:gd name="csY318" fmla="*/ 528167 h 1698913"/>
                <a:gd name="csX319" fmla="*/ 375440 w 636905"/>
                <a:gd name="csY319" fmla="*/ 528167 h 1698913"/>
                <a:gd name="csX320" fmla="*/ 375440 w 636905"/>
                <a:gd name="csY320" fmla="*/ 580732 h 1698913"/>
                <a:gd name="csX321" fmla="*/ 390166 w 636905"/>
                <a:gd name="csY321" fmla="*/ 580732 h 1698913"/>
                <a:gd name="csX322" fmla="*/ 243673 w 636905"/>
                <a:gd name="csY322" fmla="*/ 649427 h 1698913"/>
                <a:gd name="csX323" fmla="*/ 258410 w 636905"/>
                <a:gd name="csY323" fmla="*/ 649427 h 1698913"/>
                <a:gd name="csX324" fmla="*/ 258410 w 636905"/>
                <a:gd name="csY324" fmla="*/ 596867 h 1698913"/>
                <a:gd name="csX325" fmla="*/ 243673 w 636905"/>
                <a:gd name="csY325" fmla="*/ 596867 h 1698913"/>
                <a:gd name="csX326" fmla="*/ 342500 w 636905"/>
                <a:gd name="csY326" fmla="*/ 649427 h 1698913"/>
                <a:gd name="csX327" fmla="*/ 357225 w 636905"/>
                <a:gd name="csY327" fmla="*/ 649427 h 1698913"/>
                <a:gd name="csX328" fmla="*/ 357225 w 636905"/>
                <a:gd name="csY328" fmla="*/ 596867 h 1698913"/>
                <a:gd name="csX329" fmla="*/ 342500 w 636905"/>
                <a:gd name="csY329" fmla="*/ 596867 h 1698913"/>
                <a:gd name="csX330" fmla="*/ 309560 w 636905"/>
                <a:gd name="csY330" fmla="*/ 649427 h 1698913"/>
                <a:gd name="csX331" fmla="*/ 324285 w 636905"/>
                <a:gd name="csY331" fmla="*/ 649427 h 1698913"/>
                <a:gd name="csX332" fmla="*/ 324285 w 636905"/>
                <a:gd name="csY332" fmla="*/ 596867 h 1698913"/>
                <a:gd name="csX333" fmla="*/ 309560 w 636905"/>
                <a:gd name="csY333" fmla="*/ 596867 h 1698913"/>
                <a:gd name="csX334" fmla="*/ 276619 w 636905"/>
                <a:gd name="csY334" fmla="*/ 649427 h 1698913"/>
                <a:gd name="csX335" fmla="*/ 291345 w 636905"/>
                <a:gd name="csY335" fmla="*/ 649427 h 1698913"/>
                <a:gd name="csX336" fmla="*/ 291345 w 636905"/>
                <a:gd name="csY336" fmla="*/ 596867 h 1698913"/>
                <a:gd name="csX337" fmla="*/ 276619 w 636905"/>
                <a:gd name="csY337" fmla="*/ 596867 h 1698913"/>
                <a:gd name="csX338" fmla="*/ 390166 w 636905"/>
                <a:gd name="csY338" fmla="*/ 596867 h 1698913"/>
                <a:gd name="csX339" fmla="*/ 375440 w 636905"/>
                <a:gd name="csY339" fmla="*/ 596867 h 1698913"/>
                <a:gd name="csX340" fmla="*/ 375440 w 636905"/>
                <a:gd name="csY340" fmla="*/ 649427 h 1698913"/>
                <a:gd name="csX341" fmla="*/ 390166 w 636905"/>
                <a:gd name="csY341" fmla="*/ 649427 h 1698913"/>
                <a:gd name="csX342" fmla="*/ 243673 w 636905"/>
                <a:gd name="csY342" fmla="*/ 718128 h 1698913"/>
                <a:gd name="csX343" fmla="*/ 258410 w 636905"/>
                <a:gd name="csY343" fmla="*/ 718128 h 1698913"/>
                <a:gd name="csX344" fmla="*/ 258410 w 636905"/>
                <a:gd name="csY344" fmla="*/ 665562 h 1698913"/>
                <a:gd name="csX345" fmla="*/ 243673 w 636905"/>
                <a:gd name="csY345" fmla="*/ 665562 h 1698913"/>
                <a:gd name="csX346" fmla="*/ 342500 w 636905"/>
                <a:gd name="csY346" fmla="*/ 718128 h 1698913"/>
                <a:gd name="csX347" fmla="*/ 357225 w 636905"/>
                <a:gd name="csY347" fmla="*/ 718128 h 1698913"/>
                <a:gd name="csX348" fmla="*/ 357225 w 636905"/>
                <a:gd name="csY348" fmla="*/ 665562 h 1698913"/>
                <a:gd name="csX349" fmla="*/ 342500 w 636905"/>
                <a:gd name="csY349" fmla="*/ 665562 h 1698913"/>
                <a:gd name="csX350" fmla="*/ 309560 w 636905"/>
                <a:gd name="csY350" fmla="*/ 718128 h 1698913"/>
                <a:gd name="csX351" fmla="*/ 324285 w 636905"/>
                <a:gd name="csY351" fmla="*/ 718128 h 1698913"/>
                <a:gd name="csX352" fmla="*/ 324285 w 636905"/>
                <a:gd name="csY352" fmla="*/ 665562 h 1698913"/>
                <a:gd name="csX353" fmla="*/ 309560 w 636905"/>
                <a:gd name="csY353" fmla="*/ 665562 h 1698913"/>
                <a:gd name="csX354" fmla="*/ 276619 w 636905"/>
                <a:gd name="csY354" fmla="*/ 718128 h 1698913"/>
                <a:gd name="csX355" fmla="*/ 291345 w 636905"/>
                <a:gd name="csY355" fmla="*/ 718128 h 1698913"/>
                <a:gd name="csX356" fmla="*/ 291345 w 636905"/>
                <a:gd name="csY356" fmla="*/ 665562 h 1698913"/>
                <a:gd name="csX357" fmla="*/ 276619 w 636905"/>
                <a:gd name="csY357" fmla="*/ 665562 h 1698913"/>
                <a:gd name="csX358" fmla="*/ 390166 w 636905"/>
                <a:gd name="csY358" fmla="*/ 665562 h 1698913"/>
                <a:gd name="csX359" fmla="*/ 375440 w 636905"/>
                <a:gd name="csY359" fmla="*/ 665562 h 1698913"/>
                <a:gd name="csX360" fmla="*/ 375440 w 636905"/>
                <a:gd name="csY360" fmla="*/ 718128 h 1698913"/>
                <a:gd name="csX361" fmla="*/ 390166 w 636905"/>
                <a:gd name="csY361" fmla="*/ 718128 h 1698913"/>
                <a:gd name="csX362" fmla="*/ 243673 w 636905"/>
                <a:gd name="csY362" fmla="*/ 786823 h 1698913"/>
                <a:gd name="csX363" fmla="*/ 258410 w 636905"/>
                <a:gd name="csY363" fmla="*/ 786823 h 1698913"/>
                <a:gd name="csX364" fmla="*/ 258410 w 636905"/>
                <a:gd name="csY364" fmla="*/ 734258 h 1698913"/>
                <a:gd name="csX365" fmla="*/ 243673 w 636905"/>
                <a:gd name="csY365" fmla="*/ 734258 h 1698913"/>
                <a:gd name="csX366" fmla="*/ 342500 w 636905"/>
                <a:gd name="csY366" fmla="*/ 786823 h 1698913"/>
                <a:gd name="csX367" fmla="*/ 357225 w 636905"/>
                <a:gd name="csY367" fmla="*/ 786823 h 1698913"/>
                <a:gd name="csX368" fmla="*/ 357225 w 636905"/>
                <a:gd name="csY368" fmla="*/ 734258 h 1698913"/>
                <a:gd name="csX369" fmla="*/ 342500 w 636905"/>
                <a:gd name="csY369" fmla="*/ 734258 h 1698913"/>
                <a:gd name="csX370" fmla="*/ 309560 w 636905"/>
                <a:gd name="csY370" fmla="*/ 786823 h 1698913"/>
                <a:gd name="csX371" fmla="*/ 324285 w 636905"/>
                <a:gd name="csY371" fmla="*/ 786823 h 1698913"/>
                <a:gd name="csX372" fmla="*/ 324285 w 636905"/>
                <a:gd name="csY372" fmla="*/ 734258 h 1698913"/>
                <a:gd name="csX373" fmla="*/ 309560 w 636905"/>
                <a:gd name="csY373" fmla="*/ 734258 h 1698913"/>
                <a:gd name="csX374" fmla="*/ 276619 w 636905"/>
                <a:gd name="csY374" fmla="*/ 786823 h 1698913"/>
                <a:gd name="csX375" fmla="*/ 291345 w 636905"/>
                <a:gd name="csY375" fmla="*/ 786823 h 1698913"/>
                <a:gd name="csX376" fmla="*/ 291345 w 636905"/>
                <a:gd name="csY376" fmla="*/ 734258 h 1698913"/>
                <a:gd name="csX377" fmla="*/ 276619 w 636905"/>
                <a:gd name="csY377" fmla="*/ 734258 h 1698913"/>
                <a:gd name="csX378" fmla="*/ 390166 w 636905"/>
                <a:gd name="csY378" fmla="*/ 734258 h 1698913"/>
                <a:gd name="csX379" fmla="*/ 375440 w 636905"/>
                <a:gd name="csY379" fmla="*/ 734258 h 1698913"/>
                <a:gd name="csX380" fmla="*/ 375440 w 636905"/>
                <a:gd name="csY380" fmla="*/ 786823 h 1698913"/>
                <a:gd name="csX381" fmla="*/ 390166 w 636905"/>
                <a:gd name="csY381" fmla="*/ 786823 h 1698913"/>
                <a:gd name="csX382" fmla="*/ 243673 w 636905"/>
                <a:gd name="csY382" fmla="*/ 855524 h 1698913"/>
                <a:gd name="csX383" fmla="*/ 258410 w 636905"/>
                <a:gd name="csY383" fmla="*/ 855524 h 1698913"/>
                <a:gd name="csX384" fmla="*/ 258410 w 636905"/>
                <a:gd name="csY384" fmla="*/ 802958 h 1698913"/>
                <a:gd name="csX385" fmla="*/ 243673 w 636905"/>
                <a:gd name="csY385" fmla="*/ 802958 h 1698913"/>
                <a:gd name="csX386" fmla="*/ 342500 w 636905"/>
                <a:gd name="csY386" fmla="*/ 855524 h 1698913"/>
                <a:gd name="csX387" fmla="*/ 357225 w 636905"/>
                <a:gd name="csY387" fmla="*/ 855524 h 1698913"/>
                <a:gd name="csX388" fmla="*/ 357225 w 636905"/>
                <a:gd name="csY388" fmla="*/ 802958 h 1698913"/>
                <a:gd name="csX389" fmla="*/ 342500 w 636905"/>
                <a:gd name="csY389" fmla="*/ 802958 h 1698913"/>
                <a:gd name="csX390" fmla="*/ 309560 w 636905"/>
                <a:gd name="csY390" fmla="*/ 855524 h 1698913"/>
                <a:gd name="csX391" fmla="*/ 324285 w 636905"/>
                <a:gd name="csY391" fmla="*/ 855524 h 1698913"/>
                <a:gd name="csX392" fmla="*/ 324285 w 636905"/>
                <a:gd name="csY392" fmla="*/ 802958 h 1698913"/>
                <a:gd name="csX393" fmla="*/ 309560 w 636905"/>
                <a:gd name="csY393" fmla="*/ 802958 h 1698913"/>
                <a:gd name="csX394" fmla="*/ 276619 w 636905"/>
                <a:gd name="csY394" fmla="*/ 855524 h 1698913"/>
                <a:gd name="csX395" fmla="*/ 291345 w 636905"/>
                <a:gd name="csY395" fmla="*/ 855524 h 1698913"/>
                <a:gd name="csX396" fmla="*/ 291345 w 636905"/>
                <a:gd name="csY396" fmla="*/ 802958 h 1698913"/>
                <a:gd name="csX397" fmla="*/ 276619 w 636905"/>
                <a:gd name="csY397" fmla="*/ 802958 h 1698913"/>
                <a:gd name="csX398" fmla="*/ 390166 w 636905"/>
                <a:gd name="csY398" fmla="*/ 802958 h 1698913"/>
                <a:gd name="csX399" fmla="*/ 375440 w 636905"/>
                <a:gd name="csY399" fmla="*/ 802958 h 1698913"/>
                <a:gd name="csX400" fmla="*/ 375440 w 636905"/>
                <a:gd name="csY400" fmla="*/ 855524 h 1698913"/>
                <a:gd name="csX401" fmla="*/ 390166 w 636905"/>
                <a:gd name="csY401" fmla="*/ 855524 h 1698913"/>
                <a:gd name="csX402" fmla="*/ 243673 w 636905"/>
                <a:gd name="csY402" fmla="*/ 924219 h 1698913"/>
                <a:gd name="csX403" fmla="*/ 258410 w 636905"/>
                <a:gd name="csY403" fmla="*/ 924219 h 1698913"/>
                <a:gd name="csX404" fmla="*/ 258410 w 636905"/>
                <a:gd name="csY404" fmla="*/ 871654 h 1698913"/>
                <a:gd name="csX405" fmla="*/ 243673 w 636905"/>
                <a:gd name="csY405" fmla="*/ 871654 h 1698913"/>
                <a:gd name="csX406" fmla="*/ 342500 w 636905"/>
                <a:gd name="csY406" fmla="*/ 924219 h 1698913"/>
                <a:gd name="csX407" fmla="*/ 357225 w 636905"/>
                <a:gd name="csY407" fmla="*/ 924219 h 1698913"/>
                <a:gd name="csX408" fmla="*/ 357225 w 636905"/>
                <a:gd name="csY408" fmla="*/ 871654 h 1698913"/>
                <a:gd name="csX409" fmla="*/ 342500 w 636905"/>
                <a:gd name="csY409" fmla="*/ 871654 h 1698913"/>
                <a:gd name="csX410" fmla="*/ 309560 w 636905"/>
                <a:gd name="csY410" fmla="*/ 924219 h 1698913"/>
                <a:gd name="csX411" fmla="*/ 324285 w 636905"/>
                <a:gd name="csY411" fmla="*/ 924219 h 1698913"/>
                <a:gd name="csX412" fmla="*/ 324285 w 636905"/>
                <a:gd name="csY412" fmla="*/ 871654 h 1698913"/>
                <a:gd name="csX413" fmla="*/ 309560 w 636905"/>
                <a:gd name="csY413" fmla="*/ 871654 h 1698913"/>
                <a:gd name="csX414" fmla="*/ 276619 w 636905"/>
                <a:gd name="csY414" fmla="*/ 924219 h 1698913"/>
                <a:gd name="csX415" fmla="*/ 291345 w 636905"/>
                <a:gd name="csY415" fmla="*/ 924219 h 1698913"/>
                <a:gd name="csX416" fmla="*/ 291345 w 636905"/>
                <a:gd name="csY416" fmla="*/ 871654 h 1698913"/>
                <a:gd name="csX417" fmla="*/ 276619 w 636905"/>
                <a:gd name="csY417" fmla="*/ 871654 h 1698913"/>
                <a:gd name="csX418" fmla="*/ 390166 w 636905"/>
                <a:gd name="csY418" fmla="*/ 871654 h 1698913"/>
                <a:gd name="csX419" fmla="*/ 375440 w 636905"/>
                <a:gd name="csY419" fmla="*/ 871654 h 1698913"/>
                <a:gd name="csX420" fmla="*/ 375440 w 636905"/>
                <a:gd name="csY420" fmla="*/ 924219 h 1698913"/>
                <a:gd name="csX421" fmla="*/ 390166 w 636905"/>
                <a:gd name="csY421" fmla="*/ 924219 h 1698913"/>
                <a:gd name="csX422" fmla="*/ 243673 w 636905"/>
                <a:gd name="csY422" fmla="*/ 992914 h 1698913"/>
                <a:gd name="csX423" fmla="*/ 258410 w 636905"/>
                <a:gd name="csY423" fmla="*/ 992914 h 1698913"/>
                <a:gd name="csX424" fmla="*/ 258410 w 636905"/>
                <a:gd name="csY424" fmla="*/ 940349 h 1698913"/>
                <a:gd name="csX425" fmla="*/ 243673 w 636905"/>
                <a:gd name="csY425" fmla="*/ 940349 h 1698913"/>
                <a:gd name="csX426" fmla="*/ 342500 w 636905"/>
                <a:gd name="csY426" fmla="*/ 992914 h 1698913"/>
                <a:gd name="csX427" fmla="*/ 357225 w 636905"/>
                <a:gd name="csY427" fmla="*/ 992914 h 1698913"/>
                <a:gd name="csX428" fmla="*/ 357225 w 636905"/>
                <a:gd name="csY428" fmla="*/ 940349 h 1698913"/>
                <a:gd name="csX429" fmla="*/ 342500 w 636905"/>
                <a:gd name="csY429" fmla="*/ 940349 h 1698913"/>
                <a:gd name="csX430" fmla="*/ 309560 w 636905"/>
                <a:gd name="csY430" fmla="*/ 992914 h 1698913"/>
                <a:gd name="csX431" fmla="*/ 324285 w 636905"/>
                <a:gd name="csY431" fmla="*/ 992914 h 1698913"/>
                <a:gd name="csX432" fmla="*/ 324285 w 636905"/>
                <a:gd name="csY432" fmla="*/ 940349 h 1698913"/>
                <a:gd name="csX433" fmla="*/ 309560 w 636905"/>
                <a:gd name="csY433" fmla="*/ 940349 h 1698913"/>
                <a:gd name="csX434" fmla="*/ 276619 w 636905"/>
                <a:gd name="csY434" fmla="*/ 992914 h 1698913"/>
                <a:gd name="csX435" fmla="*/ 291345 w 636905"/>
                <a:gd name="csY435" fmla="*/ 992914 h 1698913"/>
                <a:gd name="csX436" fmla="*/ 291345 w 636905"/>
                <a:gd name="csY436" fmla="*/ 940349 h 1698913"/>
                <a:gd name="csX437" fmla="*/ 276619 w 636905"/>
                <a:gd name="csY437" fmla="*/ 940349 h 1698913"/>
                <a:gd name="csX438" fmla="*/ 390166 w 636905"/>
                <a:gd name="csY438" fmla="*/ 940349 h 1698913"/>
                <a:gd name="csX439" fmla="*/ 375440 w 636905"/>
                <a:gd name="csY439" fmla="*/ 940349 h 1698913"/>
                <a:gd name="csX440" fmla="*/ 375440 w 636905"/>
                <a:gd name="csY440" fmla="*/ 992914 h 1698913"/>
                <a:gd name="csX441" fmla="*/ 390166 w 636905"/>
                <a:gd name="csY441" fmla="*/ 992914 h 1698913"/>
                <a:gd name="csX442" fmla="*/ 243673 w 636905"/>
                <a:gd name="csY442" fmla="*/ 1061609 h 1698913"/>
                <a:gd name="csX443" fmla="*/ 258410 w 636905"/>
                <a:gd name="csY443" fmla="*/ 1061609 h 1698913"/>
                <a:gd name="csX444" fmla="*/ 258410 w 636905"/>
                <a:gd name="csY444" fmla="*/ 1009050 h 1698913"/>
                <a:gd name="csX445" fmla="*/ 243673 w 636905"/>
                <a:gd name="csY445" fmla="*/ 1009050 h 1698913"/>
                <a:gd name="csX446" fmla="*/ 342500 w 636905"/>
                <a:gd name="csY446" fmla="*/ 1061609 h 1698913"/>
                <a:gd name="csX447" fmla="*/ 357225 w 636905"/>
                <a:gd name="csY447" fmla="*/ 1061609 h 1698913"/>
                <a:gd name="csX448" fmla="*/ 357225 w 636905"/>
                <a:gd name="csY448" fmla="*/ 1009050 h 1698913"/>
                <a:gd name="csX449" fmla="*/ 342500 w 636905"/>
                <a:gd name="csY449" fmla="*/ 1009050 h 1698913"/>
                <a:gd name="csX450" fmla="*/ 309560 w 636905"/>
                <a:gd name="csY450" fmla="*/ 1061609 h 1698913"/>
                <a:gd name="csX451" fmla="*/ 324285 w 636905"/>
                <a:gd name="csY451" fmla="*/ 1061609 h 1698913"/>
                <a:gd name="csX452" fmla="*/ 324285 w 636905"/>
                <a:gd name="csY452" fmla="*/ 1009050 h 1698913"/>
                <a:gd name="csX453" fmla="*/ 309560 w 636905"/>
                <a:gd name="csY453" fmla="*/ 1009050 h 1698913"/>
                <a:gd name="csX454" fmla="*/ 276619 w 636905"/>
                <a:gd name="csY454" fmla="*/ 1061609 h 1698913"/>
                <a:gd name="csX455" fmla="*/ 291345 w 636905"/>
                <a:gd name="csY455" fmla="*/ 1061609 h 1698913"/>
                <a:gd name="csX456" fmla="*/ 291345 w 636905"/>
                <a:gd name="csY456" fmla="*/ 1009050 h 1698913"/>
                <a:gd name="csX457" fmla="*/ 276619 w 636905"/>
                <a:gd name="csY457" fmla="*/ 1009050 h 1698913"/>
                <a:gd name="csX458" fmla="*/ 390166 w 636905"/>
                <a:gd name="csY458" fmla="*/ 1009050 h 1698913"/>
                <a:gd name="csX459" fmla="*/ 375440 w 636905"/>
                <a:gd name="csY459" fmla="*/ 1009050 h 1698913"/>
                <a:gd name="csX460" fmla="*/ 375440 w 636905"/>
                <a:gd name="csY460" fmla="*/ 1061609 h 1698913"/>
                <a:gd name="csX461" fmla="*/ 390166 w 636905"/>
                <a:gd name="csY461" fmla="*/ 1061609 h 1698913"/>
                <a:gd name="csX462" fmla="*/ 243673 w 636905"/>
                <a:gd name="csY462" fmla="*/ 1130304 h 1698913"/>
                <a:gd name="csX463" fmla="*/ 258410 w 636905"/>
                <a:gd name="csY463" fmla="*/ 1130304 h 1698913"/>
                <a:gd name="csX464" fmla="*/ 258410 w 636905"/>
                <a:gd name="csY464" fmla="*/ 1077745 h 1698913"/>
                <a:gd name="csX465" fmla="*/ 243673 w 636905"/>
                <a:gd name="csY465" fmla="*/ 1077745 h 1698913"/>
                <a:gd name="csX466" fmla="*/ 243673 w 636905"/>
                <a:gd name="csY466" fmla="*/ 1198583 h 1698913"/>
                <a:gd name="csX467" fmla="*/ 258410 w 636905"/>
                <a:gd name="csY467" fmla="*/ 1198583 h 1698913"/>
                <a:gd name="csX468" fmla="*/ 258410 w 636905"/>
                <a:gd name="csY468" fmla="*/ 1146023 h 1698913"/>
                <a:gd name="csX469" fmla="*/ 243673 w 636905"/>
                <a:gd name="csY469" fmla="*/ 1146023 h 1698913"/>
                <a:gd name="csX470" fmla="*/ 243673 w 636905"/>
                <a:gd name="csY470" fmla="*/ 1266861 h 1698913"/>
                <a:gd name="csX471" fmla="*/ 258410 w 636905"/>
                <a:gd name="csY471" fmla="*/ 1266861 h 1698913"/>
                <a:gd name="csX472" fmla="*/ 258410 w 636905"/>
                <a:gd name="csY472" fmla="*/ 1214301 h 1698913"/>
                <a:gd name="csX473" fmla="*/ 243673 w 636905"/>
                <a:gd name="csY473" fmla="*/ 1214301 h 1698913"/>
                <a:gd name="csX474" fmla="*/ 243673 w 636905"/>
                <a:gd name="csY474" fmla="*/ 1335139 h 1698913"/>
                <a:gd name="csX475" fmla="*/ 258410 w 636905"/>
                <a:gd name="csY475" fmla="*/ 1335139 h 1698913"/>
                <a:gd name="csX476" fmla="*/ 258410 w 636905"/>
                <a:gd name="csY476" fmla="*/ 1282574 h 1698913"/>
                <a:gd name="csX477" fmla="*/ 243673 w 636905"/>
                <a:gd name="csY477" fmla="*/ 1282574 h 1698913"/>
                <a:gd name="csX478" fmla="*/ 243673 w 636905"/>
                <a:gd name="csY478" fmla="*/ 1403418 h 1698913"/>
                <a:gd name="csX479" fmla="*/ 258410 w 636905"/>
                <a:gd name="csY479" fmla="*/ 1403418 h 1698913"/>
                <a:gd name="csX480" fmla="*/ 258410 w 636905"/>
                <a:gd name="csY480" fmla="*/ 1350852 h 1698913"/>
                <a:gd name="csX481" fmla="*/ 243673 w 636905"/>
                <a:gd name="csY481" fmla="*/ 1350852 h 1698913"/>
                <a:gd name="csX482" fmla="*/ 243673 w 636905"/>
                <a:gd name="csY482" fmla="*/ 1471696 h 1698913"/>
                <a:gd name="csX483" fmla="*/ 258410 w 636905"/>
                <a:gd name="csY483" fmla="*/ 1471696 h 1698913"/>
                <a:gd name="csX484" fmla="*/ 258410 w 636905"/>
                <a:gd name="csY484" fmla="*/ 1419130 h 1698913"/>
                <a:gd name="csX485" fmla="*/ 243673 w 636905"/>
                <a:gd name="csY485" fmla="*/ 1419130 h 1698913"/>
                <a:gd name="csX486" fmla="*/ 243673 w 636905"/>
                <a:gd name="csY486" fmla="*/ 1539968 h 1698913"/>
                <a:gd name="csX487" fmla="*/ 258410 w 636905"/>
                <a:gd name="csY487" fmla="*/ 1539968 h 1698913"/>
                <a:gd name="csX488" fmla="*/ 258410 w 636905"/>
                <a:gd name="csY488" fmla="*/ 1487409 h 1698913"/>
                <a:gd name="csX489" fmla="*/ 243673 w 636905"/>
                <a:gd name="csY489" fmla="*/ 1487409 h 1698913"/>
                <a:gd name="csX490" fmla="*/ 357225 w 636905"/>
                <a:gd name="csY490" fmla="*/ 1487409 h 1698913"/>
                <a:gd name="csX491" fmla="*/ 342500 w 636905"/>
                <a:gd name="csY491" fmla="*/ 1487409 h 1698913"/>
                <a:gd name="csX492" fmla="*/ 342500 w 636905"/>
                <a:gd name="csY492" fmla="*/ 1539968 h 1698913"/>
                <a:gd name="csX493" fmla="*/ 357225 w 636905"/>
                <a:gd name="csY493" fmla="*/ 1539968 h 1698913"/>
                <a:gd name="csX494" fmla="*/ 357225 w 636905"/>
                <a:gd name="csY494" fmla="*/ 1419130 h 1698913"/>
                <a:gd name="csX495" fmla="*/ 342500 w 636905"/>
                <a:gd name="csY495" fmla="*/ 1419130 h 1698913"/>
                <a:gd name="csX496" fmla="*/ 342500 w 636905"/>
                <a:gd name="csY496" fmla="*/ 1471696 h 1698913"/>
                <a:gd name="csX497" fmla="*/ 357225 w 636905"/>
                <a:gd name="csY497" fmla="*/ 1471696 h 1698913"/>
                <a:gd name="csX498" fmla="*/ 357225 w 636905"/>
                <a:gd name="csY498" fmla="*/ 1350852 h 1698913"/>
                <a:gd name="csX499" fmla="*/ 342500 w 636905"/>
                <a:gd name="csY499" fmla="*/ 1350852 h 1698913"/>
                <a:gd name="csX500" fmla="*/ 342500 w 636905"/>
                <a:gd name="csY500" fmla="*/ 1403418 h 1698913"/>
                <a:gd name="csX501" fmla="*/ 357225 w 636905"/>
                <a:gd name="csY501" fmla="*/ 1403418 h 1698913"/>
                <a:gd name="csX502" fmla="*/ 357225 w 636905"/>
                <a:gd name="csY502" fmla="*/ 1282574 h 1698913"/>
                <a:gd name="csX503" fmla="*/ 342500 w 636905"/>
                <a:gd name="csY503" fmla="*/ 1282574 h 1698913"/>
                <a:gd name="csX504" fmla="*/ 342500 w 636905"/>
                <a:gd name="csY504" fmla="*/ 1335139 h 1698913"/>
                <a:gd name="csX505" fmla="*/ 357225 w 636905"/>
                <a:gd name="csY505" fmla="*/ 1335139 h 1698913"/>
                <a:gd name="csX506" fmla="*/ 357225 w 636905"/>
                <a:gd name="csY506" fmla="*/ 1214301 h 1698913"/>
                <a:gd name="csX507" fmla="*/ 342500 w 636905"/>
                <a:gd name="csY507" fmla="*/ 1214301 h 1698913"/>
                <a:gd name="csX508" fmla="*/ 342500 w 636905"/>
                <a:gd name="csY508" fmla="*/ 1266861 h 1698913"/>
                <a:gd name="csX509" fmla="*/ 357225 w 636905"/>
                <a:gd name="csY509" fmla="*/ 1266861 h 1698913"/>
                <a:gd name="csX510" fmla="*/ 357225 w 636905"/>
                <a:gd name="csY510" fmla="*/ 1146023 h 1698913"/>
                <a:gd name="csX511" fmla="*/ 342500 w 636905"/>
                <a:gd name="csY511" fmla="*/ 1146023 h 1698913"/>
                <a:gd name="csX512" fmla="*/ 342500 w 636905"/>
                <a:gd name="csY512" fmla="*/ 1198583 h 1698913"/>
                <a:gd name="csX513" fmla="*/ 357225 w 636905"/>
                <a:gd name="csY513" fmla="*/ 1198583 h 1698913"/>
                <a:gd name="csX514" fmla="*/ 276619 w 636905"/>
                <a:gd name="csY514" fmla="*/ 1130304 h 1698913"/>
                <a:gd name="csX515" fmla="*/ 291345 w 636905"/>
                <a:gd name="csY515" fmla="*/ 1130304 h 1698913"/>
                <a:gd name="csX516" fmla="*/ 291345 w 636905"/>
                <a:gd name="csY516" fmla="*/ 1077745 h 1698913"/>
                <a:gd name="csX517" fmla="*/ 276619 w 636905"/>
                <a:gd name="csY517" fmla="*/ 1077745 h 1698913"/>
                <a:gd name="csX518" fmla="*/ 276619 w 636905"/>
                <a:gd name="csY518" fmla="*/ 1198583 h 1698913"/>
                <a:gd name="csX519" fmla="*/ 291345 w 636905"/>
                <a:gd name="csY519" fmla="*/ 1198583 h 1698913"/>
                <a:gd name="csX520" fmla="*/ 291345 w 636905"/>
                <a:gd name="csY520" fmla="*/ 1146023 h 1698913"/>
                <a:gd name="csX521" fmla="*/ 276619 w 636905"/>
                <a:gd name="csY521" fmla="*/ 1146023 h 1698913"/>
                <a:gd name="csX522" fmla="*/ 276619 w 636905"/>
                <a:gd name="csY522" fmla="*/ 1266861 h 1698913"/>
                <a:gd name="csX523" fmla="*/ 291345 w 636905"/>
                <a:gd name="csY523" fmla="*/ 1266861 h 1698913"/>
                <a:gd name="csX524" fmla="*/ 291345 w 636905"/>
                <a:gd name="csY524" fmla="*/ 1214301 h 1698913"/>
                <a:gd name="csX525" fmla="*/ 276619 w 636905"/>
                <a:gd name="csY525" fmla="*/ 1214301 h 1698913"/>
                <a:gd name="csX526" fmla="*/ 276619 w 636905"/>
                <a:gd name="csY526" fmla="*/ 1335139 h 1698913"/>
                <a:gd name="csX527" fmla="*/ 291345 w 636905"/>
                <a:gd name="csY527" fmla="*/ 1335139 h 1698913"/>
                <a:gd name="csX528" fmla="*/ 291345 w 636905"/>
                <a:gd name="csY528" fmla="*/ 1282574 h 1698913"/>
                <a:gd name="csX529" fmla="*/ 276619 w 636905"/>
                <a:gd name="csY529" fmla="*/ 1282574 h 1698913"/>
                <a:gd name="csX530" fmla="*/ 276619 w 636905"/>
                <a:gd name="csY530" fmla="*/ 1403418 h 1698913"/>
                <a:gd name="csX531" fmla="*/ 291345 w 636905"/>
                <a:gd name="csY531" fmla="*/ 1403418 h 1698913"/>
                <a:gd name="csX532" fmla="*/ 291345 w 636905"/>
                <a:gd name="csY532" fmla="*/ 1350852 h 1698913"/>
                <a:gd name="csX533" fmla="*/ 276619 w 636905"/>
                <a:gd name="csY533" fmla="*/ 1350852 h 1698913"/>
                <a:gd name="csX534" fmla="*/ 276619 w 636905"/>
                <a:gd name="csY534" fmla="*/ 1471696 h 1698913"/>
                <a:gd name="csX535" fmla="*/ 291345 w 636905"/>
                <a:gd name="csY535" fmla="*/ 1471696 h 1698913"/>
                <a:gd name="csX536" fmla="*/ 291345 w 636905"/>
                <a:gd name="csY536" fmla="*/ 1419130 h 1698913"/>
                <a:gd name="csX537" fmla="*/ 276619 w 636905"/>
                <a:gd name="csY537" fmla="*/ 1419130 h 1698913"/>
                <a:gd name="csX538" fmla="*/ 324285 w 636905"/>
                <a:gd name="csY538" fmla="*/ 1419130 h 1698913"/>
                <a:gd name="csX539" fmla="*/ 309560 w 636905"/>
                <a:gd name="csY539" fmla="*/ 1419130 h 1698913"/>
                <a:gd name="csX540" fmla="*/ 309560 w 636905"/>
                <a:gd name="csY540" fmla="*/ 1471696 h 1698913"/>
                <a:gd name="csX541" fmla="*/ 324285 w 636905"/>
                <a:gd name="csY541" fmla="*/ 1471696 h 1698913"/>
                <a:gd name="csX542" fmla="*/ 324285 w 636905"/>
                <a:gd name="csY542" fmla="*/ 1350852 h 1698913"/>
                <a:gd name="csX543" fmla="*/ 309560 w 636905"/>
                <a:gd name="csY543" fmla="*/ 1350852 h 1698913"/>
                <a:gd name="csX544" fmla="*/ 309560 w 636905"/>
                <a:gd name="csY544" fmla="*/ 1403418 h 1698913"/>
                <a:gd name="csX545" fmla="*/ 324285 w 636905"/>
                <a:gd name="csY545" fmla="*/ 1403418 h 1698913"/>
                <a:gd name="csX546" fmla="*/ 324285 w 636905"/>
                <a:gd name="csY546" fmla="*/ 1282574 h 1698913"/>
                <a:gd name="csX547" fmla="*/ 309560 w 636905"/>
                <a:gd name="csY547" fmla="*/ 1282574 h 1698913"/>
                <a:gd name="csX548" fmla="*/ 309560 w 636905"/>
                <a:gd name="csY548" fmla="*/ 1335139 h 1698913"/>
                <a:gd name="csX549" fmla="*/ 324285 w 636905"/>
                <a:gd name="csY549" fmla="*/ 1335139 h 1698913"/>
                <a:gd name="csX550" fmla="*/ 324285 w 636905"/>
                <a:gd name="csY550" fmla="*/ 1214301 h 1698913"/>
                <a:gd name="csX551" fmla="*/ 309560 w 636905"/>
                <a:gd name="csY551" fmla="*/ 1214301 h 1698913"/>
                <a:gd name="csX552" fmla="*/ 309560 w 636905"/>
                <a:gd name="csY552" fmla="*/ 1266861 h 1698913"/>
                <a:gd name="csX553" fmla="*/ 324285 w 636905"/>
                <a:gd name="csY553" fmla="*/ 1266861 h 1698913"/>
                <a:gd name="csX554" fmla="*/ 324285 w 636905"/>
                <a:gd name="csY554" fmla="*/ 1146023 h 1698913"/>
                <a:gd name="csX555" fmla="*/ 309560 w 636905"/>
                <a:gd name="csY555" fmla="*/ 1146023 h 1698913"/>
                <a:gd name="csX556" fmla="*/ 309560 w 636905"/>
                <a:gd name="csY556" fmla="*/ 1198583 h 1698913"/>
                <a:gd name="csX557" fmla="*/ 324285 w 636905"/>
                <a:gd name="csY557" fmla="*/ 1198583 h 1698913"/>
                <a:gd name="csX558" fmla="*/ 309560 w 636905"/>
                <a:gd name="csY558" fmla="*/ 1130304 h 1698913"/>
                <a:gd name="csX559" fmla="*/ 324285 w 636905"/>
                <a:gd name="csY559" fmla="*/ 1130304 h 1698913"/>
                <a:gd name="csX560" fmla="*/ 324285 w 636905"/>
                <a:gd name="csY560" fmla="*/ 1077745 h 1698913"/>
                <a:gd name="csX561" fmla="*/ 309560 w 636905"/>
                <a:gd name="csY561" fmla="*/ 1077745 h 1698913"/>
                <a:gd name="csX562" fmla="*/ 342500 w 636905"/>
                <a:gd name="csY562" fmla="*/ 1130304 h 1698913"/>
                <a:gd name="csX563" fmla="*/ 357225 w 636905"/>
                <a:gd name="csY563" fmla="*/ 1130304 h 1698913"/>
                <a:gd name="csX564" fmla="*/ 357225 w 636905"/>
                <a:gd name="csY564" fmla="*/ 1077745 h 1698913"/>
                <a:gd name="csX565" fmla="*/ 342500 w 636905"/>
                <a:gd name="csY565" fmla="*/ 1077745 h 1698913"/>
                <a:gd name="csX566" fmla="*/ 324285 w 636905"/>
                <a:gd name="csY566" fmla="*/ 1487409 h 1698913"/>
                <a:gd name="csX567" fmla="*/ 309560 w 636905"/>
                <a:gd name="csY567" fmla="*/ 1487409 h 1698913"/>
                <a:gd name="csX568" fmla="*/ 309560 w 636905"/>
                <a:gd name="csY568" fmla="*/ 1539968 h 1698913"/>
                <a:gd name="csX569" fmla="*/ 324285 w 636905"/>
                <a:gd name="csY569" fmla="*/ 1539968 h 1698913"/>
                <a:gd name="csX570" fmla="*/ 291345 w 636905"/>
                <a:gd name="csY570" fmla="*/ 1487409 h 1698913"/>
                <a:gd name="csX571" fmla="*/ 276619 w 636905"/>
                <a:gd name="csY571" fmla="*/ 1487409 h 1698913"/>
                <a:gd name="csX572" fmla="*/ 276619 w 636905"/>
                <a:gd name="csY572" fmla="*/ 1539968 h 1698913"/>
                <a:gd name="csX573" fmla="*/ 291345 w 636905"/>
                <a:gd name="csY573" fmla="*/ 1539968 h 1698913"/>
                <a:gd name="csX574" fmla="*/ 390166 w 636905"/>
                <a:gd name="csY574" fmla="*/ 1077745 h 1698913"/>
                <a:gd name="csX575" fmla="*/ 375440 w 636905"/>
                <a:gd name="csY575" fmla="*/ 1077745 h 1698913"/>
                <a:gd name="csX576" fmla="*/ 375440 w 636905"/>
                <a:gd name="csY576" fmla="*/ 1130304 h 1698913"/>
                <a:gd name="csX577" fmla="*/ 390166 w 636905"/>
                <a:gd name="csY577" fmla="*/ 1130304 h 1698913"/>
                <a:gd name="csX578" fmla="*/ 258410 w 636905"/>
                <a:gd name="csY578" fmla="*/ 47289 h 1698913"/>
                <a:gd name="csX579" fmla="*/ 243673 w 636905"/>
                <a:gd name="csY579" fmla="*/ 47289 h 1698913"/>
                <a:gd name="csX580" fmla="*/ 243673 w 636905"/>
                <a:gd name="csY580" fmla="*/ 99854 h 1698913"/>
                <a:gd name="csX581" fmla="*/ 258410 w 636905"/>
                <a:gd name="csY581" fmla="*/ 99854 h 1698913"/>
                <a:gd name="csX582" fmla="*/ 291345 w 636905"/>
                <a:gd name="csY582" fmla="*/ 47289 h 1698913"/>
                <a:gd name="csX583" fmla="*/ 276619 w 636905"/>
                <a:gd name="csY583" fmla="*/ 47289 h 1698913"/>
                <a:gd name="csX584" fmla="*/ 276619 w 636905"/>
                <a:gd name="csY584" fmla="*/ 99854 h 1698913"/>
                <a:gd name="csX585" fmla="*/ 291345 w 636905"/>
                <a:gd name="csY585" fmla="*/ 99854 h 1698913"/>
                <a:gd name="csX586" fmla="*/ 324285 w 636905"/>
                <a:gd name="csY586" fmla="*/ 47289 h 1698913"/>
                <a:gd name="csX587" fmla="*/ 309560 w 636905"/>
                <a:gd name="csY587" fmla="*/ 47289 h 1698913"/>
                <a:gd name="csX588" fmla="*/ 309560 w 636905"/>
                <a:gd name="csY588" fmla="*/ 99854 h 1698913"/>
                <a:gd name="csX589" fmla="*/ 324285 w 636905"/>
                <a:gd name="csY589" fmla="*/ 99854 h 1698913"/>
                <a:gd name="csX590" fmla="*/ 357225 w 636905"/>
                <a:gd name="csY590" fmla="*/ 47289 h 1698913"/>
                <a:gd name="csX591" fmla="*/ 342500 w 636905"/>
                <a:gd name="csY591" fmla="*/ 47289 h 1698913"/>
                <a:gd name="csX592" fmla="*/ 342500 w 636905"/>
                <a:gd name="csY592" fmla="*/ 99854 h 1698913"/>
                <a:gd name="csX593" fmla="*/ 357225 w 636905"/>
                <a:gd name="csY593" fmla="*/ 99854 h 1698913"/>
                <a:gd name="csX594" fmla="*/ 390166 w 636905"/>
                <a:gd name="csY594" fmla="*/ 47289 h 1698913"/>
                <a:gd name="csX595" fmla="*/ 375440 w 636905"/>
                <a:gd name="csY595" fmla="*/ 47289 h 1698913"/>
                <a:gd name="csX596" fmla="*/ 375440 w 636905"/>
                <a:gd name="csY596" fmla="*/ 99854 h 1698913"/>
                <a:gd name="csX597" fmla="*/ 390166 w 636905"/>
                <a:gd name="csY597" fmla="*/ 99854 h 1698913"/>
                <a:gd name="csX598" fmla="*/ 411618 w 636905"/>
                <a:gd name="csY598" fmla="*/ 99854 h 1698913"/>
                <a:gd name="csX599" fmla="*/ 411618 w 636905"/>
                <a:gd name="csY599" fmla="*/ 1555687 h 1698913"/>
                <a:gd name="csX600" fmla="*/ 508140 w 636905"/>
                <a:gd name="csY600" fmla="*/ 1555687 h 1698913"/>
                <a:gd name="csX601" fmla="*/ 508140 w 636905"/>
                <a:gd name="csY601" fmla="*/ 24010 h 1698913"/>
                <a:gd name="csX602" fmla="*/ 411618 w 636905"/>
                <a:gd name="csY602" fmla="*/ 24010 h 1698913"/>
                <a:gd name="csX603" fmla="*/ 583501 w 636905"/>
                <a:gd name="csY603" fmla="*/ 30380 h 1698913"/>
                <a:gd name="csX604" fmla="*/ 523612 w 636905"/>
                <a:gd name="csY604" fmla="*/ 30380 h 1698913"/>
                <a:gd name="csX605" fmla="*/ 523612 w 636905"/>
                <a:gd name="csY605" fmla="*/ 70123 h 1698913"/>
                <a:gd name="csX606" fmla="*/ 583501 w 636905"/>
                <a:gd name="csY606" fmla="*/ 70123 h 1698913"/>
                <a:gd name="csX607" fmla="*/ 583501 w 636905"/>
                <a:gd name="csY607" fmla="*/ 93677 h 1698913"/>
                <a:gd name="csX608" fmla="*/ 523612 w 636905"/>
                <a:gd name="csY608" fmla="*/ 93677 h 1698913"/>
                <a:gd name="csX609" fmla="*/ 523612 w 636905"/>
                <a:gd name="csY609" fmla="*/ 133420 h 1698913"/>
                <a:gd name="csX610" fmla="*/ 583501 w 636905"/>
                <a:gd name="csY610" fmla="*/ 133420 h 1698913"/>
                <a:gd name="csX611" fmla="*/ 583501 w 636905"/>
                <a:gd name="csY611" fmla="*/ 156979 h 1698913"/>
                <a:gd name="csX612" fmla="*/ 523612 w 636905"/>
                <a:gd name="csY612" fmla="*/ 156979 h 1698913"/>
                <a:gd name="csX613" fmla="*/ 523612 w 636905"/>
                <a:gd name="csY613" fmla="*/ 196722 h 1698913"/>
                <a:gd name="csX614" fmla="*/ 583501 w 636905"/>
                <a:gd name="csY614" fmla="*/ 196722 h 1698913"/>
                <a:gd name="csX615" fmla="*/ 583501 w 636905"/>
                <a:gd name="csY615" fmla="*/ 220275 h 1698913"/>
                <a:gd name="csX616" fmla="*/ 523612 w 636905"/>
                <a:gd name="csY616" fmla="*/ 220275 h 1698913"/>
                <a:gd name="csX617" fmla="*/ 523612 w 636905"/>
                <a:gd name="csY617" fmla="*/ 260024 h 1698913"/>
                <a:gd name="csX618" fmla="*/ 583501 w 636905"/>
                <a:gd name="csY618" fmla="*/ 260024 h 1698913"/>
                <a:gd name="csX619" fmla="*/ 583501 w 636905"/>
                <a:gd name="csY619" fmla="*/ 283577 h 1698913"/>
                <a:gd name="csX620" fmla="*/ 523612 w 636905"/>
                <a:gd name="csY620" fmla="*/ 283577 h 1698913"/>
                <a:gd name="csX621" fmla="*/ 523612 w 636905"/>
                <a:gd name="csY621" fmla="*/ 323321 h 1698913"/>
                <a:gd name="csX622" fmla="*/ 583501 w 636905"/>
                <a:gd name="csY622" fmla="*/ 323321 h 1698913"/>
                <a:gd name="csX623" fmla="*/ 583501 w 636905"/>
                <a:gd name="csY623" fmla="*/ 346879 h 1698913"/>
                <a:gd name="csX624" fmla="*/ 523612 w 636905"/>
                <a:gd name="csY624" fmla="*/ 346879 h 1698913"/>
                <a:gd name="csX625" fmla="*/ 523612 w 636905"/>
                <a:gd name="csY625" fmla="*/ 386623 h 1698913"/>
                <a:gd name="csX626" fmla="*/ 583501 w 636905"/>
                <a:gd name="csY626" fmla="*/ 386623 h 1698913"/>
                <a:gd name="csX627" fmla="*/ 583501 w 636905"/>
                <a:gd name="csY627" fmla="*/ 410181 h 1698913"/>
                <a:gd name="csX628" fmla="*/ 523612 w 636905"/>
                <a:gd name="csY628" fmla="*/ 410181 h 1698913"/>
                <a:gd name="csX629" fmla="*/ 523612 w 636905"/>
                <a:gd name="csY629" fmla="*/ 449925 h 1698913"/>
                <a:gd name="csX630" fmla="*/ 583501 w 636905"/>
                <a:gd name="csY630" fmla="*/ 449925 h 1698913"/>
                <a:gd name="csX631" fmla="*/ 583501 w 636905"/>
                <a:gd name="csY631" fmla="*/ 473484 h 1698913"/>
                <a:gd name="csX632" fmla="*/ 523612 w 636905"/>
                <a:gd name="csY632" fmla="*/ 473484 h 1698913"/>
                <a:gd name="csX633" fmla="*/ 523612 w 636905"/>
                <a:gd name="csY633" fmla="*/ 513222 h 1698913"/>
                <a:gd name="csX634" fmla="*/ 583501 w 636905"/>
                <a:gd name="csY634" fmla="*/ 513222 h 1698913"/>
                <a:gd name="csX635" fmla="*/ 583501 w 636905"/>
                <a:gd name="csY635" fmla="*/ 536780 h 1698913"/>
                <a:gd name="csX636" fmla="*/ 523612 w 636905"/>
                <a:gd name="csY636" fmla="*/ 536780 h 1698913"/>
                <a:gd name="csX637" fmla="*/ 523612 w 636905"/>
                <a:gd name="csY637" fmla="*/ 576529 h 1698913"/>
                <a:gd name="csX638" fmla="*/ 583501 w 636905"/>
                <a:gd name="csY638" fmla="*/ 576529 h 1698913"/>
                <a:gd name="csX639" fmla="*/ 583501 w 636905"/>
                <a:gd name="csY639" fmla="*/ 600082 h 1698913"/>
                <a:gd name="csX640" fmla="*/ 523612 w 636905"/>
                <a:gd name="csY640" fmla="*/ 600082 h 1698913"/>
                <a:gd name="csX641" fmla="*/ 523612 w 636905"/>
                <a:gd name="csY641" fmla="*/ 639831 h 1698913"/>
                <a:gd name="csX642" fmla="*/ 583501 w 636905"/>
                <a:gd name="csY642" fmla="*/ 639831 h 1698913"/>
                <a:gd name="csX643" fmla="*/ 583501 w 636905"/>
                <a:gd name="csY643" fmla="*/ 663384 h 1698913"/>
                <a:gd name="csX644" fmla="*/ 523612 w 636905"/>
                <a:gd name="csY644" fmla="*/ 663384 h 1698913"/>
                <a:gd name="csX645" fmla="*/ 523612 w 636905"/>
                <a:gd name="csY645" fmla="*/ 703128 h 1698913"/>
                <a:gd name="csX646" fmla="*/ 583501 w 636905"/>
                <a:gd name="csY646" fmla="*/ 703128 h 1698913"/>
                <a:gd name="csX647" fmla="*/ 583501 w 636905"/>
                <a:gd name="csY647" fmla="*/ 726681 h 1698913"/>
                <a:gd name="csX648" fmla="*/ 523612 w 636905"/>
                <a:gd name="csY648" fmla="*/ 726681 h 1698913"/>
                <a:gd name="csX649" fmla="*/ 523612 w 636905"/>
                <a:gd name="csY649" fmla="*/ 766430 h 1698913"/>
                <a:gd name="csX650" fmla="*/ 583501 w 636905"/>
                <a:gd name="csY650" fmla="*/ 766430 h 1698913"/>
                <a:gd name="csX651" fmla="*/ 583501 w 636905"/>
                <a:gd name="csY651" fmla="*/ 789983 h 1698913"/>
                <a:gd name="csX652" fmla="*/ 523612 w 636905"/>
                <a:gd name="csY652" fmla="*/ 789983 h 1698913"/>
                <a:gd name="csX653" fmla="*/ 523612 w 636905"/>
                <a:gd name="csY653" fmla="*/ 829727 h 1698913"/>
                <a:gd name="csX654" fmla="*/ 583501 w 636905"/>
                <a:gd name="csY654" fmla="*/ 829727 h 1698913"/>
                <a:gd name="csX655" fmla="*/ 583501 w 636905"/>
                <a:gd name="csY655" fmla="*/ 853285 h 1698913"/>
                <a:gd name="csX656" fmla="*/ 523612 w 636905"/>
                <a:gd name="csY656" fmla="*/ 853285 h 1698913"/>
                <a:gd name="csX657" fmla="*/ 523612 w 636905"/>
                <a:gd name="csY657" fmla="*/ 893029 h 1698913"/>
                <a:gd name="csX658" fmla="*/ 583501 w 636905"/>
                <a:gd name="csY658" fmla="*/ 893029 h 1698913"/>
                <a:gd name="csX659" fmla="*/ 583501 w 636905"/>
                <a:gd name="csY659" fmla="*/ 916582 h 1698913"/>
                <a:gd name="csX660" fmla="*/ 523612 w 636905"/>
                <a:gd name="csY660" fmla="*/ 916582 h 1698913"/>
                <a:gd name="csX661" fmla="*/ 523612 w 636905"/>
                <a:gd name="csY661" fmla="*/ 956331 h 1698913"/>
                <a:gd name="csX662" fmla="*/ 583501 w 636905"/>
                <a:gd name="csY662" fmla="*/ 956331 h 1698913"/>
                <a:gd name="csX663" fmla="*/ 583501 w 636905"/>
                <a:gd name="csY663" fmla="*/ 979889 h 1698913"/>
                <a:gd name="csX664" fmla="*/ 523612 w 636905"/>
                <a:gd name="csY664" fmla="*/ 979889 h 1698913"/>
                <a:gd name="csX665" fmla="*/ 523612 w 636905"/>
                <a:gd name="csY665" fmla="*/ 1019633 h 1698913"/>
                <a:gd name="csX666" fmla="*/ 583501 w 636905"/>
                <a:gd name="csY666" fmla="*/ 1019633 h 1698913"/>
                <a:gd name="csX667" fmla="*/ 583501 w 636905"/>
                <a:gd name="csY667" fmla="*/ 1043186 h 1698913"/>
                <a:gd name="csX668" fmla="*/ 523612 w 636905"/>
                <a:gd name="csY668" fmla="*/ 1043186 h 1698913"/>
                <a:gd name="csX669" fmla="*/ 523612 w 636905"/>
                <a:gd name="csY669" fmla="*/ 1082929 h 1698913"/>
                <a:gd name="csX670" fmla="*/ 583501 w 636905"/>
                <a:gd name="csY670" fmla="*/ 1082929 h 1698913"/>
                <a:gd name="csX671" fmla="*/ 583501 w 636905"/>
                <a:gd name="csY671" fmla="*/ 1106488 h 1698913"/>
                <a:gd name="csX672" fmla="*/ 523612 w 636905"/>
                <a:gd name="csY672" fmla="*/ 1106488 h 1698913"/>
                <a:gd name="csX673" fmla="*/ 523612 w 636905"/>
                <a:gd name="csY673" fmla="*/ 1146232 h 1698913"/>
                <a:gd name="csX674" fmla="*/ 583501 w 636905"/>
                <a:gd name="csY674" fmla="*/ 1146232 h 1698913"/>
                <a:gd name="csX675" fmla="*/ 583501 w 636905"/>
                <a:gd name="csY675" fmla="*/ 1169785 h 1698913"/>
                <a:gd name="csX676" fmla="*/ 523612 w 636905"/>
                <a:gd name="csY676" fmla="*/ 1169785 h 1698913"/>
                <a:gd name="csX677" fmla="*/ 523612 w 636905"/>
                <a:gd name="csY677" fmla="*/ 1209533 h 1698913"/>
                <a:gd name="csX678" fmla="*/ 583501 w 636905"/>
                <a:gd name="csY678" fmla="*/ 1209533 h 1698913"/>
                <a:gd name="csX679" fmla="*/ 583501 w 636905"/>
                <a:gd name="csY679" fmla="*/ 1233087 h 1698913"/>
                <a:gd name="csX680" fmla="*/ 523612 w 636905"/>
                <a:gd name="csY680" fmla="*/ 1233087 h 1698913"/>
                <a:gd name="csX681" fmla="*/ 523612 w 636905"/>
                <a:gd name="csY681" fmla="*/ 1272830 h 1698913"/>
                <a:gd name="csX682" fmla="*/ 583501 w 636905"/>
                <a:gd name="csY682" fmla="*/ 1272830 h 1698913"/>
                <a:gd name="csX683" fmla="*/ 583501 w 636905"/>
                <a:gd name="csY683" fmla="*/ 1296389 h 1698913"/>
                <a:gd name="csX684" fmla="*/ 523612 w 636905"/>
                <a:gd name="csY684" fmla="*/ 1296389 h 1698913"/>
                <a:gd name="csX685" fmla="*/ 523612 w 636905"/>
                <a:gd name="csY685" fmla="*/ 1336132 h 1698913"/>
                <a:gd name="csX686" fmla="*/ 583501 w 636905"/>
                <a:gd name="csY686" fmla="*/ 1336132 h 1698913"/>
                <a:gd name="csX687" fmla="*/ 583501 w 636905"/>
                <a:gd name="csY687" fmla="*/ 1359691 h 1698913"/>
                <a:gd name="csX688" fmla="*/ 523612 w 636905"/>
                <a:gd name="csY688" fmla="*/ 1359691 h 1698913"/>
                <a:gd name="csX689" fmla="*/ 523612 w 636905"/>
                <a:gd name="csY689" fmla="*/ 1399435 h 1698913"/>
                <a:gd name="csX690" fmla="*/ 583501 w 636905"/>
                <a:gd name="csY690" fmla="*/ 1399435 h 1698913"/>
                <a:gd name="csX691" fmla="*/ 583501 w 636905"/>
                <a:gd name="csY691" fmla="*/ 1422988 h 1698913"/>
                <a:gd name="csX692" fmla="*/ 523612 w 636905"/>
                <a:gd name="csY692" fmla="*/ 1422988 h 1698913"/>
                <a:gd name="csX693" fmla="*/ 523612 w 636905"/>
                <a:gd name="csY693" fmla="*/ 1462737 h 1698913"/>
                <a:gd name="csX694" fmla="*/ 583501 w 636905"/>
                <a:gd name="csY694" fmla="*/ 1462737 h 1698913"/>
                <a:gd name="csX695" fmla="*/ 583501 w 636905"/>
                <a:gd name="csY695" fmla="*/ 1422988 h 1698913"/>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 ang="0">
                  <a:pos x="csX97" y="csY97"/>
                </a:cxn>
                <a:cxn ang="0">
                  <a:pos x="csX98" y="csY98"/>
                </a:cxn>
                <a:cxn ang="0">
                  <a:pos x="csX99" y="csY99"/>
                </a:cxn>
                <a:cxn ang="0">
                  <a:pos x="csX100" y="csY100"/>
                </a:cxn>
                <a:cxn ang="0">
                  <a:pos x="csX101" y="csY101"/>
                </a:cxn>
                <a:cxn ang="0">
                  <a:pos x="csX102" y="csY102"/>
                </a:cxn>
                <a:cxn ang="0">
                  <a:pos x="csX103" y="csY103"/>
                </a:cxn>
                <a:cxn ang="0">
                  <a:pos x="csX104" y="csY104"/>
                </a:cxn>
                <a:cxn ang="0">
                  <a:pos x="csX105" y="csY105"/>
                </a:cxn>
                <a:cxn ang="0">
                  <a:pos x="csX106" y="csY106"/>
                </a:cxn>
                <a:cxn ang="0">
                  <a:pos x="csX107" y="csY107"/>
                </a:cxn>
                <a:cxn ang="0">
                  <a:pos x="csX108" y="csY108"/>
                </a:cxn>
                <a:cxn ang="0">
                  <a:pos x="csX109" y="csY109"/>
                </a:cxn>
                <a:cxn ang="0">
                  <a:pos x="csX110" y="csY110"/>
                </a:cxn>
                <a:cxn ang="0">
                  <a:pos x="csX111" y="csY111"/>
                </a:cxn>
                <a:cxn ang="0">
                  <a:pos x="csX112" y="csY112"/>
                </a:cxn>
                <a:cxn ang="0">
                  <a:pos x="csX113" y="csY113"/>
                </a:cxn>
                <a:cxn ang="0">
                  <a:pos x="csX114" y="csY114"/>
                </a:cxn>
                <a:cxn ang="0">
                  <a:pos x="csX115" y="csY115"/>
                </a:cxn>
                <a:cxn ang="0">
                  <a:pos x="csX116" y="csY116"/>
                </a:cxn>
                <a:cxn ang="0">
                  <a:pos x="csX117" y="csY117"/>
                </a:cxn>
                <a:cxn ang="0">
                  <a:pos x="csX118" y="csY118"/>
                </a:cxn>
                <a:cxn ang="0">
                  <a:pos x="csX119" y="csY119"/>
                </a:cxn>
                <a:cxn ang="0">
                  <a:pos x="csX120" y="csY120"/>
                </a:cxn>
                <a:cxn ang="0">
                  <a:pos x="csX121" y="csY121"/>
                </a:cxn>
                <a:cxn ang="0">
                  <a:pos x="csX122" y="csY122"/>
                </a:cxn>
                <a:cxn ang="0">
                  <a:pos x="csX123" y="csY123"/>
                </a:cxn>
                <a:cxn ang="0">
                  <a:pos x="csX124" y="csY124"/>
                </a:cxn>
                <a:cxn ang="0">
                  <a:pos x="csX125" y="csY125"/>
                </a:cxn>
                <a:cxn ang="0">
                  <a:pos x="csX126" y="csY126"/>
                </a:cxn>
                <a:cxn ang="0">
                  <a:pos x="csX127" y="csY127"/>
                </a:cxn>
                <a:cxn ang="0">
                  <a:pos x="csX128" y="csY128"/>
                </a:cxn>
                <a:cxn ang="0">
                  <a:pos x="csX129" y="csY129"/>
                </a:cxn>
                <a:cxn ang="0">
                  <a:pos x="csX130" y="csY130"/>
                </a:cxn>
                <a:cxn ang="0">
                  <a:pos x="csX131" y="csY131"/>
                </a:cxn>
                <a:cxn ang="0">
                  <a:pos x="csX132" y="csY132"/>
                </a:cxn>
                <a:cxn ang="0">
                  <a:pos x="csX133" y="csY133"/>
                </a:cxn>
                <a:cxn ang="0">
                  <a:pos x="csX134" y="csY134"/>
                </a:cxn>
                <a:cxn ang="0">
                  <a:pos x="csX135" y="csY135"/>
                </a:cxn>
                <a:cxn ang="0">
                  <a:pos x="csX136" y="csY136"/>
                </a:cxn>
                <a:cxn ang="0">
                  <a:pos x="csX137" y="csY137"/>
                </a:cxn>
                <a:cxn ang="0">
                  <a:pos x="csX138" y="csY138"/>
                </a:cxn>
                <a:cxn ang="0">
                  <a:pos x="csX139" y="csY139"/>
                </a:cxn>
                <a:cxn ang="0">
                  <a:pos x="csX140" y="csY140"/>
                </a:cxn>
                <a:cxn ang="0">
                  <a:pos x="csX141" y="csY141"/>
                </a:cxn>
                <a:cxn ang="0">
                  <a:pos x="csX142" y="csY142"/>
                </a:cxn>
                <a:cxn ang="0">
                  <a:pos x="csX143" y="csY143"/>
                </a:cxn>
                <a:cxn ang="0">
                  <a:pos x="csX144" y="csY144"/>
                </a:cxn>
                <a:cxn ang="0">
                  <a:pos x="csX145" y="csY145"/>
                </a:cxn>
                <a:cxn ang="0">
                  <a:pos x="csX146" y="csY146"/>
                </a:cxn>
                <a:cxn ang="0">
                  <a:pos x="csX147" y="csY147"/>
                </a:cxn>
                <a:cxn ang="0">
                  <a:pos x="csX148" y="csY148"/>
                </a:cxn>
                <a:cxn ang="0">
                  <a:pos x="csX149" y="csY149"/>
                </a:cxn>
                <a:cxn ang="0">
                  <a:pos x="csX150" y="csY150"/>
                </a:cxn>
                <a:cxn ang="0">
                  <a:pos x="csX151" y="csY151"/>
                </a:cxn>
                <a:cxn ang="0">
                  <a:pos x="csX152" y="csY152"/>
                </a:cxn>
                <a:cxn ang="0">
                  <a:pos x="csX153" y="csY153"/>
                </a:cxn>
                <a:cxn ang="0">
                  <a:pos x="csX154" y="csY154"/>
                </a:cxn>
                <a:cxn ang="0">
                  <a:pos x="csX155" y="csY155"/>
                </a:cxn>
                <a:cxn ang="0">
                  <a:pos x="csX156" y="csY156"/>
                </a:cxn>
                <a:cxn ang="0">
                  <a:pos x="csX157" y="csY157"/>
                </a:cxn>
                <a:cxn ang="0">
                  <a:pos x="csX158" y="csY158"/>
                </a:cxn>
                <a:cxn ang="0">
                  <a:pos x="csX159" y="csY159"/>
                </a:cxn>
                <a:cxn ang="0">
                  <a:pos x="csX160" y="csY160"/>
                </a:cxn>
                <a:cxn ang="0">
                  <a:pos x="csX161" y="csY161"/>
                </a:cxn>
                <a:cxn ang="0">
                  <a:pos x="csX162" y="csY162"/>
                </a:cxn>
                <a:cxn ang="0">
                  <a:pos x="csX163" y="csY163"/>
                </a:cxn>
                <a:cxn ang="0">
                  <a:pos x="csX164" y="csY164"/>
                </a:cxn>
                <a:cxn ang="0">
                  <a:pos x="csX165" y="csY165"/>
                </a:cxn>
                <a:cxn ang="0">
                  <a:pos x="csX166" y="csY166"/>
                </a:cxn>
                <a:cxn ang="0">
                  <a:pos x="csX167" y="csY167"/>
                </a:cxn>
                <a:cxn ang="0">
                  <a:pos x="csX168" y="csY168"/>
                </a:cxn>
                <a:cxn ang="0">
                  <a:pos x="csX169" y="csY169"/>
                </a:cxn>
                <a:cxn ang="0">
                  <a:pos x="csX170" y="csY170"/>
                </a:cxn>
                <a:cxn ang="0">
                  <a:pos x="csX171" y="csY171"/>
                </a:cxn>
                <a:cxn ang="0">
                  <a:pos x="csX172" y="csY172"/>
                </a:cxn>
                <a:cxn ang="0">
                  <a:pos x="csX173" y="csY173"/>
                </a:cxn>
                <a:cxn ang="0">
                  <a:pos x="csX174" y="csY174"/>
                </a:cxn>
                <a:cxn ang="0">
                  <a:pos x="csX175" y="csY175"/>
                </a:cxn>
                <a:cxn ang="0">
                  <a:pos x="csX176" y="csY176"/>
                </a:cxn>
                <a:cxn ang="0">
                  <a:pos x="csX177" y="csY177"/>
                </a:cxn>
                <a:cxn ang="0">
                  <a:pos x="csX178" y="csY178"/>
                </a:cxn>
                <a:cxn ang="0">
                  <a:pos x="csX179" y="csY179"/>
                </a:cxn>
                <a:cxn ang="0">
                  <a:pos x="csX180" y="csY180"/>
                </a:cxn>
                <a:cxn ang="0">
                  <a:pos x="csX181" y="csY181"/>
                </a:cxn>
                <a:cxn ang="0">
                  <a:pos x="csX182" y="csY182"/>
                </a:cxn>
                <a:cxn ang="0">
                  <a:pos x="csX183" y="csY183"/>
                </a:cxn>
                <a:cxn ang="0">
                  <a:pos x="csX184" y="csY184"/>
                </a:cxn>
                <a:cxn ang="0">
                  <a:pos x="csX185" y="csY185"/>
                </a:cxn>
                <a:cxn ang="0">
                  <a:pos x="csX186" y="csY186"/>
                </a:cxn>
                <a:cxn ang="0">
                  <a:pos x="csX187" y="csY187"/>
                </a:cxn>
                <a:cxn ang="0">
                  <a:pos x="csX188" y="csY188"/>
                </a:cxn>
                <a:cxn ang="0">
                  <a:pos x="csX189" y="csY189"/>
                </a:cxn>
                <a:cxn ang="0">
                  <a:pos x="csX190" y="csY190"/>
                </a:cxn>
                <a:cxn ang="0">
                  <a:pos x="csX191" y="csY191"/>
                </a:cxn>
                <a:cxn ang="0">
                  <a:pos x="csX192" y="csY192"/>
                </a:cxn>
                <a:cxn ang="0">
                  <a:pos x="csX193" y="csY193"/>
                </a:cxn>
                <a:cxn ang="0">
                  <a:pos x="csX194" y="csY194"/>
                </a:cxn>
                <a:cxn ang="0">
                  <a:pos x="csX195" y="csY195"/>
                </a:cxn>
                <a:cxn ang="0">
                  <a:pos x="csX196" y="csY196"/>
                </a:cxn>
                <a:cxn ang="0">
                  <a:pos x="csX197" y="csY197"/>
                </a:cxn>
                <a:cxn ang="0">
                  <a:pos x="csX198" y="csY198"/>
                </a:cxn>
                <a:cxn ang="0">
                  <a:pos x="csX199" y="csY199"/>
                </a:cxn>
                <a:cxn ang="0">
                  <a:pos x="csX200" y="csY200"/>
                </a:cxn>
                <a:cxn ang="0">
                  <a:pos x="csX201" y="csY201"/>
                </a:cxn>
                <a:cxn ang="0">
                  <a:pos x="csX202" y="csY202"/>
                </a:cxn>
                <a:cxn ang="0">
                  <a:pos x="csX203" y="csY203"/>
                </a:cxn>
                <a:cxn ang="0">
                  <a:pos x="csX204" y="csY204"/>
                </a:cxn>
                <a:cxn ang="0">
                  <a:pos x="csX205" y="csY205"/>
                </a:cxn>
                <a:cxn ang="0">
                  <a:pos x="csX206" y="csY206"/>
                </a:cxn>
                <a:cxn ang="0">
                  <a:pos x="csX207" y="csY207"/>
                </a:cxn>
                <a:cxn ang="0">
                  <a:pos x="csX208" y="csY208"/>
                </a:cxn>
                <a:cxn ang="0">
                  <a:pos x="csX209" y="csY209"/>
                </a:cxn>
                <a:cxn ang="0">
                  <a:pos x="csX210" y="csY210"/>
                </a:cxn>
                <a:cxn ang="0">
                  <a:pos x="csX211" y="csY211"/>
                </a:cxn>
                <a:cxn ang="0">
                  <a:pos x="csX212" y="csY212"/>
                </a:cxn>
                <a:cxn ang="0">
                  <a:pos x="csX213" y="csY213"/>
                </a:cxn>
                <a:cxn ang="0">
                  <a:pos x="csX214" y="csY214"/>
                </a:cxn>
                <a:cxn ang="0">
                  <a:pos x="csX215" y="csY215"/>
                </a:cxn>
                <a:cxn ang="0">
                  <a:pos x="csX216" y="csY216"/>
                </a:cxn>
                <a:cxn ang="0">
                  <a:pos x="csX217" y="csY217"/>
                </a:cxn>
                <a:cxn ang="0">
                  <a:pos x="csX218" y="csY218"/>
                </a:cxn>
                <a:cxn ang="0">
                  <a:pos x="csX219" y="csY219"/>
                </a:cxn>
                <a:cxn ang="0">
                  <a:pos x="csX220" y="csY220"/>
                </a:cxn>
                <a:cxn ang="0">
                  <a:pos x="csX221" y="csY221"/>
                </a:cxn>
                <a:cxn ang="0">
                  <a:pos x="csX222" y="csY222"/>
                </a:cxn>
                <a:cxn ang="0">
                  <a:pos x="csX223" y="csY223"/>
                </a:cxn>
                <a:cxn ang="0">
                  <a:pos x="csX224" y="csY224"/>
                </a:cxn>
                <a:cxn ang="0">
                  <a:pos x="csX225" y="csY225"/>
                </a:cxn>
                <a:cxn ang="0">
                  <a:pos x="csX226" y="csY226"/>
                </a:cxn>
                <a:cxn ang="0">
                  <a:pos x="csX227" y="csY227"/>
                </a:cxn>
                <a:cxn ang="0">
                  <a:pos x="csX228" y="csY228"/>
                </a:cxn>
                <a:cxn ang="0">
                  <a:pos x="csX229" y="csY229"/>
                </a:cxn>
                <a:cxn ang="0">
                  <a:pos x="csX230" y="csY230"/>
                </a:cxn>
                <a:cxn ang="0">
                  <a:pos x="csX231" y="csY231"/>
                </a:cxn>
                <a:cxn ang="0">
                  <a:pos x="csX232" y="csY232"/>
                </a:cxn>
                <a:cxn ang="0">
                  <a:pos x="csX233" y="csY233"/>
                </a:cxn>
                <a:cxn ang="0">
                  <a:pos x="csX234" y="csY234"/>
                </a:cxn>
                <a:cxn ang="0">
                  <a:pos x="csX235" y="csY235"/>
                </a:cxn>
                <a:cxn ang="0">
                  <a:pos x="csX236" y="csY236"/>
                </a:cxn>
                <a:cxn ang="0">
                  <a:pos x="csX237" y="csY237"/>
                </a:cxn>
                <a:cxn ang="0">
                  <a:pos x="csX238" y="csY238"/>
                </a:cxn>
                <a:cxn ang="0">
                  <a:pos x="csX239" y="csY239"/>
                </a:cxn>
                <a:cxn ang="0">
                  <a:pos x="csX240" y="csY240"/>
                </a:cxn>
                <a:cxn ang="0">
                  <a:pos x="csX241" y="csY241"/>
                </a:cxn>
                <a:cxn ang="0">
                  <a:pos x="csX242" y="csY242"/>
                </a:cxn>
                <a:cxn ang="0">
                  <a:pos x="csX243" y="csY243"/>
                </a:cxn>
                <a:cxn ang="0">
                  <a:pos x="csX244" y="csY244"/>
                </a:cxn>
                <a:cxn ang="0">
                  <a:pos x="csX245" y="csY245"/>
                </a:cxn>
                <a:cxn ang="0">
                  <a:pos x="csX246" y="csY246"/>
                </a:cxn>
                <a:cxn ang="0">
                  <a:pos x="csX247" y="csY247"/>
                </a:cxn>
                <a:cxn ang="0">
                  <a:pos x="csX248" y="csY248"/>
                </a:cxn>
                <a:cxn ang="0">
                  <a:pos x="csX249" y="csY249"/>
                </a:cxn>
                <a:cxn ang="0">
                  <a:pos x="csX250" y="csY250"/>
                </a:cxn>
                <a:cxn ang="0">
                  <a:pos x="csX251" y="csY251"/>
                </a:cxn>
                <a:cxn ang="0">
                  <a:pos x="csX252" y="csY252"/>
                </a:cxn>
                <a:cxn ang="0">
                  <a:pos x="csX253" y="csY253"/>
                </a:cxn>
                <a:cxn ang="0">
                  <a:pos x="csX254" y="csY254"/>
                </a:cxn>
                <a:cxn ang="0">
                  <a:pos x="csX255" y="csY255"/>
                </a:cxn>
                <a:cxn ang="0">
                  <a:pos x="csX256" y="csY256"/>
                </a:cxn>
                <a:cxn ang="0">
                  <a:pos x="csX257" y="csY257"/>
                </a:cxn>
                <a:cxn ang="0">
                  <a:pos x="csX258" y="csY258"/>
                </a:cxn>
                <a:cxn ang="0">
                  <a:pos x="csX259" y="csY259"/>
                </a:cxn>
                <a:cxn ang="0">
                  <a:pos x="csX260" y="csY260"/>
                </a:cxn>
                <a:cxn ang="0">
                  <a:pos x="csX261" y="csY261"/>
                </a:cxn>
                <a:cxn ang="0">
                  <a:pos x="csX262" y="csY262"/>
                </a:cxn>
                <a:cxn ang="0">
                  <a:pos x="csX263" y="csY263"/>
                </a:cxn>
                <a:cxn ang="0">
                  <a:pos x="csX264" y="csY264"/>
                </a:cxn>
                <a:cxn ang="0">
                  <a:pos x="csX265" y="csY265"/>
                </a:cxn>
                <a:cxn ang="0">
                  <a:pos x="csX266" y="csY266"/>
                </a:cxn>
                <a:cxn ang="0">
                  <a:pos x="csX267" y="csY267"/>
                </a:cxn>
                <a:cxn ang="0">
                  <a:pos x="csX268" y="csY268"/>
                </a:cxn>
                <a:cxn ang="0">
                  <a:pos x="csX269" y="csY269"/>
                </a:cxn>
                <a:cxn ang="0">
                  <a:pos x="csX270" y="csY270"/>
                </a:cxn>
                <a:cxn ang="0">
                  <a:pos x="csX271" y="csY271"/>
                </a:cxn>
                <a:cxn ang="0">
                  <a:pos x="csX272" y="csY272"/>
                </a:cxn>
                <a:cxn ang="0">
                  <a:pos x="csX273" y="csY273"/>
                </a:cxn>
                <a:cxn ang="0">
                  <a:pos x="csX274" y="csY274"/>
                </a:cxn>
                <a:cxn ang="0">
                  <a:pos x="csX275" y="csY275"/>
                </a:cxn>
                <a:cxn ang="0">
                  <a:pos x="csX276" y="csY276"/>
                </a:cxn>
                <a:cxn ang="0">
                  <a:pos x="csX277" y="csY277"/>
                </a:cxn>
                <a:cxn ang="0">
                  <a:pos x="csX278" y="csY278"/>
                </a:cxn>
                <a:cxn ang="0">
                  <a:pos x="csX279" y="csY279"/>
                </a:cxn>
                <a:cxn ang="0">
                  <a:pos x="csX280" y="csY280"/>
                </a:cxn>
                <a:cxn ang="0">
                  <a:pos x="csX281" y="csY281"/>
                </a:cxn>
                <a:cxn ang="0">
                  <a:pos x="csX282" y="csY282"/>
                </a:cxn>
                <a:cxn ang="0">
                  <a:pos x="csX283" y="csY283"/>
                </a:cxn>
                <a:cxn ang="0">
                  <a:pos x="csX284" y="csY284"/>
                </a:cxn>
                <a:cxn ang="0">
                  <a:pos x="csX285" y="csY285"/>
                </a:cxn>
                <a:cxn ang="0">
                  <a:pos x="csX286" y="csY286"/>
                </a:cxn>
                <a:cxn ang="0">
                  <a:pos x="csX287" y="csY287"/>
                </a:cxn>
                <a:cxn ang="0">
                  <a:pos x="csX288" y="csY288"/>
                </a:cxn>
                <a:cxn ang="0">
                  <a:pos x="csX289" y="csY289"/>
                </a:cxn>
                <a:cxn ang="0">
                  <a:pos x="csX290" y="csY290"/>
                </a:cxn>
                <a:cxn ang="0">
                  <a:pos x="csX291" y="csY291"/>
                </a:cxn>
                <a:cxn ang="0">
                  <a:pos x="csX292" y="csY292"/>
                </a:cxn>
                <a:cxn ang="0">
                  <a:pos x="csX293" y="csY293"/>
                </a:cxn>
                <a:cxn ang="0">
                  <a:pos x="csX294" y="csY294"/>
                </a:cxn>
                <a:cxn ang="0">
                  <a:pos x="csX295" y="csY295"/>
                </a:cxn>
                <a:cxn ang="0">
                  <a:pos x="csX296" y="csY296"/>
                </a:cxn>
                <a:cxn ang="0">
                  <a:pos x="csX297" y="csY297"/>
                </a:cxn>
                <a:cxn ang="0">
                  <a:pos x="csX298" y="csY298"/>
                </a:cxn>
                <a:cxn ang="0">
                  <a:pos x="csX299" y="csY299"/>
                </a:cxn>
                <a:cxn ang="0">
                  <a:pos x="csX300" y="csY300"/>
                </a:cxn>
                <a:cxn ang="0">
                  <a:pos x="csX301" y="csY301"/>
                </a:cxn>
                <a:cxn ang="0">
                  <a:pos x="csX302" y="csY302"/>
                </a:cxn>
                <a:cxn ang="0">
                  <a:pos x="csX303" y="csY303"/>
                </a:cxn>
                <a:cxn ang="0">
                  <a:pos x="csX304" y="csY304"/>
                </a:cxn>
                <a:cxn ang="0">
                  <a:pos x="csX305" y="csY305"/>
                </a:cxn>
                <a:cxn ang="0">
                  <a:pos x="csX306" y="csY306"/>
                </a:cxn>
                <a:cxn ang="0">
                  <a:pos x="csX307" y="csY307"/>
                </a:cxn>
                <a:cxn ang="0">
                  <a:pos x="csX308" y="csY308"/>
                </a:cxn>
                <a:cxn ang="0">
                  <a:pos x="csX309" y="csY309"/>
                </a:cxn>
                <a:cxn ang="0">
                  <a:pos x="csX310" y="csY310"/>
                </a:cxn>
                <a:cxn ang="0">
                  <a:pos x="csX311" y="csY311"/>
                </a:cxn>
                <a:cxn ang="0">
                  <a:pos x="csX312" y="csY312"/>
                </a:cxn>
                <a:cxn ang="0">
                  <a:pos x="csX313" y="csY313"/>
                </a:cxn>
                <a:cxn ang="0">
                  <a:pos x="csX314" y="csY314"/>
                </a:cxn>
                <a:cxn ang="0">
                  <a:pos x="csX315" y="csY315"/>
                </a:cxn>
                <a:cxn ang="0">
                  <a:pos x="csX316" y="csY316"/>
                </a:cxn>
                <a:cxn ang="0">
                  <a:pos x="csX317" y="csY317"/>
                </a:cxn>
                <a:cxn ang="0">
                  <a:pos x="csX318" y="csY318"/>
                </a:cxn>
                <a:cxn ang="0">
                  <a:pos x="csX319" y="csY319"/>
                </a:cxn>
                <a:cxn ang="0">
                  <a:pos x="csX320" y="csY320"/>
                </a:cxn>
                <a:cxn ang="0">
                  <a:pos x="csX321" y="csY321"/>
                </a:cxn>
                <a:cxn ang="0">
                  <a:pos x="csX322" y="csY322"/>
                </a:cxn>
                <a:cxn ang="0">
                  <a:pos x="csX323" y="csY323"/>
                </a:cxn>
                <a:cxn ang="0">
                  <a:pos x="csX324" y="csY324"/>
                </a:cxn>
                <a:cxn ang="0">
                  <a:pos x="csX325" y="csY325"/>
                </a:cxn>
                <a:cxn ang="0">
                  <a:pos x="csX326" y="csY326"/>
                </a:cxn>
                <a:cxn ang="0">
                  <a:pos x="csX327" y="csY327"/>
                </a:cxn>
                <a:cxn ang="0">
                  <a:pos x="csX328" y="csY328"/>
                </a:cxn>
                <a:cxn ang="0">
                  <a:pos x="csX329" y="csY329"/>
                </a:cxn>
                <a:cxn ang="0">
                  <a:pos x="csX330" y="csY330"/>
                </a:cxn>
                <a:cxn ang="0">
                  <a:pos x="csX331" y="csY331"/>
                </a:cxn>
                <a:cxn ang="0">
                  <a:pos x="csX332" y="csY332"/>
                </a:cxn>
                <a:cxn ang="0">
                  <a:pos x="csX333" y="csY333"/>
                </a:cxn>
                <a:cxn ang="0">
                  <a:pos x="csX334" y="csY334"/>
                </a:cxn>
                <a:cxn ang="0">
                  <a:pos x="csX335" y="csY335"/>
                </a:cxn>
                <a:cxn ang="0">
                  <a:pos x="csX336" y="csY336"/>
                </a:cxn>
                <a:cxn ang="0">
                  <a:pos x="csX337" y="csY337"/>
                </a:cxn>
                <a:cxn ang="0">
                  <a:pos x="csX338" y="csY338"/>
                </a:cxn>
                <a:cxn ang="0">
                  <a:pos x="csX339" y="csY339"/>
                </a:cxn>
                <a:cxn ang="0">
                  <a:pos x="csX340" y="csY340"/>
                </a:cxn>
                <a:cxn ang="0">
                  <a:pos x="csX341" y="csY341"/>
                </a:cxn>
                <a:cxn ang="0">
                  <a:pos x="csX342" y="csY342"/>
                </a:cxn>
                <a:cxn ang="0">
                  <a:pos x="csX343" y="csY343"/>
                </a:cxn>
                <a:cxn ang="0">
                  <a:pos x="csX344" y="csY344"/>
                </a:cxn>
                <a:cxn ang="0">
                  <a:pos x="csX345" y="csY345"/>
                </a:cxn>
                <a:cxn ang="0">
                  <a:pos x="csX346" y="csY346"/>
                </a:cxn>
                <a:cxn ang="0">
                  <a:pos x="csX347" y="csY347"/>
                </a:cxn>
                <a:cxn ang="0">
                  <a:pos x="csX348" y="csY348"/>
                </a:cxn>
                <a:cxn ang="0">
                  <a:pos x="csX349" y="csY349"/>
                </a:cxn>
                <a:cxn ang="0">
                  <a:pos x="csX350" y="csY350"/>
                </a:cxn>
                <a:cxn ang="0">
                  <a:pos x="csX351" y="csY351"/>
                </a:cxn>
                <a:cxn ang="0">
                  <a:pos x="csX352" y="csY352"/>
                </a:cxn>
                <a:cxn ang="0">
                  <a:pos x="csX353" y="csY353"/>
                </a:cxn>
                <a:cxn ang="0">
                  <a:pos x="csX354" y="csY354"/>
                </a:cxn>
                <a:cxn ang="0">
                  <a:pos x="csX355" y="csY355"/>
                </a:cxn>
                <a:cxn ang="0">
                  <a:pos x="csX356" y="csY356"/>
                </a:cxn>
                <a:cxn ang="0">
                  <a:pos x="csX357" y="csY357"/>
                </a:cxn>
                <a:cxn ang="0">
                  <a:pos x="csX358" y="csY358"/>
                </a:cxn>
                <a:cxn ang="0">
                  <a:pos x="csX359" y="csY359"/>
                </a:cxn>
                <a:cxn ang="0">
                  <a:pos x="csX360" y="csY360"/>
                </a:cxn>
                <a:cxn ang="0">
                  <a:pos x="csX361" y="csY361"/>
                </a:cxn>
                <a:cxn ang="0">
                  <a:pos x="csX362" y="csY362"/>
                </a:cxn>
                <a:cxn ang="0">
                  <a:pos x="csX363" y="csY363"/>
                </a:cxn>
                <a:cxn ang="0">
                  <a:pos x="csX364" y="csY364"/>
                </a:cxn>
                <a:cxn ang="0">
                  <a:pos x="csX365" y="csY365"/>
                </a:cxn>
                <a:cxn ang="0">
                  <a:pos x="csX366" y="csY366"/>
                </a:cxn>
                <a:cxn ang="0">
                  <a:pos x="csX367" y="csY367"/>
                </a:cxn>
                <a:cxn ang="0">
                  <a:pos x="csX368" y="csY368"/>
                </a:cxn>
                <a:cxn ang="0">
                  <a:pos x="csX369" y="csY369"/>
                </a:cxn>
                <a:cxn ang="0">
                  <a:pos x="csX370" y="csY370"/>
                </a:cxn>
                <a:cxn ang="0">
                  <a:pos x="csX371" y="csY371"/>
                </a:cxn>
                <a:cxn ang="0">
                  <a:pos x="csX372" y="csY372"/>
                </a:cxn>
                <a:cxn ang="0">
                  <a:pos x="csX373" y="csY373"/>
                </a:cxn>
                <a:cxn ang="0">
                  <a:pos x="csX374" y="csY374"/>
                </a:cxn>
                <a:cxn ang="0">
                  <a:pos x="csX375" y="csY375"/>
                </a:cxn>
                <a:cxn ang="0">
                  <a:pos x="csX376" y="csY376"/>
                </a:cxn>
                <a:cxn ang="0">
                  <a:pos x="csX377" y="csY377"/>
                </a:cxn>
                <a:cxn ang="0">
                  <a:pos x="csX378" y="csY378"/>
                </a:cxn>
                <a:cxn ang="0">
                  <a:pos x="csX379" y="csY379"/>
                </a:cxn>
                <a:cxn ang="0">
                  <a:pos x="csX380" y="csY380"/>
                </a:cxn>
                <a:cxn ang="0">
                  <a:pos x="csX381" y="csY381"/>
                </a:cxn>
                <a:cxn ang="0">
                  <a:pos x="csX382" y="csY382"/>
                </a:cxn>
                <a:cxn ang="0">
                  <a:pos x="csX383" y="csY383"/>
                </a:cxn>
                <a:cxn ang="0">
                  <a:pos x="csX384" y="csY384"/>
                </a:cxn>
                <a:cxn ang="0">
                  <a:pos x="csX385" y="csY385"/>
                </a:cxn>
                <a:cxn ang="0">
                  <a:pos x="csX386" y="csY386"/>
                </a:cxn>
                <a:cxn ang="0">
                  <a:pos x="csX387" y="csY387"/>
                </a:cxn>
                <a:cxn ang="0">
                  <a:pos x="csX388" y="csY388"/>
                </a:cxn>
                <a:cxn ang="0">
                  <a:pos x="csX389" y="csY389"/>
                </a:cxn>
                <a:cxn ang="0">
                  <a:pos x="csX390" y="csY390"/>
                </a:cxn>
                <a:cxn ang="0">
                  <a:pos x="csX391" y="csY391"/>
                </a:cxn>
                <a:cxn ang="0">
                  <a:pos x="csX392" y="csY392"/>
                </a:cxn>
                <a:cxn ang="0">
                  <a:pos x="csX393" y="csY393"/>
                </a:cxn>
                <a:cxn ang="0">
                  <a:pos x="csX394" y="csY394"/>
                </a:cxn>
                <a:cxn ang="0">
                  <a:pos x="csX395" y="csY395"/>
                </a:cxn>
                <a:cxn ang="0">
                  <a:pos x="csX396" y="csY396"/>
                </a:cxn>
                <a:cxn ang="0">
                  <a:pos x="csX397" y="csY397"/>
                </a:cxn>
                <a:cxn ang="0">
                  <a:pos x="csX398" y="csY398"/>
                </a:cxn>
                <a:cxn ang="0">
                  <a:pos x="csX399" y="csY399"/>
                </a:cxn>
                <a:cxn ang="0">
                  <a:pos x="csX400" y="csY400"/>
                </a:cxn>
                <a:cxn ang="0">
                  <a:pos x="csX401" y="csY401"/>
                </a:cxn>
                <a:cxn ang="0">
                  <a:pos x="csX402" y="csY402"/>
                </a:cxn>
                <a:cxn ang="0">
                  <a:pos x="csX403" y="csY403"/>
                </a:cxn>
                <a:cxn ang="0">
                  <a:pos x="csX404" y="csY404"/>
                </a:cxn>
                <a:cxn ang="0">
                  <a:pos x="csX405" y="csY405"/>
                </a:cxn>
                <a:cxn ang="0">
                  <a:pos x="csX406" y="csY406"/>
                </a:cxn>
                <a:cxn ang="0">
                  <a:pos x="csX407" y="csY407"/>
                </a:cxn>
                <a:cxn ang="0">
                  <a:pos x="csX408" y="csY408"/>
                </a:cxn>
                <a:cxn ang="0">
                  <a:pos x="csX409" y="csY409"/>
                </a:cxn>
                <a:cxn ang="0">
                  <a:pos x="csX410" y="csY410"/>
                </a:cxn>
                <a:cxn ang="0">
                  <a:pos x="csX411" y="csY411"/>
                </a:cxn>
                <a:cxn ang="0">
                  <a:pos x="csX412" y="csY412"/>
                </a:cxn>
                <a:cxn ang="0">
                  <a:pos x="csX413" y="csY413"/>
                </a:cxn>
                <a:cxn ang="0">
                  <a:pos x="csX414" y="csY414"/>
                </a:cxn>
                <a:cxn ang="0">
                  <a:pos x="csX415" y="csY415"/>
                </a:cxn>
                <a:cxn ang="0">
                  <a:pos x="csX416" y="csY416"/>
                </a:cxn>
                <a:cxn ang="0">
                  <a:pos x="csX417" y="csY417"/>
                </a:cxn>
                <a:cxn ang="0">
                  <a:pos x="csX418" y="csY418"/>
                </a:cxn>
                <a:cxn ang="0">
                  <a:pos x="csX419" y="csY419"/>
                </a:cxn>
                <a:cxn ang="0">
                  <a:pos x="csX420" y="csY420"/>
                </a:cxn>
                <a:cxn ang="0">
                  <a:pos x="csX421" y="csY421"/>
                </a:cxn>
                <a:cxn ang="0">
                  <a:pos x="csX422" y="csY422"/>
                </a:cxn>
                <a:cxn ang="0">
                  <a:pos x="csX423" y="csY423"/>
                </a:cxn>
                <a:cxn ang="0">
                  <a:pos x="csX424" y="csY424"/>
                </a:cxn>
                <a:cxn ang="0">
                  <a:pos x="csX425" y="csY425"/>
                </a:cxn>
                <a:cxn ang="0">
                  <a:pos x="csX426" y="csY426"/>
                </a:cxn>
                <a:cxn ang="0">
                  <a:pos x="csX427" y="csY427"/>
                </a:cxn>
                <a:cxn ang="0">
                  <a:pos x="csX428" y="csY428"/>
                </a:cxn>
                <a:cxn ang="0">
                  <a:pos x="csX429" y="csY429"/>
                </a:cxn>
                <a:cxn ang="0">
                  <a:pos x="csX430" y="csY430"/>
                </a:cxn>
                <a:cxn ang="0">
                  <a:pos x="csX431" y="csY431"/>
                </a:cxn>
                <a:cxn ang="0">
                  <a:pos x="csX432" y="csY432"/>
                </a:cxn>
                <a:cxn ang="0">
                  <a:pos x="csX433" y="csY433"/>
                </a:cxn>
                <a:cxn ang="0">
                  <a:pos x="csX434" y="csY434"/>
                </a:cxn>
                <a:cxn ang="0">
                  <a:pos x="csX435" y="csY435"/>
                </a:cxn>
                <a:cxn ang="0">
                  <a:pos x="csX436" y="csY436"/>
                </a:cxn>
                <a:cxn ang="0">
                  <a:pos x="csX437" y="csY437"/>
                </a:cxn>
                <a:cxn ang="0">
                  <a:pos x="csX438" y="csY438"/>
                </a:cxn>
                <a:cxn ang="0">
                  <a:pos x="csX439" y="csY439"/>
                </a:cxn>
                <a:cxn ang="0">
                  <a:pos x="csX440" y="csY440"/>
                </a:cxn>
                <a:cxn ang="0">
                  <a:pos x="csX441" y="csY441"/>
                </a:cxn>
                <a:cxn ang="0">
                  <a:pos x="csX442" y="csY442"/>
                </a:cxn>
                <a:cxn ang="0">
                  <a:pos x="csX443" y="csY443"/>
                </a:cxn>
                <a:cxn ang="0">
                  <a:pos x="csX444" y="csY444"/>
                </a:cxn>
                <a:cxn ang="0">
                  <a:pos x="csX445" y="csY445"/>
                </a:cxn>
                <a:cxn ang="0">
                  <a:pos x="csX446" y="csY446"/>
                </a:cxn>
                <a:cxn ang="0">
                  <a:pos x="csX447" y="csY447"/>
                </a:cxn>
                <a:cxn ang="0">
                  <a:pos x="csX448" y="csY448"/>
                </a:cxn>
                <a:cxn ang="0">
                  <a:pos x="csX449" y="csY449"/>
                </a:cxn>
                <a:cxn ang="0">
                  <a:pos x="csX450" y="csY450"/>
                </a:cxn>
                <a:cxn ang="0">
                  <a:pos x="csX451" y="csY451"/>
                </a:cxn>
                <a:cxn ang="0">
                  <a:pos x="csX452" y="csY452"/>
                </a:cxn>
                <a:cxn ang="0">
                  <a:pos x="csX453" y="csY453"/>
                </a:cxn>
                <a:cxn ang="0">
                  <a:pos x="csX454" y="csY454"/>
                </a:cxn>
                <a:cxn ang="0">
                  <a:pos x="csX455" y="csY455"/>
                </a:cxn>
                <a:cxn ang="0">
                  <a:pos x="csX456" y="csY456"/>
                </a:cxn>
                <a:cxn ang="0">
                  <a:pos x="csX457" y="csY457"/>
                </a:cxn>
                <a:cxn ang="0">
                  <a:pos x="csX458" y="csY458"/>
                </a:cxn>
                <a:cxn ang="0">
                  <a:pos x="csX459" y="csY459"/>
                </a:cxn>
                <a:cxn ang="0">
                  <a:pos x="csX460" y="csY460"/>
                </a:cxn>
                <a:cxn ang="0">
                  <a:pos x="csX461" y="csY461"/>
                </a:cxn>
                <a:cxn ang="0">
                  <a:pos x="csX462" y="csY462"/>
                </a:cxn>
                <a:cxn ang="0">
                  <a:pos x="csX463" y="csY463"/>
                </a:cxn>
                <a:cxn ang="0">
                  <a:pos x="csX464" y="csY464"/>
                </a:cxn>
                <a:cxn ang="0">
                  <a:pos x="csX465" y="csY465"/>
                </a:cxn>
                <a:cxn ang="0">
                  <a:pos x="csX466" y="csY466"/>
                </a:cxn>
                <a:cxn ang="0">
                  <a:pos x="csX467" y="csY467"/>
                </a:cxn>
                <a:cxn ang="0">
                  <a:pos x="csX468" y="csY468"/>
                </a:cxn>
                <a:cxn ang="0">
                  <a:pos x="csX469" y="csY469"/>
                </a:cxn>
                <a:cxn ang="0">
                  <a:pos x="csX470" y="csY470"/>
                </a:cxn>
                <a:cxn ang="0">
                  <a:pos x="csX471" y="csY471"/>
                </a:cxn>
                <a:cxn ang="0">
                  <a:pos x="csX472" y="csY472"/>
                </a:cxn>
                <a:cxn ang="0">
                  <a:pos x="csX473" y="csY473"/>
                </a:cxn>
                <a:cxn ang="0">
                  <a:pos x="csX474" y="csY474"/>
                </a:cxn>
                <a:cxn ang="0">
                  <a:pos x="csX475" y="csY475"/>
                </a:cxn>
                <a:cxn ang="0">
                  <a:pos x="csX476" y="csY476"/>
                </a:cxn>
                <a:cxn ang="0">
                  <a:pos x="csX477" y="csY477"/>
                </a:cxn>
                <a:cxn ang="0">
                  <a:pos x="csX478" y="csY478"/>
                </a:cxn>
                <a:cxn ang="0">
                  <a:pos x="csX479" y="csY479"/>
                </a:cxn>
                <a:cxn ang="0">
                  <a:pos x="csX480" y="csY480"/>
                </a:cxn>
                <a:cxn ang="0">
                  <a:pos x="csX481" y="csY481"/>
                </a:cxn>
                <a:cxn ang="0">
                  <a:pos x="csX482" y="csY482"/>
                </a:cxn>
                <a:cxn ang="0">
                  <a:pos x="csX483" y="csY483"/>
                </a:cxn>
                <a:cxn ang="0">
                  <a:pos x="csX484" y="csY484"/>
                </a:cxn>
                <a:cxn ang="0">
                  <a:pos x="csX485" y="csY485"/>
                </a:cxn>
                <a:cxn ang="0">
                  <a:pos x="csX486" y="csY486"/>
                </a:cxn>
                <a:cxn ang="0">
                  <a:pos x="csX487" y="csY487"/>
                </a:cxn>
                <a:cxn ang="0">
                  <a:pos x="csX488" y="csY488"/>
                </a:cxn>
                <a:cxn ang="0">
                  <a:pos x="csX489" y="csY489"/>
                </a:cxn>
                <a:cxn ang="0">
                  <a:pos x="csX490" y="csY490"/>
                </a:cxn>
                <a:cxn ang="0">
                  <a:pos x="csX491" y="csY491"/>
                </a:cxn>
                <a:cxn ang="0">
                  <a:pos x="csX492" y="csY492"/>
                </a:cxn>
                <a:cxn ang="0">
                  <a:pos x="csX493" y="csY493"/>
                </a:cxn>
                <a:cxn ang="0">
                  <a:pos x="csX494" y="csY494"/>
                </a:cxn>
                <a:cxn ang="0">
                  <a:pos x="csX495" y="csY495"/>
                </a:cxn>
                <a:cxn ang="0">
                  <a:pos x="csX496" y="csY496"/>
                </a:cxn>
                <a:cxn ang="0">
                  <a:pos x="csX497" y="csY497"/>
                </a:cxn>
                <a:cxn ang="0">
                  <a:pos x="csX498" y="csY498"/>
                </a:cxn>
                <a:cxn ang="0">
                  <a:pos x="csX499" y="csY499"/>
                </a:cxn>
                <a:cxn ang="0">
                  <a:pos x="csX500" y="csY500"/>
                </a:cxn>
                <a:cxn ang="0">
                  <a:pos x="csX501" y="csY501"/>
                </a:cxn>
                <a:cxn ang="0">
                  <a:pos x="csX502" y="csY502"/>
                </a:cxn>
                <a:cxn ang="0">
                  <a:pos x="csX503" y="csY503"/>
                </a:cxn>
                <a:cxn ang="0">
                  <a:pos x="csX504" y="csY504"/>
                </a:cxn>
                <a:cxn ang="0">
                  <a:pos x="csX505" y="csY505"/>
                </a:cxn>
                <a:cxn ang="0">
                  <a:pos x="csX506" y="csY506"/>
                </a:cxn>
                <a:cxn ang="0">
                  <a:pos x="csX507" y="csY507"/>
                </a:cxn>
                <a:cxn ang="0">
                  <a:pos x="csX508" y="csY508"/>
                </a:cxn>
                <a:cxn ang="0">
                  <a:pos x="csX509" y="csY509"/>
                </a:cxn>
                <a:cxn ang="0">
                  <a:pos x="csX510" y="csY510"/>
                </a:cxn>
                <a:cxn ang="0">
                  <a:pos x="csX511" y="csY511"/>
                </a:cxn>
                <a:cxn ang="0">
                  <a:pos x="csX512" y="csY512"/>
                </a:cxn>
                <a:cxn ang="0">
                  <a:pos x="csX513" y="csY513"/>
                </a:cxn>
                <a:cxn ang="0">
                  <a:pos x="csX514" y="csY514"/>
                </a:cxn>
                <a:cxn ang="0">
                  <a:pos x="csX515" y="csY515"/>
                </a:cxn>
                <a:cxn ang="0">
                  <a:pos x="csX516" y="csY516"/>
                </a:cxn>
                <a:cxn ang="0">
                  <a:pos x="csX517" y="csY517"/>
                </a:cxn>
                <a:cxn ang="0">
                  <a:pos x="csX518" y="csY518"/>
                </a:cxn>
                <a:cxn ang="0">
                  <a:pos x="csX519" y="csY519"/>
                </a:cxn>
                <a:cxn ang="0">
                  <a:pos x="csX520" y="csY520"/>
                </a:cxn>
                <a:cxn ang="0">
                  <a:pos x="csX521" y="csY521"/>
                </a:cxn>
                <a:cxn ang="0">
                  <a:pos x="csX522" y="csY522"/>
                </a:cxn>
                <a:cxn ang="0">
                  <a:pos x="csX523" y="csY523"/>
                </a:cxn>
                <a:cxn ang="0">
                  <a:pos x="csX524" y="csY524"/>
                </a:cxn>
                <a:cxn ang="0">
                  <a:pos x="csX525" y="csY525"/>
                </a:cxn>
                <a:cxn ang="0">
                  <a:pos x="csX526" y="csY526"/>
                </a:cxn>
                <a:cxn ang="0">
                  <a:pos x="csX527" y="csY527"/>
                </a:cxn>
                <a:cxn ang="0">
                  <a:pos x="csX528" y="csY528"/>
                </a:cxn>
                <a:cxn ang="0">
                  <a:pos x="csX529" y="csY529"/>
                </a:cxn>
                <a:cxn ang="0">
                  <a:pos x="csX530" y="csY530"/>
                </a:cxn>
                <a:cxn ang="0">
                  <a:pos x="csX531" y="csY531"/>
                </a:cxn>
                <a:cxn ang="0">
                  <a:pos x="csX532" y="csY532"/>
                </a:cxn>
                <a:cxn ang="0">
                  <a:pos x="csX533" y="csY533"/>
                </a:cxn>
                <a:cxn ang="0">
                  <a:pos x="csX534" y="csY534"/>
                </a:cxn>
                <a:cxn ang="0">
                  <a:pos x="csX535" y="csY535"/>
                </a:cxn>
                <a:cxn ang="0">
                  <a:pos x="csX536" y="csY536"/>
                </a:cxn>
                <a:cxn ang="0">
                  <a:pos x="csX537" y="csY537"/>
                </a:cxn>
                <a:cxn ang="0">
                  <a:pos x="csX538" y="csY538"/>
                </a:cxn>
                <a:cxn ang="0">
                  <a:pos x="csX539" y="csY539"/>
                </a:cxn>
                <a:cxn ang="0">
                  <a:pos x="csX540" y="csY540"/>
                </a:cxn>
                <a:cxn ang="0">
                  <a:pos x="csX541" y="csY541"/>
                </a:cxn>
                <a:cxn ang="0">
                  <a:pos x="csX542" y="csY542"/>
                </a:cxn>
                <a:cxn ang="0">
                  <a:pos x="csX543" y="csY543"/>
                </a:cxn>
                <a:cxn ang="0">
                  <a:pos x="csX544" y="csY544"/>
                </a:cxn>
                <a:cxn ang="0">
                  <a:pos x="csX545" y="csY545"/>
                </a:cxn>
                <a:cxn ang="0">
                  <a:pos x="csX546" y="csY546"/>
                </a:cxn>
                <a:cxn ang="0">
                  <a:pos x="csX547" y="csY547"/>
                </a:cxn>
                <a:cxn ang="0">
                  <a:pos x="csX548" y="csY548"/>
                </a:cxn>
                <a:cxn ang="0">
                  <a:pos x="csX549" y="csY549"/>
                </a:cxn>
                <a:cxn ang="0">
                  <a:pos x="csX550" y="csY550"/>
                </a:cxn>
                <a:cxn ang="0">
                  <a:pos x="csX551" y="csY551"/>
                </a:cxn>
                <a:cxn ang="0">
                  <a:pos x="csX552" y="csY552"/>
                </a:cxn>
                <a:cxn ang="0">
                  <a:pos x="csX553" y="csY553"/>
                </a:cxn>
                <a:cxn ang="0">
                  <a:pos x="csX554" y="csY554"/>
                </a:cxn>
                <a:cxn ang="0">
                  <a:pos x="csX555" y="csY555"/>
                </a:cxn>
                <a:cxn ang="0">
                  <a:pos x="csX556" y="csY556"/>
                </a:cxn>
                <a:cxn ang="0">
                  <a:pos x="csX557" y="csY557"/>
                </a:cxn>
                <a:cxn ang="0">
                  <a:pos x="csX558" y="csY558"/>
                </a:cxn>
                <a:cxn ang="0">
                  <a:pos x="csX559" y="csY559"/>
                </a:cxn>
                <a:cxn ang="0">
                  <a:pos x="csX560" y="csY560"/>
                </a:cxn>
                <a:cxn ang="0">
                  <a:pos x="csX561" y="csY561"/>
                </a:cxn>
                <a:cxn ang="0">
                  <a:pos x="csX562" y="csY562"/>
                </a:cxn>
                <a:cxn ang="0">
                  <a:pos x="csX563" y="csY563"/>
                </a:cxn>
                <a:cxn ang="0">
                  <a:pos x="csX564" y="csY564"/>
                </a:cxn>
                <a:cxn ang="0">
                  <a:pos x="csX565" y="csY565"/>
                </a:cxn>
                <a:cxn ang="0">
                  <a:pos x="csX566" y="csY566"/>
                </a:cxn>
                <a:cxn ang="0">
                  <a:pos x="csX567" y="csY567"/>
                </a:cxn>
                <a:cxn ang="0">
                  <a:pos x="csX568" y="csY568"/>
                </a:cxn>
                <a:cxn ang="0">
                  <a:pos x="csX569" y="csY569"/>
                </a:cxn>
                <a:cxn ang="0">
                  <a:pos x="csX570" y="csY570"/>
                </a:cxn>
                <a:cxn ang="0">
                  <a:pos x="csX571" y="csY571"/>
                </a:cxn>
                <a:cxn ang="0">
                  <a:pos x="csX572" y="csY572"/>
                </a:cxn>
                <a:cxn ang="0">
                  <a:pos x="csX573" y="csY573"/>
                </a:cxn>
                <a:cxn ang="0">
                  <a:pos x="csX574" y="csY574"/>
                </a:cxn>
                <a:cxn ang="0">
                  <a:pos x="csX575" y="csY575"/>
                </a:cxn>
                <a:cxn ang="0">
                  <a:pos x="csX576" y="csY576"/>
                </a:cxn>
                <a:cxn ang="0">
                  <a:pos x="csX577" y="csY577"/>
                </a:cxn>
                <a:cxn ang="0">
                  <a:pos x="csX578" y="csY578"/>
                </a:cxn>
                <a:cxn ang="0">
                  <a:pos x="csX579" y="csY579"/>
                </a:cxn>
                <a:cxn ang="0">
                  <a:pos x="csX580" y="csY580"/>
                </a:cxn>
                <a:cxn ang="0">
                  <a:pos x="csX581" y="csY581"/>
                </a:cxn>
                <a:cxn ang="0">
                  <a:pos x="csX582" y="csY582"/>
                </a:cxn>
                <a:cxn ang="0">
                  <a:pos x="csX583" y="csY583"/>
                </a:cxn>
                <a:cxn ang="0">
                  <a:pos x="csX584" y="csY584"/>
                </a:cxn>
                <a:cxn ang="0">
                  <a:pos x="csX585" y="csY585"/>
                </a:cxn>
                <a:cxn ang="0">
                  <a:pos x="csX586" y="csY586"/>
                </a:cxn>
                <a:cxn ang="0">
                  <a:pos x="csX587" y="csY587"/>
                </a:cxn>
                <a:cxn ang="0">
                  <a:pos x="csX588" y="csY588"/>
                </a:cxn>
                <a:cxn ang="0">
                  <a:pos x="csX589" y="csY589"/>
                </a:cxn>
                <a:cxn ang="0">
                  <a:pos x="csX590" y="csY590"/>
                </a:cxn>
                <a:cxn ang="0">
                  <a:pos x="csX591" y="csY591"/>
                </a:cxn>
                <a:cxn ang="0">
                  <a:pos x="csX592" y="csY592"/>
                </a:cxn>
                <a:cxn ang="0">
                  <a:pos x="csX593" y="csY593"/>
                </a:cxn>
                <a:cxn ang="0">
                  <a:pos x="csX594" y="csY594"/>
                </a:cxn>
                <a:cxn ang="0">
                  <a:pos x="csX595" y="csY595"/>
                </a:cxn>
                <a:cxn ang="0">
                  <a:pos x="csX596" y="csY596"/>
                </a:cxn>
                <a:cxn ang="0">
                  <a:pos x="csX597" y="csY597"/>
                </a:cxn>
                <a:cxn ang="0">
                  <a:pos x="csX598" y="csY598"/>
                </a:cxn>
                <a:cxn ang="0">
                  <a:pos x="csX599" y="csY599"/>
                </a:cxn>
                <a:cxn ang="0">
                  <a:pos x="csX600" y="csY600"/>
                </a:cxn>
                <a:cxn ang="0">
                  <a:pos x="csX601" y="csY601"/>
                </a:cxn>
                <a:cxn ang="0">
                  <a:pos x="csX602" y="csY602"/>
                </a:cxn>
                <a:cxn ang="0">
                  <a:pos x="csX603" y="csY603"/>
                </a:cxn>
                <a:cxn ang="0">
                  <a:pos x="csX604" y="csY604"/>
                </a:cxn>
                <a:cxn ang="0">
                  <a:pos x="csX605" y="csY605"/>
                </a:cxn>
                <a:cxn ang="0">
                  <a:pos x="csX606" y="csY606"/>
                </a:cxn>
                <a:cxn ang="0">
                  <a:pos x="csX607" y="csY607"/>
                </a:cxn>
                <a:cxn ang="0">
                  <a:pos x="csX608" y="csY608"/>
                </a:cxn>
                <a:cxn ang="0">
                  <a:pos x="csX609" y="csY609"/>
                </a:cxn>
                <a:cxn ang="0">
                  <a:pos x="csX610" y="csY610"/>
                </a:cxn>
                <a:cxn ang="0">
                  <a:pos x="csX611" y="csY611"/>
                </a:cxn>
                <a:cxn ang="0">
                  <a:pos x="csX612" y="csY612"/>
                </a:cxn>
                <a:cxn ang="0">
                  <a:pos x="csX613" y="csY613"/>
                </a:cxn>
                <a:cxn ang="0">
                  <a:pos x="csX614" y="csY614"/>
                </a:cxn>
                <a:cxn ang="0">
                  <a:pos x="csX615" y="csY615"/>
                </a:cxn>
                <a:cxn ang="0">
                  <a:pos x="csX616" y="csY616"/>
                </a:cxn>
                <a:cxn ang="0">
                  <a:pos x="csX617" y="csY617"/>
                </a:cxn>
                <a:cxn ang="0">
                  <a:pos x="csX618" y="csY618"/>
                </a:cxn>
                <a:cxn ang="0">
                  <a:pos x="csX619" y="csY619"/>
                </a:cxn>
                <a:cxn ang="0">
                  <a:pos x="csX620" y="csY620"/>
                </a:cxn>
                <a:cxn ang="0">
                  <a:pos x="csX621" y="csY621"/>
                </a:cxn>
                <a:cxn ang="0">
                  <a:pos x="csX622" y="csY622"/>
                </a:cxn>
                <a:cxn ang="0">
                  <a:pos x="csX623" y="csY623"/>
                </a:cxn>
                <a:cxn ang="0">
                  <a:pos x="csX624" y="csY624"/>
                </a:cxn>
                <a:cxn ang="0">
                  <a:pos x="csX625" y="csY625"/>
                </a:cxn>
                <a:cxn ang="0">
                  <a:pos x="csX626" y="csY626"/>
                </a:cxn>
                <a:cxn ang="0">
                  <a:pos x="csX627" y="csY627"/>
                </a:cxn>
                <a:cxn ang="0">
                  <a:pos x="csX628" y="csY628"/>
                </a:cxn>
                <a:cxn ang="0">
                  <a:pos x="csX629" y="csY629"/>
                </a:cxn>
                <a:cxn ang="0">
                  <a:pos x="csX630" y="csY630"/>
                </a:cxn>
                <a:cxn ang="0">
                  <a:pos x="csX631" y="csY631"/>
                </a:cxn>
                <a:cxn ang="0">
                  <a:pos x="csX632" y="csY632"/>
                </a:cxn>
                <a:cxn ang="0">
                  <a:pos x="csX633" y="csY633"/>
                </a:cxn>
                <a:cxn ang="0">
                  <a:pos x="csX634" y="csY634"/>
                </a:cxn>
                <a:cxn ang="0">
                  <a:pos x="csX635" y="csY635"/>
                </a:cxn>
                <a:cxn ang="0">
                  <a:pos x="csX636" y="csY636"/>
                </a:cxn>
                <a:cxn ang="0">
                  <a:pos x="csX637" y="csY637"/>
                </a:cxn>
                <a:cxn ang="0">
                  <a:pos x="csX638" y="csY638"/>
                </a:cxn>
                <a:cxn ang="0">
                  <a:pos x="csX639" y="csY639"/>
                </a:cxn>
                <a:cxn ang="0">
                  <a:pos x="csX640" y="csY640"/>
                </a:cxn>
                <a:cxn ang="0">
                  <a:pos x="csX641" y="csY641"/>
                </a:cxn>
                <a:cxn ang="0">
                  <a:pos x="csX642" y="csY642"/>
                </a:cxn>
                <a:cxn ang="0">
                  <a:pos x="csX643" y="csY643"/>
                </a:cxn>
                <a:cxn ang="0">
                  <a:pos x="csX644" y="csY644"/>
                </a:cxn>
                <a:cxn ang="0">
                  <a:pos x="csX645" y="csY645"/>
                </a:cxn>
                <a:cxn ang="0">
                  <a:pos x="csX646" y="csY646"/>
                </a:cxn>
                <a:cxn ang="0">
                  <a:pos x="csX647" y="csY647"/>
                </a:cxn>
                <a:cxn ang="0">
                  <a:pos x="csX648" y="csY648"/>
                </a:cxn>
                <a:cxn ang="0">
                  <a:pos x="csX649" y="csY649"/>
                </a:cxn>
                <a:cxn ang="0">
                  <a:pos x="csX650" y="csY650"/>
                </a:cxn>
                <a:cxn ang="0">
                  <a:pos x="csX651" y="csY651"/>
                </a:cxn>
                <a:cxn ang="0">
                  <a:pos x="csX652" y="csY652"/>
                </a:cxn>
                <a:cxn ang="0">
                  <a:pos x="csX653" y="csY653"/>
                </a:cxn>
                <a:cxn ang="0">
                  <a:pos x="csX654" y="csY654"/>
                </a:cxn>
                <a:cxn ang="0">
                  <a:pos x="csX655" y="csY655"/>
                </a:cxn>
                <a:cxn ang="0">
                  <a:pos x="csX656" y="csY656"/>
                </a:cxn>
                <a:cxn ang="0">
                  <a:pos x="csX657" y="csY657"/>
                </a:cxn>
                <a:cxn ang="0">
                  <a:pos x="csX658" y="csY658"/>
                </a:cxn>
                <a:cxn ang="0">
                  <a:pos x="csX659" y="csY659"/>
                </a:cxn>
                <a:cxn ang="0">
                  <a:pos x="csX660" y="csY660"/>
                </a:cxn>
                <a:cxn ang="0">
                  <a:pos x="csX661" y="csY661"/>
                </a:cxn>
                <a:cxn ang="0">
                  <a:pos x="csX662" y="csY662"/>
                </a:cxn>
                <a:cxn ang="0">
                  <a:pos x="csX663" y="csY663"/>
                </a:cxn>
                <a:cxn ang="0">
                  <a:pos x="csX664" y="csY664"/>
                </a:cxn>
                <a:cxn ang="0">
                  <a:pos x="csX665" y="csY665"/>
                </a:cxn>
                <a:cxn ang="0">
                  <a:pos x="csX666" y="csY666"/>
                </a:cxn>
                <a:cxn ang="0">
                  <a:pos x="csX667" y="csY667"/>
                </a:cxn>
                <a:cxn ang="0">
                  <a:pos x="csX668" y="csY668"/>
                </a:cxn>
                <a:cxn ang="0">
                  <a:pos x="csX669" y="csY669"/>
                </a:cxn>
                <a:cxn ang="0">
                  <a:pos x="csX670" y="csY670"/>
                </a:cxn>
                <a:cxn ang="0">
                  <a:pos x="csX671" y="csY671"/>
                </a:cxn>
                <a:cxn ang="0">
                  <a:pos x="csX672" y="csY672"/>
                </a:cxn>
                <a:cxn ang="0">
                  <a:pos x="csX673" y="csY673"/>
                </a:cxn>
                <a:cxn ang="0">
                  <a:pos x="csX674" y="csY674"/>
                </a:cxn>
                <a:cxn ang="0">
                  <a:pos x="csX675" y="csY675"/>
                </a:cxn>
                <a:cxn ang="0">
                  <a:pos x="csX676" y="csY676"/>
                </a:cxn>
                <a:cxn ang="0">
                  <a:pos x="csX677" y="csY677"/>
                </a:cxn>
                <a:cxn ang="0">
                  <a:pos x="csX678" y="csY678"/>
                </a:cxn>
                <a:cxn ang="0">
                  <a:pos x="csX679" y="csY679"/>
                </a:cxn>
                <a:cxn ang="0">
                  <a:pos x="csX680" y="csY680"/>
                </a:cxn>
                <a:cxn ang="0">
                  <a:pos x="csX681" y="csY681"/>
                </a:cxn>
                <a:cxn ang="0">
                  <a:pos x="csX682" y="csY682"/>
                </a:cxn>
                <a:cxn ang="0">
                  <a:pos x="csX683" y="csY683"/>
                </a:cxn>
                <a:cxn ang="0">
                  <a:pos x="csX684" y="csY684"/>
                </a:cxn>
                <a:cxn ang="0">
                  <a:pos x="csX685" y="csY685"/>
                </a:cxn>
                <a:cxn ang="0">
                  <a:pos x="csX686" y="csY686"/>
                </a:cxn>
                <a:cxn ang="0">
                  <a:pos x="csX687" y="csY687"/>
                </a:cxn>
                <a:cxn ang="0">
                  <a:pos x="csX688" y="csY688"/>
                </a:cxn>
                <a:cxn ang="0">
                  <a:pos x="csX689" y="csY689"/>
                </a:cxn>
                <a:cxn ang="0">
                  <a:pos x="csX690" y="csY690"/>
                </a:cxn>
                <a:cxn ang="0">
                  <a:pos x="csX691" y="csY691"/>
                </a:cxn>
                <a:cxn ang="0">
                  <a:pos x="csX692" y="csY692"/>
                </a:cxn>
                <a:cxn ang="0">
                  <a:pos x="csX693" y="csY693"/>
                </a:cxn>
                <a:cxn ang="0">
                  <a:pos x="csX694" y="csY694"/>
                </a:cxn>
                <a:cxn ang="0">
                  <a:pos x="csX695" y="csY695"/>
                </a:cxn>
              </a:cxnLst>
              <a:rect l="l" t="t" r="r" b="b"/>
              <a:pathLst>
                <a:path w="636905" h="1698913">
                  <a:moveTo>
                    <a:pt x="508140" y="1619258"/>
                  </a:moveTo>
                  <a:lnTo>
                    <a:pt x="417724" y="1619258"/>
                  </a:lnTo>
                  <a:lnTo>
                    <a:pt x="417724" y="1692880"/>
                  </a:lnTo>
                  <a:lnTo>
                    <a:pt x="216593" y="1692880"/>
                  </a:lnTo>
                  <a:lnTo>
                    <a:pt x="216593" y="1619258"/>
                  </a:lnTo>
                  <a:lnTo>
                    <a:pt x="201115" y="1619258"/>
                  </a:lnTo>
                  <a:lnTo>
                    <a:pt x="126177" y="1619258"/>
                  </a:lnTo>
                  <a:lnTo>
                    <a:pt x="110705" y="1619258"/>
                  </a:lnTo>
                  <a:lnTo>
                    <a:pt x="-1294" y="1619258"/>
                  </a:lnTo>
                  <a:lnTo>
                    <a:pt x="-1294" y="1555687"/>
                  </a:lnTo>
                  <a:lnTo>
                    <a:pt x="-1294" y="-6033"/>
                  </a:lnTo>
                  <a:lnTo>
                    <a:pt x="110705" y="-6033"/>
                  </a:lnTo>
                  <a:lnTo>
                    <a:pt x="222699" y="-6033"/>
                  </a:lnTo>
                  <a:lnTo>
                    <a:pt x="411618" y="-6033"/>
                  </a:lnTo>
                  <a:lnTo>
                    <a:pt x="523612" y="-6033"/>
                  </a:lnTo>
                  <a:lnTo>
                    <a:pt x="635611" y="-6033"/>
                  </a:lnTo>
                  <a:lnTo>
                    <a:pt x="635611" y="1555687"/>
                  </a:lnTo>
                  <a:lnTo>
                    <a:pt x="635611" y="1619258"/>
                  </a:lnTo>
                  <a:lnTo>
                    <a:pt x="523612" y="1619258"/>
                  </a:lnTo>
                  <a:close/>
                  <a:moveTo>
                    <a:pt x="110705" y="1399435"/>
                  </a:moveTo>
                  <a:lnTo>
                    <a:pt x="110705" y="1359691"/>
                  </a:lnTo>
                  <a:lnTo>
                    <a:pt x="50816" y="1359691"/>
                  </a:lnTo>
                  <a:lnTo>
                    <a:pt x="50816" y="1399435"/>
                  </a:lnTo>
                  <a:close/>
                  <a:moveTo>
                    <a:pt x="50816" y="1422988"/>
                  </a:moveTo>
                  <a:lnTo>
                    <a:pt x="50816" y="1462737"/>
                  </a:lnTo>
                  <a:lnTo>
                    <a:pt x="110705" y="1462737"/>
                  </a:lnTo>
                  <a:lnTo>
                    <a:pt x="110705" y="1422988"/>
                  </a:lnTo>
                  <a:close/>
                  <a:moveTo>
                    <a:pt x="110705" y="1336132"/>
                  </a:moveTo>
                  <a:lnTo>
                    <a:pt x="110705" y="1296389"/>
                  </a:lnTo>
                  <a:lnTo>
                    <a:pt x="50816" y="1296389"/>
                  </a:lnTo>
                  <a:lnTo>
                    <a:pt x="50816" y="1336132"/>
                  </a:lnTo>
                  <a:close/>
                  <a:moveTo>
                    <a:pt x="110705" y="1272830"/>
                  </a:moveTo>
                  <a:lnTo>
                    <a:pt x="110705" y="1233087"/>
                  </a:lnTo>
                  <a:lnTo>
                    <a:pt x="50816" y="1233087"/>
                  </a:lnTo>
                  <a:lnTo>
                    <a:pt x="50816" y="1272830"/>
                  </a:lnTo>
                  <a:close/>
                  <a:moveTo>
                    <a:pt x="110705" y="1209533"/>
                  </a:moveTo>
                  <a:lnTo>
                    <a:pt x="110705" y="1169785"/>
                  </a:lnTo>
                  <a:lnTo>
                    <a:pt x="50816" y="1169785"/>
                  </a:lnTo>
                  <a:lnTo>
                    <a:pt x="50816" y="1209533"/>
                  </a:lnTo>
                  <a:close/>
                  <a:moveTo>
                    <a:pt x="110705" y="1146232"/>
                  </a:moveTo>
                  <a:lnTo>
                    <a:pt x="110705" y="1106488"/>
                  </a:lnTo>
                  <a:lnTo>
                    <a:pt x="50816" y="1106488"/>
                  </a:lnTo>
                  <a:lnTo>
                    <a:pt x="50816" y="1146232"/>
                  </a:lnTo>
                  <a:close/>
                  <a:moveTo>
                    <a:pt x="110705" y="1082929"/>
                  </a:moveTo>
                  <a:lnTo>
                    <a:pt x="110705" y="1043186"/>
                  </a:lnTo>
                  <a:lnTo>
                    <a:pt x="50816" y="1043186"/>
                  </a:lnTo>
                  <a:lnTo>
                    <a:pt x="50816" y="1082929"/>
                  </a:lnTo>
                  <a:close/>
                  <a:moveTo>
                    <a:pt x="110705" y="1019633"/>
                  </a:moveTo>
                  <a:lnTo>
                    <a:pt x="110705" y="979889"/>
                  </a:lnTo>
                  <a:lnTo>
                    <a:pt x="50816" y="979889"/>
                  </a:lnTo>
                  <a:lnTo>
                    <a:pt x="50816" y="1019633"/>
                  </a:lnTo>
                  <a:close/>
                  <a:moveTo>
                    <a:pt x="110705" y="956331"/>
                  </a:moveTo>
                  <a:lnTo>
                    <a:pt x="110705" y="916582"/>
                  </a:lnTo>
                  <a:lnTo>
                    <a:pt x="50816" y="916582"/>
                  </a:lnTo>
                  <a:lnTo>
                    <a:pt x="50816" y="956331"/>
                  </a:lnTo>
                  <a:close/>
                  <a:moveTo>
                    <a:pt x="110705" y="893029"/>
                  </a:moveTo>
                  <a:lnTo>
                    <a:pt x="110705" y="853285"/>
                  </a:lnTo>
                  <a:lnTo>
                    <a:pt x="50816" y="853285"/>
                  </a:lnTo>
                  <a:lnTo>
                    <a:pt x="50816" y="893029"/>
                  </a:lnTo>
                  <a:close/>
                  <a:moveTo>
                    <a:pt x="110705" y="829727"/>
                  </a:moveTo>
                  <a:lnTo>
                    <a:pt x="110705" y="789983"/>
                  </a:lnTo>
                  <a:lnTo>
                    <a:pt x="50816" y="789983"/>
                  </a:lnTo>
                  <a:lnTo>
                    <a:pt x="50816" y="829727"/>
                  </a:lnTo>
                  <a:close/>
                  <a:moveTo>
                    <a:pt x="110705" y="766430"/>
                  </a:moveTo>
                  <a:lnTo>
                    <a:pt x="110705" y="726681"/>
                  </a:lnTo>
                  <a:lnTo>
                    <a:pt x="50816" y="726681"/>
                  </a:lnTo>
                  <a:lnTo>
                    <a:pt x="50816" y="766430"/>
                  </a:lnTo>
                  <a:close/>
                  <a:moveTo>
                    <a:pt x="110705" y="703128"/>
                  </a:moveTo>
                  <a:lnTo>
                    <a:pt x="110705" y="663384"/>
                  </a:lnTo>
                  <a:lnTo>
                    <a:pt x="50816" y="663384"/>
                  </a:lnTo>
                  <a:lnTo>
                    <a:pt x="50816" y="703128"/>
                  </a:lnTo>
                  <a:close/>
                  <a:moveTo>
                    <a:pt x="110705" y="639831"/>
                  </a:moveTo>
                  <a:lnTo>
                    <a:pt x="110705" y="600082"/>
                  </a:lnTo>
                  <a:lnTo>
                    <a:pt x="50816" y="600082"/>
                  </a:lnTo>
                  <a:lnTo>
                    <a:pt x="50816" y="639831"/>
                  </a:lnTo>
                  <a:close/>
                  <a:moveTo>
                    <a:pt x="110705" y="576529"/>
                  </a:moveTo>
                  <a:lnTo>
                    <a:pt x="110705" y="536780"/>
                  </a:lnTo>
                  <a:lnTo>
                    <a:pt x="50816" y="536780"/>
                  </a:lnTo>
                  <a:lnTo>
                    <a:pt x="50816" y="576529"/>
                  </a:lnTo>
                  <a:close/>
                  <a:moveTo>
                    <a:pt x="110705" y="513222"/>
                  </a:moveTo>
                  <a:lnTo>
                    <a:pt x="110705" y="473484"/>
                  </a:lnTo>
                  <a:lnTo>
                    <a:pt x="50816" y="473484"/>
                  </a:lnTo>
                  <a:lnTo>
                    <a:pt x="50816" y="513222"/>
                  </a:lnTo>
                  <a:close/>
                  <a:moveTo>
                    <a:pt x="110705" y="449925"/>
                  </a:moveTo>
                  <a:lnTo>
                    <a:pt x="110705" y="410181"/>
                  </a:lnTo>
                  <a:lnTo>
                    <a:pt x="50816" y="410181"/>
                  </a:lnTo>
                  <a:lnTo>
                    <a:pt x="50816" y="449925"/>
                  </a:lnTo>
                  <a:close/>
                  <a:moveTo>
                    <a:pt x="110705" y="386623"/>
                  </a:moveTo>
                  <a:lnTo>
                    <a:pt x="110705" y="346879"/>
                  </a:lnTo>
                  <a:lnTo>
                    <a:pt x="50816" y="346879"/>
                  </a:lnTo>
                  <a:lnTo>
                    <a:pt x="50816" y="386623"/>
                  </a:lnTo>
                  <a:close/>
                  <a:moveTo>
                    <a:pt x="110705" y="323321"/>
                  </a:moveTo>
                  <a:lnTo>
                    <a:pt x="110705" y="283577"/>
                  </a:lnTo>
                  <a:lnTo>
                    <a:pt x="50816" y="283577"/>
                  </a:lnTo>
                  <a:lnTo>
                    <a:pt x="50816" y="323321"/>
                  </a:lnTo>
                  <a:close/>
                  <a:moveTo>
                    <a:pt x="110705" y="260024"/>
                  </a:moveTo>
                  <a:lnTo>
                    <a:pt x="110705" y="220275"/>
                  </a:lnTo>
                  <a:lnTo>
                    <a:pt x="50816" y="220275"/>
                  </a:lnTo>
                  <a:lnTo>
                    <a:pt x="50816" y="260024"/>
                  </a:lnTo>
                  <a:close/>
                  <a:moveTo>
                    <a:pt x="110705" y="196722"/>
                  </a:moveTo>
                  <a:lnTo>
                    <a:pt x="110705" y="156979"/>
                  </a:lnTo>
                  <a:lnTo>
                    <a:pt x="50816" y="156979"/>
                  </a:lnTo>
                  <a:lnTo>
                    <a:pt x="50816" y="196722"/>
                  </a:lnTo>
                  <a:close/>
                  <a:moveTo>
                    <a:pt x="110705" y="133420"/>
                  </a:moveTo>
                  <a:lnTo>
                    <a:pt x="110705" y="93677"/>
                  </a:lnTo>
                  <a:lnTo>
                    <a:pt x="50816" y="93677"/>
                  </a:lnTo>
                  <a:lnTo>
                    <a:pt x="50816" y="133420"/>
                  </a:lnTo>
                  <a:close/>
                  <a:moveTo>
                    <a:pt x="50816" y="30380"/>
                  </a:moveTo>
                  <a:lnTo>
                    <a:pt x="50816" y="70123"/>
                  </a:lnTo>
                  <a:lnTo>
                    <a:pt x="110705" y="70123"/>
                  </a:lnTo>
                  <a:lnTo>
                    <a:pt x="110705" y="30380"/>
                  </a:lnTo>
                  <a:close/>
                  <a:moveTo>
                    <a:pt x="222699" y="24010"/>
                  </a:moveTo>
                  <a:lnTo>
                    <a:pt x="126177" y="24010"/>
                  </a:lnTo>
                  <a:lnTo>
                    <a:pt x="126177" y="1555687"/>
                  </a:lnTo>
                  <a:lnTo>
                    <a:pt x="222699" y="1555687"/>
                  </a:lnTo>
                  <a:lnTo>
                    <a:pt x="222699" y="1539968"/>
                  </a:lnTo>
                  <a:lnTo>
                    <a:pt x="222699" y="1487409"/>
                  </a:lnTo>
                  <a:lnTo>
                    <a:pt x="222699" y="1471696"/>
                  </a:lnTo>
                  <a:lnTo>
                    <a:pt x="222699" y="1419130"/>
                  </a:lnTo>
                  <a:lnTo>
                    <a:pt x="222699" y="1403418"/>
                  </a:lnTo>
                  <a:lnTo>
                    <a:pt x="222699" y="1350852"/>
                  </a:lnTo>
                  <a:lnTo>
                    <a:pt x="222699" y="1335139"/>
                  </a:lnTo>
                  <a:lnTo>
                    <a:pt x="222699" y="1282574"/>
                  </a:lnTo>
                  <a:lnTo>
                    <a:pt x="222699" y="1266861"/>
                  </a:lnTo>
                  <a:lnTo>
                    <a:pt x="222699" y="1214301"/>
                  </a:lnTo>
                  <a:lnTo>
                    <a:pt x="222699" y="1198583"/>
                  </a:lnTo>
                  <a:lnTo>
                    <a:pt x="222699" y="1146023"/>
                  </a:lnTo>
                  <a:lnTo>
                    <a:pt x="222699" y="1130304"/>
                  </a:lnTo>
                  <a:lnTo>
                    <a:pt x="222699" y="1077328"/>
                  </a:lnTo>
                  <a:lnTo>
                    <a:pt x="222699" y="1061609"/>
                  </a:lnTo>
                  <a:lnTo>
                    <a:pt x="222699" y="1008627"/>
                  </a:lnTo>
                  <a:lnTo>
                    <a:pt x="222699" y="992914"/>
                  </a:lnTo>
                  <a:lnTo>
                    <a:pt x="222699" y="939932"/>
                  </a:lnTo>
                  <a:lnTo>
                    <a:pt x="222699" y="924219"/>
                  </a:lnTo>
                  <a:lnTo>
                    <a:pt x="222699" y="871231"/>
                  </a:lnTo>
                  <a:lnTo>
                    <a:pt x="222699" y="855524"/>
                  </a:lnTo>
                  <a:lnTo>
                    <a:pt x="222699" y="802536"/>
                  </a:lnTo>
                  <a:lnTo>
                    <a:pt x="222699" y="786823"/>
                  </a:lnTo>
                  <a:lnTo>
                    <a:pt x="222699" y="733841"/>
                  </a:lnTo>
                  <a:lnTo>
                    <a:pt x="222699" y="718128"/>
                  </a:lnTo>
                  <a:lnTo>
                    <a:pt x="222699" y="665146"/>
                  </a:lnTo>
                  <a:lnTo>
                    <a:pt x="222699" y="649427"/>
                  </a:lnTo>
                  <a:lnTo>
                    <a:pt x="222699" y="596445"/>
                  </a:lnTo>
                  <a:lnTo>
                    <a:pt x="222699" y="580732"/>
                  </a:lnTo>
                  <a:lnTo>
                    <a:pt x="222699" y="527750"/>
                  </a:lnTo>
                  <a:lnTo>
                    <a:pt x="222699" y="512037"/>
                  </a:lnTo>
                  <a:lnTo>
                    <a:pt x="222699" y="459054"/>
                  </a:lnTo>
                  <a:lnTo>
                    <a:pt x="222699" y="443341"/>
                  </a:lnTo>
                  <a:lnTo>
                    <a:pt x="222699" y="390354"/>
                  </a:lnTo>
                  <a:lnTo>
                    <a:pt x="222699" y="374641"/>
                  </a:lnTo>
                  <a:lnTo>
                    <a:pt x="222699" y="321659"/>
                  </a:lnTo>
                  <a:lnTo>
                    <a:pt x="222699" y="305940"/>
                  </a:lnTo>
                  <a:lnTo>
                    <a:pt x="222699" y="252958"/>
                  </a:lnTo>
                  <a:lnTo>
                    <a:pt x="222699" y="237245"/>
                  </a:lnTo>
                  <a:lnTo>
                    <a:pt x="222699" y="184263"/>
                  </a:lnTo>
                  <a:lnTo>
                    <a:pt x="222699" y="168549"/>
                  </a:lnTo>
                  <a:lnTo>
                    <a:pt x="222699" y="115567"/>
                  </a:lnTo>
                  <a:lnTo>
                    <a:pt x="222699" y="99854"/>
                  </a:lnTo>
                  <a:close/>
                  <a:moveTo>
                    <a:pt x="390166" y="1487409"/>
                  </a:moveTo>
                  <a:lnTo>
                    <a:pt x="375440" y="1487409"/>
                  </a:lnTo>
                  <a:lnTo>
                    <a:pt x="375440" y="1539968"/>
                  </a:lnTo>
                  <a:lnTo>
                    <a:pt x="390166" y="1539968"/>
                  </a:lnTo>
                  <a:close/>
                  <a:moveTo>
                    <a:pt x="390166" y="1419130"/>
                  </a:moveTo>
                  <a:lnTo>
                    <a:pt x="375440" y="1419130"/>
                  </a:lnTo>
                  <a:lnTo>
                    <a:pt x="375440" y="1471696"/>
                  </a:lnTo>
                  <a:lnTo>
                    <a:pt x="390166" y="1471696"/>
                  </a:lnTo>
                  <a:close/>
                  <a:moveTo>
                    <a:pt x="390166" y="1350852"/>
                  </a:moveTo>
                  <a:lnTo>
                    <a:pt x="375440" y="1350852"/>
                  </a:lnTo>
                  <a:lnTo>
                    <a:pt x="375440" y="1403418"/>
                  </a:lnTo>
                  <a:lnTo>
                    <a:pt x="390166" y="1403418"/>
                  </a:lnTo>
                  <a:close/>
                  <a:moveTo>
                    <a:pt x="390166" y="1282574"/>
                  </a:moveTo>
                  <a:lnTo>
                    <a:pt x="375440" y="1282574"/>
                  </a:lnTo>
                  <a:lnTo>
                    <a:pt x="375440" y="1335139"/>
                  </a:lnTo>
                  <a:lnTo>
                    <a:pt x="390166" y="1335139"/>
                  </a:lnTo>
                  <a:close/>
                  <a:moveTo>
                    <a:pt x="390166" y="1214301"/>
                  </a:moveTo>
                  <a:lnTo>
                    <a:pt x="375440" y="1214301"/>
                  </a:lnTo>
                  <a:lnTo>
                    <a:pt x="375440" y="1266861"/>
                  </a:lnTo>
                  <a:lnTo>
                    <a:pt x="390166" y="1266861"/>
                  </a:lnTo>
                  <a:close/>
                  <a:moveTo>
                    <a:pt x="390166" y="1146023"/>
                  </a:moveTo>
                  <a:lnTo>
                    <a:pt x="375440" y="1146023"/>
                  </a:lnTo>
                  <a:lnTo>
                    <a:pt x="375440" y="1198583"/>
                  </a:lnTo>
                  <a:lnTo>
                    <a:pt x="390166" y="1198583"/>
                  </a:lnTo>
                  <a:close/>
                  <a:moveTo>
                    <a:pt x="243673" y="168549"/>
                  </a:moveTo>
                  <a:lnTo>
                    <a:pt x="258410" y="168549"/>
                  </a:lnTo>
                  <a:lnTo>
                    <a:pt x="258410" y="115984"/>
                  </a:lnTo>
                  <a:lnTo>
                    <a:pt x="243673" y="115984"/>
                  </a:lnTo>
                  <a:close/>
                  <a:moveTo>
                    <a:pt x="342500" y="168549"/>
                  </a:moveTo>
                  <a:lnTo>
                    <a:pt x="357225" y="168549"/>
                  </a:lnTo>
                  <a:lnTo>
                    <a:pt x="357225" y="115984"/>
                  </a:lnTo>
                  <a:lnTo>
                    <a:pt x="342500" y="115984"/>
                  </a:lnTo>
                  <a:close/>
                  <a:moveTo>
                    <a:pt x="309560" y="168549"/>
                  </a:moveTo>
                  <a:lnTo>
                    <a:pt x="324285" y="168549"/>
                  </a:lnTo>
                  <a:lnTo>
                    <a:pt x="324285" y="115984"/>
                  </a:lnTo>
                  <a:lnTo>
                    <a:pt x="309560" y="115984"/>
                  </a:lnTo>
                  <a:close/>
                  <a:moveTo>
                    <a:pt x="276619" y="168549"/>
                  </a:moveTo>
                  <a:lnTo>
                    <a:pt x="291345" y="168549"/>
                  </a:lnTo>
                  <a:lnTo>
                    <a:pt x="291345" y="115984"/>
                  </a:lnTo>
                  <a:lnTo>
                    <a:pt x="276619" y="115984"/>
                  </a:lnTo>
                  <a:close/>
                  <a:moveTo>
                    <a:pt x="390166" y="115984"/>
                  </a:moveTo>
                  <a:lnTo>
                    <a:pt x="375440" y="115984"/>
                  </a:lnTo>
                  <a:lnTo>
                    <a:pt x="375440" y="168549"/>
                  </a:lnTo>
                  <a:lnTo>
                    <a:pt x="390166" y="168549"/>
                  </a:lnTo>
                  <a:close/>
                  <a:moveTo>
                    <a:pt x="243673" y="237245"/>
                  </a:moveTo>
                  <a:lnTo>
                    <a:pt x="258410" y="237245"/>
                  </a:lnTo>
                  <a:lnTo>
                    <a:pt x="258410" y="184685"/>
                  </a:lnTo>
                  <a:lnTo>
                    <a:pt x="243673" y="184685"/>
                  </a:lnTo>
                  <a:close/>
                  <a:moveTo>
                    <a:pt x="342500" y="237245"/>
                  </a:moveTo>
                  <a:lnTo>
                    <a:pt x="357225" y="237245"/>
                  </a:lnTo>
                  <a:lnTo>
                    <a:pt x="357225" y="184685"/>
                  </a:lnTo>
                  <a:lnTo>
                    <a:pt x="342500" y="184685"/>
                  </a:lnTo>
                  <a:close/>
                  <a:moveTo>
                    <a:pt x="309560" y="237245"/>
                  </a:moveTo>
                  <a:lnTo>
                    <a:pt x="324285" y="237245"/>
                  </a:lnTo>
                  <a:lnTo>
                    <a:pt x="324285" y="184685"/>
                  </a:lnTo>
                  <a:lnTo>
                    <a:pt x="309560" y="184685"/>
                  </a:lnTo>
                  <a:close/>
                  <a:moveTo>
                    <a:pt x="276619" y="237245"/>
                  </a:moveTo>
                  <a:lnTo>
                    <a:pt x="291345" y="237245"/>
                  </a:lnTo>
                  <a:lnTo>
                    <a:pt x="291345" y="184685"/>
                  </a:lnTo>
                  <a:lnTo>
                    <a:pt x="276619" y="184685"/>
                  </a:lnTo>
                  <a:close/>
                  <a:moveTo>
                    <a:pt x="390166" y="184685"/>
                  </a:moveTo>
                  <a:lnTo>
                    <a:pt x="375440" y="184685"/>
                  </a:lnTo>
                  <a:lnTo>
                    <a:pt x="375440" y="237245"/>
                  </a:lnTo>
                  <a:lnTo>
                    <a:pt x="390166" y="237245"/>
                  </a:lnTo>
                  <a:close/>
                  <a:moveTo>
                    <a:pt x="243673" y="305940"/>
                  </a:moveTo>
                  <a:lnTo>
                    <a:pt x="258410" y="305940"/>
                  </a:lnTo>
                  <a:lnTo>
                    <a:pt x="258410" y="253380"/>
                  </a:lnTo>
                  <a:lnTo>
                    <a:pt x="243673" y="253380"/>
                  </a:lnTo>
                  <a:close/>
                  <a:moveTo>
                    <a:pt x="342500" y="305940"/>
                  </a:moveTo>
                  <a:lnTo>
                    <a:pt x="357225" y="305940"/>
                  </a:lnTo>
                  <a:lnTo>
                    <a:pt x="357225" y="253380"/>
                  </a:lnTo>
                  <a:lnTo>
                    <a:pt x="342500" y="253380"/>
                  </a:lnTo>
                  <a:close/>
                  <a:moveTo>
                    <a:pt x="309560" y="305940"/>
                  </a:moveTo>
                  <a:lnTo>
                    <a:pt x="324285" y="305940"/>
                  </a:lnTo>
                  <a:lnTo>
                    <a:pt x="324285" y="253380"/>
                  </a:lnTo>
                  <a:lnTo>
                    <a:pt x="309560" y="253380"/>
                  </a:lnTo>
                  <a:close/>
                  <a:moveTo>
                    <a:pt x="276619" y="305940"/>
                  </a:moveTo>
                  <a:lnTo>
                    <a:pt x="291345" y="305940"/>
                  </a:lnTo>
                  <a:lnTo>
                    <a:pt x="291345" y="253380"/>
                  </a:lnTo>
                  <a:lnTo>
                    <a:pt x="276619" y="253380"/>
                  </a:lnTo>
                  <a:close/>
                  <a:moveTo>
                    <a:pt x="390166" y="253380"/>
                  </a:moveTo>
                  <a:lnTo>
                    <a:pt x="375440" y="253380"/>
                  </a:lnTo>
                  <a:lnTo>
                    <a:pt x="375440" y="305940"/>
                  </a:lnTo>
                  <a:lnTo>
                    <a:pt x="390166" y="305940"/>
                  </a:lnTo>
                  <a:close/>
                  <a:moveTo>
                    <a:pt x="243673" y="374641"/>
                  </a:moveTo>
                  <a:lnTo>
                    <a:pt x="258410" y="374641"/>
                  </a:lnTo>
                  <a:lnTo>
                    <a:pt x="258410" y="322075"/>
                  </a:lnTo>
                  <a:lnTo>
                    <a:pt x="243673" y="322075"/>
                  </a:lnTo>
                  <a:close/>
                  <a:moveTo>
                    <a:pt x="342500" y="374641"/>
                  </a:moveTo>
                  <a:lnTo>
                    <a:pt x="357225" y="374641"/>
                  </a:lnTo>
                  <a:lnTo>
                    <a:pt x="357225" y="322075"/>
                  </a:lnTo>
                  <a:lnTo>
                    <a:pt x="342500" y="322075"/>
                  </a:lnTo>
                  <a:close/>
                  <a:moveTo>
                    <a:pt x="309560" y="374641"/>
                  </a:moveTo>
                  <a:lnTo>
                    <a:pt x="324285" y="374641"/>
                  </a:lnTo>
                  <a:lnTo>
                    <a:pt x="324285" y="322075"/>
                  </a:lnTo>
                  <a:lnTo>
                    <a:pt x="309560" y="322075"/>
                  </a:lnTo>
                  <a:close/>
                  <a:moveTo>
                    <a:pt x="276619" y="374641"/>
                  </a:moveTo>
                  <a:lnTo>
                    <a:pt x="291345" y="374641"/>
                  </a:lnTo>
                  <a:lnTo>
                    <a:pt x="291345" y="322075"/>
                  </a:lnTo>
                  <a:lnTo>
                    <a:pt x="276619" y="322075"/>
                  </a:lnTo>
                  <a:close/>
                  <a:moveTo>
                    <a:pt x="390166" y="322075"/>
                  </a:moveTo>
                  <a:lnTo>
                    <a:pt x="375440" y="322075"/>
                  </a:lnTo>
                  <a:lnTo>
                    <a:pt x="375440" y="374641"/>
                  </a:lnTo>
                  <a:lnTo>
                    <a:pt x="390166" y="374641"/>
                  </a:lnTo>
                  <a:close/>
                  <a:moveTo>
                    <a:pt x="243673" y="443341"/>
                  </a:moveTo>
                  <a:lnTo>
                    <a:pt x="258410" y="443341"/>
                  </a:lnTo>
                  <a:lnTo>
                    <a:pt x="258410" y="390776"/>
                  </a:lnTo>
                  <a:lnTo>
                    <a:pt x="243673" y="390776"/>
                  </a:lnTo>
                  <a:close/>
                  <a:moveTo>
                    <a:pt x="342500" y="443341"/>
                  </a:moveTo>
                  <a:lnTo>
                    <a:pt x="357225" y="443341"/>
                  </a:lnTo>
                  <a:lnTo>
                    <a:pt x="357225" y="390776"/>
                  </a:lnTo>
                  <a:lnTo>
                    <a:pt x="342500" y="390776"/>
                  </a:lnTo>
                  <a:close/>
                  <a:moveTo>
                    <a:pt x="309560" y="443341"/>
                  </a:moveTo>
                  <a:lnTo>
                    <a:pt x="324285" y="443341"/>
                  </a:lnTo>
                  <a:lnTo>
                    <a:pt x="324285" y="390776"/>
                  </a:lnTo>
                  <a:lnTo>
                    <a:pt x="309560" y="390776"/>
                  </a:lnTo>
                  <a:close/>
                  <a:moveTo>
                    <a:pt x="276619" y="443341"/>
                  </a:moveTo>
                  <a:lnTo>
                    <a:pt x="291345" y="443341"/>
                  </a:lnTo>
                  <a:lnTo>
                    <a:pt x="291345" y="390776"/>
                  </a:lnTo>
                  <a:lnTo>
                    <a:pt x="276619" y="390776"/>
                  </a:lnTo>
                  <a:close/>
                  <a:moveTo>
                    <a:pt x="390166" y="390776"/>
                  </a:moveTo>
                  <a:lnTo>
                    <a:pt x="375440" y="390776"/>
                  </a:lnTo>
                  <a:lnTo>
                    <a:pt x="375440" y="443341"/>
                  </a:lnTo>
                  <a:lnTo>
                    <a:pt x="390166" y="443341"/>
                  </a:lnTo>
                  <a:close/>
                  <a:moveTo>
                    <a:pt x="243673" y="512037"/>
                  </a:moveTo>
                  <a:lnTo>
                    <a:pt x="258410" y="512037"/>
                  </a:lnTo>
                  <a:lnTo>
                    <a:pt x="258410" y="459471"/>
                  </a:lnTo>
                  <a:lnTo>
                    <a:pt x="243673" y="459471"/>
                  </a:lnTo>
                  <a:close/>
                  <a:moveTo>
                    <a:pt x="342500" y="512037"/>
                  </a:moveTo>
                  <a:lnTo>
                    <a:pt x="357225" y="512037"/>
                  </a:lnTo>
                  <a:lnTo>
                    <a:pt x="357225" y="459471"/>
                  </a:lnTo>
                  <a:lnTo>
                    <a:pt x="342500" y="459471"/>
                  </a:lnTo>
                  <a:close/>
                  <a:moveTo>
                    <a:pt x="309560" y="512037"/>
                  </a:moveTo>
                  <a:lnTo>
                    <a:pt x="324285" y="512037"/>
                  </a:lnTo>
                  <a:lnTo>
                    <a:pt x="324285" y="459471"/>
                  </a:lnTo>
                  <a:lnTo>
                    <a:pt x="309560" y="459471"/>
                  </a:lnTo>
                  <a:close/>
                  <a:moveTo>
                    <a:pt x="276619" y="512037"/>
                  </a:moveTo>
                  <a:lnTo>
                    <a:pt x="291345" y="512037"/>
                  </a:lnTo>
                  <a:lnTo>
                    <a:pt x="291345" y="459471"/>
                  </a:lnTo>
                  <a:lnTo>
                    <a:pt x="276619" y="459471"/>
                  </a:lnTo>
                  <a:close/>
                  <a:moveTo>
                    <a:pt x="390166" y="459471"/>
                  </a:moveTo>
                  <a:lnTo>
                    <a:pt x="375440" y="459471"/>
                  </a:lnTo>
                  <a:lnTo>
                    <a:pt x="375440" y="512037"/>
                  </a:lnTo>
                  <a:lnTo>
                    <a:pt x="390166" y="512037"/>
                  </a:lnTo>
                  <a:close/>
                  <a:moveTo>
                    <a:pt x="243673" y="580732"/>
                  </a:moveTo>
                  <a:lnTo>
                    <a:pt x="258410" y="580732"/>
                  </a:lnTo>
                  <a:lnTo>
                    <a:pt x="258410" y="528167"/>
                  </a:lnTo>
                  <a:lnTo>
                    <a:pt x="243673" y="528167"/>
                  </a:lnTo>
                  <a:close/>
                  <a:moveTo>
                    <a:pt x="342500" y="580732"/>
                  </a:moveTo>
                  <a:lnTo>
                    <a:pt x="357225" y="580732"/>
                  </a:lnTo>
                  <a:lnTo>
                    <a:pt x="357225" y="528167"/>
                  </a:lnTo>
                  <a:lnTo>
                    <a:pt x="342500" y="528167"/>
                  </a:lnTo>
                  <a:close/>
                  <a:moveTo>
                    <a:pt x="309560" y="580732"/>
                  </a:moveTo>
                  <a:lnTo>
                    <a:pt x="324285" y="580732"/>
                  </a:lnTo>
                  <a:lnTo>
                    <a:pt x="324285" y="528167"/>
                  </a:lnTo>
                  <a:lnTo>
                    <a:pt x="309560" y="528167"/>
                  </a:lnTo>
                  <a:close/>
                  <a:moveTo>
                    <a:pt x="276619" y="580732"/>
                  </a:moveTo>
                  <a:lnTo>
                    <a:pt x="291345" y="580732"/>
                  </a:lnTo>
                  <a:lnTo>
                    <a:pt x="291345" y="528167"/>
                  </a:lnTo>
                  <a:lnTo>
                    <a:pt x="276619" y="528167"/>
                  </a:lnTo>
                  <a:close/>
                  <a:moveTo>
                    <a:pt x="390166" y="528167"/>
                  </a:moveTo>
                  <a:lnTo>
                    <a:pt x="375440" y="528167"/>
                  </a:lnTo>
                  <a:lnTo>
                    <a:pt x="375440" y="580732"/>
                  </a:lnTo>
                  <a:lnTo>
                    <a:pt x="390166" y="580732"/>
                  </a:lnTo>
                  <a:close/>
                  <a:moveTo>
                    <a:pt x="243673" y="649427"/>
                  </a:moveTo>
                  <a:lnTo>
                    <a:pt x="258410" y="649427"/>
                  </a:lnTo>
                  <a:lnTo>
                    <a:pt x="258410" y="596867"/>
                  </a:lnTo>
                  <a:lnTo>
                    <a:pt x="243673" y="596867"/>
                  </a:lnTo>
                  <a:close/>
                  <a:moveTo>
                    <a:pt x="342500" y="649427"/>
                  </a:moveTo>
                  <a:lnTo>
                    <a:pt x="357225" y="649427"/>
                  </a:lnTo>
                  <a:lnTo>
                    <a:pt x="357225" y="596867"/>
                  </a:lnTo>
                  <a:lnTo>
                    <a:pt x="342500" y="596867"/>
                  </a:lnTo>
                  <a:close/>
                  <a:moveTo>
                    <a:pt x="309560" y="649427"/>
                  </a:moveTo>
                  <a:lnTo>
                    <a:pt x="324285" y="649427"/>
                  </a:lnTo>
                  <a:lnTo>
                    <a:pt x="324285" y="596867"/>
                  </a:lnTo>
                  <a:lnTo>
                    <a:pt x="309560" y="596867"/>
                  </a:lnTo>
                  <a:close/>
                  <a:moveTo>
                    <a:pt x="276619" y="649427"/>
                  </a:moveTo>
                  <a:lnTo>
                    <a:pt x="291345" y="649427"/>
                  </a:lnTo>
                  <a:lnTo>
                    <a:pt x="291345" y="596867"/>
                  </a:lnTo>
                  <a:lnTo>
                    <a:pt x="276619" y="596867"/>
                  </a:lnTo>
                  <a:close/>
                  <a:moveTo>
                    <a:pt x="390166" y="596867"/>
                  </a:moveTo>
                  <a:lnTo>
                    <a:pt x="375440" y="596867"/>
                  </a:lnTo>
                  <a:lnTo>
                    <a:pt x="375440" y="649427"/>
                  </a:lnTo>
                  <a:lnTo>
                    <a:pt x="390166" y="649427"/>
                  </a:lnTo>
                  <a:close/>
                  <a:moveTo>
                    <a:pt x="243673" y="718128"/>
                  </a:moveTo>
                  <a:lnTo>
                    <a:pt x="258410" y="718128"/>
                  </a:lnTo>
                  <a:lnTo>
                    <a:pt x="258410" y="665562"/>
                  </a:lnTo>
                  <a:lnTo>
                    <a:pt x="243673" y="665562"/>
                  </a:lnTo>
                  <a:close/>
                  <a:moveTo>
                    <a:pt x="342500" y="718128"/>
                  </a:moveTo>
                  <a:lnTo>
                    <a:pt x="357225" y="718128"/>
                  </a:lnTo>
                  <a:lnTo>
                    <a:pt x="357225" y="665562"/>
                  </a:lnTo>
                  <a:lnTo>
                    <a:pt x="342500" y="665562"/>
                  </a:lnTo>
                  <a:close/>
                  <a:moveTo>
                    <a:pt x="309560" y="718128"/>
                  </a:moveTo>
                  <a:lnTo>
                    <a:pt x="324285" y="718128"/>
                  </a:lnTo>
                  <a:lnTo>
                    <a:pt x="324285" y="665562"/>
                  </a:lnTo>
                  <a:lnTo>
                    <a:pt x="309560" y="665562"/>
                  </a:lnTo>
                  <a:close/>
                  <a:moveTo>
                    <a:pt x="276619" y="718128"/>
                  </a:moveTo>
                  <a:lnTo>
                    <a:pt x="291345" y="718128"/>
                  </a:lnTo>
                  <a:lnTo>
                    <a:pt x="291345" y="665562"/>
                  </a:lnTo>
                  <a:lnTo>
                    <a:pt x="276619" y="665562"/>
                  </a:lnTo>
                  <a:close/>
                  <a:moveTo>
                    <a:pt x="390166" y="665562"/>
                  </a:moveTo>
                  <a:lnTo>
                    <a:pt x="375440" y="665562"/>
                  </a:lnTo>
                  <a:lnTo>
                    <a:pt x="375440" y="718128"/>
                  </a:lnTo>
                  <a:lnTo>
                    <a:pt x="390166" y="718128"/>
                  </a:lnTo>
                  <a:close/>
                  <a:moveTo>
                    <a:pt x="243673" y="786823"/>
                  </a:moveTo>
                  <a:lnTo>
                    <a:pt x="258410" y="786823"/>
                  </a:lnTo>
                  <a:lnTo>
                    <a:pt x="258410" y="734258"/>
                  </a:lnTo>
                  <a:lnTo>
                    <a:pt x="243673" y="734258"/>
                  </a:lnTo>
                  <a:close/>
                  <a:moveTo>
                    <a:pt x="342500" y="786823"/>
                  </a:moveTo>
                  <a:lnTo>
                    <a:pt x="357225" y="786823"/>
                  </a:lnTo>
                  <a:lnTo>
                    <a:pt x="357225" y="734258"/>
                  </a:lnTo>
                  <a:lnTo>
                    <a:pt x="342500" y="734258"/>
                  </a:lnTo>
                  <a:close/>
                  <a:moveTo>
                    <a:pt x="309560" y="786823"/>
                  </a:moveTo>
                  <a:lnTo>
                    <a:pt x="324285" y="786823"/>
                  </a:lnTo>
                  <a:lnTo>
                    <a:pt x="324285" y="734258"/>
                  </a:lnTo>
                  <a:lnTo>
                    <a:pt x="309560" y="734258"/>
                  </a:lnTo>
                  <a:close/>
                  <a:moveTo>
                    <a:pt x="276619" y="786823"/>
                  </a:moveTo>
                  <a:lnTo>
                    <a:pt x="291345" y="786823"/>
                  </a:lnTo>
                  <a:lnTo>
                    <a:pt x="291345" y="734258"/>
                  </a:lnTo>
                  <a:lnTo>
                    <a:pt x="276619" y="734258"/>
                  </a:lnTo>
                  <a:close/>
                  <a:moveTo>
                    <a:pt x="390166" y="734258"/>
                  </a:moveTo>
                  <a:lnTo>
                    <a:pt x="375440" y="734258"/>
                  </a:lnTo>
                  <a:lnTo>
                    <a:pt x="375440" y="786823"/>
                  </a:lnTo>
                  <a:lnTo>
                    <a:pt x="390166" y="786823"/>
                  </a:lnTo>
                  <a:close/>
                  <a:moveTo>
                    <a:pt x="243673" y="855524"/>
                  </a:moveTo>
                  <a:lnTo>
                    <a:pt x="258410" y="855524"/>
                  </a:lnTo>
                  <a:lnTo>
                    <a:pt x="258410" y="802958"/>
                  </a:lnTo>
                  <a:lnTo>
                    <a:pt x="243673" y="802958"/>
                  </a:lnTo>
                  <a:close/>
                  <a:moveTo>
                    <a:pt x="342500" y="855524"/>
                  </a:moveTo>
                  <a:lnTo>
                    <a:pt x="357225" y="855524"/>
                  </a:lnTo>
                  <a:lnTo>
                    <a:pt x="357225" y="802958"/>
                  </a:lnTo>
                  <a:lnTo>
                    <a:pt x="342500" y="802958"/>
                  </a:lnTo>
                  <a:close/>
                  <a:moveTo>
                    <a:pt x="309560" y="855524"/>
                  </a:moveTo>
                  <a:lnTo>
                    <a:pt x="324285" y="855524"/>
                  </a:lnTo>
                  <a:lnTo>
                    <a:pt x="324285" y="802958"/>
                  </a:lnTo>
                  <a:lnTo>
                    <a:pt x="309560" y="802958"/>
                  </a:lnTo>
                  <a:close/>
                  <a:moveTo>
                    <a:pt x="276619" y="855524"/>
                  </a:moveTo>
                  <a:lnTo>
                    <a:pt x="291345" y="855524"/>
                  </a:lnTo>
                  <a:lnTo>
                    <a:pt x="291345" y="802958"/>
                  </a:lnTo>
                  <a:lnTo>
                    <a:pt x="276619" y="802958"/>
                  </a:lnTo>
                  <a:close/>
                  <a:moveTo>
                    <a:pt x="390166" y="802958"/>
                  </a:moveTo>
                  <a:lnTo>
                    <a:pt x="375440" y="802958"/>
                  </a:lnTo>
                  <a:lnTo>
                    <a:pt x="375440" y="855524"/>
                  </a:lnTo>
                  <a:lnTo>
                    <a:pt x="390166" y="855524"/>
                  </a:lnTo>
                  <a:close/>
                  <a:moveTo>
                    <a:pt x="243673" y="924219"/>
                  </a:moveTo>
                  <a:lnTo>
                    <a:pt x="258410" y="924219"/>
                  </a:lnTo>
                  <a:lnTo>
                    <a:pt x="258410" y="871654"/>
                  </a:lnTo>
                  <a:lnTo>
                    <a:pt x="243673" y="871654"/>
                  </a:lnTo>
                  <a:close/>
                  <a:moveTo>
                    <a:pt x="342500" y="924219"/>
                  </a:moveTo>
                  <a:lnTo>
                    <a:pt x="357225" y="924219"/>
                  </a:lnTo>
                  <a:lnTo>
                    <a:pt x="357225" y="871654"/>
                  </a:lnTo>
                  <a:lnTo>
                    <a:pt x="342500" y="871654"/>
                  </a:lnTo>
                  <a:close/>
                  <a:moveTo>
                    <a:pt x="309560" y="924219"/>
                  </a:moveTo>
                  <a:lnTo>
                    <a:pt x="324285" y="924219"/>
                  </a:lnTo>
                  <a:lnTo>
                    <a:pt x="324285" y="871654"/>
                  </a:lnTo>
                  <a:lnTo>
                    <a:pt x="309560" y="871654"/>
                  </a:lnTo>
                  <a:close/>
                  <a:moveTo>
                    <a:pt x="276619" y="924219"/>
                  </a:moveTo>
                  <a:lnTo>
                    <a:pt x="291345" y="924219"/>
                  </a:lnTo>
                  <a:lnTo>
                    <a:pt x="291345" y="871654"/>
                  </a:lnTo>
                  <a:lnTo>
                    <a:pt x="276619" y="871654"/>
                  </a:lnTo>
                  <a:close/>
                  <a:moveTo>
                    <a:pt x="390166" y="871654"/>
                  </a:moveTo>
                  <a:lnTo>
                    <a:pt x="375440" y="871654"/>
                  </a:lnTo>
                  <a:lnTo>
                    <a:pt x="375440" y="924219"/>
                  </a:lnTo>
                  <a:lnTo>
                    <a:pt x="390166" y="924219"/>
                  </a:lnTo>
                  <a:close/>
                  <a:moveTo>
                    <a:pt x="243673" y="992914"/>
                  </a:moveTo>
                  <a:lnTo>
                    <a:pt x="258410" y="992914"/>
                  </a:lnTo>
                  <a:lnTo>
                    <a:pt x="258410" y="940349"/>
                  </a:lnTo>
                  <a:lnTo>
                    <a:pt x="243673" y="940349"/>
                  </a:lnTo>
                  <a:close/>
                  <a:moveTo>
                    <a:pt x="342500" y="992914"/>
                  </a:moveTo>
                  <a:lnTo>
                    <a:pt x="357225" y="992914"/>
                  </a:lnTo>
                  <a:lnTo>
                    <a:pt x="357225" y="940349"/>
                  </a:lnTo>
                  <a:lnTo>
                    <a:pt x="342500" y="940349"/>
                  </a:lnTo>
                  <a:close/>
                  <a:moveTo>
                    <a:pt x="309560" y="992914"/>
                  </a:moveTo>
                  <a:lnTo>
                    <a:pt x="324285" y="992914"/>
                  </a:lnTo>
                  <a:lnTo>
                    <a:pt x="324285" y="940349"/>
                  </a:lnTo>
                  <a:lnTo>
                    <a:pt x="309560" y="940349"/>
                  </a:lnTo>
                  <a:close/>
                  <a:moveTo>
                    <a:pt x="276619" y="992914"/>
                  </a:moveTo>
                  <a:lnTo>
                    <a:pt x="291345" y="992914"/>
                  </a:lnTo>
                  <a:lnTo>
                    <a:pt x="291345" y="940349"/>
                  </a:lnTo>
                  <a:lnTo>
                    <a:pt x="276619" y="940349"/>
                  </a:lnTo>
                  <a:close/>
                  <a:moveTo>
                    <a:pt x="390166" y="940349"/>
                  </a:moveTo>
                  <a:lnTo>
                    <a:pt x="375440" y="940349"/>
                  </a:lnTo>
                  <a:lnTo>
                    <a:pt x="375440" y="992914"/>
                  </a:lnTo>
                  <a:lnTo>
                    <a:pt x="390166" y="992914"/>
                  </a:lnTo>
                  <a:close/>
                  <a:moveTo>
                    <a:pt x="243673" y="1061609"/>
                  </a:moveTo>
                  <a:lnTo>
                    <a:pt x="258410" y="1061609"/>
                  </a:lnTo>
                  <a:lnTo>
                    <a:pt x="258410" y="1009050"/>
                  </a:lnTo>
                  <a:lnTo>
                    <a:pt x="243673" y="1009050"/>
                  </a:lnTo>
                  <a:close/>
                  <a:moveTo>
                    <a:pt x="342500" y="1061609"/>
                  </a:moveTo>
                  <a:lnTo>
                    <a:pt x="357225" y="1061609"/>
                  </a:lnTo>
                  <a:lnTo>
                    <a:pt x="357225" y="1009050"/>
                  </a:lnTo>
                  <a:lnTo>
                    <a:pt x="342500" y="1009050"/>
                  </a:lnTo>
                  <a:close/>
                  <a:moveTo>
                    <a:pt x="309560" y="1061609"/>
                  </a:moveTo>
                  <a:lnTo>
                    <a:pt x="324285" y="1061609"/>
                  </a:lnTo>
                  <a:lnTo>
                    <a:pt x="324285" y="1009050"/>
                  </a:lnTo>
                  <a:lnTo>
                    <a:pt x="309560" y="1009050"/>
                  </a:lnTo>
                  <a:close/>
                  <a:moveTo>
                    <a:pt x="276619" y="1061609"/>
                  </a:moveTo>
                  <a:lnTo>
                    <a:pt x="291345" y="1061609"/>
                  </a:lnTo>
                  <a:lnTo>
                    <a:pt x="291345" y="1009050"/>
                  </a:lnTo>
                  <a:lnTo>
                    <a:pt x="276619" y="1009050"/>
                  </a:lnTo>
                  <a:close/>
                  <a:moveTo>
                    <a:pt x="390166" y="1009050"/>
                  </a:moveTo>
                  <a:lnTo>
                    <a:pt x="375440" y="1009050"/>
                  </a:lnTo>
                  <a:lnTo>
                    <a:pt x="375440" y="1061609"/>
                  </a:lnTo>
                  <a:lnTo>
                    <a:pt x="390166" y="1061609"/>
                  </a:lnTo>
                  <a:close/>
                  <a:moveTo>
                    <a:pt x="243673" y="1130304"/>
                  </a:moveTo>
                  <a:lnTo>
                    <a:pt x="258410" y="1130304"/>
                  </a:lnTo>
                  <a:lnTo>
                    <a:pt x="258410" y="1077745"/>
                  </a:lnTo>
                  <a:lnTo>
                    <a:pt x="243673" y="1077745"/>
                  </a:lnTo>
                  <a:close/>
                  <a:moveTo>
                    <a:pt x="243673" y="1198583"/>
                  </a:moveTo>
                  <a:lnTo>
                    <a:pt x="258410" y="1198583"/>
                  </a:lnTo>
                  <a:lnTo>
                    <a:pt x="258410" y="1146023"/>
                  </a:lnTo>
                  <a:lnTo>
                    <a:pt x="243673" y="1146023"/>
                  </a:lnTo>
                  <a:close/>
                  <a:moveTo>
                    <a:pt x="243673" y="1266861"/>
                  </a:moveTo>
                  <a:lnTo>
                    <a:pt x="258410" y="1266861"/>
                  </a:lnTo>
                  <a:lnTo>
                    <a:pt x="258410" y="1214301"/>
                  </a:lnTo>
                  <a:lnTo>
                    <a:pt x="243673" y="1214301"/>
                  </a:lnTo>
                  <a:close/>
                  <a:moveTo>
                    <a:pt x="243673" y="1335139"/>
                  </a:moveTo>
                  <a:lnTo>
                    <a:pt x="258410" y="1335139"/>
                  </a:lnTo>
                  <a:lnTo>
                    <a:pt x="258410" y="1282574"/>
                  </a:lnTo>
                  <a:lnTo>
                    <a:pt x="243673" y="1282574"/>
                  </a:lnTo>
                  <a:close/>
                  <a:moveTo>
                    <a:pt x="243673" y="1403418"/>
                  </a:moveTo>
                  <a:lnTo>
                    <a:pt x="258410" y="1403418"/>
                  </a:lnTo>
                  <a:lnTo>
                    <a:pt x="258410" y="1350852"/>
                  </a:lnTo>
                  <a:lnTo>
                    <a:pt x="243673" y="1350852"/>
                  </a:lnTo>
                  <a:close/>
                  <a:moveTo>
                    <a:pt x="243673" y="1471696"/>
                  </a:moveTo>
                  <a:lnTo>
                    <a:pt x="258410" y="1471696"/>
                  </a:lnTo>
                  <a:lnTo>
                    <a:pt x="258410" y="1419130"/>
                  </a:lnTo>
                  <a:lnTo>
                    <a:pt x="243673" y="1419130"/>
                  </a:lnTo>
                  <a:close/>
                  <a:moveTo>
                    <a:pt x="243673" y="1539968"/>
                  </a:moveTo>
                  <a:lnTo>
                    <a:pt x="258410" y="1539968"/>
                  </a:lnTo>
                  <a:lnTo>
                    <a:pt x="258410" y="1487409"/>
                  </a:lnTo>
                  <a:lnTo>
                    <a:pt x="243673" y="1487409"/>
                  </a:lnTo>
                  <a:close/>
                  <a:moveTo>
                    <a:pt x="357225" y="1487409"/>
                  </a:moveTo>
                  <a:lnTo>
                    <a:pt x="342500" y="1487409"/>
                  </a:lnTo>
                  <a:lnTo>
                    <a:pt x="342500" y="1539968"/>
                  </a:lnTo>
                  <a:lnTo>
                    <a:pt x="357225" y="1539968"/>
                  </a:lnTo>
                  <a:close/>
                  <a:moveTo>
                    <a:pt x="357225" y="1419130"/>
                  </a:moveTo>
                  <a:lnTo>
                    <a:pt x="342500" y="1419130"/>
                  </a:lnTo>
                  <a:lnTo>
                    <a:pt x="342500" y="1471696"/>
                  </a:lnTo>
                  <a:lnTo>
                    <a:pt x="357225" y="1471696"/>
                  </a:lnTo>
                  <a:close/>
                  <a:moveTo>
                    <a:pt x="357225" y="1350852"/>
                  </a:moveTo>
                  <a:lnTo>
                    <a:pt x="342500" y="1350852"/>
                  </a:lnTo>
                  <a:lnTo>
                    <a:pt x="342500" y="1403418"/>
                  </a:lnTo>
                  <a:lnTo>
                    <a:pt x="357225" y="1403418"/>
                  </a:lnTo>
                  <a:close/>
                  <a:moveTo>
                    <a:pt x="357225" y="1282574"/>
                  </a:moveTo>
                  <a:lnTo>
                    <a:pt x="342500" y="1282574"/>
                  </a:lnTo>
                  <a:lnTo>
                    <a:pt x="342500" y="1335139"/>
                  </a:lnTo>
                  <a:lnTo>
                    <a:pt x="357225" y="1335139"/>
                  </a:lnTo>
                  <a:close/>
                  <a:moveTo>
                    <a:pt x="357225" y="1214301"/>
                  </a:moveTo>
                  <a:lnTo>
                    <a:pt x="342500" y="1214301"/>
                  </a:lnTo>
                  <a:lnTo>
                    <a:pt x="342500" y="1266861"/>
                  </a:lnTo>
                  <a:lnTo>
                    <a:pt x="357225" y="1266861"/>
                  </a:lnTo>
                  <a:close/>
                  <a:moveTo>
                    <a:pt x="357225" y="1146023"/>
                  </a:moveTo>
                  <a:lnTo>
                    <a:pt x="342500" y="1146023"/>
                  </a:lnTo>
                  <a:lnTo>
                    <a:pt x="342500" y="1198583"/>
                  </a:lnTo>
                  <a:lnTo>
                    <a:pt x="357225" y="1198583"/>
                  </a:lnTo>
                  <a:close/>
                  <a:moveTo>
                    <a:pt x="276619" y="1130304"/>
                  </a:moveTo>
                  <a:lnTo>
                    <a:pt x="291345" y="1130304"/>
                  </a:lnTo>
                  <a:lnTo>
                    <a:pt x="291345" y="1077745"/>
                  </a:lnTo>
                  <a:lnTo>
                    <a:pt x="276619" y="1077745"/>
                  </a:lnTo>
                  <a:close/>
                  <a:moveTo>
                    <a:pt x="276619" y="1198583"/>
                  </a:moveTo>
                  <a:lnTo>
                    <a:pt x="291345" y="1198583"/>
                  </a:lnTo>
                  <a:lnTo>
                    <a:pt x="291345" y="1146023"/>
                  </a:lnTo>
                  <a:lnTo>
                    <a:pt x="276619" y="1146023"/>
                  </a:lnTo>
                  <a:close/>
                  <a:moveTo>
                    <a:pt x="276619" y="1266861"/>
                  </a:moveTo>
                  <a:lnTo>
                    <a:pt x="291345" y="1266861"/>
                  </a:lnTo>
                  <a:lnTo>
                    <a:pt x="291345" y="1214301"/>
                  </a:lnTo>
                  <a:lnTo>
                    <a:pt x="276619" y="1214301"/>
                  </a:lnTo>
                  <a:close/>
                  <a:moveTo>
                    <a:pt x="276619" y="1335139"/>
                  </a:moveTo>
                  <a:lnTo>
                    <a:pt x="291345" y="1335139"/>
                  </a:lnTo>
                  <a:lnTo>
                    <a:pt x="291345" y="1282574"/>
                  </a:lnTo>
                  <a:lnTo>
                    <a:pt x="276619" y="1282574"/>
                  </a:lnTo>
                  <a:close/>
                  <a:moveTo>
                    <a:pt x="276619" y="1403418"/>
                  </a:moveTo>
                  <a:lnTo>
                    <a:pt x="291345" y="1403418"/>
                  </a:lnTo>
                  <a:lnTo>
                    <a:pt x="291345" y="1350852"/>
                  </a:lnTo>
                  <a:lnTo>
                    <a:pt x="276619" y="1350852"/>
                  </a:lnTo>
                  <a:close/>
                  <a:moveTo>
                    <a:pt x="276619" y="1471696"/>
                  </a:moveTo>
                  <a:lnTo>
                    <a:pt x="291345" y="1471696"/>
                  </a:lnTo>
                  <a:lnTo>
                    <a:pt x="291345" y="1419130"/>
                  </a:lnTo>
                  <a:lnTo>
                    <a:pt x="276619" y="1419130"/>
                  </a:lnTo>
                  <a:close/>
                  <a:moveTo>
                    <a:pt x="324285" y="1419130"/>
                  </a:moveTo>
                  <a:lnTo>
                    <a:pt x="309560" y="1419130"/>
                  </a:lnTo>
                  <a:lnTo>
                    <a:pt x="309560" y="1471696"/>
                  </a:lnTo>
                  <a:lnTo>
                    <a:pt x="324285" y="1471696"/>
                  </a:lnTo>
                  <a:close/>
                  <a:moveTo>
                    <a:pt x="324285" y="1350852"/>
                  </a:moveTo>
                  <a:lnTo>
                    <a:pt x="309560" y="1350852"/>
                  </a:lnTo>
                  <a:lnTo>
                    <a:pt x="309560" y="1403418"/>
                  </a:lnTo>
                  <a:lnTo>
                    <a:pt x="324285" y="1403418"/>
                  </a:lnTo>
                  <a:close/>
                  <a:moveTo>
                    <a:pt x="324285" y="1282574"/>
                  </a:moveTo>
                  <a:lnTo>
                    <a:pt x="309560" y="1282574"/>
                  </a:lnTo>
                  <a:lnTo>
                    <a:pt x="309560" y="1335139"/>
                  </a:lnTo>
                  <a:lnTo>
                    <a:pt x="324285" y="1335139"/>
                  </a:lnTo>
                  <a:close/>
                  <a:moveTo>
                    <a:pt x="324285" y="1214301"/>
                  </a:moveTo>
                  <a:lnTo>
                    <a:pt x="309560" y="1214301"/>
                  </a:lnTo>
                  <a:lnTo>
                    <a:pt x="309560" y="1266861"/>
                  </a:lnTo>
                  <a:lnTo>
                    <a:pt x="324285" y="1266861"/>
                  </a:lnTo>
                  <a:close/>
                  <a:moveTo>
                    <a:pt x="324285" y="1146023"/>
                  </a:moveTo>
                  <a:lnTo>
                    <a:pt x="309560" y="1146023"/>
                  </a:lnTo>
                  <a:lnTo>
                    <a:pt x="309560" y="1198583"/>
                  </a:lnTo>
                  <a:lnTo>
                    <a:pt x="324285" y="1198583"/>
                  </a:lnTo>
                  <a:close/>
                  <a:moveTo>
                    <a:pt x="309560" y="1130304"/>
                  </a:moveTo>
                  <a:lnTo>
                    <a:pt x="324285" y="1130304"/>
                  </a:lnTo>
                  <a:lnTo>
                    <a:pt x="324285" y="1077745"/>
                  </a:lnTo>
                  <a:lnTo>
                    <a:pt x="309560" y="1077745"/>
                  </a:lnTo>
                  <a:close/>
                  <a:moveTo>
                    <a:pt x="342500" y="1130304"/>
                  </a:moveTo>
                  <a:lnTo>
                    <a:pt x="357225" y="1130304"/>
                  </a:lnTo>
                  <a:lnTo>
                    <a:pt x="357225" y="1077745"/>
                  </a:lnTo>
                  <a:lnTo>
                    <a:pt x="342500" y="1077745"/>
                  </a:lnTo>
                  <a:close/>
                  <a:moveTo>
                    <a:pt x="324285" y="1487409"/>
                  </a:moveTo>
                  <a:lnTo>
                    <a:pt x="309560" y="1487409"/>
                  </a:lnTo>
                  <a:lnTo>
                    <a:pt x="309560" y="1539968"/>
                  </a:lnTo>
                  <a:lnTo>
                    <a:pt x="324285" y="1539968"/>
                  </a:lnTo>
                  <a:close/>
                  <a:moveTo>
                    <a:pt x="291345" y="1487409"/>
                  </a:moveTo>
                  <a:lnTo>
                    <a:pt x="276619" y="1487409"/>
                  </a:lnTo>
                  <a:lnTo>
                    <a:pt x="276619" y="1539968"/>
                  </a:lnTo>
                  <a:lnTo>
                    <a:pt x="291345" y="1539968"/>
                  </a:lnTo>
                  <a:close/>
                  <a:moveTo>
                    <a:pt x="390166" y="1077745"/>
                  </a:moveTo>
                  <a:lnTo>
                    <a:pt x="375440" y="1077745"/>
                  </a:lnTo>
                  <a:lnTo>
                    <a:pt x="375440" y="1130304"/>
                  </a:lnTo>
                  <a:lnTo>
                    <a:pt x="390166" y="1130304"/>
                  </a:lnTo>
                  <a:close/>
                  <a:moveTo>
                    <a:pt x="258410" y="47289"/>
                  </a:moveTo>
                  <a:lnTo>
                    <a:pt x="243673" y="47289"/>
                  </a:lnTo>
                  <a:lnTo>
                    <a:pt x="243673" y="99854"/>
                  </a:lnTo>
                  <a:lnTo>
                    <a:pt x="258410" y="99854"/>
                  </a:lnTo>
                  <a:close/>
                  <a:moveTo>
                    <a:pt x="291345" y="47289"/>
                  </a:moveTo>
                  <a:lnTo>
                    <a:pt x="276619" y="47289"/>
                  </a:lnTo>
                  <a:lnTo>
                    <a:pt x="276619" y="99854"/>
                  </a:lnTo>
                  <a:lnTo>
                    <a:pt x="291345" y="99854"/>
                  </a:lnTo>
                  <a:close/>
                  <a:moveTo>
                    <a:pt x="324285" y="47289"/>
                  </a:moveTo>
                  <a:lnTo>
                    <a:pt x="309560" y="47289"/>
                  </a:lnTo>
                  <a:lnTo>
                    <a:pt x="309560" y="99854"/>
                  </a:lnTo>
                  <a:lnTo>
                    <a:pt x="324285" y="99854"/>
                  </a:lnTo>
                  <a:close/>
                  <a:moveTo>
                    <a:pt x="357225" y="47289"/>
                  </a:moveTo>
                  <a:lnTo>
                    <a:pt x="342500" y="47289"/>
                  </a:lnTo>
                  <a:lnTo>
                    <a:pt x="342500" y="99854"/>
                  </a:lnTo>
                  <a:lnTo>
                    <a:pt x="357225" y="99854"/>
                  </a:lnTo>
                  <a:close/>
                  <a:moveTo>
                    <a:pt x="390166" y="47289"/>
                  </a:moveTo>
                  <a:lnTo>
                    <a:pt x="375440" y="47289"/>
                  </a:lnTo>
                  <a:lnTo>
                    <a:pt x="375440" y="99854"/>
                  </a:lnTo>
                  <a:lnTo>
                    <a:pt x="390166" y="99854"/>
                  </a:lnTo>
                  <a:close/>
                  <a:moveTo>
                    <a:pt x="411618" y="99854"/>
                  </a:moveTo>
                  <a:lnTo>
                    <a:pt x="411618" y="1555687"/>
                  </a:lnTo>
                  <a:lnTo>
                    <a:pt x="508140" y="1555687"/>
                  </a:lnTo>
                  <a:lnTo>
                    <a:pt x="508140" y="24010"/>
                  </a:lnTo>
                  <a:lnTo>
                    <a:pt x="411618" y="24010"/>
                  </a:lnTo>
                  <a:close/>
                  <a:moveTo>
                    <a:pt x="583501" y="30380"/>
                  </a:moveTo>
                  <a:lnTo>
                    <a:pt x="523612" y="30380"/>
                  </a:lnTo>
                  <a:lnTo>
                    <a:pt x="523612" y="70123"/>
                  </a:lnTo>
                  <a:lnTo>
                    <a:pt x="583501" y="70123"/>
                  </a:lnTo>
                  <a:close/>
                  <a:moveTo>
                    <a:pt x="583501" y="93677"/>
                  </a:moveTo>
                  <a:lnTo>
                    <a:pt x="523612" y="93677"/>
                  </a:lnTo>
                  <a:lnTo>
                    <a:pt x="523612" y="133420"/>
                  </a:lnTo>
                  <a:lnTo>
                    <a:pt x="583501" y="133420"/>
                  </a:lnTo>
                  <a:close/>
                  <a:moveTo>
                    <a:pt x="583501" y="156979"/>
                  </a:moveTo>
                  <a:lnTo>
                    <a:pt x="523612" y="156979"/>
                  </a:lnTo>
                  <a:lnTo>
                    <a:pt x="523612" y="196722"/>
                  </a:lnTo>
                  <a:lnTo>
                    <a:pt x="583501" y="196722"/>
                  </a:lnTo>
                  <a:close/>
                  <a:moveTo>
                    <a:pt x="583501" y="220275"/>
                  </a:moveTo>
                  <a:lnTo>
                    <a:pt x="523612" y="220275"/>
                  </a:lnTo>
                  <a:lnTo>
                    <a:pt x="523612" y="260024"/>
                  </a:lnTo>
                  <a:lnTo>
                    <a:pt x="583501" y="260024"/>
                  </a:lnTo>
                  <a:close/>
                  <a:moveTo>
                    <a:pt x="583501" y="283577"/>
                  </a:moveTo>
                  <a:lnTo>
                    <a:pt x="523612" y="283577"/>
                  </a:lnTo>
                  <a:lnTo>
                    <a:pt x="523612" y="323321"/>
                  </a:lnTo>
                  <a:lnTo>
                    <a:pt x="583501" y="323321"/>
                  </a:lnTo>
                  <a:close/>
                  <a:moveTo>
                    <a:pt x="583501" y="346879"/>
                  </a:moveTo>
                  <a:lnTo>
                    <a:pt x="523612" y="346879"/>
                  </a:lnTo>
                  <a:lnTo>
                    <a:pt x="523612" y="386623"/>
                  </a:lnTo>
                  <a:lnTo>
                    <a:pt x="583501" y="386623"/>
                  </a:lnTo>
                  <a:close/>
                  <a:moveTo>
                    <a:pt x="583501" y="410181"/>
                  </a:moveTo>
                  <a:lnTo>
                    <a:pt x="523612" y="410181"/>
                  </a:lnTo>
                  <a:lnTo>
                    <a:pt x="523612" y="449925"/>
                  </a:lnTo>
                  <a:lnTo>
                    <a:pt x="583501" y="449925"/>
                  </a:lnTo>
                  <a:close/>
                  <a:moveTo>
                    <a:pt x="583501" y="473484"/>
                  </a:moveTo>
                  <a:lnTo>
                    <a:pt x="523612" y="473484"/>
                  </a:lnTo>
                  <a:lnTo>
                    <a:pt x="523612" y="513222"/>
                  </a:lnTo>
                  <a:lnTo>
                    <a:pt x="583501" y="513222"/>
                  </a:lnTo>
                  <a:close/>
                  <a:moveTo>
                    <a:pt x="583501" y="536780"/>
                  </a:moveTo>
                  <a:lnTo>
                    <a:pt x="523612" y="536780"/>
                  </a:lnTo>
                  <a:lnTo>
                    <a:pt x="523612" y="576529"/>
                  </a:lnTo>
                  <a:lnTo>
                    <a:pt x="583501" y="576529"/>
                  </a:lnTo>
                  <a:close/>
                  <a:moveTo>
                    <a:pt x="583501" y="600082"/>
                  </a:moveTo>
                  <a:lnTo>
                    <a:pt x="523612" y="600082"/>
                  </a:lnTo>
                  <a:lnTo>
                    <a:pt x="523612" y="639831"/>
                  </a:lnTo>
                  <a:lnTo>
                    <a:pt x="583501" y="639831"/>
                  </a:lnTo>
                  <a:close/>
                  <a:moveTo>
                    <a:pt x="583501" y="663384"/>
                  </a:moveTo>
                  <a:lnTo>
                    <a:pt x="523612" y="663384"/>
                  </a:lnTo>
                  <a:lnTo>
                    <a:pt x="523612" y="703128"/>
                  </a:lnTo>
                  <a:lnTo>
                    <a:pt x="583501" y="703128"/>
                  </a:lnTo>
                  <a:close/>
                  <a:moveTo>
                    <a:pt x="583501" y="726681"/>
                  </a:moveTo>
                  <a:lnTo>
                    <a:pt x="523612" y="726681"/>
                  </a:lnTo>
                  <a:lnTo>
                    <a:pt x="523612" y="766430"/>
                  </a:lnTo>
                  <a:lnTo>
                    <a:pt x="583501" y="766430"/>
                  </a:lnTo>
                  <a:close/>
                  <a:moveTo>
                    <a:pt x="583501" y="789983"/>
                  </a:moveTo>
                  <a:lnTo>
                    <a:pt x="523612" y="789983"/>
                  </a:lnTo>
                  <a:lnTo>
                    <a:pt x="523612" y="829727"/>
                  </a:lnTo>
                  <a:lnTo>
                    <a:pt x="583501" y="829727"/>
                  </a:lnTo>
                  <a:close/>
                  <a:moveTo>
                    <a:pt x="583501" y="853285"/>
                  </a:moveTo>
                  <a:lnTo>
                    <a:pt x="523612" y="853285"/>
                  </a:lnTo>
                  <a:lnTo>
                    <a:pt x="523612" y="893029"/>
                  </a:lnTo>
                  <a:lnTo>
                    <a:pt x="583501" y="893029"/>
                  </a:lnTo>
                  <a:close/>
                  <a:moveTo>
                    <a:pt x="583501" y="916582"/>
                  </a:moveTo>
                  <a:lnTo>
                    <a:pt x="523612" y="916582"/>
                  </a:lnTo>
                  <a:lnTo>
                    <a:pt x="523612" y="956331"/>
                  </a:lnTo>
                  <a:lnTo>
                    <a:pt x="583501" y="956331"/>
                  </a:lnTo>
                  <a:close/>
                  <a:moveTo>
                    <a:pt x="583501" y="979889"/>
                  </a:moveTo>
                  <a:lnTo>
                    <a:pt x="523612" y="979889"/>
                  </a:lnTo>
                  <a:lnTo>
                    <a:pt x="523612" y="1019633"/>
                  </a:lnTo>
                  <a:lnTo>
                    <a:pt x="583501" y="1019633"/>
                  </a:lnTo>
                  <a:close/>
                  <a:moveTo>
                    <a:pt x="583501" y="1043186"/>
                  </a:moveTo>
                  <a:lnTo>
                    <a:pt x="523612" y="1043186"/>
                  </a:lnTo>
                  <a:lnTo>
                    <a:pt x="523612" y="1082929"/>
                  </a:lnTo>
                  <a:lnTo>
                    <a:pt x="583501" y="1082929"/>
                  </a:lnTo>
                  <a:close/>
                  <a:moveTo>
                    <a:pt x="583501" y="1106488"/>
                  </a:moveTo>
                  <a:lnTo>
                    <a:pt x="523612" y="1106488"/>
                  </a:lnTo>
                  <a:lnTo>
                    <a:pt x="523612" y="1146232"/>
                  </a:lnTo>
                  <a:lnTo>
                    <a:pt x="583501" y="1146232"/>
                  </a:lnTo>
                  <a:close/>
                  <a:moveTo>
                    <a:pt x="583501" y="1169785"/>
                  </a:moveTo>
                  <a:lnTo>
                    <a:pt x="523612" y="1169785"/>
                  </a:lnTo>
                  <a:lnTo>
                    <a:pt x="523612" y="1209533"/>
                  </a:lnTo>
                  <a:lnTo>
                    <a:pt x="583501" y="1209533"/>
                  </a:lnTo>
                  <a:close/>
                  <a:moveTo>
                    <a:pt x="583501" y="1233087"/>
                  </a:moveTo>
                  <a:lnTo>
                    <a:pt x="523612" y="1233087"/>
                  </a:lnTo>
                  <a:lnTo>
                    <a:pt x="523612" y="1272830"/>
                  </a:lnTo>
                  <a:lnTo>
                    <a:pt x="583501" y="1272830"/>
                  </a:lnTo>
                  <a:close/>
                  <a:moveTo>
                    <a:pt x="583501" y="1296389"/>
                  </a:moveTo>
                  <a:lnTo>
                    <a:pt x="523612" y="1296389"/>
                  </a:lnTo>
                  <a:lnTo>
                    <a:pt x="523612" y="1336132"/>
                  </a:lnTo>
                  <a:lnTo>
                    <a:pt x="583501" y="1336132"/>
                  </a:lnTo>
                  <a:close/>
                  <a:moveTo>
                    <a:pt x="583501" y="1359691"/>
                  </a:moveTo>
                  <a:lnTo>
                    <a:pt x="523612" y="1359691"/>
                  </a:lnTo>
                  <a:lnTo>
                    <a:pt x="523612" y="1399435"/>
                  </a:lnTo>
                  <a:lnTo>
                    <a:pt x="583501" y="1399435"/>
                  </a:lnTo>
                  <a:close/>
                  <a:moveTo>
                    <a:pt x="583501" y="1422988"/>
                  </a:moveTo>
                  <a:lnTo>
                    <a:pt x="523612" y="1422988"/>
                  </a:lnTo>
                  <a:lnTo>
                    <a:pt x="523612" y="1462737"/>
                  </a:lnTo>
                  <a:lnTo>
                    <a:pt x="583501" y="1462737"/>
                  </a:lnTo>
                  <a:lnTo>
                    <a:pt x="583501" y="1422988"/>
                  </a:lnTo>
                </a:path>
              </a:pathLst>
            </a:custGeom>
            <a:grpFill/>
            <a:ln w="548" cap="flat">
              <a:noFill/>
              <a:prstDash val="solid"/>
              <a:miter/>
            </a:ln>
          </p:spPr>
          <p:txBody>
            <a:bodyPr/>
            <a:lstStyle/>
            <a:p>
              <a:endParaRPr lang="en-US"/>
            </a:p>
          </p:txBody>
        </p:sp>
        <p:sp>
          <p:nvSpPr>
            <p:cNvPr id="528" name="Freeform: Shape 527">
              <a:extLst>
                <a:ext uri="{FF2B5EF4-FFF2-40B4-BE49-F238E27FC236}">
                  <a16:creationId xmlns:a16="http://schemas.microsoft.com/office/drawing/2014/main" id="{C1AB385B-DCA6-F6AF-C879-F65A88913E98}"/>
                </a:ext>
              </a:extLst>
            </p:cNvPr>
            <p:cNvSpPr/>
            <p:nvPr/>
          </p:nvSpPr>
          <p:spPr>
            <a:xfrm flipV="1">
              <a:off x="17783183" y="3077437"/>
              <a:ext cx="674092" cy="229265"/>
            </a:xfrm>
            <a:custGeom>
              <a:avLst/>
              <a:gdLst>
                <a:gd name="csX0" fmla="*/ 463662 w 674092"/>
                <a:gd name="csY0" fmla="*/ 126656 h 229265"/>
                <a:gd name="csX1" fmla="*/ 442193 w 674092"/>
                <a:gd name="csY1" fmla="*/ 221110 h 229265"/>
                <a:gd name="csX2" fmla="*/ 229315 w 674092"/>
                <a:gd name="csY2" fmla="*/ 221110 h 229265"/>
                <a:gd name="csX3" fmla="*/ 207847 w 674092"/>
                <a:gd name="csY3" fmla="*/ 126656 h 229265"/>
                <a:gd name="csX4" fmla="*/ -1294 w 674092"/>
                <a:gd name="csY4" fmla="*/ 126656 h 229265"/>
                <a:gd name="csX5" fmla="*/ -1294 w 674092"/>
                <a:gd name="csY5" fmla="*/ -8156 h 229265"/>
                <a:gd name="csX6" fmla="*/ 10441 w 674092"/>
                <a:gd name="csY6" fmla="*/ -8156 h 229265"/>
                <a:gd name="csX7" fmla="*/ 10441 w 674092"/>
                <a:gd name="csY7" fmla="*/ 7086 h 229265"/>
                <a:gd name="csX8" fmla="*/ 228328 w 674092"/>
                <a:gd name="csY8" fmla="*/ 7086 h 229265"/>
                <a:gd name="csX9" fmla="*/ 228328 w 674092"/>
                <a:gd name="csY9" fmla="*/ 80708 h 229265"/>
                <a:gd name="csX10" fmla="*/ 443175 w 674092"/>
                <a:gd name="csY10" fmla="*/ 80708 h 229265"/>
                <a:gd name="csX11" fmla="*/ 443175 w 674092"/>
                <a:gd name="csY11" fmla="*/ 7086 h 229265"/>
                <a:gd name="csX12" fmla="*/ 661062 w 674092"/>
                <a:gd name="csY12" fmla="*/ 7086 h 229265"/>
                <a:gd name="csX13" fmla="*/ 661062 w 674092"/>
                <a:gd name="csY13" fmla="*/ -8156 h 229265"/>
                <a:gd name="csX14" fmla="*/ 672798 w 674092"/>
                <a:gd name="csY14" fmla="*/ -8156 h 229265"/>
                <a:gd name="csX15" fmla="*/ 672798 w 674092"/>
                <a:gd name="csY15" fmla="*/ 126656 h 229265"/>
                <a:gd name="csX16" fmla="*/ 463662 w 674092"/>
                <a:gd name="csY16" fmla="*/ 126656 h 22926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Lst>
              <a:rect l="l" t="t" r="r" b="b"/>
              <a:pathLst>
                <a:path w="674092" h="229265">
                  <a:moveTo>
                    <a:pt x="463662" y="126656"/>
                  </a:moveTo>
                  <a:lnTo>
                    <a:pt x="442193" y="221110"/>
                  </a:lnTo>
                  <a:lnTo>
                    <a:pt x="229315" y="221110"/>
                  </a:lnTo>
                  <a:lnTo>
                    <a:pt x="207847" y="126656"/>
                  </a:lnTo>
                  <a:lnTo>
                    <a:pt x="-1294" y="126656"/>
                  </a:lnTo>
                  <a:lnTo>
                    <a:pt x="-1294" y="-8156"/>
                  </a:lnTo>
                  <a:lnTo>
                    <a:pt x="10441" y="-8156"/>
                  </a:lnTo>
                  <a:lnTo>
                    <a:pt x="10441" y="7086"/>
                  </a:lnTo>
                  <a:lnTo>
                    <a:pt x="228328" y="7086"/>
                  </a:lnTo>
                  <a:lnTo>
                    <a:pt x="228328" y="80708"/>
                  </a:lnTo>
                  <a:lnTo>
                    <a:pt x="443175" y="80708"/>
                  </a:lnTo>
                  <a:lnTo>
                    <a:pt x="443175" y="7086"/>
                  </a:lnTo>
                  <a:lnTo>
                    <a:pt x="661062" y="7086"/>
                  </a:lnTo>
                  <a:lnTo>
                    <a:pt x="661062" y="-8156"/>
                  </a:lnTo>
                  <a:lnTo>
                    <a:pt x="672798" y="-8156"/>
                  </a:lnTo>
                  <a:lnTo>
                    <a:pt x="672798" y="126656"/>
                  </a:lnTo>
                  <a:lnTo>
                    <a:pt x="463662" y="126656"/>
                  </a:lnTo>
                </a:path>
              </a:pathLst>
            </a:custGeom>
            <a:grpFill/>
            <a:ln w="548" cap="flat">
              <a:noFill/>
              <a:prstDash val="solid"/>
              <a:miter/>
            </a:ln>
          </p:spPr>
          <p:txBody>
            <a:bodyPr/>
            <a:lstStyle/>
            <a:p>
              <a:endParaRPr lang="en-US"/>
            </a:p>
          </p:txBody>
        </p:sp>
        <p:sp>
          <p:nvSpPr>
            <p:cNvPr id="529" name="Freeform: Shape 528">
              <a:extLst>
                <a:ext uri="{FF2B5EF4-FFF2-40B4-BE49-F238E27FC236}">
                  <a16:creationId xmlns:a16="http://schemas.microsoft.com/office/drawing/2014/main" id="{4B8E4EEA-31D7-4B52-0B9C-EC2603CA35E1}"/>
                </a:ext>
              </a:extLst>
            </p:cNvPr>
            <p:cNvSpPr/>
            <p:nvPr/>
          </p:nvSpPr>
          <p:spPr>
            <a:xfrm flipV="1">
              <a:off x="18409609" y="4433330"/>
              <a:ext cx="1483248" cy="490281"/>
            </a:xfrm>
            <a:custGeom>
              <a:avLst/>
              <a:gdLst>
                <a:gd name="csX0" fmla="*/ 1468469 w 1483248"/>
                <a:gd name="csY0" fmla="*/ 290863 h 490281"/>
                <a:gd name="csX1" fmla="*/ 1468469 w 1483248"/>
                <a:gd name="csY1" fmla="*/ 312727 h 490281"/>
                <a:gd name="csX2" fmla="*/ 1336867 w 1483248"/>
                <a:gd name="csY2" fmla="*/ 485702 h 490281"/>
                <a:gd name="csX3" fmla="*/ 141243 w 1483248"/>
                <a:gd name="csY3" fmla="*/ 485702 h 490281"/>
                <a:gd name="csX4" fmla="*/ 9630 w 1483248"/>
                <a:gd name="csY4" fmla="*/ 312727 h 490281"/>
                <a:gd name="csX5" fmla="*/ 9630 w 1483248"/>
                <a:gd name="csY5" fmla="*/ 290863 h 490281"/>
                <a:gd name="csX6" fmla="*/ -2572 w 1483248"/>
                <a:gd name="csY6" fmla="*/ 290863 h 490281"/>
                <a:gd name="csX7" fmla="*/ -2572 w 1483248"/>
                <a:gd name="csY7" fmla="*/ 279276 h 490281"/>
                <a:gd name="csX8" fmla="*/ 9630 w 1483248"/>
                <a:gd name="csY8" fmla="*/ 279276 h 490281"/>
                <a:gd name="csX9" fmla="*/ 9630 w 1483248"/>
                <a:gd name="csY9" fmla="*/ 184257 h 490281"/>
                <a:gd name="csX10" fmla="*/ 9630 w 1483248"/>
                <a:gd name="csY10" fmla="*/ 169581 h 490281"/>
                <a:gd name="csX11" fmla="*/ 9630 w 1483248"/>
                <a:gd name="csY11" fmla="*/ 13531 h 490281"/>
                <a:gd name="csX12" fmla="*/ 9630 w 1483248"/>
                <a:gd name="csY12" fmla="*/ 11446 h 490281"/>
                <a:gd name="csX13" fmla="*/ 9630 w 1483248"/>
                <a:gd name="csY13" fmla="*/ -1150 h 490281"/>
                <a:gd name="csX14" fmla="*/ 96649 w 1483248"/>
                <a:gd name="csY14" fmla="*/ -1150 h 490281"/>
                <a:gd name="csX15" fmla="*/ 196941 w 1483248"/>
                <a:gd name="csY15" fmla="*/ -1150 h 490281"/>
                <a:gd name="csX16" fmla="*/ 196941 w 1483248"/>
                <a:gd name="csY16" fmla="*/ -1523 h 490281"/>
                <a:gd name="csX17" fmla="*/ 249314 w 1483248"/>
                <a:gd name="csY17" fmla="*/ -1523 h 490281"/>
                <a:gd name="csX18" fmla="*/ 301682 w 1483248"/>
                <a:gd name="csY18" fmla="*/ -1523 h 490281"/>
                <a:gd name="csX19" fmla="*/ 301682 w 1483248"/>
                <a:gd name="csY19" fmla="*/ -1150 h 490281"/>
                <a:gd name="csX20" fmla="*/ 394780 w 1483248"/>
                <a:gd name="csY20" fmla="*/ -1150 h 490281"/>
                <a:gd name="csX21" fmla="*/ 492340 w 1483248"/>
                <a:gd name="csY21" fmla="*/ -1150 h 490281"/>
                <a:gd name="csX22" fmla="*/ 613699 w 1483248"/>
                <a:gd name="csY22" fmla="*/ -1150 h 490281"/>
                <a:gd name="csX23" fmla="*/ 631513 w 1483248"/>
                <a:gd name="csY23" fmla="*/ -1150 h 490281"/>
                <a:gd name="csX24" fmla="*/ 649333 w 1483248"/>
                <a:gd name="csY24" fmla="*/ -1150 h 490281"/>
                <a:gd name="csX25" fmla="*/ 667142 w 1483248"/>
                <a:gd name="csY25" fmla="*/ -1150 h 490281"/>
                <a:gd name="csX26" fmla="*/ 714484 w 1483248"/>
                <a:gd name="csY26" fmla="*/ -1150 h 490281"/>
                <a:gd name="csX27" fmla="*/ 717913 w 1483248"/>
                <a:gd name="csY27" fmla="*/ -4579 h 490281"/>
                <a:gd name="csX28" fmla="*/ 721342 w 1483248"/>
                <a:gd name="csY28" fmla="*/ -1150 h 490281"/>
                <a:gd name="csX29" fmla="*/ 768689 w 1483248"/>
                <a:gd name="csY29" fmla="*/ -1150 h 490281"/>
                <a:gd name="csX30" fmla="*/ 786498 w 1483248"/>
                <a:gd name="csY30" fmla="*/ -1150 h 490281"/>
                <a:gd name="csX31" fmla="*/ 804313 w 1483248"/>
                <a:gd name="csY31" fmla="*/ -1150 h 490281"/>
                <a:gd name="csX32" fmla="*/ 822127 w 1483248"/>
                <a:gd name="csY32" fmla="*/ -1150 h 490281"/>
                <a:gd name="csX33" fmla="*/ 985764 w 1483248"/>
                <a:gd name="csY33" fmla="*/ -1150 h 490281"/>
                <a:gd name="csX34" fmla="*/ 1083324 w 1483248"/>
                <a:gd name="csY34" fmla="*/ -1150 h 490281"/>
                <a:gd name="csX35" fmla="*/ 1187686 w 1483248"/>
                <a:gd name="csY35" fmla="*/ -1150 h 490281"/>
                <a:gd name="csX36" fmla="*/ 1187686 w 1483248"/>
                <a:gd name="csY36" fmla="*/ -1523 h 490281"/>
                <a:gd name="csX37" fmla="*/ 1240054 w 1483248"/>
                <a:gd name="csY37" fmla="*/ -1523 h 490281"/>
                <a:gd name="csX38" fmla="*/ 1292427 w 1483248"/>
                <a:gd name="csY38" fmla="*/ -1523 h 490281"/>
                <a:gd name="csX39" fmla="*/ 1292427 w 1483248"/>
                <a:gd name="csY39" fmla="*/ -1150 h 490281"/>
                <a:gd name="csX40" fmla="*/ 1381455 w 1483248"/>
                <a:gd name="csY40" fmla="*/ -1150 h 490281"/>
                <a:gd name="csX41" fmla="*/ 1468469 w 1483248"/>
                <a:gd name="csY41" fmla="*/ -1150 h 490281"/>
                <a:gd name="csX42" fmla="*/ 1468469 w 1483248"/>
                <a:gd name="csY42" fmla="*/ 11446 h 490281"/>
                <a:gd name="csX43" fmla="*/ 1468469 w 1483248"/>
                <a:gd name="csY43" fmla="*/ 13531 h 490281"/>
                <a:gd name="csX44" fmla="*/ 1468469 w 1483248"/>
                <a:gd name="csY44" fmla="*/ 169581 h 490281"/>
                <a:gd name="csX45" fmla="*/ 1468469 w 1483248"/>
                <a:gd name="csY45" fmla="*/ 184257 h 490281"/>
                <a:gd name="csX46" fmla="*/ 1468469 w 1483248"/>
                <a:gd name="csY46" fmla="*/ 279276 h 490281"/>
                <a:gd name="csX47" fmla="*/ 1480676 w 1483248"/>
                <a:gd name="csY47" fmla="*/ 279276 h 490281"/>
                <a:gd name="csX48" fmla="*/ 1480676 w 1483248"/>
                <a:gd name="csY48" fmla="*/ 290863 h 490281"/>
                <a:gd name="csX49" fmla="*/ 301682 w 1483248"/>
                <a:gd name="csY49" fmla="*/ 11446 h 490281"/>
                <a:gd name="csX50" fmla="*/ 301682 w 1483248"/>
                <a:gd name="csY50" fmla="*/ 142116 h 490281"/>
                <a:gd name="csX51" fmla="*/ 288591 w 1483248"/>
                <a:gd name="csY51" fmla="*/ 158120 h 490281"/>
                <a:gd name="csX52" fmla="*/ 288591 w 1483248"/>
                <a:gd name="csY52" fmla="*/ 169581 h 490281"/>
                <a:gd name="csX53" fmla="*/ 249314 w 1483248"/>
                <a:gd name="csY53" fmla="*/ 169581 h 490281"/>
                <a:gd name="csX54" fmla="*/ 210037 w 1483248"/>
                <a:gd name="csY54" fmla="*/ 169581 h 490281"/>
                <a:gd name="csX55" fmla="*/ 210037 w 1483248"/>
                <a:gd name="csY55" fmla="*/ 158120 h 490281"/>
                <a:gd name="csX56" fmla="*/ 196941 w 1483248"/>
                <a:gd name="csY56" fmla="*/ 142116 h 490281"/>
                <a:gd name="csX57" fmla="*/ 196941 w 1483248"/>
                <a:gd name="csY57" fmla="*/ 11446 h 490281"/>
                <a:gd name="csX58" fmla="*/ 90537 w 1483248"/>
                <a:gd name="csY58" fmla="*/ 11446 h 490281"/>
                <a:gd name="csX59" fmla="*/ 89523 w 1483248"/>
                <a:gd name="csY59" fmla="*/ 13531 h 490281"/>
                <a:gd name="csX60" fmla="*/ 86110 w 1483248"/>
                <a:gd name="csY60" fmla="*/ 13531 h 490281"/>
                <a:gd name="csX61" fmla="*/ 86110 w 1483248"/>
                <a:gd name="csY61" fmla="*/ 169581 h 490281"/>
                <a:gd name="csX62" fmla="*/ 89523 w 1483248"/>
                <a:gd name="csY62" fmla="*/ 169581 h 490281"/>
                <a:gd name="csX63" fmla="*/ 96649 w 1483248"/>
                <a:gd name="csY63" fmla="*/ 184257 h 490281"/>
                <a:gd name="csX64" fmla="*/ 86110 w 1483248"/>
                <a:gd name="csY64" fmla="*/ 184257 h 490281"/>
                <a:gd name="csX65" fmla="*/ 86110 w 1483248"/>
                <a:gd name="csY65" fmla="*/ 279276 h 490281"/>
                <a:gd name="csX66" fmla="*/ 405320 w 1483248"/>
                <a:gd name="csY66" fmla="*/ 279276 h 490281"/>
                <a:gd name="csX67" fmla="*/ 405320 w 1483248"/>
                <a:gd name="csY67" fmla="*/ 184257 h 490281"/>
                <a:gd name="csX68" fmla="*/ 394780 w 1483248"/>
                <a:gd name="csY68" fmla="*/ 184257 h 490281"/>
                <a:gd name="csX69" fmla="*/ 401907 w 1483248"/>
                <a:gd name="csY69" fmla="*/ 169581 h 490281"/>
                <a:gd name="csX70" fmla="*/ 405320 w 1483248"/>
                <a:gd name="csY70" fmla="*/ 169581 h 490281"/>
                <a:gd name="csX71" fmla="*/ 405320 w 1483248"/>
                <a:gd name="csY71" fmla="*/ 13531 h 490281"/>
                <a:gd name="csX72" fmla="*/ 401907 w 1483248"/>
                <a:gd name="csY72" fmla="*/ 13531 h 490281"/>
                <a:gd name="csX73" fmla="*/ 400892 w 1483248"/>
                <a:gd name="csY73" fmla="*/ 11446 h 490281"/>
                <a:gd name="csX74" fmla="*/ 453820 w 1483248"/>
                <a:gd name="csY74" fmla="*/ 249935 h 490281"/>
                <a:gd name="csX75" fmla="*/ 433295 w 1483248"/>
                <a:gd name="csY75" fmla="*/ 249935 h 490281"/>
                <a:gd name="csX76" fmla="*/ 433295 w 1483248"/>
                <a:gd name="csY76" fmla="*/ 264600 h 490281"/>
                <a:gd name="csX77" fmla="*/ 453820 w 1483248"/>
                <a:gd name="csY77" fmla="*/ 264600 h 490281"/>
                <a:gd name="csX78" fmla="*/ 486228 w 1483248"/>
                <a:gd name="csY78" fmla="*/ 11446 h 490281"/>
                <a:gd name="csX79" fmla="*/ 485213 w 1483248"/>
                <a:gd name="csY79" fmla="*/ 13531 h 490281"/>
                <a:gd name="csX80" fmla="*/ 481800 w 1483248"/>
                <a:gd name="csY80" fmla="*/ 13531 h 490281"/>
                <a:gd name="csX81" fmla="*/ 481800 w 1483248"/>
                <a:gd name="csY81" fmla="*/ 169581 h 490281"/>
                <a:gd name="csX82" fmla="*/ 485213 w 1483248"/>
                <a:gd name="csY82" fmla="*/ 169581 h 490281"/>
                <a:gd name="csX83" fmla="*/ 492340 w 1483248"/>
                <a:gd name="csY83" fmla="*/ 184257 h 490281"/>
                <a:gd name="csX84" fmla="*/ 481800 w 1483248"/>
                <a:gd name="csY84" fmla="*/ 184257 h 490281"/>
                <a:gd name="csX85" fmla="*/ 481800 w 1483248"/>
                <a:gd name="csY85" fmla="*/ 279276 h 490281"/>
                <a:gd name="csX86" fmla="*/ 654611 w 1483248"/>
                <a:gd name="csY86" fmla="*/ 279276 h 490281"/>
                <a:gd name="csX87" fmla="*/ 613699 w 1483248"/>
                <a:gd name="csY87" fmla="*/ 174261 h 490281"/>
                <a:gd name="csX88" fmla="*/ 613699 w 1483248"/>
                <a:gd name="csY88" fmla="*/ 11446 h 490281"/>
                <a:gd name="csX89" fmla="*/ 667142 w 1483248"/>
                <a:gd name="csY89" fmla="*/ 175956 h 490281"/>
                <a:gd name="csX90" fmla="*/ 667136 w 1483248"/>
                <a:gd name="csY90" fmla="*/ 175956 h 490281"/>
                <a:gd name="csX91" fmla="*/ 717913 w 1483248"/>
                <a:gd name="csY91" fmla="*/ 257270 h 490281"/>
                <a:gd name="csX92" fmla="*/ 768689 w 1483248"/>
                <a:gd name="csY92" fmla="*/ 175956 h 490281"/>
                <a:gd name="csX93" fmla="*/ 667142 w 1483248"/>
                <a:gd name="csY93" fmla="*/ 11446 h 490281"/>
                <a:gd name="csX94" fmla="*/ 667142 w 1483248"/>
                <a:gd name="csY94" fmla="*/ 169098 h 490281"/>
                <a:gd name="csX95" fmla="*/ 714484 w 1483248"/>
                <a:gd name="csY95" fmla="*/ 169098 h 490281"/>
                <a:gd name="csX96" fmla="*/ 714484 w 1483248"/>
                <a:gd name="csY96" fmla="*/ 11446 h 490281"/>
                <a:gd name="csX97" fmla="*/ 721342 w 1483248"/>
                <a:gd name="csY97" fmla="*/ 11446 h 490281"/>
                <a:gd name="csX98" fmla="*/ 721342 w 1483248"/>
                <a:gd name="csY98" fmla="*/ 169098 h 490281"/>
                <a:gd name="csX99" fmla="*/ 768689 w 1483248"/>
                <a:gd name="csY99" fmla="*/ 169098 h 490281"/>
                <a:gd name="csX100" fmla="*/ 768689 w 1483248"/>
                <a:gd name="csY100" fmla="*/ 11446 h 490281"/>
                <a:gd name="csX101" fmla="*/ 786498 w 1483248"/>
                <a:gd name="csY101" fmla="*/ 11446 h 490281"/>
                <a:gd name="csX102" fmla="*/ 786498 w 1483248"/>
                <a:gd name="csY102" fmla="*/ 174546 h 490281"/>
                <a:gd name="csX103" fmla="*/ 724145 w 1483248"/>
                <a:gd name="csY103" fmla="*/ 273960 h 490281"/>
                <a:gd name="csX104" fmla="*/ 717913 w 1483248"/>
                <a:gd name="csY104" fmla="*/ 276280 h 490281"/>
                <a:gd name="csX105" fmla="*/ 711686 w 1483248"/>
                <a:gd name="csY105" fmla="*/ 273960 h 490281"/>
                <a:gd name="csX106" fmla="*/ 649333 w 1483248"/>
                <a:gd name="csY106" fmla="*/ 174546 h 490281"/>
                <a:gd name="csX107" fmla="*/ 649333 w 1483248"/>
                <a:gd name="csY107" fmla="*/ 11446 h 490281"/>
                <a:gd name="csX108" fmla="*/ 631513 w 1483248"/>
                <a:gd name="csY108" fmla="*/ 11446 h 490281"/>
                <a:gd name="csX109" fmla="*/ 631513 w 1483248"/>
                <a:gd name="csY109" fmla="*/ 174393 h 490281"/>
                <a:gd name="csX110" fmla="*/ 682893 w 1483248"/>
                <a:gd name="csY110" fmla="*/ 279276 h 490281"/>
                <a:gd name="csX111" fmla="*/ 752938 w 1483248"/>
                <a:gd name="csY111" fmla="*/ 279276 h 490281"/>
                <a:gd name="csX112" fmla="*/ 804313 w 1483248"/>
                <a:gd name="csY112" fmla="*/ 174393 h 490281"/>
                <a:gd name="csX113" fmla="*/ 804313 w 1483248"/>
                <a:gd name="csY113" fmla="*/ 11446 h 490281"/>
                <a:gd name="csX114" fmla="*/ 822127 w 1483248"/>
                <a:gd name="csY114" fmla="*/ 11446 h 490281"/>
                <a:gd name="csX115" fmla="*/ 822127 w 1483248"/>
                <a:gd name="csY115" fmla="*/ 174261 h 490281"/>
                <a:gd name="csX116" fmla="*/ 781220 w 1483248"/>
                <a:gd name="csY116" fmla="*/ 279276 h 490281"/>
                <a:gd name="csX117" fmla="*/ 996304 w 1483248"/>
                <a:gd name="csY117" fmla="*/ 279276 h 490281"/>
                <a:gd name="csX118" fmla="*/ 996304 w 1483248"/>
                <a:gd name="csY118" fmla="*/ 184257 h 490281"/>
                <a:gd name="csX119" fmla="*/ 985764 w 1483248"/>
                <a:gd name="csY119" fmla="*/ 184257 h 490281"/>
                <a:gd name="csX120" fmla="*/ 992891 w 1483248"/>
                <a:gd name="csY120" fmla="*/ 169581 h 490281"/>
                <a:gd name="csX121" fmla="*/ 996304 w 1483248"/>
                <a:gd name="csY121" fmla="*/ 169581 h 490281"/>
                <a:gd name="csX122" fmla="*/ 996304 w 1483248"/>
                <a:gd name="csY122" fmla="*/ 13531 h 490281"/>
                <a:gd name="csX123" fmla="*/ 992891 w 1483248"/>
                <a:gd name="csY123" fmla="*/ 13531 h 490281"/>
                <a:gd name="csX124" fmla="*/ 991882 w 1483248"/>
                <a:gd name="csY124" fmla="*/ 11446 h 490281"/>
                <a:gd name="csX125" fmla="*/ 1044809 w 1483248"/>
                <a:gd name="csY125" fmla="*/ 249935 h 490281"/>
                <a:gd name="csX126" fmla="*/ 1024279 w 1483248"/>
                <a:gd name="csY126" fmla="*/ 249935 h 490281"/>
                <a:gd name="csX127" fmla="*/ 1024279 w 1483248"/>
                <a:gd name="csY127" fmla="*/ 264600 h 490281"/>
                <a:gd name="csX128" fmla="*/ 1044809 w 1483248"/>
                <a:gd name="csY128" fmla="*/ 264600 h 490281"/>
                <a:gd name="csX129" fmla="*/ 1391994 w 1483248"/>
                <a:gd name="csY129" fmla="*/ 184257 h 490281"/>
                <a:gd name="csX130" fmla="*/ 1381455 w 1483248"/>
                <a:gd name="csY130" fmla="*/ 184257 h 490281"/>
                <a:gd name="csX131" fmla="*/ 1388576 w 1483248"/>
                <a:gd name="csY131" fmla="*/ 169581 h 490281"/>
                <a:gd name="csX132" fmla="*/ 1391994 w 1483248"/>
                <a:gd name="csY132" fmla="*/ 169581 h 490281"/>
                <a:gd name="csX133" fmla="*/ 1391994 w 1483248"/>
                <a:gd name="csY133" fmla="*/ 13531 h 490281"/>
                <a:gd name="csX134" fmla="*/ 1388576 w 1483248"/>
                <a:gd name="csY134" fmla="*/ 13531 h 490281"/>
                <a:gd name="csX135" fmla="*/ 1387566 w 1483248"/>
                <a:gd name="csY135" fmla="*/ 11446 h 490281"/>
                <a:gd name="csX136" fmla="*/ 1292427 w 1483248"/>
                <a:gd name="csY136" fmla="*/ 11446 h 490281"/>
                <a:gd name="csX137" fmla="*/ 1292427 w 1483248"/>
                <a:gd name="csY137" fmla="*/ 142116 h 490281"/>
                <a:gd name="csX138" fmla="*/ 1279331 w 1483248"/>
                <a:gd name="csY138" fmla="*/ 158120 h 490281"/>
                <a:gd name="csX139" fmla="*/ 1279331 w 1483248"/>
                <a:gd name="csY139" fmla="*/ 169581 h 490281"/>
                <a:gd name="csX140" fmla="*/ 1240054 w 1483248"/>
                <a:gd name="csY140" fmla="*/ 169581 h 490281"/>
                <a:gd name="csX141" fmla="*/ 1200776 w 1483248"/>
                <a:gd name="csY141" fmla="*/ 169581 h 490281"/>
                <a:gd name="csX142" fmla="*/ 1200776 w 1483248"/>
                <a:gd name="csY142" fmla="*/ 158120 h 490281"/>
                <a:gd name="csX143" fmla="*/ 1187686 w 1483248"/>
                <a:gd name="csY143" fmla="*/ 142116 h 490281"/>
                <a:gd name="csX144" fmla="*/ 1187686 w 1483248"/>
                <a:gd name="csY144" fmla="*/ 11446 h 490281"/>
                <a:gd name="csX145" fmla="*/ 1077212 w 1483248"/>
                <a:gd name="csY145" fmla="*/ 11446 h 490281"/>
                <a:gd name="csX146" fmla="*/ 1076197 w 1483248"/>
                <a:gd name="csY146" fmla="*/ 13531 h 490281"/>
                <a:gd name="csX147" fmla="*/ 1072784 w 1483248"/>
                <a:gd name="csY147" fmla="*/ 13531 h 490281"/>
                <a:gd name="csX148" fmla="*/ 1072784 w 1483248"/>
                <a:gd name="csY148" fmla="*/ 169581 h 490281"/>
                <a:gd name="csX149" fmla="*/ 1076197 w 1483248"/>
                <a:gd name="csY149" fmla="*/ 169581 h 490281"/>
                <a:gd name="csX150" fmla="*/ 1083324 w 1483248"/>
                <a:gd name="csY150" fmla="*/ 184257 h 490281"/>
                <a:gd name="csX151" fmla="*/ 1072784 w 1483248"/>
                <a:gd name="csY151" fmla="*/ 184257 h 490281"/>
                <a:gd name="csX152" fmla="*/ 1072784 w 1483248"/>
                <a:gd name="csY152" fmla="*/ 279276 h 490281"/>
                <a:gd name="csX153" fmla="*/ 1391994 w 1483248"/>
                <a:gd name="csY153" fmla="*/ 279276 h 490281"/>
                <a:gd name="csX154" fmla="*/ 1391994 w 1483248"/>
                <a:gd name="csY154" fmla="*/ 184257 h 490281"/>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 ang="0">
                  <a:pos x="csX97" y="csY97"/>
                </a:cxn>
                <a:cxn ang="0">
                  <a:pos x="csX98" y="csY98"/>
                </a:cxn>
                <a:cxn ang="0">
                  <a:pos x="csX99" y="csY99"/>
                </a:cxn>
                <a:cxn ang="0">
                  <a:pos x="csX100" y="csY100"/>
                </a:cxn>
                <a:cxn ang="0">
                  <a:pos x="csX101" y="csY101"/>
                </a:cxn>
                <a:cxn ang="0">
                  <a:pos x="csX102" y="csY102"/>
                </a:cxn>
                <a:cxn ang="0">
                  <a:pos x="csX103" y="csY103"/>
                </a:cxn>
                <a:cxn ang="0">
                  <a:pos x="csX104" y="csY104"/>
                </a:cxn>
                <a:cxn ang="0">
                  <a:pos x="csX105" y="csY105"/>
                </a:cxn>
                <a:cxn ang="0">
                  <a:pos x="csX106" y="csY106"/>
                </a:cxn>
                <a:cxn ang="0">
                  <a:pos x="csX107" y="csY107"/>
                </a:cxn>
                <a:cxn ang="0">
                  <a:pos x="csX108" y="csY108"/>
                </a:cxn>
                <a:cxn ang="0">
                  <a:pos x="csX109" y="csY109"/>
                </a:cxn>
                <a:cxn ang="0">
                  <a:pos x="csX110" y="csY110"/>
                </a:cxn>
                <a:cxn ang="0">
                  <a:pos x="csX111" y="csY111"/>
                </a:cxn>
                <a:cxn ang="0">
                  <a:pos x="csX112" y="csY112"/>
                </a:cxn>
                <a:cxn ang="0">
                  <a:pos x="csX113" y="csY113"/>
                </a:cxn>
                <a:cxn ang="0">
                  <a:pos x="csX114" y="csY114"/>
                </a:cxn>
                <a:cxn ang="0">
                  <a:pos x="csX115" y="csY115"/>
                </a:cxn>
                <a:cxn ang="0">
                  <a:pos x="csX116" y="csY116"/>
                </a:cxn>
                <a:cxn ang="0">
                  <a:pos x="csX117" y="csY117"/>
                </a:cxn>
                <a:cxn ang="0">
                  <a:pos x="csX118" y="csY118"/>
                </a:cxn>
                <a:cxn ang="0">
                  <a:pos x="csX119" y="csY119"/>
                </a:cxn>
                <a:cxn ang="0">
                  <a:pos x="csX120" y="csY120"/>
                </a:cxn>
                <a:cxn ang="0">
                  <a:pos x="csX121" y="csY121"/>
                </a:cxn>
                <a:cxn ang="0">
                  <a:pos x="csX122" y="csY122"/>
                </a:cxn>
                <a:cxn ang="0">
                  <a:pos x="csX123" y="csY123"/>
                </a:cxn>
                <a:cxn ang="0">
                  <a:pos x="csX124" y="csY124"/>
                </a:cxn>
                <a:cxn ang="0">
                  <a:pos x="csX125" y="csY125"/>
                </a:cxn>
                <a:cxn ang="0">
                  <a:pos x="csX126" y="csY126"/>
                </a:cxn>
                <a:cxn ang="0">
                  <a:pos x="csX127" y="csY127"/>
                </a:cxn>
                <a:cxn ang="0">
                  <a:pos x="csX128" y="csY128"/>
                </a:cxn>
                <a:cxn ang="0">
                  <a:pos x="csX129" y="csY129"/>
                </a:cxn>
                <a:cxn ang="0">
                  <a:pos x="csX130" y="csY130"/>
                </a:cxn>
                <a:cxn ang="0">
                  <a:pos x="csX131" y="csY131"/>
                </a:cxn>
                <a:cxn ang="0">
                  <a:pos x="csX132" y="csY132"/>
                </a:cxn>
                <a:cxn ang="0">
                  <a:pos x="csX133" y="csY133"/>
                </a:cxn>
                <a:cxn ang="0">
                  <a:pos x="csX134" y="csY134"/>
                </a:cxn>
                <a:cxn ang="0">
                  <a:pos x="csX135" y="csY135"/>
                </a:cxn>
                <a:cxn ang="0">
                  <a:pos x="csX136" y="csY136"/>
                </a:cxn>
                <a:cxn ang="0">
                  <a:pos x="csX137" y="csY137"/>
                </a:cxn>
                <a:cxn ang="0">
                  <a:pos x="csX138" y="csY138"/>
                </a:cxn>
                <a:cxn ang="0">
                  <a:pos x="csX139" y="csY139"/>
                </a:cxn>
                <a:cxn ang="0">
                  <a:pos x="csX140" y="csY140"/>
                </a:cxn>
                <a:cxn ang="0">
                  <a:pos x="csX141" y="csY141"/>
                </a:cxn>
                <a:cxn ang="0">
                  <a:pos x="csX142" y="csY142"/>
                </a:cxn>
                <a:cxn ang="0">
                  <a:pos x="csX143" y="csY143"/>
                </a:cxn>
                <a:cxn ang="0">
                  <a:pos x="csX144" y="csY144"/>
                </a:cxn>
                <a:cxn ang="0">
                  <a:pos x="csX145" y="csY145"/>
                </a:cxn>
                <a:cxn ang="0">
                  <a:pos x="csX146" y="csY146"/>
                </a:cxn>
                <a:cxn ang="0">
                  <a:pos x="csX147" y="csY147"/>
                </a:cxn>
                <a:cxn ang="0">
                  <a:pos x="csX148" y="csY148"/>
                </a:cxn>
                <a:cxn ang="0">
                  <a:pos x="csX149" y="csY149"/>
                </a:cxn>
                <a:cxn ang="0">
                  <a:pos x="csX150" y="csY150"/>
                </a:cxn>
                <a:cxn ang="0">
                  <a:pos x="csX151" y="csY151"/>
                </a:cxn>
                <a:cxn ang="0">
                  <a:pos x="csX152" y="csY152"/>
                </a:cxn>
                <a:cxn ang="0">
                  <a:pos x="csX153" y="csY153"/>
                </a:cxn>
                <a:cxn ang="0">
                  <a:pos x="csX154" y="csY154"/>
                </a:cxn>
              </a:cxnLst>
              <a:rect l="l" t="t" r="r" b="b"/>
              <a:pathLst>
                <a:path w="1483248" h="490281">
                  <a:moveTo>
                    <a:pt x="1468469" y="290863"/>
                  </a:moveTo>
                  <a:lnTo>
                    <a:pt x="1468469" y="312727"/>
                  </a:lnTo>
                  <a:lnTo>
                    <a:pt x="1336867" y="485702"/>
                  </a:lnTo>
                  <a:lnTo>
                    <a:pt x="141243" y="485702"/>
                  </a:lnTo>
                  <a:lnTo>
                    <a:pt x="9630" y="312727"/>
                  </a:lnTo>
                  <a:lnTo>
                    <a:pt x="9630" y="290863"/>
                  </a:lnTo>
                  <a:lnTo>
                    <a:pt x="-2572" y="290863"/>
                  </a:lnTo>
                  <a:lnTo>
                    <a:pt x="-2572" y="279276"/>
                  </a:lnTo>
                  <a:lnTo>
                    <a:pt x="9630" y="279276"/>
                  </a:lnTo>
                  <a:lnTo>
                    <a:pt x="9630" y="184257"/>
                  </a:lnTo>
                  <a:lnTo>
                    <a:pt x="9630" y="169581"/>
                  </a:lnTo>
                  <a:lnTo>
                    <a:pt x="9630" y="13531"/>
                  </a:lnTo>
                  <a:lnTo>
                    <a:pt x="9630" y="11446"/>
                  </a:lnTo>
                  <a:lnTo>
                    <a:pt x="9630" y="-1150"/>
                  </a:lnTo>
                  <a:lnTo>
                    <a:pt x="96649" y="-1150"/>
                  </a:lnTo>
                  <a:lnTo>
                    <a:pt x="196941" y="-1150"/>
                  </a:lnTo>
                  <a:cubicBezTo>
                    <a:pt x="196941" y="-1397"/>
                    <a:pt x="196941" y="-1523"/>
                    <a:pt x="196941" y="-1523"/>
                  </a:cubicBezTo>
                  <a:lnTo>
                    <a:pt x="249314" y="-1523"/>
                  </a:lnTo>
                  <a:lnTo>
                    <a:pt x="301682" y="-1523"/>
                  </a:lnTo>
                  <a:cubicBezTo>
                    <a:pt x="301682" y="-1523"/>
                    <a:pt x="301682" y="-1397"/>
                    <a:pt x="301682" y="-1150"/>
                  </a:cubicBezTo>
                  <a:lnTo>
                    <a:pt x="394780" y="-1150"/>
                  </a:lnTo>
                  <a:lnTo>
                    <a:pt x="492340" y="-1150"/>
                  </a:lnTo>
                  <a:lnTo>
                    <a:pt x="613699" y="-1150"/>
                  </a:lnTo>
                  <a:lnTo>
                    <a:pt x="631513" y="-1150"/>
                  </a:lnTo>
                  <a:lnTo>
                    <a:pt x="649333" y="-1150"/>
                  </a:lnTo>
                  <a:lnTo>
                    <a:pt x="667142" y="-1150"/>
                  </a:lnTo>
                  <a:lnTo>
                    <a:pt x="714484" y="-1150"/>
                  </a:lnTo>
                  <a:cubicBezTo>
                    <a:pt x="714484" y="-3043"/>
                    <a:pt x="716020" y="-4579"/>
                    <a:pt x="717913" y="-4579"/>
                  </a:cubicBezTo>
                  <a:cubicBezTo>
                    <a:pt x="719811" y="-4579"/>
                    <a:pt x="721342" y="-3043"/>
                    <a:pt x="721342" y="-1150"/>
                  </a:cubicBezTo>
                  <a:lnTo>
                    <a:pt x="768689" y="-1150"/>
                  </a:lnTo>
                  <a:lnTo>
                    <a:pt x="786498" y="-1150"/>
                  </a:lnTo>
                  <a:lnTo>
                    <a:pt x="804313" y="-1150"/>
                  </a:lnTo>
                  <a:lnTo>
                    <a:pt x="822127" y="-1150"/>
                  </a:lnTo>
                  <a:lnTo>
                    <a:pt x="985764" y="-1150"/>
                  </a:lnTo>
                  <a:lnTo>
                    <a:pt x="1083324" y="-1150"/>
                  </a:lnTo>
                  <a:lnTo>
                    <a:pt x="1187686" y="-1150"/>
                  </a:lnTo>
                  <a:cubicBezTo>
                    <a:pt x="1187686" y="-1397"/>
                    <a:pt x="1187686" y="-1523"/>
                    <a:pt x="1187686" y="-1523"/>
                  </a:cubicBezTo>
                  <a:lnTo>
                    <a:pt x="1240054" y="-1523"/>
                  </a:lnTo>
                  <a:lnTo>
                    <a:pt x="1292427" y="-1523"/>
                  </a:lnTo>
                  <a:cubicBezTo>
                    <a:pt x="1292427" y="-1523"/>
                    <a:pt x="1292427" y="-1397"/>
                    <a:pt x="1292427" y="-1150"/>
                  </a:cubicBezTo>
                  <a:lnTo>
                    <a:pt x="1381455" y="-1150"/>
                  </a:lnTo>
                  <a:lnTo>
                    <a:pt x="1468469" y="-1150"/>
                  </a:lnTo>
                  <a:lnTo>
                    <a:pt x="1468469" y="11446"/>
                  </a:lnTo>
                  <a:lnTo>
                    <a:pt x="1468469" y="13531"/>
                  </a:lnTo>
                  <a:lnTo>
                    <a:pt x="1468469" y="169581"/>
                  </a:lnTo>
                  <a:lnTo>
                    <a:pt x="1468469" y="184257"/>
                  </a:lnTo>
                  <a:lnTo>
                    <a:pt x="1468469" y="279276"/>
                  </a:lnTo>
                  <a:lnTo>
                    <a:pt x="1480676" y="279276"/>
                  </a:lnTo>
                  <a:lnTo>
                    <a:pt x="1480676" y="290863"/>
                  </a:lnTo>
                  <a:close/>
                  <a:moveTo>
                    <a:pt x="301682" y="11446"/>
                  </a:moveTo>
                  <a:cubicBezTo>
                    <a:pt x="301682" y="44541"/>
                    <a:pt x="301682" y="130408"/>
                    <a:pt x="301682" y="142116"/>
                  </a:cubicBezTo>
                  <a:cubicBezTo>
                    <a:pt x="301682" y="156666"/>
                    <a:pt x="288591" y="158120"/>
                    <a:pt x="288591" y="158120"/>
                  </a:cubicBezTo>
                  <a:lnTo>
                    <a:pt x="288591" y="169581"/>
                  </a:lnTo>
                  <a:lnTo>
                    <a:pt x="249314" y="169581"/>
                  </a:lnTo>
                  <a:lnTo>
                    <a:pt x="210037" y="169581"/>
                  </a:lnTo>
                  <a:lnTo>
                    <a:pt x="210037" y="158120"/>
                  </a:lnTo>
                  <a:cubicBezTo>
                    <a:pt x="210037" y="158120"/>
                    <a:pt x="196941" y="156666"/>
                    <a:pt x="196941" y="142116"/>
                  </a:cubicBezTo>
                  <a:cubicBezTo>
                    <a:pt x="196941" y="130408"/>
                    <a:pt x="196941" y="44541"/>
                    <a:pt x="196941" y="11446"/>
                  </a:cubicBezTo>
                  <a:lnTo>
                    <a:pt x="90537" y="11446"/>
                  </a:lnTo>
                  <a:lnTo>
                    <a:pt x="89523" y="13531"/>
                  </a:lnTo>
                  <a:lnTo>
                    <a:pt x="86110" y="13531"/>
                  </a:lnTo>
                  <a:lnTo>
                    <a:pt x="86110" y="169581"/>
                  </a:lnTo>
                  <a:lnTo>
                    <a:pt x="89523" y="169581"/>
                  </a:lnTo>
                  <a:lnTo>
                    <a:pt x="96649" y="184257"/>
                  </a:lnTo>
                  <a:lnTo>
                    <a:pt x="86110" y="184257"/>
                  </a:lnTo>
                  <a:lnTo>
                    <a:pt x="86110" y="279276"/>
                  </a:lnTo>
                  <a:lnTo>
                    <a:pt x="405320" y="279276"/>
                  </a:lnTo>
                  <a:lnTo>
                    <a:pt x="405320" y="184257"/>
                  </a:lnTo>
                  <a:lnTo>
                    <a:pt x="394780" y="184257"/>
                  </a:lnTo>
                  <a:lnTo>
                    <a:pt x="401907" y="169581"/>
                  </a:lnTo>
                  <a:lnTo>
                    <a:pt x="405320" y="169581"/>
                  </a:lnTo>
                  <a:lnTo>
                    <a:pt x="405320" y="13531"/>
                  </a:lnTo>
                  <a:lnTo>
                    <a:pt x="401907" y="13531"/>
                  </a:lnTo>
                  <a:lnTo>
                    <a:pt x="400892" y="11446"/>
                  </a:lnTo>
                  <a:close/>
                  <a:moveTo>
                    <a:pt x="453820" y="249935"/>
                  </a:moveTo>
                  <a:lnTo>
                    <a:pt x="433295" y="249935"/>
                  </a:lnTo>
                  <a:lnTo>
                    <a:pt x="433295" y="264600"/>
                  </a:lnTo>
                  <a:lnTo>
                    <a:pt x="453820" y="264600"/>
                  </a:lnTo>
                  <a:close/>
                  <a:moveTo>
                    <a:pt x="486228" y="11446"/>
                  </a:moveTo>
                  <a:lnTo>
                    <a:pt x="485213" y="13531"/>
                  </a:lnTo>
                  <a:lnTo>
                    <a:pt x="481800" y="13531"/>
                  </a:lnTo>
                  <a:lnTo>
                    <a:pt x="481800" y="169581"/>
                  </a:lnTo>
                  <a:lnTo>
                    <a:pt x="485213" y="169581"/>
                  </a:lnTo>
                  <a:lnTo>
                    <a:pt x="492340" y="184257"/>
                  </a:lnTo>
                  <a:lnTo>
                    <a:pt x="481800" y="184257"/>
                  </a:lnTo>
                  <a:lnTo>
                    <a:pt x="481800" y="279276"/>
                  </a:lnTo>
                  <a:lnTo>
                    <a:pt x="654611" y="279276"/>
                  </a:lnTo>
                  <a:cubicBezTo>
                    <a:pt x="615120" y="240646"/>
                    <a:pt x="613529" y="186347"/>
                    <a:pt x="613699" y="174261"/>
                  </a:cubicBezTo>
                  <a:lnTo>
                    <a:pt x="613699" y="11446"/>
                  </a:lnTo>
                  <a:close/>
                  <a:moveTo>
                    <a:pt x="667142" y="175956"/>
                  </a:moveTo>
                  <a:cubicBezTo>
                    <a:pt x="667142" y="175956"/>
                    <a:pt x="667142" y="175956"/>
                    <a:pt x="667136" y="175956"/>
                  </a:cubicBezTo>
                  <a:cubicBezTo>
                    <a:pt x="667191" y="184630"/>
                    <a:pt x="669479" y="239193"/>
                    <a:pt x="717913" y="257270"/>
                  </a:cubicBezTo>
                  <a:cubicBezTo>
                    <a:pt x="766352" y="239193"/>
                    <a:pt x="768640" y="184636"/>
                    <a:pt x="768689" y="175956"/>
                  </a:cubicBezTo>
                  <a:close/>
                  <a:moveTo>
                    <a:pt x="667142" y="11446"/>
                  </a:moveTo>
                  <a:lnTo>
                    <a:pt x="667142" y="169098"/>
                  </a:lnTo>
                  <a:lnTo>
                    <a:pt x="714484" y="169098"/>
                  </a:lnTo>
                  <a:lnTo>
                    <a:pt x="714484" y="11446"/>
                  </a:lnTo>
                  <a:close/>
                  <a:moveTo>
                    <a:pt x="721342" y="11446"/>
                  </a:moveTo>
                  <a:lnTo>
                    <a:pt x="721342" y="169098"/>
                  </a:lnTo>
                  <a:lnTo>
                    <a:pt x="768689" y="169098"/>
                  </a:lnTo>
                  <a:lnTo>
                    <a:pt x="768689" y="11446"/>
                  </a:lnTo>
                  <a:close/>
                  <a:moveTo>
                    <a:pt x="786498" y="11446"/>
                  </a:moveTo>
                  <a:lnTo>
                    <a:pt x="786498" y="174546"/>
                  </a:lnTo>
                  <a:cubicBezTo>
                    <a:pt x="786619" y="180757"/>
                    <a:pt x="786520" y="250681"/>
                    <a:pt x="724145" y="273960"/>
                  </a:cubicBezTo>
                  <a:lnTo>
                    <a:pt x="717913" y="276280"/>
                  </a:lnTo>
                  <a:lnTo>
                    <a:pt x="711686" y="273960"/>
                  </a:lnTo>
                  <a:cubicBezTo>
                    <a:pt x="649311" y="250681"/>
                    <a:pt x="649212" y="180757"/>
                    <a:pt x="649333" y="174546"/>
                  </a:cubicBezTo>
                  <a:lnTo>
                    <a:pt x="649333" y="11446"/>
                  </a:lnTo>
                  <a:lnTo>
                    <a:pt x="631513" y="11446"/>
                  </a:lnTo>
                  <a:lnTo>
                    <a:pt x="631513" y="174393"/>
                  </a:lnTo>
                  <a:cubicBezTo>
                    <a:pt x="631376" y="183127"/>
                    <a:pt x="632215" y="245996"/>
                    <a:pt x="682893" y="279276"/>
                  </a:cubicBezTo>
                  <a:lnTo>
                    <a:pt x="752938" y="279276"/>
                  </a:lnTo>
                  <a:cubicBezTo>
                    <a:pt x="803616" y="245996"/>
                    <a:pt x="804455" y="183127"/>
                    <a:pt x="804313" y="174393"/>
                  </a:cubicBezTo>
                  <a:lnTo>
                    <a:pt x="804313" y="11446"/>
                  </a:lnTo>
                  <a:close/>
                  <a:moveTo>
                    <a:pt x="822127" y="11446"/>
                  </a:moveTo>
                  <a:lnTo>
                    <a:pt x="822127" y="174261"/>
                  </a:lnTo>
                  <a:cubicBezTo>
                    <a:pt x="822303" y="186347"/>
                    <a:pt x="820712" y="240646"/>
                    <a:pt x="781220" y="279276"/>
                  </a:cubicBezTo>
                  <a:lnTo>
                    <a:pt x="996304" y="279276"/>
                  </a:lnTo>
                  <a:lnTo>
                    <a:pt x="996304" y="184257"/>
                  </a:lnTo>
                  <a:lnTo>
                    <a:pt x="985764" y="184257"/>
                  </a:lnTo>
                  <a:lnTo>
                    <a:pt x="992891" y="169581"/>
                  </a:lnTo>
                  <a:lnTo>
                    <a:pt x="996304" y="169581"/>
                  </a:lnTo>
                  <a:lnTo>
                    <a:pt x="996304" y="13531"/>
                  </a:lnTo>
                  <a:lnTo>
                    <a:pt x="992891" y="13531"/>
                  </a:lnTo>
                  <a:lnTo>
                    <a:pt x="991882" y="11446"/>
                  </a:lnTo>
                  <a:close/>
                  <a:moveTo>
                    <a:pt x="1044809" y="249935"/>
                  </a:moveTo>
                  <a:lnTo>
                    <a:pt x="1024279" y="249935"/>
                  </a:lnTo>
                  <a:lnTo>
                    <a:pt x="1024279" y="264600"/>
                  </a:lnTo>
                  <a:lnTo>
                    <a:pt x="1044809" y="264600"/>
                  </a:lnTo>
                  <a:close/>
                  <a:moveTo>
                    <a:pt x="1391994" y="184257"/>
                  </a:moveTo>
                  <a:lnTo>
                    <a:pt x="1381455" y="184257"/>
                  </a:lnTo>
                  <a:lnTo>
                    <a:pt x="1388576" y="169581"/>
                  </a:lnTo>
                  <a:lnTo>
                    <a:pt x="1391994" y="169581"/>
                  </a:lnTo>
                  <a:lnTo>
                    <a:pt x="1391994" y="13531"/>
                  </a:lnTo>
                  <a:lnTo>
                    <a:pt x="1388576" y="13531"/>
                  </a:lnTo>
                  <a:lnTo>
                    <a:pt x="1387566" y="11446"/>
                  </a:lnTo>
                  <a:lnTo>
                    <a:pt x="1292427" y="11446"/>
                  </a:lnTo>
                  <a:cubicBezTo>
                    <a:pt x="1292427" y="44541"/>
                    <a:pt x="1292427" y="130408"/>
                    <a:pt x="1292427" y="142116"/>
                  </a:cubicBezTo>
                  <a:cubicBezTo>
                    <a:pt x="1292427" y="156666"/>
                    <a:pt x="1279331" y="158120"/>
                    <a:pt x="1279331" y="158120"/>
                  </a:cubicBezTo>
                  <a:lnTo>
                    <a:pt x="1279331" y="169581"/>
                  </a:lnTo>
                  <a:lnTo>
                    <a:pt x="1240054" y="169581"/>
                  </a:lnTo>
                  <a:lnTo>
                    <a:pt x="1200776" y="169581"/>
                  </a:lnTo>
                  <a:lnTo>
                    <a:pt x="1200776" y="158120"/>
                  </a:lnTo>
                  <a:cubicBezTo>
                    <a:pt x="1200776" y="158120"/>
                    <a:pt x="1187686" y="156666"/>
                    <a:pt x="1187686" y="142116"/>
                  </a:cubicBezTo>
                  <a:cubicBezTo>
                    <a:pt x="1187686" y="130408"/>
                    <a:pt x="1187686" y="44541"/>
                    <a:pt x="1187686" y="11446"/>
                  </a:cubicBezTo>
                  <a:lnTo>
                    <a:pt x="1077212" y="11446"/>
                  </a:lnTo>
                  <a:lnTo>
                    <a:pt x="1076197" y="13531"/>
                  </a:lnTo>
                  <a:lnTo>
                    <a:pt x="1072784" y="13531"/>
                  </a:lnTo>
                  <a:lnTo>
                    <a:pt x="1072784" y="169581"/>
                  </a:lnTo>
                  <a:lnTo>
                    <a:pt x="1076197" y="169581"/>
                  </a:lnTo>
                  <a:lnTo>
                    <a:pt x="1083324" y="184257"/>
                  </a:lnTo>
                  <a:lnTo>
                    <a:pt x="1072784" y="184257"/>
                  </a:lnTo>
                  <a:lnTo>
                    <a:pt x="1072784" y="279276"/>
                  </a:lnTo>
                  <a:lnTo>
                    <a:pt x="1391994" y="279276"/>
                  </a:lnTo>
                  <a:lnTo>
                    <a:pt x="1391994" y="184257"/>
                  </a:lnTo>
                </a:path>
              </a:pathLst>
            </a:custGeom>
            <a:grpFill/>
            <a:ln w="548" cap="flat">
              <a:noFill/>
              <a:prstDash val="solid"/>
              <a:miter/>
            </a:ln>
          </p:spPr>
          <p:txBody>
            <a:bodyPr/>
            <a:lstStyle/>
            <a:p>
              <a:endParaRPr lang="en-US"/>
            </a:p>
          </p:txBody>
        </p:sp>
        <p:sp>
          <p:nvSpPr>
            <p:cNvPr id="530" name="Freeform: Shape 529">
              <a:extLst>
                <a:ext uri="{FF2B5EF4-FFF2-40B4-BE49-F238E27FC236}">
                  <a16:creationId xmlns:a16="http://schemas.microsoft.com/office/drawing/2014/main" id="{48213A49-7602-82DA-78D8-85A2F4E490AD}"/>
                </a:ext>
              </a:extLst>
            </p:cNvPr>
            <p:cNvSpPr/>
            <p:nvPr/>
          </p:nvSpPr>
          <p:spPr>
            <a:xfrm flipV="1">
              <a:off x="18954387" y="4766722"/>
              <a:ext cx="13792" cy="14648"/>
            </a:xfrm>
            <a:custGeom>
              <a:avLst/>
              <a:gdLst>
                <a:gd name="csX0" fmla="*/ -2337 w 13792"/>
                <a:gd name="csY0" fmla="*/ -4349 h 14648"/>
                <a:gd name="csX1" fmla="*/ 11456 w 13792"/>
                <a:gd name="csY1" fmla="*/ -4349 h 14648"/>
                <a:gd name="csX2" fmla="*/ 11456 w 13792"/>
                <a:gd name="csY2" fmla="*/ 10299 h 14648"/>
                <a:gd name="csX3" fmla="*/ -2337 w 13792"/>
                <a:gd name="csY3" fmla="*/ 10299 h 14648"/>
                <a:gd name="csX4" fmla="*/ -2337 w 13792"/>
                <a:gd name="csY4" fmla="*/ -4349 h 14648"/>
              </a:gdLst>
              <a:ahLst/>
              <a:cxnLst>
                <a:cxn ang="0">
                  <a:pos x="csX0" y="csY0"/>
                </a:cxn>
                <a:cxn ang="0">
                  <a:pos x="csX1" y="csY1"/>
                </a:cxn>
                <a:cxn ang="0">
                  <a:pos x="csX2" y="csY2"/>
                </a:cxn>
                <a:cxn ang="0">
                  <a:pos x="csX3" y="csY3"/>
                </a:cxn>
                <a:cxn ang="0">
                  <a:pos x="csX4" y="csY4"/>
                </a:cxn>
              </a:cxnLst>
              <a:rect l="l" t="t" r="r" b="b"/>
              <a:pathLst>
                <a:path w="13792" h="14648">
                  <a:moveTo>
                    <a:pt x="-2337" y="-4349"/>
                  </a:moveTo>
                  <a:lnTo>
                    <a:pt x="11456" y="-4349"/>
                  </a:lnTo>
                  <a:lnTo>
                    <a:pt x="11456" y="10299"/>
                  </a:lnTo>
                  <a:lnTo>
                    <a:pt x="-2337" y="10299"/>
                  </a:lnTo>
                  <a:lnTo>
                    <a:pt x="-2337" y="-4349"/>
                  </a:lnTo>
                </a:path>
              </a:pathLst>
            </a:custGeom>
            <a:grpFill/>
            <a:ln w="548" cap="flat">
              <a:noFill/>
              <a:prstDash val="solid"/>
              <a:miter/>
            </a:ln>
          </p:spPr>
          <p:txBody>
            <a:bodyPr/>
            <a:lstStyle/>
            <a:p>
              <a:endParaRPr lang="en-US"/>
            </a:p>
          </p:txBody>
        </p:sp>
        <p:sp>
          <p:nvSpPr>
            <p:cNvPr id="531" name="Freeform: Shape 530">
              <a:extLst>
                <a:ext uri="{FF2B5EF4-FFF2-40B4-BE49-F238E27FC236}">
                  <a16:creationId xmlns:a16="http://schemas.microsoft.com/office/drawing/2014/main" id="{C67A515A-C98B-36FF-9B15-FA74283343B9}"/>
                </a:ext>
              </a:extLst>
            </p:cNvPr>
            <p:cNvSpPr/>
            <p:nvPr/>
          </p:nvSpPr>
          <p:spPr>
            <a:xfrm flipV="1">
              <a:off x="18954387" y="4749785"/>
              <a:ext cx="13792" cy="14648"/>
            </a:xfrm>
            <a:custGeom>
              <a:avLst/>
              <a:gdLst>
                <a:gd name="csX0" fmla="*/ -2337 w 13792"/>
                <a:gd name="csY0" fmla="*/ -4390 h 14648"/>
                <a:gd name="csX1" fmla="*/ 11456 w 13792"/>
                <a:gd name="csY1" fmla="*/ -4390 h 14648"/>
                <a:gd name="csX2" fmla="*/ 11456 w 13792"/>
                <a:gd name="csY2" fmla="*/ 10259 h 14648"/>
                <a:gd name="csX3" fmla="*/ -2337 w 13792"/>
                <a:gd name="csY3" fmla="*/ 10259 h 14648"/>
                <a:gd name="csX4" fmla="*/ -2337 w 13792"/>
                <a:gd name="csY4" fmla="*/ -4390 h 14648"/>
              </a:gdLst>
              <a:ahLst/>
              <a:cxnLst>
                <a:cxn ang="0">
                  <a:pos x="csX0" y="csY0"/>
                </a:cxn>
                <a:cxn ang="0">
                  <a:pos x="csX1" y="csY1"/>
                </a:cxn>
                <a:cxn ang="0">
                  <a:pos x="csX2" y="csY2"/>
                </a:cxn>
                <a:cxn ang="0">
                  <a:pos x="csX3" y="csY3"/>
                </a:cxn>
                <a:cxn ang="0">
                  <a:pos x="csX4" y="csY4"/>
                </a:cxn>
              </a:cxnLst>
              <a:rect l="l" t="t" r="r" b="b"/>
              <a:pathLst>
                <a:path w="13792" h="14648">
                  <a:moveTo>
                    <a:pt x="-2337" y="-4390"/>
                  </a:moveTo>
                  <a:lnTo>
                    <a:pt x="11456" y="-4390"/>
                  </a:lnTo>
                  <a:lnTo>
                    <a:pt x="11456" y="10259"/>
                  </a:lnTo>
                  <a:lnTo>
                    <a:pt x="-2337" y="10259"/>
                  </a:lnTo>
                  <a:lnTo>
                    <a:pt x="-2337" y="-4390"/>
                  </a:lnTo>
                </a:path>
              </a:pathLst>
            </a:custGeom>
            <a:grpFill/>
            <a:ln w="548" cap="flat">
              <a:noFill/>
              <a:prstDash val="solid"/>
              <a:miter/>
            </a:ln>
          </p:spPr>
          <p:txBody>
            <a:bodyPr/>
            <a:lstStyle/>
            <a:p>
              <a:endParaRPr lang="en-US"/>
            </a:p>
          </p:txBody>
        </p:sp>
        <p:sp>
          <p:nvSpPr>
            <p:cNvPr id="532" name="Freeform: Shape 531">
              <a:extLst>
                <a:ext uri="{FF2B5EF4-FFF2-40B4-BE49-F238E27FC236}">
                  <a16:creationId xmlns:a16="http://schemas.microsoft.com/office/drawing/2014/main" id="{38F788BE-4E75-DBFD-1C37-5F16E507DC50}"/>
                </a:ext>
              </a:extLst>
            </p:cNvPr>
            <p:cNvSpPr/>
            <p:nvPr/>
          </p:nvSpPr>
          <p:spPr>
            <a:xfrm flipV="1">
              <a:off x="18970462" y="4749785"/>
              <a:ext cx="13792" cy="14648"/>
            </a:xfrm>
            <a:custGeom>
              <a:avLst/>
              <a:gdLst>
                <a:gd name="csX0" fmla="*/ -2357 w 13792"/>
                <a:gd name="csY0" fmla="*/ -4390 h 14648"/>
                <a:gd name="csX1" fmla="*/ 11436 w 13792"/>
                <a:gd name="csY1" fmla="*/ -4390 h 14648"/>
                <a:gd name="csX2" fmla="*/ 11436 w 13792"/>
                <a:gd name="csY2" fmla="*/ 10259 h 14648"/>
                <a:gd name="csX3" fmla="*/ -2357 w 13792"/>
                <a:gd name="csY3" fmla="*/ 10259 h 14648"/>
                <a:gd name="csX4" fmla="*/ -2357 w 13792"/>
                <a:gd name="csY4" fmla="*/ -4390 h 14648"/>
              </a:gdLst>
              <a:ahLst/>
              <a:cxnLst>
                <a:cxn ang="0">
                  <a:pos x="csX0" y="csY0"/>
                </a:cxn>
                <a:cxn ang="0">
                  <a:pos x="csX1" y="csY1"/>
                </a:cxn>
                <a:cxn ang="0">
                  <a:pos x="csX2" y="csY2"/>
                </a:cxn>
                <a:cxn ang="0">
                  <a:pos x="csX3" y="csY3"/>
                </a:cxn>
                <a:cxn ang="0">
                  <a:pos x="csX4" y="csY4"/>
                </a:cxn>
              </a:cxnLst>
              <a:rect l="l" t="t" r="r" b="b"/>
              <a:pathLst>
                <a:path w="13792" h="14648">
                  <a:moveTo>
                    <a:pt x="-2357" y="-4390"/>
                  </a:moveTo>
                  <a:lnTo>
                    <a:pt x="11436" y="-4390"/>
                  </a:lnTo>
                  <a:lnTo>
                    <a:pt x="11436" y="10259"/>
                  </a:lnTo>
                  <a:lnTo>
                    <a:pt x="-2357" y="10259"/>
                  </a:lnTo>
                  <a:lnTo>
                    <a:pt x="-2357" y="-4390"/>
                  </a:lnTo>
                </a:path>
              </a:pathLst>
            </a:custGeom>
            <a:grpFill/>
            <a:ln w="548" cap="flat">
              <a:noFill/>
              <a:prstDash val="solid"/>
              <a:miter/>
            </a:ln>
          </p:spPr>
          <p:txBody>
            <a:bodyPr/>
            <a:lstStyle/>
            <a:p>
              <a:endParaRPr lang="en-US"/>
            </a:p>
          </p:txBody>
        </p:sp>
        <p:sp>
          <p:nvSpPr>
            <p:cNvPr id="533" name="Freeform: Shape 532">
              <a:extLst>
                <a:ext uri="{FF2B5EF4-FFF2-40B4-BE49-F238E27FC236}">
                  <a16:creationId xmlns:a16="http://schemas.microsoft.com/office/drawing/2014/main" id="{395B35D1-2E4A-A5E3-6CB8-DBC2A7456A1B}"/>
                </a:ext>
              </a:extLst>
            </p:cNvPr>
            <p:cNvSpPr/>
            <p:nvPr/>
          </p:nvSpPr>
          <p:spPr>
            <a:xfrm flipV="1">
              <a:off x="18970462" y="4766722"/>
              <a:ext cx="13792" cy="14648"/>
            </a:xfrm>
            <a:custGeom>
              <a:avLst/>
              <a:gdLst>
                <a:gd name="csX0" fmla="*/ -2357 w 13792"/>
                <a:gd name="csY0" fmla="*/ -4349 h 14648"/>
                <a:gd name="csX1" fmla="*/ 11436 w 13792"/>
                <a:gd name="csY1" fmla="*/ -4349 h 14648"/>
                <a:gd name="csX2" fmla="*/ 11436 w 13792"/>
                <a:gd name="csY2" fmla="*/ 10299 h 14648"/>
                <a:gd name="csX3" fmla="*/ -2357 w 13792"/>
                <a:gd name="csY3" fmla="*/ 10299 h 14648"/>
                <a:gd name="csX4" fmla="*/ -2357 w 13792"/>
                <a:gd name="csY4" fmla="*/ -4349 h 14648"/>
              </a:gdLst>
              <a:ahLst/>
              <a:cxnLst>
                <a:cxn ang="0">
                  <a:pos x="csX0" y="csY0"/>
                </a:cxn>
                <a:cxn ang="0">
                  <a:pos x="csX1" y="csY1"/>
                </a:cxn>
                <a:cxn ang="0">
                  <a:pos x="csX2" y="csY2"/>
                </a:cxn>
                <a:cxn ang="0">
                  <a:pos x="csX3" y="csY3"/>
                </a:cxn>
                <a:cxn ang="0">
                  <a:pos x="csX4" y="csY4"/>
                </a:cxn>
              </a:cxnLst>
              <a:rect l="l" t="t" r="r" b="b"/>
              <a:pathLst>
                <a:path w="13792" h="14648">
                  <a:moveTo>
                    <a:pt x="-2357" y="-4349"/>
                  </a:moveTo>
                  <a:lnTo>
                    <a:pt x="11436" y="-4349"/>
                  </a:lnTo>
                  <a:lnTo>
                    <a:pt x="11436" y="10299"/>
                  </a:lnTo>
                  <a:lnTo>
                    <a:pt x="-2357" y="10299"/>
                  </a:lnTo>
                  <a:lnTo>
                    <a:pt x="-2357" y="-4349"/>
                  </a:lnTo>
                </a:path>
              </a:pathLst>
            </a:custGeom>
            <a:grpFill/>
            <a:ln w="548" cap="flat">
              <a:noFill/>
              <a:prstDash val="solid"/>
              <a:miter/>
            </a:ln>
          </p:spPr>
          <p:txBody>
            <a:bodyPr/>
            <a:lstStyle/>
            <a:p>
              <a:endParaRPr lang="en-US"/>
            </a:p>
          </p:txBody>
        </p:sp>
        <p:sp>
          <p:nvSpPr>
            <p:cNvPr id="534" name="Freeform: Shape 533">
              <a:extLst>
                <a:ext uri="{FF2B5EF4-FFF2-40B4-BE49-F238E27FC236}">
                  <a16:creationId xmlns:a16="http://schemas.microsoft.com/office/drawing/2014/main" id="{DDD463C3-9E03-028C-3F2A-E0669A25C4F7}"/>
                </a:ext>
              </a:extLst>
            </p:cNvPr>
            <p:cNvSpPr/>
            <p:nvPr/>
          </p:nvSpPr>
          <p:spPr>
            <a:xfrm flipV="1">
              <a:off x="18954387" y="4783653"/>
              <a:ext cx="13792" cy="12728"/>
            </a:xfrm>
            <a:custGeom>
              <a:avLst/>
              <a:gdLst>
                <a:gd name="csX0" fmla="*/ -2337 w 13792"/>
                <a:gd name="csY0" fmla="*/ -4311 h 12728"/>
                <a:gd name="csX1" fmla="*/ 11456 w 13792"/>
                <a:gd name="csY1" fmla="*/ -4311 h 12728"/>
                <a:gd name="csX2" fmla="*/ 11456 w 13792"/>
                <a:gd name="csY2" fmla="*/ 8418 h 12728"/>
                <a:gd name="csX3" fmla="*/ -2337 w 13792"/>
                <a:gd name="csY3" fmla="*/ 8418 h 12728"/>
                <a:gd name="csX4" fmla="*/ -2337 w 13792"/>
                <a:gd name="csY4" fmla="*/ -4311 h 12728"/>
              </a:gdLst>
              <a:ahLst/>
              <a:cxnLst>
                <a:cxn ang="0">
                  <a:pos x="csX0" y="csY0"/>
                </a:cxn>
                <a:cxn ang="0">
                  <a:pos x="csX1" y="csY1"/>
                </a:cxn>
                <a:cxn ang="0">
                  <a:pos x="csX2" y="csY2"/>
                </a:cxn>
                <a:cxn ang="0">
                  <a:pos x="csX3" y="csY3"/>
                </a:cxn>
                <a:cxn ang="0">
                  <a:pos x="csX4" y="csY4"/>
                </a:cxn>
              </a:cxnLst>
              <a:rect l="l" t="t" r="r" b="b"/>
              <a:pathLst>
                <a:path w="13792" h="12728">
                  <a:moveTo>
                    <a:pt x="-2337" y="-4311"/>
                  </a:moveTo>
                  <a:lnTo>
                    <a:pt x="11456" y="-4311"/>
                  </a:lnTo>
                  <a:lnTo>
                    <a:pt x="11456" y="8418"/>
                  </a:lnTo>
                  <a:lnTo>
                    <a:pt x="-2337" y="8418"/>
                  </a:lnTo>
                  <a:lnTo>
                    <a:pt x="-2337" y="-4311"/>
                  </a:lnTo>
                </a:path>
              </a:pathLst>
            </a:custGeom>
            <a:grpFill/>
            <a:ln w="548" cap="flat">
              <a:noFill/>
              <a:prstDash val="solid"/>
              <a:miter/>
            </a:ln>
          </p:spPr>
          <p:txBody>
            <a:bodyPr/>
            <a:lstStyle/>
            <a:p>
              <a:endParaRPr lang="en-US"/>
            </a:p>
          </p:txBody>
        </p:sp>
        <p:sp>
          <p:nvSpPr>
            <p:cNvPr id="535" name="Freeform: Shape 534">
              <a:extLst>
                <a:ext uri="{FF2B5EF4-FFF2-40B4-BE49-F238E27FC236}">
                  <a16:creationId xmlns:a16="http://schemas.microsoft.com/office/drawing/2014/main" id="{0D46FAC9-C8DD-6AFE-3B70-D9CC8A95145A}"/>
                </a:ext>
              </a:extLst>
            </p:cNvPr>
            <p:cNvSpPr/>
            <p:nvPr/>
          </p:nvSpPr>
          <p:spPr>
            <a:xfrm flipV="1">
              <a:off x="18970462" y="4783653"/>
              <a:ext cx="13792" cy="12728"/>
            </a:xfrm>
            <a:custGeom>
              <a:avLst/>
              <a:gdLst>
                <a:gd name="csX0" fmla="*/ -2357 w 13792"/>
                <a:gd name="csY0" fmla="*/ -4311 h 12728"/>
                <a:gd name="csX1" fmla="*/ 11436 w 13792"/>
                <a:gd name="csY1" fmla="*/ -4311 h 12728"/>
                <a:gd name="csX2" fmla="*/ 11436 w 13792"/>
                <a:gd name="csY2" fmla="*/ 8418 h 12728"/>
                <a:gd name="csX3" fmla="*/ -2357 w 13792"/>
                <a:gd name="csY3" fmla="*/ 8418 h 12728"/>
                <a:gd name="csX4" fmla="*/ -2357 w 13792"/>
                <a:gd name="csY4" fmla="*/ -4311 h 12728"/>
              </a:gdLst>
              <a:ahLst/>
              <a:cxnLst>
                <a:cxn ang="0">
                  <a:pos x="csX0" y="csY0"/>
                </a:cxn>
                <a:cxn ang="0">
                  <a:pos x="csX1" y="csY1"/>
                </a:cxn>
                <a:cxn ang="0">
                  <a:pos x="csX2" y="csY2"/>
                </a:cxn>
                <a:cxn ang="0">
                  <a:pos x="csX3" y="csY3"/>
                </a:cxn>
                <a:cxn ang="0">
                  <a:pos x="csX4" y="csY4"/>
                </a:cxn>
              </a:cxnLst>
              <a:rect l="l" t="t" r="r" b="b"/>
              <a:pathLst>
                <a:path w="13792" h="12728">
                  <a:moveTo>
                    <a:pt x="-2357" y="-4311"/>
                  </a:moveTo>
                  <a:lnTo>
                    <a:pt x="11436" y="-4311"/>
                  </a:lnTo>
                  <a:lnTo>
                    <a:pt x="11436" y="8418"/>
                  </a:lnTo>
                  <a:lnTo>
                    <a:pt x="-2357" y="8418"/>
                  </a:lnTo>
                  <a:lnTo>
                    <a:pt x="-2357" y="-4311"/>
                  </a:lnTo>
                </a:path>
              </a:pathLst>
            </a:custGeom>
            <a:grpFill/>
            <a:ln w="548" cap="flat">
              <a:noFill/>
              <a:prstDash val="solid"/>
              <a:miter/>
            </a:ln>
          </p:spPr>
          <p:txBody>
            <a:bodyPr/>
            <a:lstStyle/>
            <a:p>
              <a:endParaRPr lang="en-US"/>
            </a:p>
          </p:txBody>
        </p:sp>
        <p:sp>
          <p:nvSpPr>
            <p:cNvPr id="536" name="Freeform: Shape 535">
              <a:extLst>
                <a:ext uri="{FF2B5EF4-FFF2-40B4-BE49-F238E27FC236}">
                  <a16:creationId xmlns:a16="http://schemas.microsoft.com/office/drawing/2014/main" id="{5DE3D18C-6F6D-3A51-49CA-C98B0D4E307F}"/>
                </a:ext>
              </a:extLst>
            </p:cNvPr>
            <p:cNvSpPr/>
            <p:nvPr/>
          </p:nvSpPr>
          <p:spPr>
            <a:xfrm flipV="1">
              <a:off x="18970462" y="4734774"/>
              <a:ext cx="13792" cy="12728"/>
            </a:xfrm>
            <a:custGeom>
              <a:avLst/>
              <a:gdLst>
                <a:gd name="csX0" fmla="*/ -2357 w 13792"/>
                <a:gd name="csY0" fmla="*/ -4429 h 12728"/>
                <a:gd name="csX1" fmla="*/ 11436 w 13792"/>
                <a:gd name="csY1" fmla="*/ -4429 h 12728"/>
                <a:gd name="csX2" fmla="*/ 11436 w 13792"/>
                <a:gd name="csY2" fmla="*/ 8300 h 12728"/>
                <a:gd name="csX3" fmla="*/ -2357 w 13792"/>
                <a:gd name="csY3" fmla="*/ 8300 h 12728"/>
                <a:gd name="csX4" fmla="*/ -2357 w 13792"/>
                <a:gd name="csY4" fmla="*/ -4429 h 12728"/>
              </a:gdLst>
              <a:ahLst/>
              <a:cxnLst>
                <a:cxn ang="0">
                  <a:pos x="csX0" y="csY0"/>
                </a:cxn>
                <a:cxn ang="0">
                  <a:pos x="csX1" y="csY1"/>
                </a:cxn>
                <a:cxn ang="0">
                  <a:pos x="csX2" y="csY2"/>
                </a:cxn>
                <a:cxn ang="0">
                  <a:pos x="csX3" y="csY3"/>
                </a:cxn>
                <a:cxn ang="0">
                  <a:pos x="csX4" y="csY4"/>
                </a:cxn>
              </a:cxnLst>
              <a:rect l="l" t="t" r="r" b="b"/>
              <a:pathLst>
                <a:path w="13792" h="12728">
                  <a:moveTo>
                    <a:pt x="-2357" y="-4429"/>
                  </a:moveTo>
                  <a:lnTo>
                    <a:pt x="11436" y="-4429"/>
                  </a:lnTo>
                  <a:lnTo>
                    <a:pt x="11436" y="8300"/>
                  </a:lnTo>
                  <a:lnTo>
                    <a:pt x="-2357" y="8300"/>
                  </a:lnTo>
                  <a:lnTo>
                    <a:pt x="-2357" y="-4429"/>
                  </a:lnTo>
                </a:path>
              </a:pathLst>
            </a:custGeom>
            <a:grpFill/>
            <a:ln w="548" cap="flat">
              <a:noFill/>
              <a:prstDash val="solid"/>
              <a:miter/>
            </a:ln>
          </p:spPr>
          <p:txBody>
            <a:bodyPr/>
            <a:lstStyle/>
            <a:p>
              <a:endParaRPr lang="en-US"/>
            </a:p>
          </p:txBody>
        </p:sp>
        <p:sp>
          <p:nvSpPr>
            <p:cNvPr id="537" name="Freeform: Shape 536">
              <a:extLst>
                <a:ext uri="{FF2B5EF4-FFF2-40B4-BE49-F238E27FC236}">
                  <a16:creationId xmlns:a16="http://schemas.microsoft.com/office/drawing/2014/main" id="{824C5389-9089-3978-7184-F3051DFB5D41}"/>
                </a:ext>
              </a:extLst>
            </p:cNvPr>
            <p:cNvSpPr/>
            <p:nvPr/>
          </p:nvSpPr>
          <p:spPr>
            <a:xfrm flipV="1">
              <a:off x="18954387" y="4734774"/>
              <a:ext cx="13792" cy="12728"/>
            </a:xfrm>
            <a:custGeom>
              <a:avLst/>
              <a:gdLst>
                <a:gd name="csX0" fmla="*/ -2337 w 13792"/>
                <a:gd name="csY0" fmla="*/ -4429 h 12728"/>
                <a:gd name="csX1" fmla="*/ 11456 w 13792"/>
                <a:gd name="csY1" fmla="*/ -4429 h 12728"/>
                <a:gd name="csX2" fmla="*/ 11456 w 13792"/>
                <a:gd name="csY2" fmla="*/ 8300 h 12728"/>
                <a:gd name="csX3" fmla="*/ -2337 w 13792"/>
                <a:gd name="csY3" fmla="*/ 8300 h 12728"/>
                <a:gd name="csX4" fmla="*/ -2337 w 13792"/>
                <a:gd name="csY4" fmla="*/ -4429 h 12728"/>
              </a:gdLst>
              <a:ahLst/>
              <a:cxnLst>
                <a:cxn ang="0">
                  <a:pos x="csX0" y="csY0"/>
                </a:cxn>
                <a:cxn ang="0">
                  <a:pos x="csX1" y="csY1"/>
                </a:cxn>
                <a:cxn ang="0">
                  <a:pos x="csX2" y="csY2"/>
                </a:cxn>
                <a:cxn ang="0">
                  <a:pos x="csX3" y="csY3"/>
                </a:cxn>
                <a:cxn ang="0">
                  <a:pos x="csX4" y="csY4"/>
                </a:cxn>
              </a:cxnLst>
              <a:rect l="l" t="t" r="r" b="b"/>
              <a:pathLst>
                <a:path w="13792" h="12728">
                  <a:moveTo>
                    <a:pt x="-2337" y="-4429"/>
                  </a:moveTo>
                  <a:lnTo>
                    <a:pt x="11456" y="-4429"/>
                  </a:lnTo>
                  <a:lnTo>
                    <a:pt x="11456" y="8300"/>
                  </a:lnTo>
                  <a:lnTo>
                    <a:pt x="-2337" y="8300"/>
                  </a:lnTo>
                  <a:lnTo>
                    <a:pt x="-2337" y="-4429"/>
                  </a:lnTo>
                </a:path>
              </a:pathLst>
            </a:custGeom>
            <a:grpFill/>
            <a:ln w="548" cap="flat">
              <a:noFill/>
              <a:prstDash val="solid"/>
              <a:miter/>
            </a:ln>
          </p:spPr>
          <p:txBody>
            <a:bodyPr/>
            <a:lstStyle/>
            <a:p>
              <a:endParaRPr lang="en-US"/>
            </a:p>
          </p:txBody>
        </p:sp>
        <p:sp>
          <p:nvSpPr>
            <p:cNvPr id="538" name="Freeform: Shape 537">
              <a:extLst>
                <a:ext uri="{FF2B5EF4-FFF2-40B4-BE49-F238E27FC236}">
                  <a16:creationId xmlns:a16="http://schemas.microsoft.com/office/drawing/2014/main" id="{ABD4457C-C8A7-C884-B9F9-566928F5F16A}"/>
                </a:ext>
              </a:extLst>
            </p:cNvPr>
            <p:cNvSpPr/>
            <p:nvPr/>
          </p:nvSpPr>
          <p:spPr>
            <a:xfrm flipV="1">
              <a:off x="19314043" y="4766722"/>
              <a:ext cx="13792" cy="14648"/>
            </a:xfrm>
            <a:custGeom>
              <a:avLst/>
              <a:gdLst>
                <a:gd name="csX0" fmla="*/ -2783 w 13792"/>
                <a:gd name="csY0" fmla="*/ -4349 h 14648"/>
                <a:gd name="csX1" fmla="*/ 11010 w 13792"/>
                <a:gd name="csY1" fmla="*/ -4349 h 14648"/>
                <a:gd name="csX2" fmla="*/ 11010 w 13792"/>
                <a:gd name="csY2" fmla="*/ 10299 h 14648"/>
                <a:gd name="csX3" fmla="*/ -2783 w 13792"/>
                <a:gd name="csY3" fmla="*/ 10299 h 14648"/>
                <a:gd name="csX4" fmla="*/ -2783 w 13792"/>
                <a:gd name="csY4" fmla="*/ -4349 h 14648"/>
              </a:gdLst>
              <a:ahLst/>
              <a:cxnLst>
                <a:cxn ang="0">
                  <a:pos x="csX0" y="csY0"/>
                </a:cxn>
                <a:cxn ang="0">
                  <a:pos x="csX1" y="csY1"/>
                </a:cxn>
                <a:cxn ang="0">
                  <a:pos x="csX2" y="csY2"/>
                </a:cxn>
                <a:cxn ang="0">
                  <a:pos x="csX3" y="csY3"/>
                </a:cxn>
                <a:cxn ang="0">
                  <a:pos x="csX4" y="csY4"/>
                </a:cxn>
              </a:cxnLst>
              <a:rect l="l" t="t" r="r" b="b"/>
              <a:pathLst>
                <a:path w="13792" h="14648">
                  <a:moveTo>
                    <a:pt x="-2783" y="-4349"/>
                  </a:moveTo>
                  <a:lnTo>
                    <a:pt x="11010" y="-4349"/>
                  </a:lnTo>
                  <a:lnTo>
                    <a:pt x="11010" y="10299"/>
                  </a:lnTo>
                  <a:lnTo>
                    <a:pt x="-2783" y="10299"/>
                  </a:lnTo>
                  <a:lnTo>
                    <a:pt x="-2783" y="-4349"/>
                  </a:lnTo>
                </a:path>
              </a:pathLst>
            </a:custGeom>
            <a:grpFill/>
            <a:ln w="548" cap="flat">
              <a:noFill/>
              <a:prstDash val="solid"/>
              <a:miter/>
            </a:ln>
          </p:spPr>
          <p:txBody>
            <a:bodyPr/>
            <a:lstStyle/>
            <a:p>
              <a:endParaRPr lang="en-US"/>
            </a:p>
          </p:txBody>
        </p:sp>
        <p:sp>
          <p:nvSpPr>
            <p:cNvPr id="539" name="Freeform: Shape 538">
              <a:extLst>
                <a:ext uri="{FF2B5EF4-FFF2-40B4-BE49-F238E27FC236}">
                  <a16:creationId xmlns:a16="http://schemas.microsoft.com/office/drawing/2014/main" id="{117FDDD3-EF98-0B7D-721B-0F76CAA29997}"/>
                </a:ext>
              </a:extLst>
            </p:cNvPr>
            <p:cNvSpPr/>
            <p:nvPr/>
          </p:nvSpPr>
          <p:spPr>
            <a:xfrm flipV="1">
              <a:off x="19297962" y="4766722"/>
              <a:ext cx="13792" cy="14648"/>
            </a:xfrm>
            <a:custGeom>
              <a:avLst/>
              <a:gdLst>
                <a:gd name="csX0" fmla="*/ -2763 w 13792"/>
                <a:gd name="csY0" fmla="*/ -4349 h 14648"/>
                <a:gd name="csX1" fmla="*/ 11030 w 13792"/>
                <a:gd name="csY1" fmla="*/ -4349 h 14648"/>
                <a:gd name="csX2" fmla="*/ 11030 w 13792"/>
                <a:gd name="csY2" fmla="*/ 10299 h 14648"/>
                <a:gd name="csX3" fmla="*/ -2763 w 13792"/>
                <a:gd name="csY3" fmla="*/ 10299 h 14648"/>
                <a:gd name="csX4" fmla="*/ -2763 w 13792"/>
                <a:gd name="csY4" fmla="*/ -4349 h 14648"/>
              </a:gdLst>
              <a:ahLst/>
              <a:cxnLst>
                <a:cxn ang="0">
                  <a:pos x="csX0" y="csY0"/>
                </a:cxn>
                <a:cxn ang="0">
                  <a:pos x="csX1" y="csY1"/>
                </a:cxn>
                <a:cxn ang="0">
                  <a:pos x="csX2" y="csY2"/>
                </a:cxn>
                <a:cxn ang="0">
                  <a:pos x="csX3" y="csY3"/>
                </a:cxn>
                <a:cxn ang="0">
                  <a:pos x="csX4" y="csY4"/>
                </a:cxn>
              </a:cxnLst>
              <a:rect l="l" t="t" r="r" b="b"/>
              <a:pathLst>
                <a:path w="13792" h="14648">
                  <a:moveTo>
                    <a:pt x="-2763" y="-4349"/>
                  </a:moveTo>
                  <a:lnTo>
                    <a:pt x="11030" y="-4349"/>
                  </a:lnTo>
                  <a:lnTo>
                    <a:pt x="11030" y="10299"/>
                  </a:lnTo>
                  <a:lnTo>
                    <a:pt x="-2763" y="10299"/>
                  </a:lnTo>
                  <a:lnTo>
                    <a:pt x="-2763" y="-4349"/>
                  </a:lnTo>
                </a:path>
              </a:pathLst>
            </a:custGeom>
            <a:grpFill/>
            <a:ln w="548" cap="flat">
              <a:noFill/>
              <a:prstDash val="solid"/>
              <a:miter/>
            </a:ln>
          </p:spPr>
          <p:txBody>
            <a:bodyPr/>
            <a:lstStyle/>
            <a:p>
              <a:endParaRPr lang="en-US"/>
            </a:p>
          </p:txBody>
        </p:sp>
        <p:sp>
          <p:nvSpPr>
            <p:cNvPr id="540" name="Freeform: Shape 539">
              <a:extLst>
                <a:ext uri="{FF2B5EF4-FFF2-40B4-BE49-F238E27FC236}">
                  <a16:creationId xmlns:a16="http://schemas.microsoft.com/office/drawing/2014/main" id="{85580F63-40E6-8E6B-C7EC-90079BF648E8}"/>
                </a:ext>
              </a:extLst>
            </p:cNvPr>
            <p:cNvSpPr/>
            <p:nvPr/>
          </p:nvSpPr>
          <p:spPr>
            <a:xfrm flipV="1">
              <a:off x="19297962" y="4749785"/>
              <a:ext cx="13792" cy="14648"/>
            </a:xfrm>
            <a:custGeom>
              <a:avLst/>
              <a:gdLst>
                <a:gd name="csX0" fmla="*/ -2763 w 13792"/>
                <a:gd name="csY0" fmla="*/ -4390 h 14648"/>
                <a:gd name="csX1" fmla="*/ 11030 w 13792"/>
                <a:gd name="csY1" fmla="*/ -4390 h 14648"/>
                <a:gd name="csX2" fmla="*/ 11030 w 13792"/>
                <a:gd name="csY2" fmla="*/ 10259 h 14648"/>
                <a:gd name="csX3" fmla="*/ -2763 w 13792"/>
                <a:gd name="csY3" fmla="*/ 10259 h 14648"/>
                <a:gd name="csX4" fmla="*/ -2763 w 13792"/>
                <a:gd name="csY4" fmla="*/ -4390 h 14648"/>
              </a:gdLst>
              <a:ahLst/>
              <a:cxnLst>
                <a:cxn ang="0">
                  <a:pos x="csX0" y="csY0"/>
                </a:cxn>
                <a:cxn ang="0">
                  <a:pos x="csX1" y="csY1"/>
                </a:cxn>
                <a:cxn ang="0">
                  <a:pos x="csX2" y="csY2"/>
                </a:cxn>
                <a:cxn ang="0">
                  <a:pos x="csX3" y="csY3"/>
                </a:cxn>
                <a:cxn ang="0">
                  <a:pos x="csX4" y="csY4"/>
                </a:cxn>
              </a:cxnLst>
              <a:rect l="l" t="t" r="r" b="b"/>
              <a:pathLst>
                <a:path w="13792" h="14648">
                  <a:moveTo>
                    <a:pt x="-2763" y="-4390"/>
                  </a:moveTo>
                  <a:lnTo>
                    <a:pt x="11030" y="-4390"/>
                  </a:lnTo>
                  <a:lnTo>
                    <a:pt x="11030" y="10259"/>
                  </a:lnTo>
                  <a:lnTo>
                    <a:pt x="-2763" y="10259"/>
                  </a:lnTo>
                  <a:lnTo>
                    <a:pt x="-2763" y="-4390"/>
                  </a:lnTo>
                </a:path>
              </a:pathLst>
            </a:custGeom>
            <a:grpFill/>
            <a:ln w="548" cap="flat">
              <a:noFill/>
              <a:prstDash val="solid"/>
              <a:miter/>
            </a:ln>
          </p:spPr>
          <p:txBody>
            <a:bodyPr/>
            <a:lstStyle/>
            <a:p>
              <a:endParaRPr lang="en-US"/>
            </a:p>
          </p:txBody>
        </p:sp>
        <p:sp>
          <p:nvSpPr>
            <p:cNvPr id="541" name="Freeform: Shape 540">
              <a:extLst>
                <a:ext uri="{FF2B5EF4-FFF2-40B4-BE49-F238E27FC236}">
                  <a16:creationId xmlns:a16="http://schemas.microsoft.com/office/drawing/2014/main" id="{97B69F4C-DBA4-7BE3-80C0-B36CB80F7503}"/>
                </a:ext>
              </a:extLst>
            </p:cNvPr>
            <p:cNvSpPr/>
            <p:nvPr/>
          </p:nvSpPr>
          <p:spPr>
            <a:xfrm flipV="1">
              <a:off x="19314043" y="4749785"/>
              <a:ext cx="13792" cy="14648"/>
            </a:xfrm>
            <a:custGeom>
              <a:avLst/>
              <a:gdLst>
                <a:gd name="csX0" fmla="*/ -2783 w 13792"/>
                <a:gd name="csY0" fmla="*/ -4390 h 14648"/>
                <a:gd name="csX1" fmla="*/ 11010 w 13792"/>
                <a:gd name="csY1" fmla="*/ -4390 h 14648"/>
                <a:gd name="csX2" fmla="*/ 11010 w 13792"/>
                <a:gd name="csY2" fmla="*/ 10259 h 14648"/>
                <a:gd name="csX3" fmla="*/ -2783 w 13792"/>
                <a:gd name="csY3" fmla="*/ 10259 h 14648"/>
                <a:gd name="csX4" fmla="*/ -2783 w 13792"/>
                <a:gd name="csY4" fmla="*/ -4390 h 14648"/>
              </a:gdLst>
              <a:ahLst/>
              <a:cxnLst>
                <a:cxn ang="0">
                  <a:pos x="csX0" y="csY0"/>
                </a:cxn>
                <a:cxn ang="0">
                  <a:pos x="csX1" y="csY1"/>
                </a:cxn>
                <a:cxn ang="0">
                  <a:pos x="csX2" y="csY2"/>
                </a:cxn>
                <a:cxn ang="0">
                  <a:pos x="csX3" y="csY3"/>
                </a:cxn>
                <a:cxn ang="0">
                  <a:pos x="csX4" y="csY4"/>
                </a:cxn>
              </a:cxnLst>
              <a:rect l="l" t="t" r="r" b="b"/>
              <a:pathLst>
                <a:path w="13792" h="14648">
                  <a:moveTo>
                    <a:pt x="-2783" y="-4390"/>
                  </a:moveTo>
                  <a:lnTo>
                    <a:pt x="11010" y="-4390"/>
                  </a:lnTo>
                  <a:lnTo>
                    <a:pt x="11010" y="10259"/>
                  </a:lnTo>
                  <a:lnTo>
                    <a:pt x="-2783" y="10259"/>
                  </a:lnTo>
                  <a:lnTo>
                    <a:pt x="-2783" y="-4390"/>
                  </a:lnTo>
                </a:path>
              </a:pathLst>
            </a:custGeom>
            <a:grpFill/>
            <a:ln w="548" cap="flat">
              <a:noFill/>
              <a:prstDash val="solid"/>
              <a:miter/>
            </a:ln>
          </p:spPr>
          <p:txBody>
            <a:bodyPr/>
            <a:lstStyle/>
            <a:p>
              <a:endParaRPr lang="en-US"/>
            </a:p>
          </p:txBody>
        </p:sp>
        <p:sp>
          <p:nvSpPr>
            <p:cNvPr id="542" name="Freeform: Shape 541">
              <a:extLst>
                <a:ext uri="{FF2B5EF4-FFF2-40B4-BE49-F238E27FC236}">
                  <a16:creationId xmlns:a16="http://schemas.microsoft.com/office/drawing/2014/main" id="{1260D54F-F68A-44F9-3E70-BA9A101762D4}"/>
                </a:ext>
              </a:extLst>
            </p:cNvPr>
            <p:cNvSpPr/>
            <p:nvPr/>
          </p:nvSpPr>
          <p:spPr>
            <a:xfrm flipV="1">
              <a:off x="19314043" y="4783653"/>
              <a:ext cx="13792" cy="12728"/>
            </a:xfrm>
            <a:custGeom>
              <a:avLst/>
              <a:gdLst>
                <a:gd name="csX0" fmla="*/ -2783 w 13792"/>
                <a:gd name="csY0" fmla="*/ -4311 h 12728"/>
                <a:gd name="csX1" fmla="*/ 11010 w 13792"/>
                <a:gd name="csY1" fmla="*/ -4311 h 12728"/>
                <a:gd name="csX2" fmla="*/ 11010 w 13792"/>
                <a:gd name="csY2" fmla="*/ 8418 h 12728"/>
                <a:gd name="csX3" fmla="*/ -2783 w 13792"/>
                <a:gd name="csY3" fmla="*/ 8418 h 12728"/>
                <a:gd name="csX4" fmla="*/ -2783 w 13792"/>
                <a:gd name="csY4" fmla="*/ -4311 h 12728"/>
              </a:gdLst>
              <a:ahLst/>
              <a:cxnLst>
                <a:cxn ang="0">
                  <a:pos x="csX0" y="csY0"/>
                </a:cxn>
                <a:cxn ang="0">
                  <a:pos x="csX1" y="csY1"/>
                </a:cxn>
                <a:cxn ang="0">
                  <a:pos x="csX2" y="csY2"/>
                </a:cxn>
                <a:cxn ang="0">
                  <a:pos x="csX3" y="csY3"/>
                </a:cxn>
                <a:cxn ang="0">
                  <a:pos x="csX4" y="csY4"/>
                </a:cxn>
              </a:cxnLst>
              <a:rect l="l" t="t" r="r" b="b"/>
              <a:pathLst>
                <a:path w="13792" h="12728">
                  <a:moveTo>
                    <a:pt x="-2783" y="-4311"/>
                  </a:moveTo>
                  <a:lnTo>
                    <a:pt x="11010" y="-4311"/>
                  </a:lnTo>
                  <a:lnTo>
                    <a:pt x="11010" y="8418"/>
                  </a:lnTo>
                  <a:lnTo>
                    <a:pt x="-2783" y="8418"/>
                  </a:lnTo>
                  <a:lnTo>
                    <a:pt x="-2783" y="-4311"/>
                  </a:lnTo>
                </a:path>
              </a:pathLst>
            </a:custGeom>
            <a:grpFill/>
            <a:ln w="548" cap="flat">
              <a:noFill/>
              <a:prstDash val="solid"/>
              <a:miter/>
            </a:ln>
          </p:spPr>
          <p:txBody>
            <a:bodyPr/>
            <a:lstStyle/>
            <a:p>
              <a:endParaRPr lang="en-US"/>
            </a:p>
          </p:txBody>
        </p:sp>
        <p:sp>
          <p:nvSpPr>
            <p:cNvPr id="543" name="Freeform: Shape 542">
              <a:extLst>
                <a:ext uri="{FF2B5EF4-FFF2-40B4-BE49-F238E27FC236}">
                  <a16:creationId xmlns:a16="http://schemas.microsoft.com/office/drawing/2014/main" id="{A3054091-265C-8192-68FD-2EF7A2910854}"/>
                </a:ext>
              </a:extLst>
            </p:cNvPr>
            <p:cNvSpPr/>
            <p:nvPr/>
          </p:nvSpPr>
          <p:spPr>
            <a:xfrm flipV="1">
              <a:off x="19314043" y="4734774"/>
              <a:ext cx="13792" cy="12728"/>
            </a:xfrm>
            <a:custGeom>
              <a:avLst/>
              <a:gdLst>
                <a:gd name="csX0" fmla="*/ -2783 w 13792"/>
                <a:gd name="csY0" fmla="*/ -4429 h 12728"/>
                <a:gd name="csX1" fmla="*/ 11010 w 13792"/>
                <a:gd name="csY1" fmla="*/ -4429 h 12728"/>
                <a:gd name="csX2" fmla="*/ 11010 w 13792"/>
                <a:gd name="csY2" fmla="*/ 8300 h 12728"/>
                <a:gd name="csX3" fmla="*/ -2783 w 13792"/>
                <a:gd name="csY3" fmla="*/ 8300 h 12728"/>
                <a:gd name="csX4" fmla="*/ -2783 w 13792"/>
                <a:gd name="csY4" fmla="*/ -4429 h 12728"/>
              </a:gdLst>
              <a:ahLst/>
              <a:cxnLst>
                <a:cxn ang="0">
                  <a:pos x="csX0" y="csY0"/>
                </a:cxn>
                <a:cxn ang="0">
                  <a:pos x="csX1" y="csY1"/>
                </a:cxn>
                <a:cxn ang="0">
                  <a:pos x="csX2" y="csY2"/>
                </a:cxn>
                <a:cxn ang="0">
                  <a:pos x="csX3" y="csY3"/>
                </a:cxn>
                <a:cxn ang="0">
                  <a:pos x="csX4" y="csY4"/>
                </a:cxn>
              </a:cxnLst>
              <a:rect l="l" t="t" r="r" b="b"/>
              <a:pathLst>
                <a:path w="13792" h="12728">
                  <a:moveTo>
                    <a:pt x="-2783" y="-4429"/>
                  </a:moveTo>
                  <a:lnTo>
                    <a:pt x="11010" y="-4429"/>
                  </a:lnTo>
                  <a:lnTo>
                    <a:pt x="11010" y="8300"/>
                  </a:lnTo>
                  <a:lnTo>
                    <a:pt x="-2783" y="8300"/>
                  </a:lnTo>
                  <a:lnTo>
                    <a:pt x="-2783" y="-4429"/>
                  </a:lnTo>
                </a:path>
              </a:pathLst>
            </a:custGeom>
            <a:grpFill/>
            <a:ln w="548" cap="flat">
              <a:noFill/>
              <a:prstDash val="solid"/>
              <a:miter/>
            </a:ln>
          </p:spPr>
          <p:txBody>
            <a:bodyPr/>
            <a:lstStyle/>
            <a:p>
              <a:endParaRPr lang="en-US"/>
            </a:p>
          </p:txBody>
        </p:sp>
        <p:sp>
          <p:nvSpPr>
            <p:cNvPr id="544" name="Freeform: Shape 543">
              <a:extLst>
                <a:ext uri="{FF2B5EF4-FFF2-40B4-BE49-F238E27FC236}">
                  <a16:creationId xmlns:a16="http://schemas.microsoft.com/office/drawing/2014/main" id="{0583ED84-E5D8-2C61-EB48-03A0B07CCAB3}"/>
                </a:ext>
              </a:extLst>
            </p:cNvPr>
            <p:cNvSpPr/>
            <p:nvPr/>
          </p:nvSpPr>
          <p:spPr>
            <a:xfrm flipV="1">
              <a:off x="19297962" y="4783653"/>
              <a:ext cx="13792" cy="12728"/>
            </a:xfrm>
            <a:custGeom>
              <a:avLst/>
              <a:gdLst>
                <a:gd name="csX0" fmla="*/ -2763 w 13792"/>
                <a:gd name="csY0" fmla="*/ -4311 h 12728"/>
                <a:gd name="csX1" fmla="*/ 11030 w 13792"/>
                <a:gd name="csY1" fmla="*/ -4311 h 12728"/>
                <a:gd name="csX2" fmla="*/ 11030 w 13792"/>
                <a:gd name="csY2" fmla="*/ 8418 h 12728"/>
                <a:gd name="csX3" fmla="*/ -2763 w 13792"/>
                <a:gd name="csY3" fmla="*/ 8418 h 12728"/>
                <a:gd name="csX4" fmla="*/ -2763 w 13792"/>
                <a:gd name="csY4" fmla="*/ -4311 h 12728"/>
              </a:gdLst>
              <a:ahLst/>
              <a:cxnLst>
                <a:cxn ang="0">
                  <a:pos x="csX0" y="csY0"/>
                </a:cxn>
                <a:cxn ang="0">
                  <a:pos x="csX1" y="csY1"/>
                </a:cxn>
                <a:cxn ang="0">
                  <a:pos x="csX2" y="csY2"/>
                </a:cxn>
                <a:cxn ang="0">
                  <a:pos x="csX3" y="csY3"/>
                </a:cxn>
                <a:cxn ang="0">
                  <a:pos x="csX4" y="csY4"/>
                </a:cxn>
              </a:cxnLst>
              <a:rect l="l" t="t" r="r" b="b"/>
              <a:pathLst>
                <a:path w="13792" h="12728">
                  <a:moveTo>
                    <a:pt x="-2763" y="-4311"/>
                  </a:moveTo>
                  <a:lnTo>
                    <a:pt x="11030" y="-4311"/>
                  </a:lnTo>
                  <a:lnTo>
                    <a:pt x="11030" y="8418"/>
                  </a:lnTo>
                  <a:lnTo>
                    <a:pt x="-2763" y="8418"/>
                  </a:lnTo>
                  <a:lnTo>
                    <a:pt x="-2763" y="-4311"/>
                  </a:lnTo>
                </a:path>
              </a:pathLst>
            </a:custGeom>
            <a:grpFill/>
            <a:ln w="548" cap="flat">
              <a:noFill/>
              <a:prstDash val="solid"/>
              <a:miter/>
            </a:ln>
          </p:spPr>
          <p:txBody>
            <a:bodyPr/>
            <a:lstStyle/>
            <a:p>
              <a:endParaRPr lang="en-US"/>
            </a:p>
          </p:txBody>
        </p:sp>
        <p:sp>
          <p:nvSpPr>
            <p:cNvPr id="545" name="Freeform: Shape 544">
              <a:extLst>
                <a:ext uri="{FF2B5EF4-FFF2-40B4-BE49-F238E27FC236}">
                  <a16:creationId xmlns:a16="http://schemas.microsoft.com/office/drawing/2014/main" id="{390B77FA-1801-3E84-0B76-DA0A2BEFD9BE}"/>
                </a:ext>
              </a:extLst>
            </p:cNvPr>
            <p:cNvSpPr/>
            <p:nvPr/>
          </p:nvSpPr>
          <p:spPr>
            <a:xfrm flipV="1">
              <a:off x="19297962" y="4734774"/>
              <a:ext cx="13792" cy="12728"/>
            </a:xfrm>
            <a:custGeom>
              <a:avLst/>
              <a:gdLst>
                <a:gd name="csX0" fmla="*/ -2763 w 13792"/>
                <a:gd name="csY0" fmla="*/ -4429 h 12728"/>
                <a:gd name="csX1" fmla="*/ 11030 w 13792"/>
                <a:gd name="csY1" fmla="*/ -4429 h 12728"/>
                <a:gd name="csX2" fmla="*/ 11030 w 13792"/>
                <a:gd name="csY2" fmla="*/ 8300 h 12728"/>
                <a:gd name="csX3" fmla="*/ -2763 w 13792"/>
                <a:gd name="csY3" fmla="*/ 8300 h 12728"/>
                <a:gd name="csX4" fmla="*/ -2763 w 13792"/>
                <a:gd name="csY4" fmla="*/ -4429 h 12728"/>
              </a:gdLst>
              <a:ahLst/>
              <a:cxnLst>
                <a:cxn ang="0">
                  <a:pos x="csX0" y="csY0"/>
                </a:cxn>
                <a:cxn ang="0">
                  <a:pos x="csX1" y="csY1"/>
                </a:cxn>
                <a:cxn ang="0">
                  <a:pos x="csX2" y="csY2"/>
                </a:cxn>
                <a:cxn ang="0">
                  <a:pos x="csX3" y="csY3"/>
                </a:cxn>
                <a:cxn ang="0">
                  <a:pos x="csX4" y="csY4"/>
                </a:cxn>
              </a:cxnLst>
              <a:rect l="l" t="t" r="r" b="b"/>
              <a:pathLst>
                <a:path w="13792" h="12728">
                  <a:moveTo>
                    <a:pt x="-2763" y="-4429"/>
                  </a:moveTo>
                  <a:lnTo>
                    <a:pt x="11030" y="-4429"/>
                  </a:lnTo>
                  <a:lnTo>
                    <a:pt x="11030" y="8300"/>
                  </a:lnTo>
                  <a:lnTo>
                    <a:pt x="-2763" y="8300"/>
                  </a:lnTo>
                  <a:lnTo>
                    <a:pt x="-2763" y="-4429"/>
                  </a:lnTo>
                </a:path>
              </a:pathLst>
            </a:custGeom>
            <a:grpFill/>
            <a:ln w="548" cap="flat">
              <a:noFill/>
              <a:prstDash val="solid"/>
              <a:miter/>
            </a:ln>
          </p:spPr>
          <p:txBody>
            <a:bodyPr/>
            <a:lstStyle/>
            <a:p>
              <a:endParaRPr lang="en-US"/>
            </a:p>
          </p:txBody>
        </p:sp>
        <p:sp>
          <p:nvSpPr>
            <p:cNvPr id="546" name="Freeform: Shape 545">
              <a:extLst>
                <a:ext uri="{FF2B5EF4-FFF2-40B4-BE49-F238E27FC236}">
                  <a16:creationId xmlns:a16="http://schemas.microsoft.com/office/drawing/2014/main" id="{22B658B1-EE3C-8BD2-9443-764650D216FE}"/>
                </a:ext>
              </a:extLst>
            </p:cNvPr>
            <p:cNvSpPr/>
            <p:nvPr/>
          </p:nvSpPr>
          <p:spPr>
            <a:xfrm flipV="1">
              <a:off x="18998377" y="3853055"/>
              <a:ext cx="305713" cy="200714"/>
            </a:xfrm>
            <a:custGeom>
              <a:avLst/>
              <a:gdLst>
                <a:gd name="csX0" fmla="*/ 303141 w 305713"/>
                <a:gd name="csY0" fmla="*/ -6324 h 200714"/>
                <a:gd name="csX1" fmla="*/ 151294 w 305713"/>
                <a:gd name="csY1" fmla="*/ 142127 h 200714"/>
                <a:gd name="csX2" fmla="*/ 151387 w 305713"/>
                <a:gd name="csY2" fmla="*/ 142577 h 200714"/>
                <a:gd name="csX3" fmla="*/ 151387 w 305713"/>
                <a:gd name="csY3" fmla="*/ 162224 h 200714"/>
                <a:gd name="csX4" fmla="*/ 163057 w 305713"/>
                <a:gd name="csY4" fmla="*/ 173899 h 200714"/>
                <a:gd name="csX5" fmla="*/ 167336 w 305713"/>
                <a:gd name="csY5" fmla="*/ 173899 h 200714"/>
                <a:gd name="csX6" fmla="*/ 168477 w 305713"/>
                <a:gd name="csY6" fmla="*/ 175040 h 200714"/>
                <a:gd name="csX7" fmla="*/ 167336 w 305713"/>
                <a:gd name="csY7" fmla="*/ 176181 h 200714"/>
                <a:gd name="csX8" fmla="*/ 163057 w 305713"/>
                <a:gd name="csY8" fmla="*/ 176181 h 200714"/>
                <a:gd name="csX9" fmla="*/ 151387 w 305713"/>
                <a:gd name="csY9" fmla="*/ 187856 h 200714"/>
                <a:gd name="csX10" fmla="*/ 151387 w 305713"/>
                <a:gd name="csY10" fmla="*/ 193249 h 200714"/>
                <a:gd name="csX11" fmla="*/ 150246 w 305713"/>
                <a:gd name="csY11" fmla="*/ 194391 h 200714"/>
                <a:gd name="csX12" fmla="*/ 149099 w 305713"/>
                <a:gd name="csY12" fmla="*/ 193249 h 200714"/>
                <a:gd name="csX13" fmla="*/ 149099 w 305713"/>
                <a:gd name="csY13" fmla="*/ 187856 h 200714"/>
                <a:gd name="csX14" fmla="*/ 137435 w 305713"/>
                <a:gd name="csY14" fmla="*/ 176181 h 200714"/>
                <a:gd name="csX15" fmla="*/ 133156 w 305713"/>
                <a:gd name="csY15" fmla="*/ 176181 h 200714"/>
                <a:gd name="csX16" fmla="*/ 132015 w 305713"/>
                <a:gd name="csY16" fmla="*/ 175040 h 200714"/>
                <a:gd name="csX17" fmla="*/ 133156 w 305713"/>
                <a:gd name="csY17" fmla="*/ 173899 h 200714"/>
                <a:gd name="csX18" fmla="*/ 137435 w 305713"/>
                <a:gd name="csY18" fmla="*/ 173899 h 200714"/>
                <a:gd name="csX19" fmla="*/ 149099 w 305713"/>
                <a:gd name="csY19" fmla="*/ 162224 h 200714"/>
                <a:gd name="csX20" fmla="*/ 149099 w 305713"/>
                <a:gd name="csY20" fmla="*/ 142577 h 200714"/>
                <a:gd name="csX21" fmla="*/ 149231 w 305713"/>
                <a:gd name="csY21" fmla="*/ 142078 h 200714"/>
                <a:gd name="csX22" fmla="*/ -2572 w 305713"/>
                <a:gd name="csY22" fmla="*/ -6324 h 200714"/>
                <a:gd name="csX23" fmla="*/ 151387 w 305713"/>
                <a:gd name="csY23" fmla="*/ 164572 h 200714"/>
                <a:gd name="csX24" fmla="*/ 151387 w 305713"/>
                <a:gd name="csY24" fmla="*/ 173899 h 200714"/>
                <a:gd name="csX25" fmla="*/ 160714 w 305713"/>
                <a:gd name="csY25" fmla="*/ 173899 h 200714"/>
                <a:gd name="csX26" fmla="*/ 151387 w 305713"/>
                <a:gd name="csY26" fmla="*/ 164572 h 200714"/>
                <a:gd name="csX27" fmla="*/ 160714 w 305713"/>
                <a:gd name="csY27" fmla="*/ 176181 h 200714"/>
                <a:gd name="csX28" fmla="*/ 151387 w 305713"/>
                <a:gd name="csY28" fmla="*/ 176181 h 200714"/>
                <a:gd name="csX29" fmla="*/ 151387 w 305713"/>
                <a:gd name="csY29" fmla="*/ 185508 h 200714"/>
                <a:gd name="csX30" fmla="*/ 160714 w 305713"/>
                <a:gd name="csY30" fmla="*/ 176181 h 200714"/>
                <a:gd name="csX31" fmla="*/ 149099 w 305713"/>
                <a:gd name="csY31" fmla="*/ 185508 h 200714"/>
                <a:gd name="csX32" fmla="*/ 149099 w 305713"/>
                <a:gd name="csY32" fmla="*/ 176181 h 200714"/>
                <a:gd name="csX33" fmla="*/ 139772 w 305713"/>
                <a:gd name="csY33" fmla="*/ 176181 h 200714"/>
                <a:gd name="csX34" fmla="*/ 149099 w 305713"/>
                <a:gd name="csY34" fmla="*/ 185508 h 200714"/>
                <a:gd name="csX35" fmla="*/ 139772 w 305713"/>
                <a:gd name="csY35" fmla="*/ 173899 h 200714"/>
                <a:gd name="csX36" fmla="*/ 149099 w 305713"/>
                <a:gd name="csY36" fmla="*/ 173899 h 200714"/>
                <a:gd name="csX37" fmla="*/ 149099 w 305713"/>
                <a:gd name="csY37" fmla="*/ 164572 h 200714"/>
                <a:gd name="csX38" fmla="*/ 139772 w 305713"/>
                <a:gd name="csY38" fmla="*/ 173899 h 200714"/>
                <a:gd name="csX39" fmla="*/ 150367 w 305713"/>
                <a:gd name="csY39" fmla="*/ 77854 h 200714"/>
                <a:gd name="csX40" fmla="*/ 162941 w 305713"/>
                <a:gd name="csY40" fmla="*/ 57741 h 200714"/>
                <a:gd name="csX41" fmla="*/ 162941 w 305713"/>
                <a:gd name="csY41" fmla="*/ 6877 h 200714"/>
                <a:gd name="csX42" fmla="*/ 137797 w 305713"/>
                <a:gd name="csY42" fmla="*/ 6877 h 200714"/>
                <a:gd name="csX43" fmla="*/ 137797 w 305713"/>
                <a:gd name="csY43" fmla="*/ 57741 h 200714"/>
                <a:gd name="csX44" fmla="*/ 150367 w 305713"/>
                <a:gd name="csY44" fmla="*/ 77854 h 20071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Lst>
              <a:rect l="l" t="t" r="r" b="b"/>
              <a:pathLst>
                <a:path w="305713" h="200714">
                  <a:moveTo>
                    <a:pt x="303141" y="-6324"/>
                  </a:moveTo>
                  <a:lnTo>
                    <a:pt x="151294" y="142127"/>
                  </a:lnTo>
                  <a:cubicBezTo>
                    <a:pt x="151354" y="142264"/>
                    <a:pt x="151387" y="142418"/>
                    <a:pt x="151387" y="142577"/>
                  </a:cubicBezTo>
                  <a:lnTo>
                    <a:pt x="151387" y="162224"/>
                  </a:lnTo>
                  <a:cubicBezTo>
                    <a:pt x="157576" y="162773"/>
                    <a:pt x="162508" y="167710"/>
                    <a:pt x="163057" y="173899"/>
                  </a:cubicBezTo>
                  <a:lnTo>
                    <a:pt x="167336" y="173899"/>
                  </a:lnTo>
                  <a:cubicBezTo>
                    <a:pt x="167967" y="173899"/>
                    <a:pt x="168477" y="174409"/>
                    <a:pt x="168477" y="175040"/>
                  </a:cubicBezTo>
                  <a:cubicBezTo>
                    <a:pt x="168477" y="175671"/>
                    <a:pt x="167967" y="176181"/>
                    <a:pt x="167336" y="176181"/>
                  </a:cubicBezTo>
                  <a:lnTo>
                    <a:pt x="163057" y="176181"/>
                  </a:lnTo>
                  <a:cubicBezTo>
                    <a:pt x="162508" y="182370"/>
                    <a:pt x="157576" y="187308"/>
                    <a:pt x="151387" y="187856"/>
                  </a:cubicBezTo>
                  <a:lnTo>
                    <a:pt x="151387" y="193249"/>
                  </a:lnTo>
                  <a:cubicBezTo>
                    <a:pt x="151387" y="193880"/>
                    <a:pt x="150877" y="194391"/>
                    <a:pt x="150246" y="194391"/>
                  </a:cubicBezTo>
                  <a:cubicBezTo>
                    <a:pt x="149615" y="194391"/>
                    <a:pt x="149099" y="193880"/>
                    <a:pt x="149099" y="193249"/>
                  </a:cubicBezTo>
                  <a:lnTo>
                    <a:pt x="149099" y="187856"/>
                  </a:lnTo>
                  <a:cubicBezTo>
                    <a:pt x="142916" y="187308"/>
                    <a:pt x="137984" y="182370"/>
                    <a:pt x="137435" y="176181"/>
                  </a:cubicBezTo>
                  <a:lnTo>
                    <a:pt x="133156" y="176181"/>
                  </a:lnTo>
                  <a:cubicBezTo>
                    <a:pt x="132525" y="176181"/>
                    <a:pt x="132015" y="175671"/>
                    <a:pt x="132015" y="175040"/>
                  </a:cubicBezTo>
                  <a:cubicBezTo>
                    <a:pt x="132015" y="174409"/>
                    <a:pt x="132525" y="173899"/>
                    <a:pt x="133156" y="173899"/>
                  </a:cubicBezTo>
                  <a:lnTo>
                    <a:pt x="137435" y="173899"/>
                  </a:lnTo>
                  <a:cubicBezTo>
                    <a:pt x="137984" y="167710"/>
                    <a:pt x="142916" y="162773"/>
                    <a:pt x="149099" y="162224"/>
                  </a:cubicBezTo>
                  <a:lnTo>
                    <a:pt x="149099" y="142577"/>
                  </a:lnTo>
                  <a:cubicBezTo>
                    <a:pt x="149099" y="142396"/>
                    <a:pt x="149154" y="142231"/>
                    <a:pt x="149231" y="142078"/>
                  </a:cubicBezTo>
                  <a:lnTo>
                    <a:pt x="-2572" y="-6324"/>
                  </a:lnTo>
                  <a:close/>
                  <a:moveTo>
                    <a:pt x="151387" y="164572"/>
                  </a:moveTo>
                  <a:lnTo>
                    <a:pt x="151387" y="173899"/>
                  </a:lnTo>
                  <a:lnTo>
                    <a:pt x="160714" y="173899"/>
                  </a:lnTo>
                  <a:cubicBezTo>
                    <a:pt x="160176" y="168983"/>
                    <a:pt x="156303" y="165110"/>
                    <a:pt x="151387" y="164572"/>
                  </a:cubicBezTo>
                  <a:close/>
                  <a:moveTo>
                    <a:pt x="160714" y="176181"/>
                  </a:moveTo>
                  <a:lnTo>
                    <a:pt x="151387" y="176181"/>
                  </a:lnTo>
                  <a:lnTo>
                    <a:pt x="151387" y="185508"/>
                  </a:lnTo>
                  <a:cubicBezTo>
                    <a:pt x="156303" y="184971"/>
                    <a:pt x="160176" y="181097"/>
                    <a:pt x="160714" y="176181"/>
                  </a:cubicBezTo>
                  <a:close/>
                  <a:moveTo>
                    <a:pt x="149099" y="185508"/>
                  </a:moveTo>
                  <a:lnTo>
                    <a:pt x="149099" y="176181"/>
                  </a:lnTo>
                  <a:lnTo>
                    <a:pt x="139772" y="176181"/>
                  </a:lnTo>
                  <a:cubicBezTo>
                    <a:pt x="140316" y="181097"/>
                    <a:pt x="144189" y="184976"/>
                    <a:pt x="149099" y="185508"/>
                  </a:cubicBezTo>
                  <a:close/>
                  <a:moveTo>
                    <a:pt x="139772" y="173899"/>
                  </a:moveTo>
                  <a:lnTo>
                    <a:pt x="149099" y="173899"/>
                  </a:lnTo>
                  <a:lnTo>
                    <a:pt x="149099" y="164572"/>
                  </a:lnTo>
                  <a:cubicBezTo>
                    <a:pt x="144189" y="165104"/>
                    <a:pt x="140316" y="168983"/>
                    <a:pt x="139772" y="173899"/>
                  </a:cubicBezTo>
                  <a:close/>
                  <a:moveTo>
                    <a:pt x="150367" y="77854"/>
                  </a:moveTo>
                  <a:cubicBezTo>
                    <a:pt x="150367" y="77854"/>
                    <a:pt x="162941" y="74710"/>
                    <a:pt x="162941" y="57741"/>
                  </a:cubicBezTo>
                  <a:cubicBezTo>
                    <a:pt x="162941" y="40771"/>
                    <a:pt x="162941" y="6877"/>
                    <a:pt x="162941" y="6877"/>
                  </a:cubicBezTo>
                  <a:lnTo>
                    <a:pt x="137797" y="6877"/>
                  </a:lnTo>
                  <a:cubicBezTo>
                    <a:pt x="137797" y="6877"/>
                    <a:pt x="137797" y="40771"/>
                    <a:pt x="137797" y="57741"/>
                  </a:cubicBezTo>
                  <a:cubicBezTo>
                    <a:pt x="137797" y="74710"/>
                    <a:pt x="150367" y="77854"/>
                    <a:pt x="150367" y="77854"/>
                  </a:cubicBezTo>
                </a:path>
              </a:pathLst>
            </a:custGeom>
            <a:grpFill/>
            <a:ln w="548" cap="flat">
              <a:noFill/>
              <a:prstDash val="solid"/>
              <a:miter/>
            </a:ln>
          </p:spPr>
          <p:txBody>
            <a:bodyPr/>
            <a:lstStyle/>
            <a:p>
              <a:endParaRPr lang="en-US"/>
            </a:p>
          </p:txBody>
        </p:sp>
        <p:sp>
          <p:nvSpPr>
            <p:cNvPr id="547" name="Freeform: Shape 546">
              <a:extLst>
                <a:ext uri="{FF2B5EF4-FFF2-40B4-BE49-F238E27FC236}">
                  <a16:creationId xmlns:a16="http://schemas.microsoft.com/office/drawing/2014/main" id="{E7996B6F-091D-FF08-15E1-9822875BDCCB}"/>
                </a:ext>
              </a:extLst>
            </p:cNvPr>
            <p:cNvSpPr/>
            <p:nvPr/>
          </p:nvSpPr>
          <p:spPr>
            <a:xfrm flipV="1">
              <a:off x="18499669" y="3963183"/>
              <a:ext cx="1303129" cy="529366"/>
            </a:xfrm>
            <a:custGeom>
              <a:avLst/>
              <a:gdLst>
                <a:gd name="csX0" fmla="*/ 1246807 w 1303129"/>
                <a:gd name="csY0" fmla="*/ 64985 h 529366"/>
                <a:gd name="csX1" fmla="*/ 1300558 w 1303129"/>
                <a:gd name="csY1" fmla="*/ -5663 h 529366"/>
                <a:gd name="csX2" fmla="*/ 1300558 w 1303129"/>
                <a:gd name="csY2" fmla="*/ 76984 h 529366"/>
                <a:gd name="csX3" fmla="*/ 1246807 w 1303129"/>
                <a:gd name="csY3" fmla="*/ 142305 h 529366"/>
                <a:gd name="csX4" fmla="*/ 1265752 w 1303129"/>
                <a:gd name="csY4" fmla="*/ 119284 h 529366"/>
                <a:gd name="csX5" fmla="*/ 1265752 w 1303129"/>
                <a:gd name="csY5" fmla="*/ 358304 h 529366"/>
                <a:gd name="csX6" fmla="*/ 1271397 w 1303129"/>
                <a:gd name="csY6" fmla="*/ 358304 h 529366"/>
                <a:gd name="csX7" fmla="*/ 1271397 w 1303129"/>
                <a:gd name="csY7" fmla="*/ 367653 h 529366"/>
                <a:gd name="csX8" fmla="*/ 1265752 w 1303129"/>
                <a:gd name="csY8" fmla="*/ 367653 h 529366"/>
                <a:gd name="csX9" fmla="*/ 1265752 w 1303129"/>
                <a:gd name="csY9" fmla="*/ 523703 h 529366"/>
                <a:gd name="csX10" fmla="*/ 977787 w 1303129"/>
                <a:gd name="csY10" fmla="*/ 523703 h 529366"/>
                <a:gd name="csX11" fmla="*/ 977787 w 1303129"/>
                <a:gd name="csY11" fmla="*/ 367653 h 529366"/>
                <a:gd name="csX12" fmla="*/ 972142 w 1303129"/>
                <a:gd name="csY12" fmla="*/ 367653 h 529366"/>
                <a:gd name="csX13" fmla="*/ 972142 w 1303129"/>
                <a:gd name="csY13" fmla="*/ 358304 h 529366"/>
                <a:gd name="csX14" fmla="*/ 977787 w 1303129"/>
                <a:gd name="csY14" fmla="*/ 358304 h 529366"/>
                <a:gd name="csX15" fmla="*/ 977787 w 1303129"/>
                <a:gd name="csY15" fmla="*/ 205941 h 529366"/>
                <a:gd name="csX16" fmla="*/ 1193567 w 1303129"/>
                <a:gd name="csY16" fmla="*/ 205941 h 529366"/>
                <a:gd name="csX17" fmla="*/ 1217214 w 1303129"/>
                <a:gd name="csY17" fmla="*/ 142431 h 529366"/>
                <a:gd name="csX18" fmla="*/ 1207300 w 1303129"/>
                <a:gd name="csY18" fmla="*/ 142431 h 529366"/>
                <a:gd name="csX19" fmla="*/ 1207344 w 1303129"/>
                <a:gd name="csY19" fmla="*/ 142305 h 529366"/>
                <a:gd name="csX20" fmla="*/ 944485 w 1303129"/>
                <a:gd name="csY20" fmla="*/ 142305 h 529366"/>
                <a:gd name="csX21" fmla="*/ 944485 w 1303129"/>
                <a:gd name="csY21" fmla="*/ 335887 h 529366"/>
                <a:gd name="csX22" fmla="*/ 891952 w 1303129"/>
                <a:gd name="csY22" fmla="*/ 335887 h 529366"/>
                <a:gd name="csX23" fmla="*/ 801849 w 1303129"/>
                <a:gd name="csY23" fmla="*/ 423971 h 529366"/>
                <a:gd name="csX24" fmla="*/ 496136 w 1303129"/>
                <a:gd name="csY24" fmla="*/ 423971 h 529366"/>
                <a:gd name="csX25" fmla="*/ 406033 w 1303129"/>
                <a:gd name="csY25" fmla="*/ 335887 h 529366"/>
                <a:gd name="csX26" fmla="*/ 353501 w 1303129"/>
                <a:gd name="csY26" fmla="*/ 335887 h 529366"/>
                <a:gd name="csX27" fmla="*/ 353501 w 1303129"/>
                <a:gd name="csY27" fmla="*/ 142305 h 529366"/>
                <a:gd name="csX28" fmla="*/ 90384 w 1303129"/>
                <a:gd name="csY28" fmla="*/ 142305 h 529366"/>
                <a:gd name="csX29" fmla="*/ 90428 w 1303129"/>
                <a:gd name="csY29" fmla="*/ 142431 h 529366"/>
                <a:gd name="csX30" fmla="*/ 80514 w 1303129"/>
                <a:gd name="csY30" fmla="*/ 142431 h 529366"/>
                <a:gd name="csX31" fmla="*/ 104166 w 1303129"/>
                <a:gd name="csY31" fmla="*/ 205941 h 529366"/>
                <a:gd name="csX32" fmla="*/ 319940 w 1303129"/>
                <a:gd name="csY32" fmla="*/ 205941 h 529366"/>
                <a:gd name="csX33" fmla="*/ 319940 w 1303129"/>
                <a:gd name="csY33" fmla="*/ 358304 h 529366"/>
                <a:gd name="csX34" fmla="*/ 325586 w 1303129"/>
                <a:gd name="csY34" fmla="*/ 358304 h 529366"/>
                <a:gd name="csX35" fmla="*/ 325586 w 1303129"/>
                <a:gd name="csY35" fmla="*/ 367653 h 529366"/>
                <a:gd name="csX36" fmla="*/ 319940 w 1303129"/>
                <a:gd name="csY36" fmla="*/ 367653 h 529366"/>
                <a:gd name="csX37" fmla="*/ 319940 w 1303129"/>
                <a:gd name="csY37" fmla="*/ 523703 h 529366"/>
                <a:gd name="csX38" fmla="*/ 31981 w 1303129"/>
                <a:gd name="csY38" fmla="*/ 523703 h 529366"/>
                <a:gd name="csX39" fmla="*/ 31981 w 1303129"/>
                <a:gd name="csY39" fmla="*/ 367653 h 529366"/>
                <a:gd name="csX40" fmla="*/ 26330 w 1303129"/>
                <a:gd name="csY40" fmla="*/ 367653 h 529366"/>
                <a:gd name="csX41" fmla="*/ 26330 w 1303129"/>
                <a:gd name="csY41" fmla="*/ 358304 h 529366"/>
                <a:gd name="csX42" fmla="*/ 31981 w 1303129"/>
                <a:gd name="csY42" fmla="*/ 358304 h 529366"/>
                <a:gd name="csX43" fmla="*/ 31981 w 1303129"/>
                <a:gd name="csY43" fmla="*/ 119284 h 529366"/>
                <a:gd name="csX44" fmla="*/ 50926 w 1303129"/>
                <a:gd name="csY44" fmla="*/ 142305 h 529366"/>
                <a:gd name="csX45" fmla="*/ 50926 w 1303129"/>
                <a:gd name="csY45" fmla="*/ 142305 h 529366"/>
                <a:gd name="csX46" fmla="*/ 51183 w 1303129"/>
                <a:gd name="csY46" fmla="*/ 142305 h 529366"/>
                <a:gd name="csX47" fmla="*/ 51183 w 1303129"/>
                <a:gd name="csY47" fmla="*/ 142305 h 529366"/>
                <a:gd name="csX48" fmla="*/ -2572 w 1303129"/>
                <a:gd name="csY48" fmla="*/ 76984 h 529366"/>
                <a:gd name="csX49" fmla="*/ -2572 w 1303129"/>
                <a:gd name="csY49" fmla="*/ -5663 h 529366"/>
                <a:gd name="csX50" fmla="*/ 51183 w 1303129"/>
                <a:gd name="csY50" fmla="*/ 64985 h 529366"/>
                <a:gd name="csX51" fmla="*/ 1080224 w 1303129"/>
                <a:gd name="csY51" fmla="*/ 407627 h 529366"/>
                <a:gd name="csX52" fmla="*/ 1105982 w 1303129"/>
                <a:gd name="csY52" fmla="*/ 407627 h 529366"/>
                <a:gd name="csX53" fmla="*/ 1105982 w 1303129"/>
                <a:gd name="csY53" fmla="*/ 380091 h 529366"/>
                <a:gd name="csX54" fmla="*/ 1080224 w 1303129"/>
                <a:gd name="csY54" fmla="*/ 380091 h 529366"/>
                <a:gd name="csX55" fmla="*/ 1080224 w 1303129"/>
                <a:gd name="csY55" fmla="*/ 407627 h 529366"/>
                <a:gd name="csX56" fmla="*/ 1105982 w 1303129"/>
                <a:gd name="csY56" fmla="*/ 438708 h 529366"/>
                <a:gd name="csX57" fmla="*/ 1105982 w 1303129"/>
                <a:gd name="csY57" fmla="*/ 409909 h 529366"/>
                <a:gd name="csX58" fmla="*/ 1080224 w 1303129"/>
                <a:gd name="csY58" fmla="*/ 409909 h 529366"/>
                <a:gd name="csX59" fmla="*/ 1080224 w 1303129"/>
                <a:gd name="csY59" fmla="*/ 438708 h 529366"/>
                <a:gd name="csX60" fmla="*/ 1137557 w 1303129"/>
                <a:gd name="csY60" fmla="*/ 407627 h 529366"/>
                <a:gd name="csX61" fmla="*/ 1163310 w 1303129"/>
                <a:gd name="csY61" fmla="*/ 407627 h 529366"/>
                <a:gd name="csX62" fmla="*/ 1163310 w 1303129"/>
                <a:gd name="csY62" fmla="*/ 380091 h 529366"/>
                <a:gd name="csX63" fmla="*/ 1137557 w 1303129"/>
                <a:gd name="csY63" fmla="*/ 380091 h 529366"/>
                <a:gd name="csX64" fmla="*/ 1137557 w 1303129"/>
                <a:gd name="csY64" fmla="*/ 407627 h 529366"/>
                <a:gd name="csX65" fmla="*/ 1163310 w 1303129"/>
                <a:gd name="csY65" fmla="*/ 438708 h 529366"/>
                <a:gd name="csX66" fmla="*/ 1163310 w 1303129"/>
                <a:gd name="csY66" fmla="*/ 409909 h 529366"/>
                <a:gd name="csX67" fmla="*/ 1137557 w 1303129"/>
                <a:gd name="csY67" fmla="*/ 409909 h 529366"/>
                <a:gd name="csX68" fmla="*/ 1137557 w 1303129"/>
                <a:gd name="csY68" fmla="*/ 438708 h 529366"/>
                <a:gd name="csX69" fmla="*/ 1137557 w 1303129"/>
                <a:gd name="csY69" fmla="*/ 447245 h 529366"/>
                <a:gd name="csX70" fmla="*/ 1150433 w 1303129"/>
                <a:gd name="csY70" fmla="*/ 467851 h 529366"/>
                <a:gd name="csX71" fmla="*/ 1163310 w 1303129"/>
                <a:gd name="csY71" fmla="*/ 447245 h 529366"/>
                <a:gd name="csX72" fmla="*/ 1163310 w 1303129"/>
                <a:gd name="csY72" fmla="*/ 440990 h 529366"/>
                <a:gd name="csX73" fmla="*/ 1137557 w 1303129"/>
                <a:gd name="csY73" fmla="*/ 440990 h 529366"/>
                <a:gd name="csX74" fmla="*/ 1137557 w 1303129"/>
                <a:gd name="csY74" fmla="*/ 447245 h 529366"/>
                <a:gd name="csX75" fmla="*/ 1080224 w 1303129"/>
                <a:gd name="csY75" fmla="*/ 447245 h 529366"/>
                <a:gd name="csX76" fmla="*/ 1093100 w 1303129"/>
                <a:gd name="csY76" fmla="*/ 467851 h 529366"/>
                <a:gd name="csX77" fmla="*/ 1105982 w 1303129"/>
                <a:gd name="csY77" fmla="*/ 447245 h 529366"/>
                <a:gd name="csX78" fmla="*/ 1105982 w 1303129"/>
                <a:gd name="csY78" fmla="*/ 440990 h 529366"/>
                <a:gd name="csX79" fmla="*/ 1080224 w 1303129"/>
                <a:gd name="csY79" fmla="*/ 440990 h 529366"/>
                <a:gd name="csX80" fmla="*/ 1080224 w 1303129"/>
                <a:gd name="csY80" fmla="*/ 447245 h 529366"/>
                <a:gd name="csX81" fmla="*/ 1133793 w 1303129"/>
                <a:gd name="csY81" fmla="*/ 228260 h 529366"/>
                <a:gd name="csX82" fmla="*/ 1109746 w 1303129"/>
                <a:gd name="csY82" fmla="*/ 228260 h 529366"/>
                <a:gd name="csX83" fmla="*/ 1109746 w 1303129"/>
                <a:gd name="csY83" fmla="*/ 279920 h 529366"/>
                <a:gd name="csX84" fmla="*/ 1133793 w 1303129"/>
                <a:gd name="csY84" fmla="*/ 279920 h 529366"/>
                <a:gd name="csX85" fmla="*/ 1056544 w 1303129"/>
                <a:gd name="csY85" fmla="*/ 114604 h 529366"/>
                <a:gd name="csX86" fmla="*/ 1080882 w 1303129"/>
                <a:gd name="csY86" fmla="*/ 114604 h 529366"/>
                <a:gd name="csX87" fmla="*/ 1080882 w 1303129"/>
                <a:gd name="csY87" fmla="*/ 76298 h 529366"/>
                <a:gd name="csX88" fmla="*/ 1056544 w 1303129"/>
                <a:gd name="csY88" fmla="*/ 76298 h 529366"/>
                <a:gd name="csX89" fmla="*/ 766133 w 1303129"/>
                <a:gd name="csY89" fmla="*/ 330807 h 529366"/>
                <a:gd name="csX90" fmla="*/ 770451 w 1303129"/>
                <a:gd name="csY90" fmla="*/ 331887 h 529366"/>
                <a:gd name="csX91" fmla="*/ 774774 w 1303129"/>
                <a:gd name="csY91" fmla="*/ 330807 h 529366"/>
                <a:gd name="csX92" fmla="*/ 810512 w 1303129"/>
                <a:gd name="csY92" fmla="*/ 283772 h 529366"/>
                <a:gd name="csX93" fmla="*/ 792599 w 1303129"/>
                <a:gd name="csY93" fmla="*/ 283772 h 529366"/>
                <a:gd name="csX94" fmla="*/ 792956 w 1303129"/>
                <a:gd name="csY94" fmla="*/ 277517 h 529366"/>
                <a:gd name="csX95" fmla="*/ 792956 w 1303129"/>
                <a:gd name="csY95" fmla="*/ 84643 h 529366"/>
                <a:gd name="csX96" fmla="*/ 747945 w 1303129"/>
                <a:gd name="csY96" fmla="*/ 84643 h 529366"/>
                <a:gd name="csX97" fmla="*/ 747945 w 1303129"/>
                <a:gd name="csY97" fmla="*/ 277517 h 529366"/>
                <a:gd name="csX98" fmla="*/ 748302 w 1303129"/>
                <a:gd name="csY98" fmla="*/ 283772 h 529366"/>
                <a:gd name="csX99" fmla="*/ 730400 w 1303129"/>
                <a:gd name="csY99" fmla="*/ 283772 h 529366"/>
                <a:gd name="csX100" fmla="*/ 766133 w 1303129"/>
                <a:gd name="csY100" fmla="*/ 330807 h 529366"/>
                <a:gd name="csX101" fmla="*/ 644757 w 1303129"/>
                <a:gd name="csY101" fmla="*/ 364652 h 529366"/>
                <a:gd name="csX102" fmla="*/ 649075 w 1303129"/>
                <a:gd name="csY102" fmla="*/ 365733 h 529366"/>
                <a:gd name="csX103" fmla="*/ 653398 w 1303129"/>
                <a:gd name="csY103" fmla="*/ 364652 h 529366"/>
                <a:gd name="csX104" fmla="*/ 689137 w 1303129"/>
                <a:gd name="csY104" fmla="*/ 317617 h 529366"/>
                <a:gd name="csX105" fmla="*/ 671224 w 1303129"/>
                <a:gd name="csY105" fmla="*/ 317617 h 529366"/>
                <a:gd name="csX106" fmla="*/ 671224 w 1303129"/>
                <a:gd name="csY106" fmla="*/ 317650 h 529366"/>
                <a:gd name="csX107" fmla="*/ 671580 w 1303129"/>
                <a:gd name="csY107" fmla="*/ 311363 h 529366"/>
                <a:gd name="csX108" fmla="*/ 671580 w 1303129"/>
                <a:gd name="csY108" fmla="*/ 84643 h 529366"/>
                <a:gd name="csX109" fmla="*/ 649075 w 1303129"/>
                <a:gd name="csY109" fmla="*/ 84643 h 529366"/>
                <a:gd name="csX110" fmla="*/ 626575 w 1303129"/>
                <a:gd name="csY110" fmla="*/ 84643 h 529366"/>
                <a:gd name="csX111" fmla="*/ 626575 w 1303129"/>
                <a:gd name="csY111" fmla="*/ 311363 h 529366"/>
                <a:gd name="csX112" fmla="*/ 626932 w 1303129"/>
                <a:gd name="csY112" fmla="*/ 317650 h 529366"/>
                <a:gd name="csX113" fmla="*/ 626932 w 1303129"/>
                <a:gd name="csY113" fmla="*/ 317617 h 529366"/>
                <a:gd name="csX114" fmla="*/ 609024 w 1303129"/>
                <a:gd name="csY114" fmla="*/ 317617 h 529366"/>
                <a:gd name="csX115" fmla="*/ 644757 w 1303129"/>
                <a:gd name="csY115" fmla="*/ 364652 h 529366"/>
                <a:gd name="csX116" fmla="*/ 523211 w 1303129"/>
                <a:gd name="csY116" fmla="*/ 330807 h 529366"/>
                <a:gd name="csX117" fmla="*/ 527535 w 1303129"/>
                <a:gd name="csY117" fmla="*/ 331887 h 529366"/>
                <a:gd name="csX118" fmla="*/ 531852 w 1303129"/>
                <a:gd name="csY118" fmla="*/ 330807 h 529366"/>
                <a:gd name="csX119" fmla="*/ 567591 w 1303129"/>
                <a:gd name="csY119" fmla="*/ 283772 h 529366"/>
                <a:gd name="csX120" fmla="*/ 549683 w 1303129"/>
                <a:gd name="csY120" fmla="*/ 283772 h 529366"/>
                <a:gd name="csX121" fmla="*/ 550034 w 1303129"/>
                <a:gd name="csY121" fmla="*/ 277517 h 529366"/>
                <a:gd name="csX122" fmla="*/ 550034 w 1303129"/>
                <a:gd name="csY122" fmla="*/ 84643 h 529366"/>
                <a:gd name="csX123" fmla="*/ 505024 w 1303129"/>
                <a:gd name="csY123" fmla="*/ 84643 h 529366"/>
                <a:gd name="csX124" fmla="*/ 505024 w 1303129"/>
                <a:gd name="csY124" fmla="*/ 277517 h 529366"/>
                <a:gd name="csX125" fmla="*/ 505381 w 1303129"/>
                <a:gd name="csY125" fmla="*/ 283772 h 529366"/>
                <a:gd name="csX126" fmla="*/ 487479 w 1303129"/>
                <a:gd name="csY126" fmla="*/ 283772 h 529366"/>
                <a:gd name="csX127" fmla="*/ 523211 w 1303129"/>
                <a:gd name="csY127" fmla="*/ 330807 h 529366"/>
                <a:gd name="csX128" fmla="*/ 199453 w 1303129"/>
                <a:gd name="csY128" fmla="*/ 114604 h 529366"/>
                <a:gd name="csX129" fmla="*/ 223797 w 1303129"/>
                <a:gd name="csY129" fmla="*/ 114604 h 529366"/>
                <a:gd name="csX130" fmla="*/ 223797 w 1303129"/>
                <a:gd name="csY130" fmla="*/ 76298 h 529366"/>
                <a:gd name="csX131" fmla="*/ 199453 w 1303129"/>
                <a:gd name="csY131" fmla="*/ 76298 h 529366"/>
                <a:gd name="csX132" fmla="*/ 134418 w 1303129"/>
                <a:gd name="csY132" fmla="*/ 407627 h 529366"/>
                <a:gd name="csX133" fmla="*/ 160176 w 1303129"/>
                <a:gd name="csY133" fmla="*/ 407627 h 529366"/>
                <a:gd name="csX134" fmla="*/ 160176 w 1303129"/>
                <a:gd name="csY134" fmla="*/ 380091 h 529366"/>
                <a:gd name="csX135" fmla="*/ 134418 w 1303129"/>
                <a:gd name="csY135" fmla="*/ 380091 h 529366"/>
                <a:gd name="csX136" fmla="*/ 134418 w 1303129"/>
                <a:gd name="csY136" fmla="*/ 407627 h 529366"/>
                <a:gd name="csX137" fmla="*/ 160176 w 1303129"/>
                <a:gd name="csY137" fmla="*/ 438708 h 529366"/>
                <a:gd name="csX138" fmla="*/ 160176 w 1303129"/>
                <a:gd name="csY138" fmla="*/ 409909 h 529366"/>
                <a:gd name="csX139" fmla="*/ 134418 w 1303129"/>
                <a:gd name="csY139" fmla="*/ 409909 h 529366"/>
                <a:gd name="csX140" fmla="*/ 134418 w 1303129"/>
                <a:gd name="csY140" fmla="*/ 438708 h 529366"/>
                <a:gd name="csX141" fmla="*/ 191745 w 1303129"/>
                <a:gd name="csY141" fmla="*/ 407627 h 529366"/>
                <a:gd name="csX142" fmla="*/ 217498 w 1303129"/>
                <a:gd name="csY142" fmla="*/ 407627 h 529366"/>
                <a:gd name="csX143" fmla="*/ 217498 w 1303129"/>
                <a:gd name="csY143" fmla="*/ 380091 h 529366"/>
                <a:gd name="csX144" fmla="*/ 191745 w 1303129"/>
                <a:gd name="csY144" fmla="*/ 380091 h 529366"/>
                <a:gd name="csX145" fmla="*/ 191745 w 1303129"/>
                <a:gd name="csY145" fmla="*/ 407627 h 529366"/>
                <a:gd name="csX146" fmla="*/ 217498 w 1303129"/>
                <a:gd name="csY146" fmla="*/ 438708 h 529366"/>
                <a:gd name="csX147" fmla="*/ 217498 w 1303129"/>
                <a:gd name="csY147" fmla="*/ 409909 h 529366"/>
                <a:gd name="csX148" fmla="*/ 191745 w 1303129"/>
                <a:gd name="csY148" fmla="*/ 409909 h 529366"/>
                <a:gd name="csX149" fmla="*/ 191745 w 1303129"/>
                <a:gd name="csY149" fmla="*/ 438708 h 529366"/>
                <a:gd name="csX150" fmla="*/ 191745 w 1303129"/>
                <a:gd name="csY150" fmla="*/ 447245 h 529366"/>
                <a:gd name="csX151" fmla="*/ 204627 w 1303129"/>
                <a:gd name="csY151" fmla="*/ 467851 h 529366"/>
                <a:gd name="csX152" fmla="*/ 217498 w 1303129"/>
                <a:gd name="csY152" fmla="*/ 447245 h 529366"/>
                <a:gd name="csX153" fmla="*/ 217498 w 1303129"/>
                <a:gd name="csY153" fmla="*/ 440990 h 529366"/>
                <a:gd name="csX154" fmla="*/ 191745 w 1303129"/>
                <a:gd name="csY154" fmla="*/ 440990 h 529366"/>
                <a:gd name="csX155" fmla="*/ 191745 w 1303129"/>
                <a:gd name="csY155" fmla="*/ 447245 h 529366"/>
                <a:gd name="csX156" fmla="*/ 134418 w 1303129"/>
                <a:gd name="csY156" fmla="*/ 447245 h 529366"/>
                <a:gd name="csX157" fmla="*/ 147294 w 1303129"/>
                <a:gd name="csY157" fmla="*/ 467851 h 529366"/>
                <a:gd name="csX158" fmla="*/ 160176 w 1303129"/>
                <a:gd name="csY158" fmla="*/ 447245 h 529366"/>
                <a:gd name="csX159" fmla="*/ 160176 w 1303129"/>
                <a:gd name="csY159" fmla="*/ 440990 h 529366"/>
                <a:gd name="csX160" fmla="*/ 134418 w 1303129"/>
                <a:gd name="csY160" fmla="*/ 440990 h 529366"/>
                <a:gd name="csX161" fmla="*/ 134418 w 1303129"/>
                <a:gd name="csY161" fmla="*/ 447245 h 529366"/>
                <a:gd name="csX162" fmla="*/ 187987 w 1303129"/>
                <a:gd name="csY162" fmla="*/ 228260 h 529366"/>
                <a:gd name="csX163" fmla="*/ 163935 w 1303129"/>
                <a:gd name="csY163" fmla="*/ 228260 h 529366"/>
                <a:gd name="csX164" fmla="*/ 163935 w 1303129"/>
                <a:gd name="csY164" fmla="*/ 279920 h 529366"/>
                <a:gd name="csX165" fmla="*/ 187987 w 1303129"/>
                <a:gd name="csY165" fmla="*/ 279920 h 529366"/>
                <a:gd name="csX166" fmla="*/ 187987 w 1303129"/>
                <a:gd name="csY166" fmla="*/ 228260 h 52936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 ang="0">
                  <a:pos x="csX97" y="csY97"/>
                </a:cxn>
                <a:cxn ang="0">
                  <a:pos x="csX98" y="csY98"/>
                </a:cxn>
                <a:cxn ang="0">
                  <a:pos x="csX99" y="csY99"/>
                </a:cxn>
                <a:cxn ang="0">
                  <a:pos x="csX100" y="csY100"/>
                </a:cxn>
                <a:cxn ang="0">
                  <a:pos x="csX101" y="csY101"/>
                </a:cxn>
                <a:cxn ang="0">
                  <a:pos x="csX102" y="csY102"/>
                </a:cxn>
                <a:cxn ang="0">
                  <a:pos x="csX103" y="csY103"/>
                </a:cxn>
                <a:cxn ang="0">
                  <a:pos x="csX104" y="csY104"/>
                </a:cxn>
                <a:cxn ang="0">
                  <a:pos x="csX105" y="csY105"/>
                </a:cxn>
                <a:cxn ang="0">
                  <a:pos x="csX106" y="csY106"/>
                </a:cxn>
                <a:cxn ang="0">
                  <a:pos x="csX107" y="csY107"/>
                </a:cxn>
                <a:cxn ang="0">
                  <a:pos x="csX108" y="csY108"/>
                </a:cxn>
                <a:cxn ang="0">
                  <a:pos x="csX109" y="csY109"/>
                </a:cxn>
                <a:cxn ang="0">
                  <a:pos x="csX110" y="csY110"/>
                </a:cxn>
                <a:cxn ang="0">
                  <a:pos x="csX111" y="csY111"/>
                </a:cxn>
                <a:cxn ang="0">
                  <a:pos x="csX112" y="csY112"/>
                </a:cxn>
                <a:cxn ang="0">
                  <a:pos x="csX113" y="csY113"/>
                </a:cxn>
                <a:cxn ang="0">
                  <a:pos x="csX114" y="csY114"/>
                </a:cxn>
                <a:cxn ang="0">
                  <a:pos x="csX115" y="csY115"/>
                </a:cxn>
                <a:cxn ang="0">
                  <a:pos x="csX116" y="csY116"/>
                </a:cxn>
                <a:cxn ang="0">
                  <a:pos x="csX117" y="csY117"/>
                </a:cxn>
                <a:cxn ang="0">
                  <a:pos x="csX118" y="csY118"/>
                </a:cxn>
                <a:cxn ang="0">
                  <a:pos x="csX119" y="csY119"/>
                </a:cxn>
                <a:cxn ang="0">
                  <a:pos x="csX120" y="csY120"/>
                </a:cxn>
                <a:cxn ang="0">
                  <a:pos x="csX121" y="csY121"/>
                </a:cxn>
                <a:cxn ang="0">
                  <a:pos x="csX122" y="csY122"/>
                </a:cxn>
                <a:cxn ang="0">
                  <a:pos x="csX123" y="csY123"/>
                </a:cxn>
                <a:cxn ang="0">
                  <a:pos x="csX124" y="csY124"/>
                </a:cxn>
                <a:cxn ang="0">
                  <a:pos x="csX125" y="csY125"/>
                </a:cxn>
                <a:cxn ang="0">
                  <a:pos x="csX126" y="csY126"/>
                </a:cxn>
                <a:cxn ang="0">
                  <a:pos x="csX127" y="csY127"/>
                </a:cxn>
                <a:cxn ang="0">
                  <a:pos x="csX128" y="csY128"/>
                </a:cxn>
                <a:cxn ang="0">
                  <a:pos x="csX129" y="csY129"/>
                </a:cxn>
                <a:cxn ang="0">
                  <a:pos x="csX130" y="csY130"/>
                </a:cxn>
                <a:cxn ang="0">
                  <a:pos x="csX131" y="csY131"/>
                </a:cxn>
                <a:cxn ang="0">
                  <a:pos x="csX132" y="csY132"/>
                </a:cxn>
                <a:cxn ang="0">
                  <a:pos x="csX133" y="csY133"/>
                </a:cxn>
                <a:cxn ang="0">
                  <a:pos x="csX134" y="csY134"/>
                </a:cxn>
                <a:cxn ang="0">
                  <a:pos x="csX135" y="csY135"/>
                </a:cxn>
                <a:cxn ang="0">
                  <a:pos x="csX136" y="csY136"/>
                </a:cxn>
                <a:cxn ang="0">
                  <a:pos x="csX137" y="csY137"/>
                </a:cxn>
                <a:cxn ang="0">
                  <a:pos x="csX138" y="csY138"/>
                </a:cxn>
                <a:cxn ang="0">
                  <a:pos x="csX139" y="csY139"/>
                </a:cxn>
                <a:cxn ang="0">
                  <a:pos x="csX140" y="csY140"/>
                </a:cxn>
                <a:cxn ang="0">
                  <a:pos x="csX141" y="csY141"/>
                </a:cxn>
                <a:cxn ang="0">
                  <a:pos x="csX142" y="csY142"/>
                </a:cxn>
                <a:cxn ang="0">
                  <a:pos x="csX143" y="csY143"/>
                </a:cxn>
                <a:cxn ang="0">
                  <a:pos x="csX144" y="csY144"/>
                </a:cxn>
                <a:cxn ang="0">
                  <a:pos x="csX145" y="csY145"/>
                </a:cxn>
                <a:cxn ang="0">
                  <a:pos x="csX146" y="csY146"/>
                </a:cxn>
                <a:cxn ang="0">
                  <a:pos x="csX147" y="csY147"/>
                </a:cxn>
                <a:cxn ang="0">
                  <a:pos x="csX148" y="csY148"/>
                </a:cxn>
                <a:cxn ang="0">
                  <a:pos x="csX149" y="csY149"/>
                </a:cxn>
                <a:cxn ang="0">
                  <a:pos x="csX150" y="csY150"/>
                </a:cxn>
                <a:cxn ang="0">
                  <a:pos x="csX151" y="csY151"/>
                </a:cxn>
                <a:cxn ang="0">
                  <a:pos x="csX152" y="csY152"/>
                </a:cxn>
                <a:cxn ang="0">
                  <a:pos x="csX153" y="csY153"/>
                </a:cxn>
                <a:cxn ang="0">
                  <a:pos x="csX154" y="csY154"/>
                </a:cxn>
                <a:cxn ang="0">
                  <a:pos x="csX155" y="csY155"/>
                </a:cxn>
                <a:cxn ang="0">
                  <a:pos x="csX156" y="csY156"/>
                </a:cxn>
                <a:cxn ang="0">
                  <a:pos x="csX157" y="csY157"/>
                </a:cxn>
                <a:cxn ang="0">
                  <a:pos x="csX158" y="csY158"/>
                </a:cxn>
                <a:cxn ang="0">
                  <a:pos x="csX159" y="csY159"/>
                </a:cxn>
                <a:cxn ang="0">
                  <a:pos x="csX160" y="csY160"/>
                </a:cxn>
                <a:cxn ang="0">
                  <a:pos x="csX161" y="csY161"/>
                </a:cxn>
                <a:cxn ang="0">
                  <a:pos x="csX162" y="csY162"/>
                </a:cxn>
                <a:cxn ang="0">
                  <a:pos x="csX163" y="csY163"/>
                </a:cxn>
                <a:cxn ang="0">
                  <a:pos x="csX164" y="csY164"/>
                </a:cxn>
                <a:cxn ang="0">
                  <a:pos x="csX165" y="csY165"/>
                </a:cxn>
                <a:cxn ang="0">
                  <a:pos x="csX166" y="csY166"/>
                </a:cxn>
              </a:cxnLst>
              <a:rect l="l" t="t" r="r" b="b"/>
              <a:pathLst>
                <a:path w="1303129" h="529366">
                  <a:moveTo>
                    <a:pt x="1246807" y="64985"/>
                  </a:moveTo>
                  <a:lnTo>
                    <a:pt x="1300558" y="-5663"/>
                  </a:lnTo>
                  <a:lnTo>
                    <a:pt x="1300558" y="76984"/>
                  </a:lnTo>
                  <a:lnTo>
                    <a:pt x="1246807" y="142305"/>
                  </a:lnTo>
                  <a:lnTo>
                    <a:pt x="1265752" y="119284"/>
                  </a:lnTo>
                  <a:lnTo>
                    <a:pt x="1265752" y="358304"/>
                  </a:lnTo>
                  <a:lnTo>
                    <a:pt x="1271397" y="358304"/>
                  </a:lnTo>
                  <a:lnTo>
                    <a:pt x="1271397" y="367653"/>
                  </a:lnTo>
                  <a:lnTo>
                    <a:pt x="1265752" y="367653"/>
                  </a:lnTo>
                  <a:lnTo>
                    <a:pt x="1265752" y="523703"/>
                  </a:lnTo>
                  <a:lnTo>
                    <a:pt x="977787" y="523703"/>
                  </a:lnTo>
                  <a:lnTo>
                    <a:pt x="977787" y="367653"/>
                  </a:lnTo>
                  <a:lnTo>
                    <a:pt x="972142" y="367653"/>
                  </a:lnTo>
                  <a:lnTo>
                    <a:pt x="972142" y="358304"/>
                  </a:lnTo>
                  <a:lnTo>
                    <a:pt x="977787" y="358304"/>
                  </a:lnTo>
                  <a:lnTo>
                    <a:pt x="977787" y="205941"/>
                  </a:lnTo>
                  <a:lnTo>
                    <a:pt x="1193567" y="205941"/>
                  </a:lnTo>
                  <a:lnTo>
                    <a:pt x="1217214" y="142431"/>
                  </a:lnTo>
                  <a:lnTo>
                    <a:pt x="1207300" y="142431"/>
                  </a:lnTo>
                  <a:lnTo>
                    <a:pt x="1207344" y="142305"/>
                  </a:lnTo>
                  <a:lnTo>
                    <a:pt x="944485" y="142305"/>
                  </a:lnTo>
                  <a:lnTo>
                    <a:pt x="944485" y="335887"/>
                  </a:lnTo>
                  <a:lnTo>
                    <a:pt x="891952" y="335887"/>
                  </a:lnTo>
                  <a:lnTo>
                    <a:pt x="801849" y="423971"/>
                  </a:lnTo>
                  <a:lnTo>
                    <a:pt x="496136" y="423971"/>
                  </a:lnTo>
                  <a:lnTo>
                    <a:pt x="406033" y="335887"/>
                  </a:lnTo>
                  <a:lnTo>
                    <a:pt x="353501" y="335887"/>
                  </a:lnTo>
                  <a:lnTo>
                    <a:pt x="353501" y="142305"/>
                  </a:lnTo>
                  <a:lnTo>
                    <a:pt x="90384" y="142305"/>
                  </a:lnTo>
                  <a:lnTo>
                    <a:pt x="90428" y="142431"/>
                  </a:lnTo>
                  <a:lnTo>
                    <a:pt x="80514" y="142431"/>
                  </a:lnTo>
                  <a:lnTo>
                    <a:pt x="104166" y="205941"/>
                  </a:lnTo>
                  <a:lnTo>
                    <a:pt x="319940" y="205941"/>
                  </a:lnTo>
                  <a:lnTo>
                    <a:pt x="319940" y="358304"/>
                  </a:lnTo>
                  <a:lnTo>
                    <a:pt x="325586" y="358304"/>
                  </a:lnTo>
                  <a:lnTo>
                    <a:pt x="325586" y="367653"/>
                  </a:lnTo>
                  <a:lnTo>
                    <a:pt x="319940" y="367653"/>
                  </a:lnTo>
                  <a:lnTo>
                    <a:pt x="319940" y="523703"/>
                  </a:lnTo>
                  <a:lnTo>
                    <a:pt x="31981" y="523703"/>
                  </a:lnTo>
                  <a:lnTo>
                    <a:pt x="31981" y="367653"/>
                  </a:lnTo>
                  <a:lnTo>
                    <a:pt x="26330" y="367653"/>
                  </a:lnTo>
                  <a:lnTo>
                    <a:pt x="26330" y="358304"/>
                  </a:lnTo>
                  <a:lnTo>
                    <a:pt x="31981" y="358304"/>
                  </a:lnTo>
                  <a:lnTo>
                    <a:pt x="31981" y="119284"/>
                  </a:lnTo>
                  <a:lnTo>
                    <a:pt x="50926" y="142305"/>
                  </a:lnTo>
                  <a:lnTo>
                    <a:pt x="50926" y="142305"/>
                  </a:lnTo>
                  <a:lnTo>
                    <a:pt x="51183" y="142305"/>
                  </a:lnTo>
                  <a:lnTo>
                    <a:pt x="51183" y="142305"/>
                  </a:lnTo>
                  <a:lnTo>
                    <a:pt x="-2572" y="76984"/>
                  </a:lnTo>
                  <a:lnTo>
                    <a:pt x="-2572" y="-5663"/>
                  </a:lnTo>
                  <a:lnTo>
                    <a:pt x="51183" y="64985"/>
                  </a:lnTo>
                  <a:close/>
                  <a:moveTo>
                    <a:pt x="1080224" y="407627"/>
                  </a:moveTo>
                  <a:lnTo>
                    <a:pt x="1105982" y="407627"/>
                  </a:lnTo>
                  <a:cubicBezTo>
                    <a:pt x="1105982" y="392808"/>
                    <a:pt x="1105982" y="380091"/>
                    <a:pt x="1105982" y="380091"/>
                  </a:cubicBezTo>
                  <a:lnTo>
                    <a:pt x="1080224" y="380091"/>
                  </a:lnTo>
                  <a:cubicBezTo>
                    <a:pt x="1080224" y="380091"/>
                    <a:pt x="1080224" y="392808"/>
                    <a:pt x="1080224" y="407627"/>
                  </a:cubicBezTo>
                  <a:close/>
                  <a:moveTo>
                    <a:pt x="1105982" y="438708"/>
                  </a:moveTo>
                  <a:cubicBezTo>
                    <a:pt x="1105982" y="430472"/>
                    <a:pt x="1105982" y="419856"/>
                    <a:pt x="1105982" y="409909"/>
                  </a:cubicBezTo>
                  <a:lnTo>
                    <a:pt x="1080224" y="409909"/>
                  </a:lnTo>
                  <a:cubicBezTo>
                    <a:pt x="1080224" y="419856"/>
                    <a:pt x="1080224" y="430472"/>
                    <a:pt x="1080224" y="438708"/>
                  </a:cubicBezTo>
                  <a:close/>
                  <a:moveTo>
                    <a:pt x="1137557" y="407627"/>
                  </a:moveTo>
                  <a:lnTo>
                    <a:pt x="1163310" y="407627"/>
                  </a:lnTo>
                  <a:cubicBezTo>
                    <a:pt x="1163310" y="392808"/>
                    <a:pt x="1163310" y="380091"/>
                    <a:pt x="1163310" y="380091"/>
                  </a:cubicBezTo>
                  <a:lnTo>
                    <a:pt x="1137557" y="380091"/>
                  </a:lnTo>
                  <a:cubicBezTo>
                    <a:pt x="1137557" y="380091"/>
                    <a:pt x="1137557" y="392808"/>
                    <a:pt x="1137557" y="407627"/>
                  </a:cubicBezTo>
                  <a:close/>
                  <a:moveTo>
                    <a:pt x="1163310" y="438708"/>
                  </a:moveTo>
                  <a:cubicBezTo>
                    <a:pt x="1163310" y="430472"/>
                    <a:pt x="1163310" y="419856"/>
                    <a:pt x="1163310" y="409909"/>
                  </a:cubicBezTo>
                  <a:lnTo>
                    <a:pt x="1137557" y="409909"/>
                  </a:lnTo>
                  <a:cubicBezTo>
                    <a:pt x="1137557" y="419856"/>
                    <a:pt x="1137557" y="430472"/>
                    <a:pt x="1137557" y="438708"/>
                  </a:cubicBezTo>
                  <a:close/>
                  <a:moveTo>
                    <a:pt x="1137557" y="447245"/>
                  </a:moveTo>
                  <a:cubicBezTo>
                    <a:pt x="1137557" y="464631"/>
                    <a:pt x="1150433" y="467851"/>
                    <a:pt x="1150433" y="467851"/>
                  </a:cubicBezTo>
                  <a:cubicBezTo>
                    <a:pt x="1150433" y="467851"/>
                    <a:pt x="1163310" y="464631"/>
                    <a:pt x="1163310" y="447245"/>
                  </a:cubicBezTo>
                  <a:cubicBezTo>
                    <a:pt x="1163310" y="445472"/>
                    <a:pt x="1163310" y="443349"/>
                    <a:pt x="1163310" y="440990"/>
                  </a:cubicBezTo>
                  <a:lnTo>
                    <a:pt x="1137557" y="440990"/>
                  </a:lnTo>
                  <a:cubicBezTo>
                    <a:pt x="1137557" y="443349"/>
                    <a:pt x="1137557" y="445472"/>
                    <a:pt x="1137557" y="447245"/>
                  </a:cubicBezTo>
                  <a:close/>
                  <a:moveTo>
                    <a:pt x="1080224" y="447245"/>
                  </a:moveTo>
                  <a:cubicBezTo>
                    <a:pt x="1080224" y="464631"/>
                    <a:pt x="1093100" y="467851"/>
                    <a:pt x="1093100" y="467851"/>
                  </a:cubicBezTo>
                  <a:cubicBezTo>
                    <a:pt x="1093100" y="467851"/>
                    <a:pt x="1105982" y="464631"/>
                    <a:pt x="1105982" y="447245"/>
                  </a:cubicBezTo>
                  <a:cubicBezTo>
                    <a:pt x="1105982" y="445472"/>
                    <a:pt x="1105982" y="443349"/>
                    <a:pt x="1105982" y="440990"/>
                  </a:cubicBezTo>
                  <a:lnTo>
                    <a:pt x="1080224" y="440990"/>
                  </a:lnTo>
                  <a:cubicBezTo>
                    <a:pt x="1080224" y="443349"/>
                    <a:pt x="1080224" y="445472"/>
                    <a:pt x="1080224" y="447245"/>
                  </a:cubicBezTo>
                  <a:close/>
                  <a:moveTo>
                    <a:pt x="1133793" y="228260"/>
                  </a:moveTo>
                  <a:lnTo>
                    <a:pt x="1109746" y="228260"/>
                  </a:lnTo>
                  <a:lnTo>
                    <a:pt x="1109746" y="279920"/>
                  </a:lnTo>
                  <a:lnTo>
                    <a:pt x="1133793" y="279920"/>
                  </a:lnTo>
                  <a:close/>
                  <a:moveTo>
                    <a:pt x="1056544" y="114604"/>
                  </a:moveTo>
                  <a:lnTo>
                    <a:pt x="1080882" y="114604"/>
                  </a:lnTo>
                  <a:lnTo>
                    <a:pt x="1080882" y="76298"/>
                  </a:lnTo>
                  <a:lnTo>
                    <a:pt x="1056544" y="76298"/>
                  </a:lnTo>
                  <a:close/>
                  <a:moveTo>
                    <a:pt x="766133" y="330807"/>
                  </a:moveTo>
                  <a:lnTo>
                    <a:pt x="770451" y="331887"/>
                  </a:lnTo>
                  <a:lnTo>
                    <a:pt x="774774" y="330807"/>
                  </a:lnTo>
                  <a:cubicBezTo>
                    <a:pt x="786460" y="327882"/>
                    <a:pt x="807912" y="314369"/>
                    <a:pt x="810512" y="283772"/>
                  </a:cubicBezTo>
                  <a:lnTo>
                    <a:pt x="792599" y="283772"/>
                  </a:lnTo>
                  <a:cubicBezTo>
                    <a:pt x="792824" y="281808"/>
                    <a:pt x="792956" y="279734"/>
                    <a:pt x="792956" y="277517"/>
                  </a:cubicBezTo>
                  <a:cubicBezTo>
                    <a:pt x="792956" y="247139"/>
                    <a:pt x="792956" y="84643"/>
                    <a:pt x="792956" y="84643"/>
                  </a:cubicBezTo>
                  <a:lnTo>
                    <a:pt x="747945" y="84643"/>
                  </a:lnTo>
                  <a:cubicBezTo>
                    <a:pt x="747945" y="84643"/>
                    <a:pt x="747945" y="247139"/>
                    <a:pt x="747945" y="277517"/>
                  </a:cubicBezTo>
                  <a:cubicBezTo>
                    <a:pt x="747945" y="279734"/>
                    <a:pt x="748083" y="281808"/>
                    <a:pt x="748302" y="283772"/>
                  </a:cubicBezTo>
                  <a:lnTo>
                    <a:pt x="730400" y="283772"/>
                  </a:lnTo>
                  <a:cubicBezTo>
                    <a:pt x="733000" y="314369"/>
                    <a:pt x="754452" y="327882"/>
                    <a:pt x="766133" y="330807"/>
                  </a:cubicBezTo>
                  <a:close/>
                  <a:moveTo>
                    <a:pt x="644757" y="364652"/>
                  </a:moveTo>
                  <a:lnTo>
                    <a:pt x="649075" y="365733"/>
                  </a:lnTo>
                  <a:lnTo>
                    <a:pt x="653398" y="364652"/>
                  </a:lnTo>
                  <a:cubicBezTo>
                    <a:pt x="665084" y="361733"/>
                    <a:pt x="686531" y="348220"/>
                    <a:pt x="689137" y="317617"/>
                  </a:cubicBezTo>
                  <a:lnTo>
                    <a:pt x="671224" y="317617"/>
                  </a:lnTo>
                  <a:cubicBezTo>
                    <a:pt x="671224" y="317628"/>
                    <a:pt x="671224" y="317639"/>
                    <a:pt x="671224" y="317650"/>
                  </a:cubicBezTo>
                  <a:cubicBezTo>
                    <a:pt x="671448" y="315675"/>
                    <a:pt x="671580" y="313596"/>
                    <a:pt x="671580" y="311363"/>
                  </a:cubicBezTo>
                  <a:cubicBezTo>
                    <a:pt x="671580" y="280985"/>
                    <a:pt x="671580" y="84643"/>
                    <a:pt x="671580" y="84643"/>
                  </a:cubicBezTo>
                  <a:lnTo>
                    <a:pt x="649075" y="84643"/>
                  </a:lnTo>
                  <a:lnTo>
                    <a:pt x="626575" y="84643"/>
                  </a:lnTo>
                  <a:cubicBezTo>
                    <a:pt x="626575" y="84643"/>
                    <a:pt x="626575" y="280985"/>
                    <a:pt x="626575" y="311363"/>
                  </a:cubicBezTo>
                  <a:cubicBezTo>
                    <a:pt x="626575" y="313596"/>
                    <a:pt x="626707" y="315675"/>
                    <a:pt x="626932" y="317650"/>
                  </a:cubicBezTo>
                  <a:cubicBezTo>
                    <a:pt x="626932" y="317639"/>
                    <a:pt x="626932" y="317628"/>
                    <a:pt x="626932" y="317617"/>
                  </a:cubicBezTo>
                  <a:lnTo>
                    <a:pt x="609024" y="317617"/>
                  </a:lnTo>
                  <a:cubicBezTo>
                    <a:pt x="611619" y="348220"/>
                    <a:pt x="633071" y="361733"/>
                    <a:pt x="644757" y="364652"/>
                  </a:cubicBezTo>
                  <a:close/>
                  <a:moveTo>
                    <a:pt x="523211" y="330807"/>
                  </a:moveTo>
                  <a:lnTo>
                    <a:pt x="527535" y="331887"/>
                  </a:lnTo>
                  <a:lnTo>
                    <a:pt x="531852" y="330807"/>
                  </a:lnTo>
                  <a:cubicBezTo>
                    <a:pt x="543539" y="327882"/>
                    <a:pt x="564985" y="314369"/>
                    <a:pt x="567591" y="283772"/>
                  </a:cubicBezTo>
                  <a:lnTo>
                    <a:pt x="549683" y="283772"/>
                  </a:lnTo>
                  <a:cubicBezTo>
                    <a:pt x="549908" y="281808"/>
                    <a:pt x="550034" y="279734"/>
                    <a:pt x="550034" y="277517"/>
                  </a:cubicBezTo>
                  <a:cubicBezTo>
                    <a:pt x="550034" y="247139"/>
                    <a:pt x="550034" y="84643"/>
                    <a:pt x="550034" y="84643"/>
                  </a:cubicBezTo>
                  <a:lnTo>
                    <a:pt x="505024" y="84643"/>
                  </a:lnTo>
                  <a:cubicBezTo>
                    <a:pt x="505024" y="84643"/>
                    <a:pt x="505024" y="247139"/>
                    <a:pt x="505024" y="277517"/>
                  </a:cubicBezTo>
                  <a:cubicBezTo>
                    <a:pt x="505024" y="279734"/>
                    <a:pt x="505161" y="281808"/>
                    <a:pt x="505381" y="283772"/>
                  </a:cubicBezTo>
                  <a:lnTo>
                    <a:pt x="487479" y="283772"/>
                  </a:lnTo>
                  <a:cubicBezTo>
                    <a:pt x="490074" y="314369"/>
                    <a:pt x="511525" y="327882"/>
                    <a:pt x="523211" y="330807"/>
                  </a:cubicBezTo>
                  <a:close/>
                  <a:moveTo>
                    <a:pt x="199453" y="114604"/>
                  </a:moveTo>
                  <a:lnTo>
                    <a:pt x="223797" y="114604"/>
                  </a:lnTo>
                  <a:lnTo>
                    <a:pt x="223797" y="76298"/>
                  </a:lnTo>
                  <a:lnTo>
                    <a:pt x="199453" y="76298"/>
                  </a:lnTo>
                  <a:close/>
                  <a:moveTo>
                    <a:pt x="134418" y="407627"/>
                  </a:moveTo>
                  <a:lnTo>
                    <a:pt x="160176" y="407627"/>
                  </a:lnTo>
                  <a:cubicBezTo>
                    <a:pt x="160176" y="392808"/>
                    <a:pt x="160176" y="380091"/>
                    <a:pt x="160176" y="380091"/>
                  </a:cubicBezTo>
                  <a:lnTo>
                    <a:pt x="134418" y="380091"/>
                  </a:lnTo>
                  <a:cubicBezTo>
                    <a:pt x="134418" y="380091"/>
                    <a:pt x="134418" y="392808"/>
                    <a:pt x="134418" y="407627"/>
                  </a:cubicBezTo>
                  <a:close/>
                  <a:moveTo>
                    <a:pt x="160176" y="438708"/>
                  </a:moveTo>
                  <a:cubicBezTo>
                    <a:pt x="160176" y="430472"/>
                    <a:pt x="160176" y="419856"/>
                    <a:pt x="160176" y="409909"/>
                  </a:cubicBezTo>
                  <a:lnTo>
                    <a:pt x="134418" y="409909"/>
                  </a:lnTo>
                  <a:cubicBezTo>
                    <a:pt x="134418" y="419856"/>
                    <a:pt x="134418" y="430472"/>
                    <a:pt x="134418" y="438708"/>
                  </a:cubicBezTo>
                  <a:close/>
                  <a:moveTo>
                    <a:pt x="191745" y="407627"/>
                  </a:moveTo>
                  <a:lnTo>
                    <a:pt x="217498" y="407627"/>
                  </a:lnTo>
                  <a:cubicBezTo>
                    <a:pt x="217498" y="392808"/>
                    <a:pt x="217498" y="380091"/>
                    <a:pt x="217498" y="380091"/>
                  </a:cubicBezTo>
                  <a:lnTo>
                    <a:pt x="191745" y="380091"/>
                  </a:lnTo>
                  <a:cubicBezTo>
                    <a:pt x="191745" y="380091"/>
                    <a:pt x="191745" y="392808"/>
                    <a:pt x="191745" y="407627"/>
                  </a:cubicBezTo>
                  <a:close/>
                  <a:moveTo>
                    <a:pt x="217498" y="438708"/>
                  </a:moveTo>
                  <a:cubicBezTo>
                    <a:pt x="217498" y="430472"/>
                    <a:pt x="217498" y="419856"/>
                    <a:pt x="217498" y="409909"/>
                  </a:cubicBezTo>
                  <a:lnTo>
                    <a:pt x="191745" y="409909"/>
                  </a:lnTo>
                  <a:cubicBezTo>
                    <a:pt x="191745" y="419856"/>
                    <a:pt x="191745" y="430472"/>
                    <a:pt x="191745" y="438708"/>
                  </a:cubicBezTo>
                  <a:close/>
                  <a:moveTo>
                    <a:pt x="191745" y="447245"/>
                  </a:moveTo>
                  <a:cubicBezTo>
                    <a:pt x="191745" y="464631"/>
                    <a:pt x="204627" y="467851"/>
                    <a:pt x="204627" y="467851"/>
                  </a:cubicBezTo>
                  <a:cubicBezTo>
                    <a:pt x="204627" y="467851"/>
                    <a:pt x="217498" y="464631"/>
                    <a:pt x="217498" y="447245"/>
                  </a:cubicBezTo>
                  <a:cubicBezTo>
                    <a:pt x="217498" y="445472"/>
                    <a:pt x="217498" y="443349"/>
                    <a:pt x="217498" y="440990"/>
                  </a:cubicBezTo>
                  <a:lnTo>
                    <a:pt x="191745" y="440990"/>
                  </a:lnTo>
                  <a:cubicBezTo>
                    <a:pt x="191745" y="443349"/>
                    <a:pt x="191745" y="445472"/>
                    <a:pt x="191745" y="447245"/>
                  </a:cubicBezTo>
                  <a:close/>
                  <a:moveTo>
                    <a:pt x="134418" y="447245"/>
                  </a:moveTo>
                  <a:cubicBezTo>
                    <a:pt x="134418" y="464631"/>
                    <a:pt x="147294" y="467851"/>
                    <a:pt x="147294" y="467851"/>
                  </a:cubicBezTo>
                  <a:cubicBezTo>
                    <a:pt x="147294" y="467851"/>
                    <a:pt x="160176" y="464631"/>
                    <a:pt x="160176" y="447245"/>
                  </a:cubicBezTo>
                  <a:cubicBezTo>
                    <a:pt x="160176" y="445472"/>
                    <a:pt x="160176" y="443349"/>
                    <a:pt x="160176" y="440990"/>
                  </a:cubicBezTo>
                  <a:lnTo>
                    <a:pt x="134418" y="440990"/>
                  </a:lnTo>
                  <a:cubicBezTo>
                    <a:pt x="134418" y="443349"/>
                    <a:pt x="134418" y="445472"/>
                    <a:pt x="134418" y="447245"/>
                  </a:cubicBezTo>
                  <a:close/>
                  <a:moveTo>
                    <a:pt x="187987" y="228260"/>
                  </a:moveTo>
                  <a:lnTo>
                    <a:pt x="163935" y="228260"/>
                  </a:lnTo>
                  <a:lnTo>
                    <a:pt x="163935" y="279920"/>
                  </a:lnTo>
                  <a:lnTo>
                    <a:pt x="187987" y="279920"/>
                  </a:lnTo>
                  <a:lnTo>
                    <a:pt x="187987" y="228260"/>
                  </a:lnTo>
                </a:path>
              </a:pathLst>
            </a:custGeom>
            <a:grpFill/>
            <a:ln w="548" cap="flat">
              <a:noFill/>
              <a:prstDash val="solid"/>
              <a:miter/>
            </a:ln>
          </p:spPr>
          <p:txBody>
            <a:bodyPr/>
            <a:lstStyle/>
            <a:p>
              <a:endParaRPr lang="en-US"/>
            </a:p>
          </p:txBody>
        </p:sp>
        <p:sp>
          <p:nvSpPr>
            <p:cNvPr id="548" name="Freeform: Shape 547">
              <a:extLst>
                <a:ext uri="{FF2B5EF4-FFF2-40B4-BE49-F238E27FC236}">
                  <a16:creationId xmlns:a16="http://schemas.microsoft.com/office/drawing/2014/main" id="{793902FD-3A40-02DC-5468-D451C5C648D1}"/>
                </a:ext>
              </a:extLst>
            </p:cNvPr>
            <p:cNvSpPr/>
            <p:nvPr/>
          </p:nvSpPr>
          <p:spPr>
            <a:xfrm flipV="1">
              <a:off x="19452371" y="4195675"/>
              <a:ext cx="257213" cy="141922"/>
            </a:xfrm>
            <a:custGeom>
              <a:avLst/>
              <a:gdLst>
                <a:gd name="csX0" fmla="*/ 235565 w 257213"/>
                <a:gd name="csY0" fmla="*/ 44224 h 141922"/>
                <a:gd name="csX1" fmla="*/ 18907 w 257213"/>
                <a:gd name="csY1" fmla="*/ 44224 h 141922"/>
                <a:gd name="csX2" fmla="*/ 18907 w 257213"/>
                <a:gd name="csY2" fmla="*/ 136352 h 141922"/>
                <a:gd name="csX3" fmla="*/ -3105 w 257213"/>
                <a:gd name="csY3" fmla="*/ 136352 h 141922"/>
                <a:gd name="csX4" fmla="*/ -3105 w 257213"/>
                <a:gd name="csY4" fmla="*/ 44224 h 141922"/>
                <a:gd name="csX5" fmla="*/ -3105 w 257213"/>
                <a:gd name="csY5" fmla="*/ -5570 h 141922"/>
                <a:gd name="csX6" fmla="*/ 254109 w 257213"/>
                <a:gd name="csY6" fmla="*/ -5570 h 141922"/>
                <a:gd name="csX7" fmla="*/ 235565 w 257213"/>
                <a:gd name="csY7" fmla="*/ 44224 h 14192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257213" h="141922">
                  <a:moveTo>
                    <a:pt x="235565" y="44224"/>
                  </a:moveTo>
                  <a:lnTo>
                    <a:pt x="18907" y="44224"/>
                  </a:lnTo>
                  <a:lnTo>
                    <a:pt x="18907" y="136352"/>
                  </a:lnTo>
                  <a:lnTo>
                    <a:pt x="-3105" y="136352"/>
                  </a:lnTo>
                  <a:lnTo>
                    <a:pt x="-3105" y="44224"/>
                  </a:lnTo>
                  <a:lnTo>
                    <a:pt x="-3105" y="-5570"/>
                  </a:lnTo>
                  <a:lnTo>
                    <a:pt x="254109" y="-5570"/>
                  </a:lnTo>
                  <a:lnTo>
                    <a:pt x="235565" y="44224"/>
                  </a:lnTo>
                </a:path>
              </a:pathLst>
            </a:custGeom>
            <a:grpFill/>
            <a:ln w="548" cap="flat">
              <a:noFill/>
              <a:prstDash val="solid"/>
              <a:miter/>
            </a:ln>
          </p:spPr>
          <p:txBody>
            <a:bodyPr/>
            <a:lstStyle/>
            <a:p>
              <a:endParaRPr lang="en-US"/>
            </a:p>
          </p:txBody>
        </p:sp>
        <p:sp>
          <p:nvSpPr>
            <p:cNvPr id="549" name="Freeform: Shape 548">
              <a:extLst>
                <a:ext uri="{FF2B5EF4-FFF2-40B4-BE49-F238E27FC236}">
                  <a16:creationId xmlns:a16="http://schemas.microsoft.com/office/drawing/2014/main" id="{8A960766-A404-EB20-FFC9-FDC85C7E47D9}"/>
                </a:ext>
              </a:extLst>
            </p:cNvPr>
            <p:cNvSpPr/>
            <p:nvPr/>
          </p:nvSpPr>
          <p:spPr>
            <a:xfrm flipV="1">
              <a:off x="19472599" y="3908846"/>
              <a:ext cx="302821" cy="47479"/>
            </a:xfrm>
            <a:custGeom>
              <a:avLst/>
              <a:gdLst>
                <a:gd name="csX0" fmla="*/ 299664 w 302821"/>
                <a:gd name="csY0" fmla="*/ 41105 h 47479"/>
                <a:gd name="csX1" fmla="*/ 240219 w 302821"/>
                <a:gd name="csY1" fmla="*/ 41105 h 47479"/>
                <a:gd name="csX2" fmla="*/ 240219 w 302821"/>
                <a:gd name="csY2" fmla="*/ 25074 h 47479"/>
                <a:gd name="csX3" fmla="*/ 215722 w 302821"/>
                <a:gd name="csY3" fmla="*/ 25074 h 47479"/>
                <a:gd name="csX4" fmla="*/ 215722 w 302821"/>
                <a:gd name="csY4" fmla="*/ 41105 h 47479"/>
                <a:gd name="csX5" fmla="*/ 160501 w 302821"/>
                <a:gd name="csY5" fmla="*/ 41105 h 47479"/>
                <a:gd name="csX6" fmla="*/ 160501 w 302821"/>
                <a:gd name="csY6" fmla="*/ 25074 h 47479"/>
                <a:gd name="csX7" fmla="*/ 136004 w 302821"/>
                <a:gd name="csY7" fmla="*/ 25074 h 47479"/>
                <a:gd name="csX8" fmla="*/ 136004 w 302821"/>
                <a:gd name="csY8" fmla="*/ 41105 h 47479"/>
                <a:gd name="csX9" fmla="*/ 80778 w 302821"/>
                <a:gd name="csY9" fmla="*/ 41105 h 47479"/>
                <a:gd name="csX10" fmla="*/ 80778 w 302821"/>
                <a:gd name="csY10" fmla="*/ 25074 h 47479"/>
                <a:gd name="csX11" fmla="*/ 56287 w 302821"/>
                <a:gd name="csY11" fmla="*/ 25074 h 47479"/>
                <a:gd name="csX12" fmla="*/ 56287 w 302821"/>
                <a:gd name="csY12" fmla="*/ 41105 h 47479"/>
                <a:gd name="csX13" fmla="*/ -3158 w 302821"/>
                <a:gd name="csY13" fmla="*/ 41105 h 47479"/>
                <a:gd name="csX14" fmla="*/ -3158 w 302821"/>
                <a:gd name="csY14" fmla="*/ -6374 h 47479"/>
                <a:gd name="csX15" fmla="*/ 299664 w 302821"/>
                <a:gd name="csY15" fmla="*/ -6374 h 47479"/>
                <a:gd name="csX16" fmla="*/ 299664 w 302821"/>
                <a:gd name="csY16" fmla="*/ 41105 h 4747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Lst>
              <a:rect l="l" t="t" r="r" b="b"/>
              <a:pathLst>
                <a:path w="302821" h="47479">
                  <a:moveTo>
                    <a:pt x="299664" y="41105"/>
                  </a:moveTo>
                  <a:lnTo>
                    <a:pt x="240219" y="41105"/>
                  </a:lnTo>
                  <a:lnTo>
                    <a:pt x="240219" y="25074"/>
                  </a:lnTo>
                  <a:lnTo>
                    <a:pt x="215722" y="25074"/>
                  </a:lnTo>
                  <a:lnTo>
                    <a:pt x="215722" y="41105"/>
                  </a:lnTo>
                  <a:lnTo>
                    <a:pt x="160501" y="41105"/>
                  </a:lnTo>
                  <a:lnTo>
                    <a:pt x="160501" y="25074"/>
                  </a:lnTo>
                  <a:lnTo>
                    <a:pt x="136004" y="25074"/>
                  </a:lnTo>
                  <a:lnTo>
                    <a:pt x="136004" y="41105"/>
                  </a:lnTo>
                  <a:lnTo>
                    <a:pt x="80778" y="41105"/>
                  </a:lnTo>
                  <a:lnTo>
                    <a:pt x="80778" y="25074"/>
                  </a:lnTo>
                  <a:lnTo>
                    <a:pt x="56287" y="25074"/>
                  </a:lnTo>
                  <a:lnTo>
                    <a:pt x="56287" y="41105"/>
                  </a:lnTo>
                  <a:lnTo>
                    <a:pt x="-3158" y="41105"/>
                  </a:lnTo>
                  <a:lnTo>
                    <a:pt x="-3158" y="-6374"/>
                  </a:lnTo>
                  <a:lnTo>
                    <a:pt x="299664" y="-6374"/>
                  </a:lnTo>
                  <a:lnTo>
                    <a:pt x="299664" y="41105"/>
                  </a:lnTo>
                </a:path>
              </a:pathLst>
            </a:custGeom>
            <a:grpFill/>
            <a:ln w="548" cap="flat">
              <a:noFill/>
              <a:prstDash val="solid"/>
              <a:miter/>
            </a:ln>
          </p:spPr>
          <p:txBody>
            <a:bodyPr/>
            <a:lstStyle/>
            <a:p>
              <a:endParaRPr lang="en-US"/>
            </a:p>
          </p:txBody>
        </p:sp>
        <p:sp>
          <p:nvSpPr>
            <p:cNvPr id="550" name="Freeform: Shape 549">
              <a:extLst>
                <a:ext uri="{FF2B5EF4-FFF2-40B4-BE49-F238E27FC236}">
                  <a16:creationId xmlns:a16="http://schemas.microsoft.com/office/drawing/2014/main" id="{B5B5E1BC-8AAB-FB63-1CBD-E22640DE6E86}"/>
                </a:ext>
              </a:extLst>
            </p:cNvPr>
            <p:cNvSpPr/>
            <p:nvPr/>
          </p:nvSpPr>
          <p:spPr>
            <a:xfrm flipV="1">
              <a:off x="18592383" y="4195675"/>
              <a:ext cx="255177" cy="138734"/>
            </a:xfrm>
            <a:custGeom>
              <a:avLst/>
              <a:gdLst>
                <a:gd name="csX0" fmla="*/ 235189 w 255177"/>
                <a:gd name="csY0" fmla="*/ 41033 h 138734"/>
                <a:gd name="csX1" fmla="*/ 16353 w 255177"/>
                <a:gd name="csY1" fmla="*/ 41033 h 138734"/>
                <a:gd name="csX2" fmla="*/ -2038 w 255177"/>
                <a:gd name="csY2" fmla="*/ -5574 h 138734"/>
                <a:gd name="csX3" fmla="*/ 253140 w 255177"/>
                <a:gd name="csY3" fmla="*/ -5574 h 138734"/>
                <a:gd name="csX4" fmla="*/ 253140 w 255177"/>
                <a:gd name="csY4" fmla="*/ 41033 h 138734"/>
                <a:gd name="csX5" fmla="*/ 253140 w 255177"/>
                <a:gd name="csY5" fmla="*/ 133161 h 138734"/>
                <a:gd name="csX6" fmla="*/ 235189 w 255177"/>
                <a:gd name="csY6" fmla="*/ 133161 h 138734"/>
                <a:gd name="csX7" fmla="*/ 235189 w 255177"/>
                <a:gd name="csY7" fmla="*/ 41033 h 13873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255177" h="138734">
                  <a:moveTo>
                    <a:pt x="235189" y="41033"/>
                  </a:moveTo>
                  <a:lnTo>
                    <a:pt x="16353" y="41033"/>
                  </a:lnTo>
                  <a:lnTo>
                    <a:pt x="-2038" y="-5574"/>
                  </a:lnTo>
                  <a:lnTo>
                    <a:pt x="253140" y="-5574"/>
                  </a:lnTo>
                  <a:lnTo>
                    <a:pt x="253140" y="41033"/>
                  </a:lnTo>
                  <a:lnTo>
                    <a:pt x="253140" y="133161"/>
                  </a:lnTo>
                  <a:lnTo>
                    <a:pt x="235189" y="133161"/>
                  </a:lnTo>
                  <a:lnTo>
                    <a:pt x="235189" y="41033"/>
                  </a:lnTo>
                </a:path>
              </a:pathLst>
            </a:custGeom>
            <a:grpFill/>
            <a:ln w="548" cap="flat">
              <a:noFill/>
              <a:prstDash val="solid"/>
              <a:miter/>
            </a:ln>
          </p:spPr>
          <p:txBody>
            <a:bodyPr/>
            <a:lstStyle/>
            <a:p>
              <a:endParaRPr lang="en-US"/>
            </a:p>
          </p:txBody>
        </p:sp>
        <p:sp>
          <p:nvSpPr>
            <p:cNvPr id="551" name="Freeform: Shape 550">
              <a:extLst>
                <a:ext uri="{FF2B5EF4-FFF2-40B4-BE49-F238E27FC236}">
                  <a16:creationId xmlns:a16="http://schemas.microsoft.com/office/drawing/2014/main" id="{EB890979-F6F3-1B47-2D3D-1646D36B3513}"/>
                </a:ext>
              </a:extLst>
            </p:cNvPr>
            <p:cNvSpPr/>
            <p:nvPr/>
          </p:nvSpPr>
          <p:spPr>
            <a:xfrm flipV="1">
              <a:off x="19698338" y="3910086"/>
              <a:ext cx="9101" cy="7933"/>
            </a:xfrm>
            <a:custGeom>
              <a:avLst/>
              <a:gdLst>
                <a:gd name="csX0" fmla="*/ -3256 w 9101"/>
                <a:gd name="csY0" fmla="*/ 1515 h 7933"/>
                <a:gd name="csX1" fmla="*/ -3256 w 9101"/>
                <a:gd name="csY1" fmla="*/ -6418 h 7933"/>
                <a:gd name="csX2" fmla="*/ 5846 w 9101"/>
                <a:gd name="csY2" fmla="*/ -6418 h 7933"/>
              </a:gdLst>
              <a:ahLst/>
              <a:cxnLst>
                <a:cxn ang="0">
                  <a:pos x="csX0" y="csY0"/>
                </a:cxn>
                <a:cxn ang="0">
                  <a:pos x="csX1" y="csY1"/>
                </a:cxn>
                <a:cxn ang="0">
                  <a:pos x="csX2" y="csY2"/>
                </a:cxn>
              </a:cxnLst>
              <a:rect l="l" t="t" r="r" b="b"/>
              <a:pathLst>
                <a:path w="9101" h="7933">
                  <a:moveTo>
                    <a:pt x="-3256" y="1515"/>
                  </a:moveTo>
                  <a:lnTo>
                    <a:pt x="-3256" y="-6418"/>
                  </a:lnTo>
                  <a:lnTo>
                    <a:pt x="5846" y="-6418"/>
                  </a:lnTo>
                  <a:close/>
                </a:path>
              </a:pathLst>
            </a:custGeom>
            <a:grpFill/>
            <a:ln w="548" cap="flat">
              <a:noFill/>
              <a:prstDash val="solid"/>
              <a:miter/>
            </a:ln>
          </p:spPr>
          <p:txBody>
            <a:bodyPr/>
            <a:lstStyle/>
            <a:p>
              <a:endParaRPr lang="en-US"/>
            </a:p>
          </p:txBody>
        </p:sp>
        <p:sp>
          <p:nvSpPr>
            <p:cNvPr id="552" name="Freeform: Shape 551">
              <a:extLst>
                <a:ext uri="{FF2B5EF4-FFF2-40B4-BE49-F238E27FC236}">
                  <a16:creationId xmlns:a16="http://schemas.microsoft.com/office/drawing/2014/main" id="{1C4FF333-CCAA-A560-AB19-7C9D8CE7F764}"/>
                </a:ext>
              </a:extLst>
            </p:cNvPr>
            <p:cNvSpPr/>
            <p:nvPr/>
          </p:nvSpPr>
          <p:spPr>
            <a:xfrm flipV="1">
              <a:off x="19540587" y="3910092"/>
              <a:ext cx="9091" cy="7927"/>
            </a:xfrm>
            <a:custGeom>
              <a:avLst/>
              <a:gdLst>
                <a:gd name="csX0" fmla="*/ 6031 w 9091"/>
                <a:gd name="csY0" fmla="*/ 1509 h 7927"/>
                <a:gd name="csX1" fmla="*/ -3060 w 9091"/>
                <a:gd name="csY1" fmla="*/ -6418 h 7927"/>
                <a:gd name="csX2" fmla="*/ 6031 w 9091"/>
                <a:gd name="csY2" fmla="*/ -6418 h 7927"/>
              </a:gdLst>
              <a:ahLst/>
              <a:cxnLst>
                <a:cxn ang="0">
                  <a:pos x="csX0" y="csY0"/>
                </a:cxn>
                <a:cxn ang="0">
                  <a:pos x="csX1" y="csY1"/>
                </a:cxn>
                <a:cxn ang="0">
                  <a:pos x="csX2" y="csY2"/>
                </a:cxn>
              </a:cxnLst>
              <a:rect l="l" t="t" r="r" b="b"/>
              <a:pathLst>
                <a:path w="9091" h="7927">
                  <a:moveTo>
                    <a:pt x="6031" y="1509"/>
                  </a:moveTo>
                  <a:lnTo>
                    <a:pt x="-3060" y="-6418"/>
                  </a:lnTo>
                  <a:lnTo>
                    <a:pt x="6031" y="-6418"/>
                  </a:lnTo>
                  <a:close/>
                </a:path>
              </a:pathLst>
            </a:custGeom>
            <a:grpFill/>
            <a:ln w="548" cap="flat">
              <a:noFill/>
              <a:prstDash val="solid"/>
              <a:miter/>
            </a:ln>
          </p:spPr>
          <p:txBody>
            <a:bodyPr/>
            <a:lstStyle/>
            <a:p>
              <a:endParaRPr lang="en-US"/>
            </a:p>
          </p:txBody>
        </p:sp>
        <p:sp>
          <p:nvSpPr>
            <p:cNvPr id="553" name="Freeform: Shape 552">
              <a:extLst>
                <a:ext uri="{FF2B5EF4-FFF2-40B4-BE49-F238E27FC236}">
                  <a16:creationId xmlns:a16="http://schemas.microsoft.com/office/drawing/2014/main" id="{4BFEFCC2-749A-DB16-A1CC-6066F6F06234}"/>
                </a:ext>
              </a:extLst>
            </p:cNvPr>
            <p:cNvSpPr/>
            <p:nvPr/>
          </p:nvSpPr>
          <p:spPr>
            <a:xfrm flipV="1">
              <a:off x="19558972" y="3845281"/>
              <a:ext cx="130076" cy="72738"/>
            </a:xfrm>
            <a:custGeom>
              <a:avLst/>
              <a:gdLst>
                <a:gd name="csX0" fmla="*/ 56490 w 130076"/>
                <a:gd name="csY0" fmla="*/ -6496 h 72738"/>
                <a:gd name="csX1" fmla="*/ 67271 w 130076"/>
                <a:gd name="csY1" fmla="*/ -6496 h 72738"/>
                <a:gd name="csX2" fmla="*/ 67271 w 130076"/>
                <a:gd name="csY2" fmla="*/ 9535 h 72738"/>
                <a:gd name="csX3" fmla="*/ 126919 w 130076"/>
                <a:gd name="csY3" fmla="*/ 9535 h 72738"/>
                <a:gd name="csX4" fmla="*/ 61883 w 130076"/>
                <a:gd name="csY4" fmla="*/ 66242 h 72738"/>
                <a:gd name="csX5" fmla="*/ -3158 w 130076"/>
                <a:gd name="csY5" fmla="*/ 9535 h 72738"/>
                <a:gd name="csX6" fmla="*/ 56490 w 130076"/>
                <a:gd name="csY6" fmla="*/ 9535 h 72738"/>
                <a:gd name="csX7" fmla="*/ 56490 w 130076"/>
                <a:gd name="csY7" fmla="*/ -6496 h 7273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130076" h="72738">
                  <a:moveTo>
                    <a:pt x="56490" y="-6496"/>
                  </a:moveTo>
                  <a:lnTo>
                    <a:pt x="67271" y="-6496"/>
                  </a:lnTo>
                  <a:lnTo>
                    <a:pt x="67271" y="9535"/>
                  </a:lnTo>
                  <a:lnTo>
                    <a:pt x="126919" y="9535"/>
                  </a:lnTo>
                  <a:lnTo>
                    <a:pt x="61883" y="66242"/>
                  </a:lnTo>
                  <a:lnTo>
                    <a:pt x="-3158" y="9535"/>
                  </a:lnTo>
                  <a:lnTo>
                    <a:pt x="56490" y="9535"/>
                  </a:lnTo>
                  <a:lnTo>
                    <a:pt x="56490" y="-6496"/>
                  </a:lnTo>
                </a:path>
              </a:pathLst>
            </a:custGeom>
            <a:grpFill/>
            <a:ln w="548" cap="flat">
              <a:noFill/>
              <a:prstDash val="solid"/>
              <a:miter/>
            </a:ln>
          </p:spPr>
          <p:txBody>
            <a:bodyPr/>
            <a:lstStyle/>
            <a:p>
              <a:endParaRPr lang="en-US"/>
            </a:p>
          </p:txBody>
        </p:sp>
        <p:sp>
          <p:nvSpPr>
            <p:cNvPr id="554" name="Freeform: Shape 553">
              <a:extLst>
                <a:ext uri="{FF2B5EF4-FFF2-40B4-BE49-F238E27FC236}">
                  <a16:creationId xmlns:a16="http://schemas.microsoft.com/office/drawing/2014/main" id="{08C5D9BD-5BEB-FC92-4542-9E52CA97EBCB}"/>
                </a:ext>
              </a:extLst>
            </p:cNvPr>
            <p:cNvSpPr/>
            <p:nvPr/>
          </p:nvSpPr>
          <p:spPr>
            <a:xfrm flipV="1">
              <a:off x="18526794" y="3908846"/>
              <a:ext cx="302816" cy="47479"/>
            </a:xfrm>
            <a:custGeom>
              <a:avLst/>
              <a:gdLst>
                <a:gd name="csX0" fmla="*/ 300830 w 302816"/>
                <a:gd name="csY0" fmla="*/ 41105 h 47479"/>
                <a:gd name="csX1" fmla="*/ 241385 w 302816"/>
                <a:gd name="csY1" fmla="*/ 41105 h 47479"/>
                <a:gd name="csX2" fmla="*/ 241385 w 302816"/>
                <a:gd name="csY2" fmla="*/ 25074 h 47479"/>
                <a:gd name="csX3" fmla="*/ 216894 w 302816"/>
                <a:gd name="csY3" fmla="*/ 25074 h 47479"/>
                <a:gd name="csX4" fmla="*/ 216894 w 302816"/>
                <a:gd name="csY4" fmla="*/ 41105 h 47479"/>
                <a:gd name="csX5" fmla="*/ 161668 w 302816"/>
                <a:gd name="csY5" fmla="*/ 41105 h 47479"/>
                <a:gd name="csX6" fmla="*/ 161668 w 302816"/>
                <a:gd name="csY6" fmla="*/ 25074 h 47479"/>
                <a:gd name="csX7" fmla="*/ 137171 w 302816"/>
                <a:gd name="csY7" fmla="*/ 25074 h 47479"/>
                <a:gd name="csX8" fmla="*/ 137171 w 302816"/>
                <a:gd name="csY8" fmla="*/ 41105 h 47479"/>
                <a:gd name="csX9" fmla="*/ 81950 w 302816"/>
                <a:gd name="csY9" fmla="*/ 41105 h 47479"/>
                <a:gd name="csX10" fmla="*/ 81950 w 302816"/>
                <a:gd name="csY10" fmla="*/ 25074 h 47479"/>
                <a:gd name="csX11" fmla="*/ 57454 w 302816"/>
                <a:gd name="csY11" fmla="*/ 25074 h 47479"/>
                <a:gd name="csX12" fmla="*/ 57454 w 302816"/>
                <a:gd name="csY12" fmla="*/ 41105 h 47479"/>
                <a:gd name="csX13" fmla="*/ -1986 w 302816"/>
                <a:gd name="csY13" fmla="*/ 41105 h 47479"/>
                <a:gd name="csX14" fmla="*/ -1986 w 302816"/>
                <a:gd name="csY14" fmla="*/ -6374 h 47479"/>
                <a:gd name="csX15" fmla="*/ 300830 w 302816"/>
                <a:gd name="csY15" fmla="*/ -6374 h 47479"/>
                <a:gd name="csX16" fmla="*/ 300830 w 302816"/>
                <a:gd name="csY16" fmla="*/ 41105 h 4747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Lst>
              <a:rect l="l" t="t" r="r" b="b"/>
              <a:pathLst>
                <a:path w="302816" h="47479">
                  <a:moveTo>
                    <a:pt x="300830" y="41105"/>
                  </a:moveTo>
                  <a:lnTo>
                    <a:pt x="241385" y="41105"/>
                  </a:lnTo>
                  <a:lnTo>
                    <a:pt x="241385" y="25074"/>
                  </a:lnTo>
                  <a:lnTo>
                    <a:pt x="216894" y="25074"/>
                  </a:lnTo>
                  <a:lnTo>
                    <a:pt x="216894" y="41105"/>
                  </a:lnTo>
                  <a:lnTo>
                    <a:pt x="161668" y="41105"/>
                  </a:lnTo>
                  <a:lnTo>
                    <a:pt x="161668" y="25074"/>
                  </a:lnTo>
                  <a:lnTo>
                    <a:pt x="137171" y="25074"/>
                  </a:lnTo>
                  <a:lnTo>
                    <a:pt x="137171" y="41105"/>
                  </a:lnTo>
                  <a:lnTo>
                    <a:pt x="81950" y="41105"/>
                  </a:lnTo>
                  <a:lnTo>
                    <a:pt x="81950" y="25074"/>
                  </a:lnTo>
                  <a:lnTo>
                    <a:pt x="57454" y="25074"/>
                  </a:lnTo>
                  <a:lnTo>
                    <a:pt x="57454" y="41105"/>
                  </a:lnTo>
                  <a:lnTo>
                    <a:pt x="-1986" y="41105"/>
                  </a:lnTo>
                  <a:lnTo>
                    <a:pt x="-1986" y="-6374"/>
                  </a:lnTo>
                  <a:lnTo>
                    <a:pt x="300830" y="-6374"/>
                  </a:lnTo>
                  <a:lnTo>
                    <a:pt x="300830" y="41105"/>
                  </a:lnTo>
                </a:path>
              </a:pathLst>
            </a:custGeom>
            <a:grpFill/>
            <a:ln w="548" cap="flat">
              <a:noFill/>
              <a:prstDash val="solid"/>
              <a:miter/>
            </a:ln>
          </p:spPr>
          <p:txBody>
            <a:bodyPr/>
            <a:lstStyle/>
            <a:p>
              <a:endParaRPr lang="en-US"/>
            </a:p>
          </p:txBody>
        </p:sp>
        <p:sp>
          <p:nvSpPr>
            <p:cNvPr id="555" name="Freeform: Shape 554">
              <a:extLst>
                <a:ext uri="{FF2B5EF4-FFF2-40B4-BE49-F238E27FC236}">
                  <a16:creationId xmlns:a16="http://schemas.microsoft.com/office/drawing/2014/main" id="{234AAB98-8023-459A-1B82-0EDDB2E1110B}"/>
                </a:ext>
              </a:extLst>
            </p:cNvPr>
            <p:cNvSpPr/>
            <p:nvPr/>
          </p:nvSpPr>
          <p:spPr>
            <a:xfrm flipV="1">
              <a:off x="18594770" y="3910086"/>
              <a:ext cx="9101" cy="7933"/>
            </a:xfrm>
            <a:custGeom>
              <a:avLst/>
              <a:gdLst>
                <a:gd name="csX0" fmla="*/ 7214 w 9101"/>
                <a:gd name="csY0" fmla="*/ 1515 h 7933"/>
                <a:gd name="csX1" fmla="*/ -1888 w 9101"/>
                <a:gd name="csY1" fmla="*/ -6418 h 7933"/>
                <a:gd name="csX2" fmla="*/ 7214 w 9101"/>
                <a:gd name="csY2" fmla="*/ -6418 h 7933"/>
              </a:gdLst>
              <a:ahLst/>
              <a:cxnLst>
                <a:cxn ang="0">
                  <a:pos x="csX0" y="csY0"/>
                </a:cxn>
                <a:cxn ang="0">
                  <a:pos x="csX1" y="csY1"/>
                </a:cxn>
                <a:cxn ang="0">
                  <a:pos x="csX2" y="csY2"/>
                </a:cxn>
              </a:cxnLst>
              <a:rect l="l" t="t" r="r" b="b"/>
              <a:pathLst>
                <a:path w="9101" h="7933">
                  <a:moveTo>
                    <a:pt x="7214" y="1515"/>
                  </a:moveTo>
                  <a:lnTo>
                    <a:pt x="-1888" y="-6418"/>
                  </a:lnTo>
                  <a:lnTo>
                    <a:pt x="7214" y="-6418"/>
                  </a:lnTo>
                  <a:close/>
                </a:path>
              </a:pathLst>
            </a:custGeom>
            <a:grpFill/>
            <a:ln w="548" cap="flat">
              <a:noFill/>
              <a:prstDash val="solid"/>
              <a:miter/>
            </a:ln>
          </p:spPr>
          <p:txBody>
            <a:bodyPr/>
            <a:lstStyle/>
            <a:p>
              <a:endParaRPr lang="en-US"/>
            </a:p>
          </p:txBody>
        </p:sp>
        <p:sp>
          <p:nvSpPr>
            <p:cNvPr id="556" name="Freeform: Shape 555">
              <a:extLst>
                <a:ext uri="{FF2B5EF4-FFF2-40B4-BE49-F238E27FC236}">
                  <a16:creationId xmlns:a16="http://schemas.microsoft.com/office/drawing/2014/main" id="{5419BE37-E546-CE8A-7D8A-F84B58E19A13}"/>
                </a:ext>
              </a:extLst>
            </p:cNvPr>
            <p:cNvSpPr/>
            <p:nvPr/>
          </p:nvSpPr>
          <p:spPr>
            <a:xfrm flipV="1">
              <a:off x="18752531" y="3910092"/>
              <a:ext cx="9096" cy="7927"/>
            </a:xfrm>
            <a:custGeom>
              <a:avLst/>
              <a:gdLst>
                <a:gd name="csX0" fmla="*/ -2084 w 9096"/>
                <a:gd name="csY0" fmla="*/ 1509 h 7927"/>
                <a:gd name="csX1" fmla="*/ -2084 w 9096"/>
                <a:gd name="csY1" fmla="*/ -6418 h 7927"/>
                <a:gd name="csX2" fmla="*/ 7013 w 9096"/>
                <a:gd name="csY2" fmla="*/ -6418 h 7927"/>
              </a:gdLst>
              <a:ahLst/>
              <a:cxnLst>
                <a:cxn ang="0">
                  <a:pos x="csX0" y="csY0"/>
                </a:cxn>
                <a:cxn ang="0">
                  <a:pos x="csX1" y="csY1"/>
                </a:cxn>
                <a:cxn ang="0">
                  <a:pos x="csX2" y="csY2"/>
                </a:cxn>
              </a:cxnLst>
              <a:rect l="l" t="t" r="r" b="b"/>
              <a:pathLst>
                <a:path w="9096" h="7927">
                  <a:moveTo>
                    <a:pt x="-2084" y="1509"/>
                  </a:moveTo>
                  <a:lnTo>
                    <a:pt x="-2084" y="-6418"/>
                  </a:lnTo>
                  <a:lnTo>
                    <a:pt x="7013" y="-6418"/>
                  </a:lnTo>
                  <a:close/>
                </a:path>
              </a:pathLst>
            </a:custGeom>
            <a:grpFill/>
            <a:ln w="548" cap="flat">
              <a:noFill/>
              <a:prstDash val="solid"/>
              <a:miter/>
            </a:ln>
          </p:spPr>
          <p:txBody>
            <a:bodyPr/>
            <a:lstStyle/>
            <a:p>
              <a:endParaRPr lang="en-US"/>
            </a:p>
          </p:txBody>
        </p:sp>
        <p:sp>
          <p:nvSpPr>
            <p:cNvPr id="557" name="Freeform: Shape 556">
              <a:extLst>
                <a:ext uri="{FF2B5EF4-FFF2-40B4-BE49-F238E27FC236}">
                  <a16:creationId xmlns:a16="http://schemas.microsoft.com/office/drawing/2014/main" id="{5E9B26AE-AEF0-CA8F-3646-EF1BEF632CDD}"/>
                </a:ext>
              </a:extLst>
            </p:cNvPr>
            <p:cNvSpPr/>
            <p:nvPr/>
          </p:nvSpPr>
          <p:spPr>
            <a:xfrm flipV="1">
              <a:off x="18613160" y="3845281"/>
              <a:ext cx="130077" cy="72738"/>
            </a:xfrm>
            <a:custGeom>
              <a:avLst/>
              <a:gdLst>
                <a:gd name="csX0" fmla="*/ 57662 w 130077"/>
                <a:gd name="csY0" fmla="*/ -6496 h 72738"/>
                <a:gd name="csX1" fmla="*/ 68443 w 130077"/>
                <a:gd name="csY1" fmla="*/ -6496 h 72738"/>
                <a:gd name="csX2" fmla="*/ 68443 w 130077"/>
                <a:gd name="csY2" fmla="*/ 9535 h 72738"/>
                <a:gd name="csX3" fmla="*/ 128091 w 130077"/>
                <a:gd name="csY3" fmla="*/ 9535 h 72738"/>
                <a:gd name="csX4" fmla="*/ 63055 w 130077"/>
                <a:gd name="csY4" fmla="*/ 66242 h 72738"/>
                <a:gd name="csX5" fmla="*/ -1986 w 130077"/>
                <a:gd name="csY5" fmla="*/ 9535 h 72738"/>
                <a:gd name="csX6" fmla="*/ 57662 w 130077"/>
                <a:gd name="csY6" fmla="*/ 9535 h 72738"/>
                <a:gd name="csX7" fmla="*/ 57662 w 130077"/>
                <a:gd name="csY7" fmla="*/ -6496 h 7273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130077" h="72738">
                  <a:moveTo>
                    <a:pt x="57662" y="-6496"/>
                  </a:moveTo>
                  <a:lnTo>
                    <a:pt x="68443" y="-6496"/>
                  </a:lnTo>
                  <a:lnTo>
                    <a:pt x="68443" y="9535"/>
                  </a:lnTo>
                  <a:lnTo>
                    <a:pt x="128091" y="9535"/>
                  </a:lnTo>
                  <a:lnTo>
                    <a:pt x="63055" y="66242"/>
                  </a:lnTo>
                  <a:lnTo>
                    <a:pt x="-1986" y="9535"/>
                  </a:lnTo>
                  <a:lnTo>
                    <a:pt x="57662" y="9535"/>
                  </a:lnTo>
                  <a:lnTo>
                    <a:pt x="57662" y="-6496"/>
                  </a:lnTo>
                </a:path>
              </a:pathLst>
            </a:custGeom>
            <a:grpFill/>
            <a:ln w="548" cap="flat">
              <a:noFill/>
              <a:prstDash val="solid"/>
              <a:miter/>
            </a:ln>
          </p:spPr>
          <p:txBody>
            <a:bodyPr/>
            <a:lstStyle/>
            <a:p>
              <a:endParaRPr lang="en-US"/>
            </a:p>
          </p:txBody>
        </p:sp>
      </p:grpSp>
      <p:sp>
        <p:nvSpPr>
          <p:cNvPr id="4" name="2. Slide Title">
            <a:extLst>
              <a:ext uri="{FF2B5EF4-FFF2-40B4-BE49-F238E27FC236}">
                <a16:creationId xmlns:a16="http://schemas.microsoft.com/office/drawing/2014/main" id="{66041A88-CA7F-FA1A-FC90-5461FB5EEEE0}"/>
              </a:ext>
            </a:extLst>
          </p:cNvPr>
          <p:cNvSpPr>
            <a:spLocks noGrp="1"/>
          </p:cNvSpPr>
          <p:nvPr>
            <p:ph type="title"/>
            <p:custDataLst>
              <p:tags r:id="rId2"/>
            </p:custDataLst>
          </p:nvPr>
        </p:nvSpPr>
        <p:spPr>
          <a:noFill/>
          <a:ln/>
          <a:extLst>
            <a:ext uri="{909E8E84-426E-40DD-AFC4-6F175D3DCCD1}">
              <a14:hiddenFill xmlns:a14="http://schemas.microsoft.com/office/drawing/2010/main">
                <a:solidFill>
                  <a:srgbClr val="FFFFFF"/>
                </a:solidFill>
              </a14:hiddenFill>
            </a:ext>
          </a:extLst>
        </p:spPr>
        <p:txBody>
          <a:bodyPr vert="horz"/>
          <a:lstStyle/>
          <a:p>
            <a:r>
              <a:rPr lang="en-US"/>
              <a:t>Lessons Across Borders</a:t>
            </a:r>
          </a:p>
        </p:txBody>
      </p:sp>
      <p:sp>
        <p:nvSpPr>
          <p:cNvPr id="6" name="Slide Number">
            <a:extLst>
              <a:ext uri="{FF2B5EF4-FFF2-40B4-BE49-F238E27FC236}">
                <a16:creationId xmlns:a16="http://schemas.microsoft.com/office/drawing/2014/main" id="{D66C0C85-B29D-CBA6-C2AF-540085ECA1C3}"/>
              </a:ext>
            </a:extLst>
          </p:cNvPr>
          <p:cNvSpPr>
            <a:spLocks noChangeArrowheads="1"/>
          </p:cNvSpPr>
          <p:nvPr>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3</a:t>
            </a:fld>
            <a:endParaRPr lang="en-US" sz="900" b="0">
              <a:solidFill>
                <a:schemeClr val="tx1"/>
              </a:solidFill>
              <a:latin typeface="+mn-lt"/>
              <a:ea typeface="+mn-ea"/>
              <a:cs typeface="Arial" panose="020B0604020202020204" pitchFamily="34" charset="0"/>
            </a:endParaRPr>
          </a:p>
        </p:txBody>
      </p:sp>
      <p:pic>
        <p:nvPicPr>
          <p:cNvPr id="7" name="Picture 6">
            <a:extLst>
              <a:ext uri="{FF2B5EF4-FFF2-40B4-BE49-F238E27FC236}">
                <a16:creationId xmlns:a16="http://schemas.microsoft.com/office/drawing/2014/main" id="{77687F43-8A7C-5626-5918-A37538089350}"/>
              </a:ext>
            </a:extLst>
          </p:cNvPr>
          <p:cNvPicPr>
            <a:picLocks noChangeAspect="1"/>
          </p:cNvPicPr>
          <p:nvPr/>
        </p:nvPicPr>
        <p:blipFill>
          <a:blip r:embed="rId8"/>
          <a:srcRect l="13114" t="38701" r="12969" b="36443"/>
          <a:stretch>
            <a:fillRect/>
          </a:stretch>
        </p:blipFill>
        <p:spPr bwMode="ltGray">
          <a:xfrm>
            <a:off x="554736" y="6254067"/>
            <a:ext cx="1211306" cy="246221"/>
          </a:xfrm>
          <a:prstGeom prst="rect">
            <a:avLst/>
          </a:prstGeom>
        </p:spPr>
      </p:pic>
      <p:sp>
        <p:nvSpPr>
          <p:cNvPr id="8" name="TextBox 7">
            <a:extLst>
              <a:ext uri="{FF2B5EF4-FFF2-40B4-BE49-F238E27FC236}">
                <a16:creationId xmlns:a16="http://schemas.microsoft.com/office/drawing/2014/main" id="{507EA077-A21C-0FCB-0720-9BEE3AE47695}"/>
              </a:ext>
            </a:extLst>
          </p:cNvPr>
          <p:cNvSpPr txBox="1">
            <a:spLocks/>
          </p:cNvSpPr>
          <p:nvPr>
            <p:custDataLst>
              <p:tags r:id="rId4"/>
            </p:custDataLst>
          </p:nvPr>
        </p:nvSpPr>
        <p:spPr>
          <a:xfrm>
            <a:off x="7409792" y="1006896"/>
            <a:ext cx="4229757" cy="47141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1500"/>
              </a:spcBef>
            </a:pPr>
            <a:r>
              <a:rPr lang="en-US"/>
              <a:t>Country experiences illustrate the range of approaches and impacts:</a:t>
            </a:r>
          </a:p>
          <a:p>
            <a:pPr lvl="1">
              <a:spcBef>
                <a:spcPts val="750"/>
              </a:spcBef>
            </a:pPr>
            <a:r>
              <a:rPr lang="en-US"/>
              <a:t>India created the </a:t>
            </a:r>
            <a:r>
              <a:rPr lang="en-US" b="1"/>
              <a:t>Mega Food Parks program </a:t>
            </a:r>
            <a:r>
              <a:rPr lang="en-US"/>
              <a:t>to aggregate primary processing, reduce post-harvest losses, and connect farmers to organized markets through centralized processing clusters and common facilities. The model prioritizes value addition and market-facing infrastructure to lift income along agricultural value chains.</a:t>
            </a:r>
          </a:p>
          <a:p>
            <a:pPr lvl="1">
              <a:spcBef>
                <a:spcPts val="750"/>
              </a:spcBef>
            </a:pPr>
            <a:r>
              <a:rPr lang="en-US"/>
              <a:t>Malaysia and Vietnam have invested in </a:t>
            </a:r>
            <a:r>
              <a:rPr lang="en-US" b="1"/>
              <a:t>agro-industrial corridors </a:t>
            </a:r>
            <a:r>
              <a:rPr lang="en-US"/>
              <a:t>that spatially link production zones with processing facilities, port infrastructure, and export logistics, thereby fostering integrated supply chains that improve efficiency and competitiveness for exporters.</a:t>
            </a:r>
          </a:p>
        </p:txBody>
      </p:sp>
      <p:pic>
        <p:nvPicPr>
          <p:cNvPr id="16" name="Picture 15">
            <a:extLst>
              <a:ext uri="{FF2B5EF4-FFF2-40B4-BE49-F238E27FC236}">
                <a16:creationId xmlns:a16="http://schemas.microsoft.com/office/drawing/2014/main" id="{459CABC6-2117-CA87-B43D-E58AA4D5C048}"/>
              </a:ext>
            </a:extLst>
          </p:cNvPr>
          <p:cNvPicPr>
            <a:picLocks noChangeAspect="1"/>
          </p:cNvPicPr>
          <p:nvPr/>
        </p:nvPicPr>
        <p:blipFill>
          <a:blip r:embed="rId9"/>
          <a:stretch>
            <a:fillRect/>
          </a:stretch>
        </p:blipFill>
        <p:spPr>
          <a:xfrm>
            <a:off x="0" y="1210491"/>
            <a:ext cx="7236823" cy="4621503"/>
          </a:xfrm>
          <a:prstGeom prst="rect">
            <a:avLst/>
          </a:prstGeom>
        </p:spPr>
      </p:pic>
    </p:spTree>
    <p:extLst>
      <p:ext uri="{BB962C8B-B14F-4D97-AF65-F5344CB8AC3E}">
        <p14:creationId xmlns:p14="http://schemas.microsoft.com/office/powerpoint/2010/main" val="185263061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801479-1A4D-A00F-9BDD-9AE4507F339B}"/>
            </a:ext>
          </a:extLst>
        </p:cNvPr>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55E4663E-AA03-BD6D-DDCC-E2CDC3421D7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91" imgH="290" progId="TCLayout.ActiveDocument.1">
                  <p:embed/>
                </p:oleObj>
              </mc:Choice>
              <mc:Fallback>
                <p:oleObj name="think-cell Slide" r:id="rId5" imgW="291" imgH="290" progId="TCLayout.ActiveDocument.1">
                  <p:embed/>
                  <p:pic>
                    <p:nvPicPr>
                      <p:cNvPr id="5" name="Object 6" hidden="1">
                        <a:extLst>
                          <a:ext uri="{FF2B5EF4-FFF2-40B4-BE49-F238E27FC236}">
                            <a16:creationId xmlns:a16="http://schemas.microsoft.com/office/drawing/2014/main" id="{55E4663E-AA03-BD6D-DDCC-E2CDC3421D7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F67E0CCE-7D13-E8D4-69E6-E19DDD76B732}"/>
              </a:ext>
            </a:extLst>
          </p:cNvPr>
          <p:cNvSpPr>
            <a:spLocks noGrp="1"/>
          </p:cNvSpPr>
          <p:nvPr>
            <p:ph type="title"/>
            <p:custDataLst>
              <p:tags r:id="rId2"/>
            </p:custDataLst>
          </p:nvPr>
        </p:nvSpPr>
        <p:spPr>
          <a:noFill/>
          <a:ln/>
          <a:extLst>
            <a:ext uri="{909E8E84-426E-40DD-AFC4-6F175D3DCCD1}">
              <a14:hiddenFill xmlns:a14="http://schemas.microsoft.com/office/drawing/2010/main">
                <a:solidFill>
                  <a:srgbClr val="FFFFFF"/>
                </a:solidFill>
              </a14:hiddenFill>
            </a:ext>
          </a:extLst>
        </p:spPr>
        <p:txBody>
          <a:bodyPr vert="horz"/>
          <a:lstStyle/>
          <a:p>
            <a:r>
              <a:rPr lang="en-US"/>
              <a:t>Overview (2/2)</a:t>
            </a:r>
          </a:p>
        </p:txBody>
      </p:sp>
      <p:sp>
        <p:nvSpPr>
          <p:cNvPr id="3" name="object 4">
            <a:extLst>
              <a:ext uri="{FF2B5EF4-FFF2-40B4-BE49-F238E27FC236}">
                <a16:creationId xmlns:a16="http://schemas.microsoft.com/office/drawing/2014/main" id="{EAE3228E-ADE9-7655-F9F0-1846AFEE27D4}"/>
              </a:ext>
            </a:extLst>
          </p:cNvPr>
          <p:cNvSpPr>
            <a:spLocks/>
          </p:cNvSpPr>
          <p:nvPr/>
        </p:nvSpPr>
        <p:spPr>
          <a:xfrm>
            <a:off x="0" y="736600"/>
            <a:ext cx="12192000" cy="6121400"/>
          </a:xfrm>
          <a:prstGeom prst="rect">
            <a:avLst/>
          </a:prstGeom>
          <a:solidFill>
            <a:schemeClr val="bg1">
              <a:lumMod val="95000"/>
            </a:schemeClr>
          </a:solidFill>
          <a:effectLst/>
        </p:spPr>
        <p:txBody>
          <a:bodyPr wrap="square" lIns="0" tIns="0" rIns="0" bIns="0" rtlCol="0">
            <a:noAutofit/>
          </a:bodyPr>
          <a:lstStyle/>
          <a:p>
            <a:endParaRPr/>
          </a:p>
        </p:txBody>
      </p:sp>
      <p:grpSp>
        <p:nvGrpSpPr>
          <p:cNvPr id="8" name="Group 7">
            <a:extLst>
              <a:ext uri="{FF2B5EF4-FFF2-40B4-BE49-F238E27FC236}">
                <a16:creationId xmlns:a16="http://schemas.microsoft.com/office/drawing/2014/main" id="{25245595-DBD9-F39F-7DEC-1AC974D2B71A}"/>
              </a:ext>
            </a:extLst>
          </p:cNvPr>
          <p:cNvGrpSpPr/>
          <p:nvPr/>
        </p:nvGrpSpPr>
        <p:grpSpPr>
          <a:xfrm>
            <a:off x="1" y="3892506"/>
            <a:ext cx="12192000" cy="3127420"/>
            <a:chOff x="17075888" y="2318816"/>
            <a:chExt cx="11429982" cy="2749619"/>
          </a:xfrm>
          <a:solidFill>
            <a:schemeClr val="bg1">
              <a:alpha val="64000"/>
            </a:schemeClr>
          </a:solidFill>
        </p:grpSpPr>
        <p:sp>
          <p:nvSpPr>
            <p:cNvPr id="9" name="Freeform: Shape 8">
              <a:extLst>
                <a:ext uri="{FF2B5EF4-FFF2-40B4-BE49-F238E27FC236}">
                  <a16:creationId xmlns:a16="http://schemas.microsoft.com/office/drawing/2014/main" id="{AE4283AA-14FC-82BD-FE0E-8BE91CAD82AD}"/>
                </a:ext>
              </a:extLst>
            </p:cNvPr>
            <p:cNvSpPr/>
            <p:nvPr/>
          </p:nvSpPr>
          <p:spPr>
            <a:xfrm flipV="1">
              <a:off x="17075888" y="4922404"/>
              <a:ext cx="11429982" cy="146031"/>
            </a:xfrm>
            <a:custGeom>
              <a:avLst/>
              <a:gdLst>
                <a:gd name="csX0" fmla="*/ 11422899 w 11429982"/>
                <a:gd name="csY0" fmla="*/ -3817 h 146031"/>
                <a:gd name="csX1" fmla="*/ -7083 w 11429982"/>
                <a:gd name="csY1" fmla="*/ -3817 h 146031"/>
                <a:gd name="csX2" fmla="*/ -7083 w 11429982"/>
                <a:gd name="csY2" fmla="*/ 142215 h 146031"/>
                <a:gd name="csX3" fmla="*/ 11422899 w 11429982"/>
                <a:gd name="csY3" fmla="*/ 142215 h 146031"/>
                <a:gd name="csX4" fmla="*/ 11422899 w 11429982"/>
                <a:gd name="csY4" fmla="*/ -3817 h 146031"/>
              </a:gdLst>
              <a:ahLst/>
              <a:cxnLst>
                <a:cxn ang="0">
                  <a:pos x="csX0" y="csY0"/>
                </a:cxn>
                <a:cxn ang="0">
                  <a:pos x="csX1" y="csY1"/>
                </a:cxn>
                <a:cxn ang="0">
                  <a:pos x="csX2" y="csY2"/>
                </a:cxn>
                <a:cxn ang="0">
                  <a:pos x="csX3" y="csY3"/>
                </a:cxn>
                <a:cxn ang="0">
                  <a:pos x="csX4" y="csY4"/>
                </a:cxn>
              </a:cxnLst>
              <a:rect l="l" t="t" r="r" b="b"/>
              <a:pathLst>
                <a:path w="11429982" h="146031">
                  <a:moveTo>
                    <a:pt x="11422899" y="-3817"/>
                  </a:moveTo>
                  <a:lnTo>
                    <a:pt x="-7083" y="-3817"/>
                  </a:lnTo>
                  <a:lnTo>
                    <a:pt x="-7083" y="142215"/>
                  </a:lnTo>
                  <a:lnTo>
                    <a:pt x="11422899" y="142215"/>
                  </a:lnTo>
                  <a:lnTo>
                    <a:pt x="11422899" y="-3817"/>
                  </a:lnTo>
                </a:path>
              </a:pathLst>
            </a:custGeom>
            <a:grpFill/>
            <a:ln w="548" cap="flat">
              <a:noFill/>
              <a:prstDash val="solid"/>
              <a:miter/>
            </a:ln>
          </p:spPr>
          <p:txBody>
            <a:bodyPr/>
            <a:lstStyle/>
            <a:p>
              <a:endParaRPr lang="en-US"/>
            </a:p>
          </p:txBody>
        </p:sp>
        <p:sp>
          <p:nvSpPr>
            <p:cNvPr id="10" name="Freeform: Shape 9">
              <a:extLst>
                <a:ext uri="{FF2B5EF4-FFF2-40B4-BE49-F238E27FC236}">
                  <a16:creationId xmlns:a16="http://schemas.microsoft.com/office/drawing/2014/main" id="{A974FD89-9ED4-939E-064C-DC0C225BF002}"/>
                </a:ext>
              </a:extLst>
            </p:cNvPr>
            <p:cNvSpPr/>
            <p:nvPr/>
          </p:nvSpPr>
          <p:spPr>
            <a:xfrm flipV="1">
              <a:off x="20263513" y="2805756"/>
              <a:ext cx="353110" cy="2117854"/>
            </a:xfrm>
            <a:custGeom>
              <a:avLst/>
              <a:gdLst>
                <a:gd name="csX0" fmla="*/ 198536 w 353110"/>
                <a:gd name="csY0" fmla="*/ 2111318 h 2117854"/>
                <a:gd name="csX1" fmla="*/ 176788 w 353110"/>
                <a:gd name="csY1" fmla="*/ 2111318 h 2117854"/>
                <a:gd name="csX2" fmla="*/ -4170 w 353110"/>
                <a:gd name="csY2" fmla="*/ -6537 h 2117854"/>
                <a:gd name="csX3" fmla="*/ 348941 w 353110"/>
                <a:gd name="csY3" fmla="*/ -6537 h 2117854"/>
                <a:gd name="csX4" fmla="*/ 198536 w 353110"/>
                <a:gd name="csY4" fmla="*/ 2111318 h 2117854"/>
              </a:gdLst>
              <a:ahLst/>
              <a:cxnLst>
                <a:cxn ang="0">
                  <a:pos x="csX0" y="csY0"/>
                </a:cxn>
                <a:cxn ang="0">
                  <a:pos x="csX1" y="csY1"/>
                </a:cxn>
                <a:cxn ang="0">
                  <a:pos x="csX2" y="csY2"/>
                </a:cxn>
                <a:cxn ang="0">
                  <a:pos x="csX3" y="csY3"/>
                </a:cxn>
                <a:cxn ang="0">
                  <a:pos x="csX4" y="csY4"/>
                </a:cxn>
              </a:cxnLst>
              <a:rect l="l" t="t" r="r" b="b"/>
              <a:pathLst>
                <a:path w="353110" h="2117854">
                  <a:moveTo>
                    <a:pt x="198536" y="2111318"/>
                  </a:moveTo>
                  <a:lnTo>
                    <a:pt x="176788" y="2111318"/>
                  </a:lnTo>
                  <a:lnTo>
                    <a:pt x="-4170" y="-6537"/>
                  </a:lnTo>
                  <a:lnTo>
                    <a:pt x="348941" y="-6537"/>
                  </a:lnTo>
                  <a:lnTo>
                    <a:pt x="198536" y="2111318"/>
                  </a:lnTo>
                </a:path>
              </a:pathLst>
            </a:custGeom>
            <a:grpFill/>
            <a:ln w="548" cap="flat">
              <a:noFill/>
              <a:prstDash val="solid"/>
              <a:miter/>
            </a:ln>
          </p:spPr>
          <p:txBody>
            <a:bodyPr/>
            <a:lstStyle/>
            <a:p>
              <a:endParaRPr lang="en-US"/>
            </a:p>
          </p:txBody>
        </p:sp>
        <p:sp>
          <p:nvSpPr>
            <p:cNvPr id="11" name="Freeform: Shape 10">
              <a:extLst>
                <a:ext uri="{FF2B5EF4-FFF2-40B4-BE49-F238E27FC236}">
                  <a16:creationId xmlns:a16="http://schemas.microsoft.com/office/drawing/2014/main" id="{2621D4DF-11A3-4AC7-B196-B445AD6AE31A}"/>
                </a:ext>
              </a:extLst>
            </p:cNvPr>
            <p:cNvSpPr/>
            <p:nvPr/>
          </p:nvSpPr>
          <p:spPr>
            <a:xfrm flipV="1">
              <a:off x="19860247" y="2805756"/>
              <a:ext cx="353115" cy="2117854"/>
            </a:xfrm>
            <a:custGeom>
              <a:avLst/>
              <a:gdLst>
                <a:gd name="csX0" fmla="*/ 146740 w 353115"/>
                <a:gd name="csY0" fmla="*/ 2111318 h 2117854"/>
                <a:gd name="csX1" fmla="*/ -3670 w 353115"/>
                <a:gd name="csY1" fmla="*/ -6537 h 2117854"/>
                <a:gd name="csX2" fmla="*/ 349446 w 353115"/>
                <a:gd name="csY2" fmla="*/ -6537 h 2117854"/>
                <a:gd name="csX3" fmla="*/ 168482 w 353115"/>
                <a:gd name="csY3" fmla="*/ 2111318 h 2117854"/>
                <a:gd name="csX4" fmla="*/ 146740 w 353115"/>
                <a:gd name="csY4" fmla="*/ 2111318 h 2117854"/>
              </a:gdLst>
              <a:ahLst/>
              <a:cxnLst>
                <a:cxn ang="0">
                  <a:pos x="csX0" y="csY0"/>
                </a:cxn>
                <a:cxn ang="0">
                  <a:pos x="csX1" y="csY1"/>
                </a:cxn>
                <a:cxn ang="0">
                  <a:pos x="csX2" y="csY2"/>
                </a:cxn>
                <a:cxn ang="0">
                  <a:pos x="csX3" y="csY3"/>
                </a:cxn>
                <a:cxn ang="0">
                  <a:pos x="csX4" y="csY4"/>
                </a:cxn>
              </a:cxnLst>
              <a:rect l="l" t="t" r="r" b="b"/>
              <a:pathLst>
                <a:path w="353115" h="2117854">
                  <a:moveTo>
                    <a:pt x="146740" y="2111318"/>
                  </a:moveTo>
                  <a:lnTo>
                    <a:pt x="-3670" y="-6537"/>
                  </a:lnTo>
                  <a:lnTo>
                    <a:pt x="349446" y="-6537"/>
                  </a:lnTo>
                  <a:lnTo>
                    <a:pt x="168482" y="2111318"/>
                  </a:lnTo>
                  <a:lnTo>
                    <a:pt x="146740" y="2111318"/>
                  </a:lnTo>
                </a:path>
              </a:pathLst>
            </a:custGeom>
            <a:grpFill/>
            <a:ln w="548" cap="flat">
              <a:noFill/>
              <a:prstDash val="solid"/>
              <a:miter/>
            </a:ln>
          </p:spPr>
          <p:txBody>
            <a:bodyPr/>
            <a:lstStyle/>
            <a:p>
              <a:endParaRPr lang="en-US"/>
            </a:p>
          </p:txBody>
        </p:sp>
        <p:sp>
          <p:nvSpPr>
            <p:cNvPr id="12" name="Freeform: Shape 11">
              <a:extLst>
                <a:ext uri="{FF2B5EF4-FFF2-40B4-BE49-F238E27FC236}">
                  <a16:creationId xmlns:a16="http://schemas.microsoft.com/office/drawing/2014/main" id="{0B7E1B70-BD43-D832-5BA1-5D2048ADDAAD}"/>
                </a:ext>
              </a:extLst>
            </p:cNvPr>
            <p:cNvSpPr/>
            <p:nvPr/>
          </p:nvSpPr>
          <p:spPr>
            <a:xfrm flipV="1">
              <a:off x="20036804" y="2318816"/>
              <a:ext cx="429415" cy="470936"/>
            </a:xfrm>
            <a:custGeom>
              <a:avLst/>
              <a:gdLst>
                <a:gd name="csX0" fmla="*/ 417425 w 429415"/>
                <a:gd name="csY0" fmla="*/ 137219 h 470936"/>
                <a:gd name="csX1" fmla="*/ 216387 w 429415"/>
                <a:gd name="csY1" fmla="*/ 99198 h 470936"/>
                <a:gd name="csX2" fmla="*/ 216387 w 429415"/>
                <a:gd name="csY2" fmla="*/ 298574 h 470936"/>
                <a:gd name="csX3" fmla="*/ 206275 w 429415"/>
                <a:gd name="csY3" fmla="*/ 309218 h 470936"/>
                <a:gd name="csX4" fmla="*/ 206989 w 429415"/>
                <a:gd name="csY4" fmla="*/ 310260 h 470936"/>
                <a:gd name="csX5" fmla="*/ 206989 w 429415"/>
                <a:gd name="csY5" fmla="*/ 460094 h 470936"/>
                <a:gd name="csX6" fmla="*/ 205842 w 429415"/>
                <a:gd name="csY6" fmla="*/ 461246 h 470936"/>
                <a:gd name="csX7" fmla="*/ 204701 w 429415"/>
                <a:gd name="csY7" fmla="*/ 460094 h 470936"/>
                <a:gd name="csX8" fmla="*/ 204701 w 429415"/>
                <a:gd name="csY8" fmla="*/ 310864 h 470936"/>
                <a:gd name="csX9" fmla="*/ 189822 w 429415"/>
                <a:gd name="csY9" fmla="*/ 326555 h 470936"/>
                <a:gd name="csX10" fmla="*/ 189822 w 429415"/>
                <a:gd name="csY10" fmla="*/ 94151 h 470936"/>
                <a:gd name="csX11" fmla="*/ -3936 w 429415"/>
                <a:gd name="csY11" fmla="*/ 57502 h 470936"/>
                <a:gd name="csX12" fmla="*/ -3936 w 429415"/>
                <a:gd name="csY12" fmla="*/ -9690 h 470936"/>
                <a:gd name="csX13" fmla="*/ 425479 w 429415"/>
                <a:gd name="csY13" fmla="*/ -9690 h 470936"/>
                <a:gd name="csX14" fmla="*/ 417425 w 429415"/>
                <a:gd name="csY14" fmla="*/ 137219 h 47093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Lst>
              <a:rect l="l" t="t" r="r" b="b"/>
              <a:pathLst>
                <a:path w="429415" h="470936">
                  <a:moveTo>
                    <a:pt x="417425" y="137219"/>
                  </a:moveTo>
                  <a:lnTo>
                    <a:pt x="216387" y="99198"/>
                  </a:lnTo>
                  <a:lnTo>
                    <a:pt x="216387" y="298574"/>
                  </a:lnTo>
                  <a:lnTo>
                    <a:pt x="206275" y="309218"/>
                  </a:lnTo>
                  <a:cubicBezTo>
                    <a:pt x="206693" y="309382"/>
                    <a:pt x="206989" y="309822"/>
                    <a:pt x="206989" y="310260"/>
                  </a:cubicBezTo>
                  <a:lnTo>
                    <a:pt x="206989" y="460094"/>
                  </a:lnTo>
                  <a:cubicBezTo>
                    <a:pt x="206989" y="460698"/>
                    <a:pt x="206473" y="461246"/>
                    <a:pt x="205842" y="461246"/>
                  </a:cubicBezTo>
                  <a:cubicBezTo>
                    <a:pt x="205211" y="461246"/>
                    <a:pt x="204701" y="460698"/>
                    <a:pt x="204701" y="460094"/>
                  </a:cubicBezTo>
                  <a:lnTo>
                    <a:pt x="204701" y="310864"/>
                  </a:lnTo>
                  <a:lnTo>
                    <a:pt x="189822" y="326555"/>
                  </a:lnTo>
                  <a:lnTo>
                    <a:pt x="189822" y="94151"/>
                  </a:lnTo>
                  <a:lnTo>
                    <a:pt x="-3936" y="57502"/>
                  </a:lnTo>
                  <a:lnTo>
                    <a:pt x="-3936" y="-9690"/>
                  </a:lnTo>
                  <a:lnTo>
                    <a:pt x="425479" y="-9690"/>
                  </a:lnTo>
                  <a:lnTo>
                    <a:pt x="417425" y="137219"/>
                  </a:lnTo>
                </a:path>
              </a:pathLst>
            </a:custGeom>
            <a:grpFill/>
            <a:ln w="548" cap="flat">
              <a:noFill/>
              <a:prstDash val="solid"/>
              <a:miter/>
            </a:ln>
          </p:spPr>
          <p:txBody>
            <a:bodyPr/>
            <a:lstStyle/>
            <a:p>
              <a:endParaRPr lang="en-US"/>
            </a:p>
          </p:txBody>
        </p:sp>
        <p:sp>
          <p:nvSpPr>
            <p:cNvPr id="13" name="Freeform: Shape 12">
              <a:extLst>
                <a:ext uri="{FF2B5EF4-FFF2-40B4-BE49-F238E27FC236}">
                  <a16:creationId xmlns:a16="http://schemas.microsoft.com/office/drawing/2014/main" id="{1CBAF0DA-BF5E-8CEF-F65B-8066E7A76FD9}"/>
                </a:ext>
              </a:extLst>
            </p:cNvPr>
            <p:cNvSpPr/>
            <p:nvPr/>
          </p:nvSpPr>
          <p:spPr>
            <a:xfrm flipV="1">
              <a:off x="20111551" y="3436198"/>
              <a:ext cx="253817" cy="54364"/>
            </a:xfrm>
            <a:custGeom>
              <a:avLst/>
              <a:gdLst>
                <a:gd name="csX0" fmla="*/ 245251 w 253817"/>
                <a:gd name="csY0" fmla="*/ -7503 h 54364"/>
                <a:gd name="csX1" fmla="*/ 249898 w 253817"/>
                <a:gd name="csY1" fmla="*/ 46862 h 54364"/>
                <a:gd name="csX2" fmla="*/ -3920 w 253817"/>
                <a:gd name="csY2" fmla="*/ 46862 h 54364"/>
                <a:gd name="csX3" fmla="*/ 722 w 253817"/>
                <a:gd name="csY3" fmla="*/ -7503 h 54364"/>
                <a:gd name="csX4" fmla="*/ 1062 w 253817"/>
                <a:gd name="csY4" fmla="*/ -7470 h 54364"/>
                <a:gd name="csX5" fmla="*/ 244916 w 253817"/>
                <a:gd name="csY5" fmla="*/ -7470 h 54364"/>
                <a:gd name="csX6" fmla="*/ 245251 w 253817"/>
                <a:gd name="csY6" fmla="*/ -7503 h 54364"/>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253817" h="54364">
                  <a:moveTo>
                    <a:pt x="245251" y="-7503"/>
                  </a:moveTo>
                  <a:lnTo>
                    <a:pt x="249898" y="46862"/>
                  </a:lnTo>
                  <a:lnTo>
                    <a:pt x="-3920" y="46862"/>
                  </a:lnTo>
                  <a:lnTo>
                    <a:pt x="722" y="-7503"/>
                  </a:lnTo>
                  <a:cubicBezTo>
                    <a:pt x="837" y="-7492"/>
                    <a:pt x="941" y="-7470"/>
                    <a:pt x="1062" y="-7470"/>
                  </a:cubicBezTo>
                  <a:lnTo>
                    <a:pt x="244916" y="-7470"/>
                  </a:lnTo>
                  <a:cubicBezTo>
                    <a:pt x="245031" y="-7470"/>
                    <a:pt x="245141" y="-7492"/>
                    <a:pt x="245251" y="-7503"/>
                  </a:cubicBezTo>
                </a:path>
              </a:pathLst>
            </a:custGeom>
            <a:grpFill/>
            <a:ln w="548" cap="flat">
              <a:noFill/>
              <a:prstDash val="solid"/>
              <a:miter/>
            </a:ln>
          </p:spPr>
          <p:txBody>
            <a:bodyPr/>
            <a:lstStyle/>
            <a:p>
              <a:endParaRPr lang="en-US"/>
            </a:p>
          </p:txBody>
        </p:sp>
        <p:sp>
          <p:nvSpPr>
            <p:cNvPr id="14" name="Freeform: Shape 13">
              <a:extLst>
                <a:ext uri="{FF2B5EF4-FFF2-40B4-BE49-F238E27FC236}">
                  <a16:creationId xmlns:a16="http://schemas.microsoft.com/office/drawing/2014/main" id="{CA653E49-B6E1-403F-5EA1-ECD25E7D372A}"/>
                </a:ext>
              </a:extLst>
            </p:cNvPr>
            <p:cNvSpPr/>
            <p:nvPr/>
          </p:nvSpPr>
          <p:spPr>
            <a:xfrm flipV="1">
              <a:off x="20106224" y="3373269"/>
              <a:ext cx="264521" cy="54962"/>
            </a:xfrm>
            <a:custGeom>
              <a:avLst/>
              <a:gdLst>
                <a:gd name="csX0" fmla="*/ 255905 w 264521"/>
                <a:gd name="csY0" fmla="*/ -7653 h 54962"/>
                <a:gd name="csX1" fmla="*/ 260602 w 264521"/>
                <a:gd name="csY1" fmla="*/ 47309 h 54962"/>
                <a:gd name="csX2" fmla="*/ 258517 w 264521"/>
                <a:gd name="csY2" fmla="*/ 46711 h 54962"/>
                <a:gd name="csX3" fmla="*/ -3920 w 264521"/>
                <a:gd name="csY3" fmla="*/ 46711 h 54962"/>
                <a:gd name="csX4" fmla="*/ 722 w 264521"/>
                <a:gd name="csY4" fmla="*/ -7653 h 54962"/>
                <a:gd name="csX5" fmla="*/ 1068 w 264521"/>
                <a:gd name="csY5" fmla="*/ -7621 h 54962"/>
                <a:gd name="csX6" fmla="*/ 255565 w 264521"/>
                <a:gd name="csY6" fmla="*/ -7621 h 54962"/>
                <a:gd name="csX7" fmla="*/ 255905 w 264521"/>
                <a:gd name="csY7" fmla="*/ -7653 h 5496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264521" h="54962">
                  <a:moveTo>
                    <a:pt x="255905" y="-7653"/>
                  </a:moveTo>
                  <a:lnTo>
                    <a:pt x="260602" y="47309"/>
                  </a:lnTo>
                  <a:cubicBezTo>
                    <a:pt x="259993" y="46936"/>
                    <a:pt x="259285" y="46711"/>
                    <a:pt x="258517" y="46711"/>
                  </a:cubicBezTo>
                  <a:lnTo>
                    <a:pt x="-3920" y="46711"/>
                  </a:lnTo>
                  <a:lnTo>
                    <a:pt x="722" y="-7653"/>
                  </a:lnTo>
                  <a:cubicBezTo>
                    <a:pt x="837" y="-7643"/>
                    <a:pt x="947" y="-7621"/>
                    <a:pt x="1068" y="-7621"/>
                  </a:cubicBezTo>
                  <a:lnTo>
                    <a:pt x="255565" y="-7621"/>
                  </a:lnTo>
                  <a:cubicBezTo>
                    <a:pt x="255686" y="-7621"/>
                    <a:pt x="255790" y="-7643"/>
                    <a:pt x="255905" y="-7653"/>
                  </a:cubicBezTo>
                </a:path>
              </a:pathLst>
            </a:custGeom>
            <a:grpFill/>
            <a:ln w="548" cap="flat">
              <a:noFill/>
              <a:prstDash val="solid"/>
              <a:miter/>
            </a:ln>
          </p:spPr>
          <p:txBody>
            <a:bodyPr/>
            <a:lstStyle/>
            <a:p>
              <a:endParaRPr lang="en-US"/>
            </a:p>
          </p:txBody>
        </p:sp>
        <p:sp>
          <p:nvSpPr>
            <p:cNvPr id="15" name="Freeform: Shape 14">
              <a:extLst>
                <a:ext uri="{FF2B5EF4-FFF2-40B4-BE49-F238E27FC236}">
                  <a16:creationId xmlns:a16="http://schemas.microsoft.com/office/drawing/2014/main" id="{12A62337-FADE-FB84-56AB-B78F2029365B}"/>
                </a:ext>
              </a:extLst>
            </p:cNvPr>
            <p:cNvSpPr/>
            <p:nvPr/>
          </p:nvSpPr>
          <p:spPr>
            <a:xfrm flipV="1">
              <a:off x="20116873" y="3498529"/>
              <a:ext cx="243168" cy="54365"/>
            </a:xfrm>
            <a:custGeom>
              <a:avLst/>
              <a:gdLst>
                <a:gd name="csX0" fmla="*/ 234601 w 243168"/>
                <a:gd name="csY0" fmla="*/ -7353 h 54365"/>
                <a:gd name="csX1" fmla="*/ 239249 w 243168"/>
                <a:gd name="csY1" fmla="*/ 47012 h 54365"/>
                <a:gd name="csX2" fmla="*/ -3920 w 243168"/>
                <a:gd name="csY2" fmla="*/ 47012 h 54365"/>
                <a:gd name="csX3" fmla="*/ 727 w 243168"/>
                <a:gd name="csY3" fmla="*/ -7353 h 54365"/>
                <a:gd name="csX4" fmla="*/ 1067 w 243168"/>
                <a:gd name="csY4" fmla="*/ -7314 h 54365"/>
                <a:gd name="csX5" fmla="*/ 234261 w 243168"/>
                <a:gd name="csY5" fmla="*/ -7314 h 54365"/>
                <a:gd name="csX6" fmla="*/ 234601 w 243168"/>
                <a:gd name="csY6" fmla="*/ -7353 h 54365"/>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243168" h="54365">
                  <a:moveTo>
                    <a:pt x="234601" y="-7353"/>
                  </a:moveTo>
                  <a:lnTo>
                    <a:pt x="239249" y="47012"/>
                  </a:lnTo>
                  <a:lnTo>
                    <a:pt x="-3920" y="47012"/>
                  </a:lnTo>
                  <a:lnTo>
                    <a:pt x="727" y="-7353"/>
                  </a:lnTo>
                  <a:cubicBezTo>
                    <a:pt x="843" y="-7342"/>
                    <a:pt x="947" y="-7314"/>
                    <a:pt x="1067" y="-7314"/>
                  </a:cubicBezTo>
                  <a:lnTo>
                    <a:pt x="234261" y="-7314"/>
                  </a:lnTo>
                  <a:cubicBezTo>
                    <a:pt x="234382" y="-7314"/>
                    <a:pt x="234492" y="-7342"/>
                    <a:pt x="234601" y="-7353"/>
                  </a:cubicBezTo>
                </a:path>
              </a:pathLst>
            </a:custGeom>
            <a:grpFill/>
            <a:ln w="548" cap="flat">
              <a:noFill/>
              <a:prstDash val="solid"/>
              <a:miter/>
            </a:ln>
          </p:spPr>
          <p:txBody>
            <a:bodyPr/>
            <a:lstStyle/>
            <a:p>
              <a:endParaRPr lang="en-US"/>
            </a:p>
          </p:txBody>
        </p:sp>
        <p:sp>
          <p:nvSpPr>
            <p:cNvPr id="18" name="Freeform: Shape 17">
              <a:extLst>
                <a:ext uri="{FF2B5EF4-FFF2-40B4-BE49-F238E27FC236}">
                  <a16:creationId xmlns:a16="http://schemas.microsoft.com/office/drawing/2014/main" id="{35192AE9-5F77-B3C4-91A8-A0F21B96FD58}"/>
                </a:ext>
              </a:extLst>
            </p:cNvPr>
            <p:cNvSpPr/>
            <p:nvPr/>
          </p:nvSpPr>
          <p:spPr>
            <a:xfrm flipV="1">
              <a:off x="20127528" y="3623191"/>
              <a:ext cx="221864" cy="54359"/>
            </a:xfrm>
            <a:custGeom>
              <a:avLst/>
              <a:gdLst>
                <a:gd name="csX0" fmla="*/ 213298 w 221864"/>
                <a:gd name="csY0" fmla="*/ -7053 h 54359"/>
                <a:gd name="csX1" fmla="*/ 217945 w 221864"/>
                <a:gd name="csY1" fmla="*/ 47306 h 54359"/>
                <a:gd name="csX2" fmla="*/ -3920 w 221864"/>
                <a:gd name="csY2" fmla="*/ 47306 h 54359"/>
                <a:gd name="csX3" fmla="*/ 722 w 221864"/>
                <a:gd name="csY3" fmla="*/ -7053 h 54359"/>
                <a:gd name="csX4" fmla="*/ 1062 w 221864"/>
                <a:gd name="csY4" fmla="*/ -7020 h 54359"/>
                <a:gd name="csX5" fmla="*/ 212958 w 221864"/>
                <a:gd name="csY5" fmla="*/ -7020 h 54359"/>
                <a:gd name="csX6" fmla="*/ 213298 w 221864"/>
                <a:gd name="csY6" fmla="*/ -7053 h 54359"/>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221864" h="54359">
                  <a:moveTo>
                    <a:pt x="213298" y="-7053"/>
                  </a:moveTo>
                  <a:lnTo>
                    <a:pt x="217945" y="47306"/>
                  </a:lnTo>
                  <a:lnTo>
                    <a:pt x="-3920" y="47306"/>
                  </a:lnTo>
                  <a:lnTo>
                    <a:pt x="722" y="-7053"/>
                  </a:lnTo>
                  <a:cubicBezTo>
                    <a:pt x="837" y="-7047"/>
                    <a:pt x="947" y="-7020"/>
                    <a:pt x="1062" y="-7020"/>
                  </a:cubicBezTo>
                  <a:lnTo>
                    <a:pt x="212958" y="-7020"/>
                  </a:lnTo>
                  <a:cubicBezTo>
                    <a:pt x="213073" y="-7020"/>
                    <a:pt x="213183" y="-7047"/>
                    <a:pt x="213298" y="-7053"/>
                  </a:cubicBezTo>
                </a:path>
              </a:pathLst>
            </a:custGeom>
            <a:grpFill/>
            <a:ln w="548" cap="flat">
              <a:noFill/>
              <a:prstDash val="solid"/>
              <a:miter/>
            </a:ln>
          </p:spPr>
          <p:txBody>
            <a:bodyPr/>
            <a:lstStyle/>
            <a:p>
              <a:endParaRPr lang="en-US"/>
            </a:p>
          </p:txBody>
        </p:sp>
        <p:sp>
          <p:nvSpPr>
            <p:cNvPr id="19" name="Freeform: Shape 18">
              <a:extLst>
                <a:ext uri="{FF2B5EF4-FFF2-40B4-BE49-F238E27FC236}">
                  <a16:creationId xmlns:a16="http://schemas.microsoft.com/office/drawing/2014/main" id="{BE42D1E1-52A7-CDCB-F474-8F6A635F2ED2}"/>
                </a:ext>
              </a:extLst>
            </p:cNvPr>
            <p:cNvSpPr/>
            <p:nvPr/>
          </p:nvSpPr>
          <p:spPr>
            <a:xfrm flipV="1">
              <a:off x="20132849" y="3685517"/>
              <a:ext cx="211215" cy="54381"/>
            </a:xfrm>
            <a:custGeom>
              <a:avLst/>
              <a:gdLst>
                <a:gd name="csX0" fmla="*/ 202649 w 211215"/>
                <a:gd name="csY0" fmla="*/ -6903 h 54381"/>
                <a:gd name="csX1" fmla="*/ 207296 w 211215"/>
                <a:gd name="csY1" fmla="*/ 47478 h 54381"/>
                <a:gd name="csX2" fmla="*/ -3920 w 211215"/>
                <a:gd name="csY2" fmla="*/ 47478 h 54381"/>
                <a:gd name="csX3" fmla="*/ 727 w 211215"/>
                <a:gd name="csY3" fmla="*/ -6886 h 54381"/>
                <a:gd name="csX4" fmla="*/ 1067 w 211215"/>
                <a:gd name="csY4" fmla="*/ -6854 h 54381"/>
                <a:gd name="csX5" fmla="*/ 202149 w 211215"/>
                <a:gd name="csY5" fmla="*/ -6854 h 54381"/>
                <a:gd name="csX6" fmla="*/ 202649 w 211215"/>
                <a:gd name="csY6" fmla="*/ -6903 h 54381"/>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211215" h="54381">
                  <a:moveTo>
                    <a:pt x="202649" y="-6903"/>
                  </a:moveTo>
                  <a:lnTo>
                    <a:pt x="207296" y="47478"/>
                  </a:lnTo>
                  <a:lnTo>
                    <a:pt x="-3920" y="47478"/>
                  </a:lnTo>
                  <a:lnTo>
                    <a:pt x="727" y="-6886"/>
                  </a:lnTo>
                  <a:cubicBezTo>
                    <a:pt x="842" y="-6881"/>
                    <a:pt x="952" y="-6854"/>
                    <a:pt x="1067" y="-6854"/>
                  </a:cubicBezTo>
                  <a:lnTo>
                    <a:pt x="202149" y="-6854"/>
                  </a:lnTo>
                  <a:cubicBezTo>
                    <a:pt x="202319" y="-6854"/>
                    <a:pt x="202484" y="-6881"/>
                    <a:pt x="202649" y="-6903"/>
                  </a:cubicBezTo>
                </a:path>
              </a:pathLst>
            </a:custGeom>
            <a:grpFill/>
            <a:ln w="548" cap="flat">
              <a:noFill/>
              <a:prstDash val="solid"/>
              <a:miter/>
            </a:ln>
          </p:spPr>
          <p:txBody>
            <a:bodyPr/>
            <a:lstStyle/>
            <a:p>
              <a:endParaRPr lang="en-US"/>
            </a:p>
          </p:txBody>
        </p:sp>
        <p:sp>
          <p:nvSpPr>
            <p:cNvPr id="20" name="Freeform: Shape 19">
              <a:extLst>
                <a:ext uri="{FF2B5EF4-FFF2-40B4-BE49-F238E27FC236}">
                  <a16:creationId xmlns:a16="http://schemas.microsoft.com/office/drawing/2014/main" id="{6A89E440-63BB-B56E-0625-677C1D1ABF2D}"/>
                </a:ext>
              </a:extLst>
            </p:cNvPr>
            <p:cNvSpPr/>
            <p:nvPr/>
          </p:nvSpPr>
          <p:spPr>
            <a:xfrm flipV="1">
              <a:off x="20100897" y="3311536"/>
              <a:ext cx="275121" cy="55336"/>
            </a:xfrm>
            <a:custGeom>
              <a:avLst/>
              <a:gdLst>
                <a:gd name="csX0" fmla="*/ 271201 w 275121"/>
                <a:gd name="csY0" fmla="*/ 47534 h 55336"/>
                <a:gd name="csX1" fmla="*/ -3920 w 275121"/>
                <a:gd name="csY1" fmla="*/ 47534 h 55336"/>
                <a:gd name="csX2" fmla="*/ 727 w 275121"/>
                <a:gd name="csY2" fmla="*/ -6831 h 55336"/>
                <a:gd name="csX3" fmla="*/ 1062 w 275121"/>
                <a:gd name="csY3" fmla="*/ -6797 h 55336"/>
                <a:gd name="csX4" fmla="*/ 263844 w 275121"/>
                <a:gd name="csY4" fmla="*/ -6797 h 55336"/>
                <a:gd name="csX5" fmla="*/ 266478 w 275121"/>
                <a:gd name="csY5" fmla="*/ -7802 h 55336"/>
                <a:gd name="csX6" fmla="*/ 271201 w 275121"/>
                <a:gd name="csY6" fmla="*/ 47534 h 55336"/>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275121" h="55336">
                  <a:moveTo>
                    <a:pt x="271201" y="47534"/>
                  </a:moveTo>
                  <a:lnTo>
                    <a:pt x="-3920" y="47534"/>
                  </a:lnTo>
                  <a:lnTo>
                    <a:pt x="727" y="-6831"/>
                  </a:lnTo>
                  <a:cubicBezTo>
                    <a:pt x="837" y="-6819"/>
                    <a:pt x="947" y="-6797"/>
                    <a:pt x="1062" y="-6797"/>
                  </a:cubicBezTo>
                  <a:lnTo>
                    <a:pt x="263844" y="-6797"/>
                  </a:lnTo>
                  <a:cubicBezTo>
                    <a:pt x="264859" y="-6797"/>
                    <a:pt x="265770" y="-7187"/>
                    <a:pt x="266478" y="-7802"/>
                  </a:cubicBezTo>
                  <a:lnTo>
                    <a:pt x="271201" y="47534"/>
                  </a:lnTo>
                </a:path>
              </a:pathLst>
            </a:custGeom>
            <a:grpFill/>
            <a:ln w="548" cap="flat">
              <a:noFill/>
              <a:prstDash val="solid"/>
              <a:miter/>
            </a:ln>
          </p:spPr>
          <p:txBody>
            <a:bodyPr/>
            <a:lstStyle/>
            <a:p>
              <a:endParaRPr lang="en-US"/>
            </a:p>
          </p:txBody>
        </p:sp>
        <p:sp>
          <p:nvSpPr>
            <p:cNvPr id="21" name="Freeform: Shape 20">
              <a:extLst>
                <a:ext uri="{FF2B5EF4-FFF2-40B4-BE49-F238E27FC236}">
                  <a16:creationId xmlns:a16="http://schemas.microsoft.com/office/drawing/2014/main" id="{2B29F50B-D044-E1EA-842B-4C1F5CF97431}"/>
                </a:ext>
              </a:extLst>
            </p:cNvPr>
            <p:cNvSpPr/>
            <p:nvPr/>
          </p:nvSpPr>
          <p:spPr>
            <a:xfrm flipV="1">
              <a:off x="20122200" y="3560860"/>
              <a:ext cx="232519" cy="54359"/>
            </a:xfrm>
            <a:custGeom>
              <a:avLst/>
              <a:gdLst>
                <a:gd name="csX0" fmla="*/ 223952 w 232519"/>
                <a:gd name="csY0" fmla="*/ -7203 h 54359"/>
                <a:gd name="csX1" fmla="*/ 228599 w 232519"/>
                <a:gd name="csY1" fmla="*/ 47156 h 54359"/>
                <a:gd name="csX2" fmla="*/ -3920 w 232519"/>
                <a:gd name="csY2" fmla="*/ 47156 h 54359"/>
                <a:gd name="csX3" fmla="*/ 727 w 232519"/>
                <a:gd name="csY3" fmla="*/ -7203 h 54359"/>
                <a:gd name="csX4" fmla="*/ 1062 w 232519"/>
                <a:gd name="csY4" fmla="*/ -7170 h 54359"/>
                <a:gd name="csX5" fmla="*/ 223612 w 232519"/>
                <a:gd name="csY5" fmla="*/ -7170 h 54359"/>
                <a:gd name="csX6" fmla="*/ 223952 w 232519"/>
                <a:gd name="csY6" fmla="*/ -7203 h 54359"/>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232519" h="54359">
                  <a:moveTo>
                    <a:pt x="223952" y="-7203"/>
                  </a:moveTo>
                  <a:lnTo>
                    <a:pt x="228599" y="47156"/>
                  </a:lnTo>
                  <a:lnTo>
                    <a:pt x="-3920" y="47156"/>
                  </a:lnTo>
                  <a:lnTo>
                    <a:pt x="727" y="-7203"/>
                  </a:lnTo>
                  <a:cubicBezTo>
                    <a:pt x="837" y="-7197"/>
                    <a:pt x="947" y="-7170"/>
                    <a:pt x="1062" y="-7170"/>
                  </a:cubicBezTo>
                  <a:lnTo>
                    <a:pt x="223612" y="-7170"/>
                  </a:lnTo>
                  <a:cubicBezTo>
                    <a:pt x="223728" y="-7170"/>
                    <a:pt x="223837" y="-7197"/>
                    <a:pt x="223952" y="-7203"/>
                  </a:cubicBezTo>
                </a:path>
              </a:pathLst>
            </a:custGeom>
            <a:grpFill/>
            <a:ln w="548" cap="flat">
              <a:noFill/>
              <a:prstDash val="solid"/>
              <a:miter/>
            </a:ln>
          </p:spPr>
          <p:txBody>
            <a:bodyPr/>
            <a:lstStyle/>
            <a:p>
              <a:endParaRPr lang="en-US"/>
            </a:p>
          </p:txBody>
        </p:sp>
        <p:sp>
          <p:nvSpPr>
            <p:cNvPr id="22" name="Freeform: Shape 21">
              <a:extLst>
                <a:ext uri="{FF2B5EF4-FFF2-40B4-BE49-F238E27FC236}">
                  <a16:creationId xmlns:a16="http://schemas.microsoft.com/office/drawing/2014/main" id="{3563E747-225D-418A-C55E-F18061DCEF07}"/>
                </a:ext>
              </a:extLst>
            </p:cNvPr>
            <p:cNvSpPr/>
            <p:nvPr/>
          </p:nvSpPr>
          <p:spPr>
            <a:xfrm flipV="1">
              <a:off x="20090242" y="3186874"/>
              <a:ext cx="296430" cy="54364"/>
            </a:xfrm>
            <a:custGeom>
              <a:avLst/>
              <a:gdLst>
                <a:gd name="csX0" fmla="*/ 287864 w 296430"/>
                <a:gd name="csY0" fmla="*/ -8103 h 54364"/>
                <a:gd name="csX1" fmla="*/ 292510 w 296430"/>
                <a:gd name="csY1" fmla="*/ 46262 h 54364"/>
                <a:gd name="csX2" fmla="*/ -3920 w 296430"/>
                <a:gd name="csY2" fmla="*/ 46262 h 54364"/>
                <a:gd name="csX3" fmla="*/ 727 w 296430"/>
                <a:gd name="csY3" fmla="*/ -8103 h 54364"/>
                <a:gd name="csX4" fmla="*/ 1067 w 296430"/>
                <a:gd name="csY4" fmla="*/ -8070 h 54364"/>
                <a:gd name="csX5" fmla="*/ 287523 w 296430"/>
                <a:gd name="csY5" fmla="*/ -8070 h 54364"/>
                <a:gd name="csX6" fmla="*/ 287864 w 296430"/>
                <a:gd name="csY6" fmla="*/ -8103 h 54364"/>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296430" h="54364">
                  <a:moveTo>
                    <a:pt x="287864" y="-8103"/>
                  </a:moveTo>
                  <a:lnTo>
                    <a:pt x="292510" y="46262"/>
                  </a:lnTo>
                  <a:lnTo>
                    <a:pt x="-3920" y="46262"/>
                  </a:lnTo>
                  <a:lnTo>
                    <a:pt x="727" y="-8103"/>
                  </a:lnTo>
                  <a:cubicBezTo>
                    <a:pt x="843" y="-8092"/>
                    <a:pt x="952" y="-8070"/>
                    <a:pt x="1067" y="-8070"/>
                  </a:cubicBezTo>
                  <a:lnTo>
                    <a:pt x="287523" y="-8070"/>
                  </a:lnTo>
                  <a:cubicBezTo>
                    <a:pt x="287644" y="-8070"/>
                    <a:pt x="287754" y="-8092"/>
                    <a:pt x="287864" y="-8103"/>
                  </a:cubicBezTo>
                </a:path>
              </a:pathLst>
            </a:custGeom>
            <a:grpFill/>
            <a:ln w="548" cap="flat">
              <a:noFill/>
              <a:prstDash val="solid"/>
              <a:miter/>
            </a:ln>
          </p:spPr>
          <p:txBody>
            <a:bodyPr/>
            <a:lstStyle/>
            <a:p>
              <a:endParaRPr lang="en-US"/>
            </a:p>
          </p:txBody>
        </p:sp>
        <p:sp>
          <p:nvSpPr>
            <p:cNvPr id="23" name="Freeform: Shape 22">
              <a:extLst>
                <a:ext uri="{FF2B5EF4-FFF2-40B4-BE49-F238E27FC236}">
                  <a16:creationId xmlns:a16="http://schemas.microsoft.com/office/drawing/2014/main" id="{1CCACE01-0C05-D1CF-C1A1-F0E26DF69E2D}"/>
                </a:ext>
              </a:extLst>
            </p:cNvPr>
            <p:cNvSpPr/>
            <p:nvPr/>
          </p:nvSpPr>
          <p:spPr>
            <a:xfrm flipV="1">
              <a:off x="20063617" y="2875225"/>
              <a:ext cx="349686" cy="55094"/>
            </a:xfrm>
            <a:custGeom>
              <a:avLst/>
              <a:gdLst>
                <a:gd name="csX0" fmla="*/ 345767 w 349686"/>
                <a:gd name="csY0" fmla="*/ 46243 h 55094"/>
                <a:gd name="csX1" fmla="*/ -3920 w 349686"/>
                <a:gd name="csY1" fmla="*/ 46243 h 55094"/>
                <a:gd name="csX2" fmla="*/ 727 w 349686"/>
                <a:gd name="csY2" fmla="*/ -8122 h 55094"/>
                <a:gd name="csX3" fmla="*/ 1062 w 349686"/>
                <a:gd name="csY3" fmla="*/ -8089 h 55094"/>
                <a:gd name="csX4" fmla="*/ 338722 w 349686"/>
                <a:gd name="csY4" fmla="*/ -8089 h 55094"/>
                <a:gd name="csX5" fmla="*/ 341054 w 349686"/>
                <a:gd name="csY5" fmla="*/ -8852 h 55094"/>
                <a:gd name="csX6" fmla="*/ 345767 w 349686"/>
                <a:gd name="csY6" fmla="*/ 46243 h 55094"/>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49686" h="55094">
                  <a:moveTo>
                    <a:pt x="345767" y="46243"/>
                  </a:moveTo>
                  <a:lnTo>
                    <a:pt x="-3920" y="46243"/>
                  </a:lnTo>
                  <a:lnTo>
                    <a:pt x="727" y="-8122"/>
                  </a:lnTo>
                  <a:cubicBezTo>
                    <a:pt x="837" y="-8111"/>
                    <a:pt x="946" y="-8089"/>
                    <a:pt x="1062" y="-8089"/>
                  </a:cubicBezTo>
                  <a:lnTo>
                    <a:pt x="338722" y="-8089"/>
                  </a:lnTo>
                  <a:cubicBezTo>
                    <a:pt x="339595" y="-8089"/>
                    <a:pt x="340396" y="-8380"/>
                    <a:pt x="341054" y="-8852"/>
                  </a:cubicBezTo>
                  <a:lnTo>
                    <a:pt x="345767" y="46243"/>
                  </a:lnTo>
                </a:path>
              </a:pathLst>
            </a:custGeom>
            <a:grpFill/>
            <a:ln w="548" cap="flat">
              <a:noFill/>
              <a:prstDash val="solid"/>
              <a:miter/>
            </a:ln>
          </p:spPr>
          <p:txBody>
            <a:bodyPr/>
            <a:lstStyle/>
            <a:p>
              <a:endParaRPr lang="en-US"/>
            </a:p>
          </p:txBody>
        </p:sp>
        <p:sp>
          <p:nvSpPr>
            <p:cNvPr id="24" name="Freeform: Shape 23">
              <a:extLst>
                <a:ext uri="{FF2B5EF4-FFF2-40B4-BE49-F238E27FC236}">
                  <a16:creationId xmlns:a16="http://schemas.microsoft.com/office/drawing/2014/main" id="{F73DBB1F-FE1E-8881-8523-D62FBF48799C}"/>
                </a:ext>
              </a:extLst>
            </p:cNvPr>
            <p:cNvSpPr/>
            <p:nvPr/>
          </p:nvSpPr>
          <p:spPr>
            <a:xfrm flipV="1">
              <a:off x="20074266" y="2999887"/>
              <a:ext cx="328383" cy="54370"/>
            </a:xfrm>
            <a:custGeom>
              <a:avLst/>
              <a:gdLst>
                <a:gd name="csX0" fmla="*/ 319816 w 328383"/>
                <a:gd name="csY0" fmla="*/ -8547 h 54370"/>
                <a:gd name="csX1" fmla="*/ 324463 w 328383"/>
                <a:gd name="csY1" fmla="*/ 45818 h 54370"/>
                <a:gd name="csX2" fmla="*/ -3920 w 328383"/>
                <a:gd name="csY2" fmla="*/ 45818 h 54370"/>
                <a:gd name="csX3" fmla="*/ 727 w 328383"/>
                <a:gd name="csY3" fmla="*/ -8553 h 54370"/>
                <a:gd name="csX4" fmla="*/ 1155 w 328383"/>
                <a:gd name="csY4" fmla="*/ -8509 h 54370"/>
                <a:gd name="csX5" fmla="*/ 319482 w 328383"/>
                <a:gd name="csY5" fmla="*/ -8509 h 54370"/>
                <a:gd name="csX6" fmla="*/ 319816 w 328383"/>
                <a:gd name="csY6" fmla="*/ -8547 h 54370"/>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28383" h="54370">
                  <a:moveTo>
                    <a:pt x="319816" y="-8547"/>
                  </a:moveTo>
                  <a:lnTo>
                    <a:pt x="324463" y="45818"/>
                  </a:lnTo>
                  <a:lnTo>
                    <a:pt x="-3920" y="45818"/>
                  </a:lnTo>
                  <a:lnTo>
                    <a:pt x="727" y="-8553"/>
                  </a:lnTo>
                  <a:cubicBezTo>
                    <a:pt x="870" y="-8536"/>
                    <a:pt x="1007" y="-8509"/>
                    <a:pt x="1155" y="-8509"/>
                  </a:cubicBezTo>
                  <a:lnTo>
                    <a:pt x="319482" y="-8509"/>
                  </a:lnTo>
                  <a:cubicBezTo>
                    <a:pt x="319597" y="-8509"/>
                    <a:pt x="319707" y="-8536"/>
                    <a:pt x="319816" y="-8547"/>
                  </a:cubicBezTo>
                </a:path>
              </a:pathLst>
            </a:custGeom>
            <a:grpFill/>
            <a:ln w="548" cap="flat">
              <a:noFill/>
              <a:prstDash val="solid"/>
              <a:miter/>
            </a:ln>
          </p:spPr>
          <p:txBody>
            <a:bodyPr/>
            <a:lstStyle/>
            <a:p>
              <a:endParaRPr lang="en-US"/>
            </a:p>
          </p:txBody>
        </p:sp>
        <p:sp>
          <p:nvSpPr>
            <p:cNvPr id="25" name="Freeform: Shape 24">
              <a:extLst>
                <a:ext uri="{FF2B5EF4-FFF2-40B4-BE49-F238E27FC236}">
                  <a16:creationId xmlns:a16="http://schemas.microsoft.com/office/drawing/2014/main" id="{3F5C6D4E-0860-EAF8-6EB8-2E199B607C95}"/>
                </a:ext>
              </a:extLst>
            </p:cNvPr>
            <p:cNvSpPr/>
            <p:nvPr/>
          </p:nvSpPr>
          <p:spPr>
            <a:xfrm flipV="1">
              <a:off x="20068944" y="2937133"/>
              <a:ext cx="339064" cy="54787"/>
            </a:xfrm>
            <a:custGeom>
              <a:avLst/>
              <a:gdLst>
                <a:gd name="csX0" fmla="*/ 330465 w 339064"/>
                <a:gd name="csY0" fmla="*/ -8703 h 54787"/>
                <a:gd name="csX1" fmla="*/ 335145 w 339064"/>
                <a:gd name="csY1" fmla="*/ 46084 h 54787"/>
                <a:gd name="csX2" fmla="*/ 333395 w 339064"/>
                <a:gd name="csY2" fmla="*/ 45662 h 54787"/>
                <a:gd name="csX3" fmla="*/ -3920 w 339064"/>
                <a:gd name="csY3" fmla="*/ 45662 h 54787"/>
                <a:gd name="csX4" fmla="*/ 727 w 339064"/>
                <a:gd name="csY4" fmla="*/ -8703 h 54787"/>
                <a:gd name="csX5" fmla="*/ 1062 w 339064"/>
                <a:gd name="csY5" fmla="*/ -8664 h 54787"/>
                <a:gd name="csX6" fmla="*/ 330130 w 339064"/>
                <a:gd name="csY6" fmla="*/ -8664 h 54787"/>
                <a:gd name="csX7" fmla="*/ 330465 w 339064"/>
                <a:gd name="csY7" fmla="*/ -8703 h 54787"/>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339064" h="54787">
                  <a:moveTo>
                    <a:pt x="330465" y="-8703"/>
                  </a:moveTo>
                  <a:lnTo>
                    <a:pt x="335145" y="46084"/>
                  </a:lnTo>
                  <a:cubicBezTo>
                    <a:pt x="334613" y="45821"/>
                    <a:pt x="334026" y="45662"/>
                    <a:pt x="333395" y="45662"/>
                  </a:cubicBezTo>
                  <a:lnTo>
                    <a:pt x="-3920" y="45662"/>
                  </a:lnTo>
                  <a:lnTo>
                    <a:pt x="727" y="-8703"/>
                  </a:lnTo>
                  <a:cubicBezTo>
                    <a:pt x="837" y="-8692"/>
                    <a:pt x="946" y="-8664"/>
                    <a:pt x="1062" y="-8664"/>
                  </a:cubicBezTo>
                  <a:lnTo>
                    <a:pt x="330130" y="-8664"/>
                  </a:lnTo>
                  <a:cubicBezTo>
                    <a:pt x="330240" y="-8664"/>
                    <a:pt x="330350" y="-8692"/>
                    <a:pt x="330465" y="-8703"/>
                  </a:cubicBezTo>
                </a:path>
              </a:pathLst>
            </a:custGeom>
            <a:grpFill/>
            <a:ln w="548" cap="flat">
              <a:noFill/>
              <a:prstDash val="solid"/>
              <a:miter/>
            </a:ln>
          </p:spPr>
          <p:txBody>
            <a:bodyPr/>
            <a:lstStyle/>
            <a:p>
              <a:endParaRPr lang="en-US"/>
            </a:p>
          </p:txBody>
        </p:sp>
        <p:sp>
          <p:nvSpPr>
            <p:cNvPr id="26" name="Freeform: Shape 25">
              <a:extLst>
                <a:ext uri="{FF2B5EF4-FFF2-40B4-BE49-F238E27FC236}">
                  <a16:creationId xmlns:a16="http://schemas.microsoft.com/office/drawing/2014/main" id="{D306AD1E-C30F-397A-F08A-B01CFE11621F}"/>
                </a:ext>
              </a:extLst>
            </p:cNvPr>
            <p:cNvSpPr/>
            <p:nvPr/>
          </p:nvSpPr>
          <p:spPr>
            <a:xfrm flipV="1">
              <a:off x="20057680" y="2805756"/>
              <a:ext cx="361553" cy="61502"/>
            </a:xfrm>
            <a:custGeom>
              <a:avLst/>
              <a:gdLst>
                <a:gd name="csX0" fmla="*/ 352378 w 361553"/>
                <a:gd name="csY0" fmla="*/ -9011 h 61502"/>
                <a:gd name="csX1" fmla="*/ 357634 w 361553"/>
                <a:gd name="csY1" fmla="*/ 52492 h 61502"/>
                <a:gd name="csX2" fmla="*/ -3920 w 361553"/>
                <a:gd name="csY2" fmla="*/ 52492 h 61502"/>
                <a:gd name="csX3" fmla="*/ 1336 w 361553"/>
                <a:gd name="csY3" fmla="*/ -9011 h 61502"/>
                <a:gd name="csX4" fmla="*/ 1676 w 361553"/>
                <a:gd name="csY4" fmla="*/ -8978 h 61502"/>
                <a:gd name="csX5" fmla="*/ 352043 w 361553"/>
                <a:gd name="csY5" fmla="*/ -8978 h 61502"/>
                <a:gd name="csX6" fmla="*/ 352378 w 361553"/>
                <a:gd name="csY6" fmla="*/ -9011 h 61502"/>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61553" h="61502">
                  <a:moveTo>
                    <a:pt x="352378" y="-9011"/>
                  </a:moveTo>
                  <a:lnTo>
                    <a:pt x="357634" y="52492"/>
                  </a:lnTo>
                  <a:lnTo>
                    <a:pt x="-3920" y="52492"/>
                  </a:lnTo>
                  <a:lnTo>
                    <a:pt x="1336" y="-9011"/>
                  </a:lnTo>
                  <a:cubicBezTo>
                    <a:pt x="1446" y="-9006"/>
                    <a:pt x="1556" y="-8978"/>
                    <a:pt x="1676" y="-8978"/>
                  </a:cubicBezTo>
                  <a:lnTo>
                    <a:pt x="352043" y="-8978"/>
                  </a:lnTo>
                  <a:cubicBezTo>
                    <a:pt x="352159" y="-8978"/>
                    <a:pt x="352268" y="-9006"/>
                    <a:pt x="352378" y="-9011"/>
                  </a:cubicBezTo>
                </a:path>
              </a:pathLst>
            </a:custGeom>
            <a:grpFill/>
            <a:ln w="548" cap="flat">
              <a:noFill/>
              <a:prstDash val="solid"/>
              <a:miter/>
            </a:ln>
          </p:spPr>
          <p:txBody>
            <a:bodyPr/>
            <a:lstStyle/>
            <a:p>
              <a:endParaRPr lang="en-US"/>
            </a:p>
          </p:txBody>
        </p:sp>
        <p:sp>
          <p:nvSpPr>
            <p:cNvPr id="27" name="Freeform: Shape 26">
              <a:extLst>
                <a:ext uri="{FF2B5EF4-FFF2-40B4-BE49-F238E27FC236}">
                  <a16:creationId xmlns:a16="http://schemas.microsoft.com/office/drawing/2014/main" id="{6CD44AB6-388B-A2A7-A76E-8FA244F1B092}"/>
                </a:ext>
              </a:extLst>
            </p:cNvPr>
            <p:cNvSpPr/>
            <p:nvPr/>
          </p:nvSpPr>
          <p:spPr>
            <a:xfrm flipV="1">
              <a:off x="20095569" y="3249205"/>
              <a:ext cx="285775" cy="54381"/>
            </a:xfrm>
            <a:custGeom>
              <a:avLst/>
              <a:gdLst>
                <a:gd name="csX0" fmla="*/ 277209 w 285775"/>
                <a:gd name="csY0" fmla="*/ -7936 h 54381"/>
                <a:gd name="csX1" fmla="*/ 281856 w 285775"/>
                <a:gd name="csY1" fmla="*/ 46429 h 54381"/>
                <a:gd name="csX2" fmla="*/ -3920 w 285775"/>
                <a:gd name="csY2" fmla="*/ 46429 h 54381"/>
                <a:gd name="csX3" fmla="*/ 727 w 285775"/>
                <a:gd name="csY3" fmla="*/ -7953 h 54381"/>
                <a:gd name="csX4" fmla="*/ 1199 w 285775"/>
                <a:gd name="csY4" fmla="*/ -7903 h 54381"/>
                <a:gd name="csX5" fmla="*/ 276869 w 285775"/>
                <a:gd name="csY5" fmla="*/ -7903 h 54381"/>
                <a:gd name="csX6" fmla="*/ 277209 w 285775"/>
                <a:gd name="csY6" fmla="*/ -7936 h 54381"/>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285775" h="54381">
                  <a:moveTo>
                    <a:pt x="277209" y="-7936"/>
                  </a:moveTo>
                  <a:lnTo>
                    <a:pt x="281856" y="46429"/>
                  </a:lnTo>
                  <a:lnTo>
                    <a:pt x="-3920" y="46429"/>
                  </a:lnTo>
                  <a:lnTo>
                    <a:pt x="727" y="-7953"/>
                  </a:lnTo>
                  <a:cubicBezTo>
                    <a:pt x="886" y="-7931"/>
                    <a:pt x="1035" y="-7903"/>
                    <a:pt x="1199" y="-7903"/>
                  </a:cubicBezTo>
                  <a:lnTo>
                    <a:pt x="276869" y="-7903"/>
                  </a:lnTo>
                  <a:cubicBezTo>
                    <a:pt x="276990" y="-7903"/>
                    <a:pt x="277094" y="-7925"/>
                    <a:pt x="277209" y="-7936"/>
                  </a:cubicBezTo>
                </a:path>
              </a:pathLst>
            </a:custGeom>
            <a:grpFill/>
            <a:ln w="548" cap="flat">
              <a:noFill/>
              <a:prstDash val="solid"/>
              <a:miter/>
            </a:ln>
          </p:spPr>
          <p:txBody>
            <a:bodyPr/>
            <a:lstStyle/>
            <a:p>
              <a:endParaRPr lang="en-US"/>
            </a:p>
          </p:txBody>
        </p:sp>
        <p:sp>
          <p:nvSpPr>
            <p:cNvPr id="28" name="Freeform: Shape 27">
              <a:extLst>
                <a:ext uri="{FF2B5EF4-FFF2-40B4-BE49-F238E27FC236}">
                  <a16:creationId xmlns:a16="http://schemas.microsoft.com/office/drawing/2014/main" id="{8597D1B5-1B35-88E1-2D17-D0EF38CF3C80}"/>
                </a:ext>
              </a:extLst>
            </p:cNvPr>
            <p:cNvSpPr/>
            <p:nvPr/>
          </p:nvSpPr>
          <p:spPr>
            <a:xfrm flipV="1">
              <a:off x="20138177" y="3747853"/>
              <a:ext cx="200560" cy="54359"/>
            </a:xfrm>
            <a:custGeom>
              <a:avLst/>
              <a:gdLst>
                <a:gd name="csX0" fmla="*/ 192000 w 200560"/>
                <a:gd name="csY0" fmla="*/ -6753 h 54359"/>
                <a:gd name="csX1" fmla="*/ 196641 w 200560"/>
                <a:gd name="csY1" fmla="*/ 47606 h 54359"/>
                <a:gd name="csX2" fmla="*/ -3920 w 200560"/>
                <a:gd name="csY2" fmla="*/ 47606 h 54359"/>
                <a:gd name="csX3" fmla="*/ 727 w 200560"/>
                <a:gd name="csY3" fmla="*/ -6736 h 54359"/>
                <a:gd name="csX4" fmla="*/ 925 w 200560"/>
                <a:gd name="csY4" fmla="*/ -6720 h 54359"/>
                <a:gd name="csX5" fmla="*/ 191654 w 200560"/>
                <a:gd name="csY5" fmla="*/ -6720 h 54359"/>
                <a:gd name="csX6" fmla="*/ 192000 w 200560"/>
                <a:gd name="csY6" fmla="*/ -6753 h 54359"/>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200560" h="54359">
                  <a:moveTo>
                    <a:pt x="192000" y="-6753"/>
                  </a:moveTo>
                  <a:lnTo>
                    <a:pt x="196641" y="47606"/>
                  </a:lnTo>
                  <a:lnTo>
                    <a:pt x="-3920" y="47606"/>
                  </a:lnTo>
                  <a:lnTo>
                    <a:pt x="727" y="-6736"/>
                  </a:lnTo>
                  <a:cubicBezTo>
                    <a:pt x="793" y="-6736"/>
                    <a:pt x="853" y="-6720"/>
                    <a:pt x="925" y="-6720"/>
                  </a:cubicBezTo>
                  <a:lnTo>
                    <a:pt x="191654" y="-6720"/>
                  </a:lnTo>
                  <a:cubicBezTo>
                    <a:pt x="191775" y="-6720"/>
                    <a:pt x="191884" y="-6742"/>
                    <a:pt x="192000" y="-6753"/>
                  </a:cubicBezTo>
                </a:path>
              </a:pathLst>
            </a:custGeom>
            <a:grpFill/>
            <a:ln w="548" cap="flat">
              <a:noFill/>
              <a:prstDash val="solid"/>
              <a:miter/>
            </a:ln>
          </p:spPr>
          <p:txBody>
            <a:bodyPr/>
            <a:lstStyle/>
            <a:p>
              <a:endParaRPr lang="en-US"/>
            </a:p>
          </p:txBody>
        </p:sp>
        <p:sp>
          <p:nvSpPr>
            <p:cNvPr id="29" name="Freeform: Shape 28">
              <a:extLst>
                <a:ext uri="{FF2B5EF4-FFF2-40B4-BE49-F238E27FC236}">
                  <a16:creationId xmlns:a16="http://schemas.microsoft.com/office/drawing/2014/main" id="{336802C1-0C38-DCC5-2212-4EE7975EBE69}"/>
                </a:ext>
              </a:extLst>
            </p:cNvPr>
            <p:cNvSpPr/>
            <p:nvPr/>
          </p:nvSpPr>
          <p:spPr>
            <a:xfrm flipV="1">
              <a:off x="20084920" y="3124549"/>
              <a:ext cx="307073" cy="54364"/>
            </a:xfrm>
            <a:custGeom>
              <a:avLst/>
              <a:gdLst>
                <a:gd name="csX0" fmla="*/ 298513 w 307073"/>
                <a:gd name="csY0" fmla="*/ -8253 h 54364"/>
                <a:gd name="csX1" fmla="*/ 303154 w 307073"/>
                <a:gd name="csY1" fmla="*/ 46112 h 54364"/>
                <a:gd name="csX2" fmla="*/ -3920 w 307073"/>
                <a:gd name="csY2" fmla="*/ 46112 h 54364"/>
                <a:gd name="csX3" fmla="*/ 722 w 307073"/>
                <a:gd name="csY3" fmla="*/ -8231 h 54364"/>
                <a:gd name="csX4" fmla="*/ 886 w 307073"/>
                <a:gd name="csY4" fmla="*/ -8214 h 54364"/>
                <a:gd name="csX5" fmla="*/ 298172 w 307073"/>
                <a:gd name="csY5" fmla="*/ -8214 h 54364"/>
                <a:gd name="csX6" fmla="*/ 298513 w 307073"/>
                <a:gd name="csY6" fmla="*/ -8253 h 54364"/>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07073" h="54364">
                  <a:moveTo>
                    <a:pt x="298513" y="-8253"/>
                  </a:moveTo>
                  <a:lnTo>
                    <a:pt x="303154" y="46112"/>
                  </a:lnTo>
                  <a:lnTo>
                    <a:pt x="-3920" y="46112"/>
                  </a:lnTo>
                  <a:lnTo>
                    <a:pt x="722" y="-8231"/>
                  </a:lnTo>
                  <a:cubicBezTo>
                    <a:pt x="777" y="-8231"/>
                    <a:pt x="832" y="-8214"/>
                    <a:pt x="886" y="-8214"/>
                  </a:cubicBezTo>
                  <a:lnTo>
                    <a:pt x="298172" y="-8214"/>
                  </a:lnTo>
                  <a:cubicBezTo>
                    <a:pt x="298288" y="-8214"/>
                    <a:pt x="298397" y="-8241"/>
                    <a:pt x="298513" y="-8253"/>
                  </a:cubicBezTo>
                </a:path>
              </a:pathLst>
            </a:custGeom>
            <a:grpFill/>
            <a:ln w="548" cap="flat">
              <a:noFill/>
              <a:prstDash val="solid"/>
              <a:miter/>
            </a:ln>
          </p:spPr>
          <p:txBody>
            <a:bodyPr/>
            <a:lstStyle/>
            <a:p>
              <a:endParaRPr lang="en-US"/>
            </a:p>
          </p:txBody>
        </p:sp>
        <p:sp>
          <p:nvSpPr>
            <p:cNvPr id="30" name="Freeform: Shape 29">
              <a:extLst>
                <a:ext uri="{FF2B5EF4-FFF2-40B4-BE49-F238E27FC236}">
                  <a16:creationId xmlns:a16="http://schemas.microsoft.com/office/drawing/2014/main" id="{BF6E7E61-4C5C-413E-211F-60BAB0EC42C1}"/>
                </a:ext>
              </a:extLst>
            </p:cNvPr>
            <p:cNvSpPr/>
            <p:nvPr/>
          </p:nvSpPr>
          <p:spPr>
            <a:xfrm flipV="1">
              <a:off x="20079593" y="3062218"/>
              <a:ext cx="317728" cy="54364"/>
            </a:xfrm>
            <a:custGeom>
              <a:avLst/>
              <a:gdLst>
                <a:gd name="csX0" fmla="*/ 309167 w 317728"/>
                <a:gd name="csY0" fmla="*/ -8392 h 54364"/>
                <a:gd name="csX1" fmla="*/ 313809 w 317728"/>
                <a:gd name="csY1" fmla="*/ 45962 h 54364"/>
                <a:gd name="csX2" fmla="*/ -3920 w 317728"/>
                <a:gd name="csY2" fmla="*/ 45962 h 54364"/>
                <a:gd name="csX3" fmla="*/ 727 w 317728"/>
                <a:gd name="csY3" fmla="*/ -8403 h 54364"/>
                <a:gd name="csX4" fmla="*/ 1068 w 317728"/>
                <a:gd name="csY4" fmla="*/ -8365 h 54364"/>
                <a:gd name="csX5" fmla="*/ 308909 w 317728"/>
                <a:gd name="csY5" fmla="*/ -8365 h 54364"/>
                <a:gd name="csX6" fmla="*/ 309167 w 317728"/>
                <a:gd name="csY6" fmla="*/ -8392 h 54364"/>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17728" h="54364">
                  <a:moveTo>
                    <a:pt x="309167" y="-8392"/>
                  </a:moveTo>
                  <a:lnTo>
                    <a:pt x="313809" y="45962"/>
                  </a:lnTo>
                  <a:lnTo>
                    <a:pt x="-3920" y="45962"/>
                  </a:lnTo>
                  <a:lnTo>
                    <a:pt x="727" y="-8403"/>
                  </a:lnTo>
                  <a:cubicBezTo>
                    <a:pt x="837" y="-8392"/>
                    <a:pt x="947" y="-8365"/>
                    <a:pt x="1068" y="-8365"/>
                  </a:cubicBezTo>
                  <a:lnTo>
                    <a:pt x="308909" y="-8365"/>
                  </a:lnTo>
                  <a:cubicBezTo>
                    <a:pt x="308997" y="-8365"/>
                    <a:pt x="309079" y="-8386"/>
                    <a:pt x="309167" y="-8392"/>
                  </a:cubicBezTo>
                </a:path>
              </a:pathLst>
            </a:custGeom>
            <a:grpFill/>
            <a:ln w="548" cap="flat">
              <a:noFill/>
              <a:prstDash val="solid"/>
              <a:miter/>
            </a:ln>
          </p:spPr>
          <p:txBody>
            <a:bodyPr/>
            <a:lstStyle/>
            <a:p>
              <a:endParaRPr lang="en-US"/>
            </a:p>
          </p:txBody>
        </p:sp>
        <p:sp>
          <p:nvSpPr>
            <p:cNvPr id="31" name="Freeform: Shape 30">
              <a:extLst>
                <a:ext uri="{FF2B5EF4-FFF2-40B4-BE49-F238E27FC236}">
                  <a16:creationId xmlns:a16="http://schemas.microsoft.com/office/drawing/2014/main" id="{A1C1B6CB-5689-D059-B923-A21D48702222}"/>
                </a:ext>
              </a:extLst>
            </p:cNvPr>
            <p:cNvSpPr/>
            <p:nvPr/>
          </p:nvSpPr>
          <p:spPr>
            <a:xfrm flipV="1">
              <a:off x="20143504" y="3810179"/>
              <a:ext cx="189911" cy="54391"/>
            </a:xfrm>
            <a:custGeom>
              <a:avLst/>
              <a:gdLst>
                <a:gd name="csX0" fmla="*/ 181339 w 189911"/>
                <a:gd name="csY0" fmla="*/ -6603 h 54391"/>
                <a:gd name="csX1" fmla="*/ 185992 w 189911"/>
                <a:gd name="csY1" fmla="*/ 47789 h 54391"/>
                <a:gd name="csX2" fmla="*/ -3920 w 189911"/>
                <a:gd name="csY2" fmla="*/ 47789 h 54391"/>
                <a:gd name="csX3" fmla="*/ 727 w 189911"/>
                <a:gd name="csY3" fmla="*/ -6576 h 54391"/>
                <a:gd name="csX4" fmla="*/ 1062 w 189911"/>
                <a:gd name="csY4" fmla="*/ -6543 h 54391"/>
                <a:gd name="csX5" fmla="*/ 180709 w 189911"/>
                <a:gd name="csY5" fmla="*/ -6543 h 54391"/>
                <a:gd name="csX6" fmla="*/ 181339 w 189911"/>
                <a:gd name="csY6" fmla="*/ -6603 h 54391"/>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189911" h="54391">
                  <a:moveTo>
                    <a:pt x="181339" y="-6603"/>
                  </a:moveTo>
                  <a:lnTo>
                    <a:pt x="185992" y="47789"/>
                  </a:lnTo>
                  <a:lnTo>
                    <a:pt x="-3920" y="47789"/>
                  </a:lnTo>
                  <a:lnTo>
                    <a:pt x="727" y="-6576"/>
                  </a:lnTo>
                  <a:cubicBezTo>
                    <a:pt x="837" y="-6565"/>
                    <a:pt x="947" y="-6543"/>
                    <a:pt x="1062" y="-6543"/>
                  </a:cubicBezTo>
                  <a:lnTo>
                    <a:pt x="180709" y="-6543"/>
                  </a:lnTo>
                  <a:cubicBezTo>
                    <a:pt x="180923" y="-6543"/>
                    <a:pt x="181136" y="-6576"/>
                    <a:pt x="181339" y="-6603"/>
                  </a:cubicBezTo>
                </a:path>
              </a:pathLst>
            </a:custGeom>
            <a:grpFill/>
            <a:ln w="548" cap="flat">
              <a:noFill/>
              <a:prstDash val="solid"/>
              <a:miter/>
            </a:ln>
          </p:spPr>
          <p:txBody>
            <a:bodyPr/>
            <a:lstStyle/>
            <a:p>
              <a:endParaRPr lang="en-US"/>
            </a:p>
          </p:txBody>
        </p:sp>
        <p:sp>
          <p:nvSpPr>
            <p:cNvPr id="32" name="Freeform: Shape 31">
              <a:extLst>
                <a:ext uri="{FF2B5EF4-FFF2-40B4-BE49-F238E27FC236}">
                  <a16:creationId xmlns:a16="http://schemas.microsoft.com/office/drawing/2014/main" id="{7D1B58F4-2F36-0B9C-1EBF-1BD5699A1359}"/>
                </a:ext>
              </a:extLst>
            </p:cNvPr>
            <p:cNvSpPr/>
            <p:nvPr/>
          </p:nvSpPr>
          <p:spPr>
            <a:xfrm flipV="1">
              <a:off x="20191439" y="4371152"/>
              <a:ext cx="94042" cy="54359"/>
            </a:xfrm>
            <a:custGeom>
              <a:avLst/>
              <a:gdLst>
                <a:gd name="csX0" fmla="*/ 85476 w 94042"/>
                <a:gd name="csY0" fmla="*/ -5253 h 54359"/>
                <a:gd name="csX1" fmla="*/ 90122 w 94042"/>
                <a:gd name="csY1" fmla="*/ 49106 h 54359"/>
                <a:gd name="csX2" fmla="*/ -3920 w 94042"/>
                <a:gd name="csY2" fmla="*/ 49106 h 54359"/>
                <a:gd name="csX3" fmla="*/ 722 w 94042"/>
                <a:gd name="csY3" fmla="*/ -5253 h 54359"/>
                <a:gd name="csX4" fmla="*/ 1062 w 94042"/>
                <a:gd name="csY4" fmla="*/ -5220 h 54359"/>
                <a:gd name="csX5" fmla="*/ 85135 w 94042"/>
                <a:gd name="csY5" fmla="*/ -5220 h 54359"/>
                <a:gd name="csX6" fmla="*/ 85476 w 94042"/>
                <a:gd name="csY6" fmla="*/ -5253 h 54359"/>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94042" h="54359">
                  <a:moveTo>
                    <a:pt x="85476" y="-5253"/>
                  </a:moveTo>
                  <a:lnTo>
                    <a:pt x="90122" y="49106"/>
                  </a:lnTo>
                  <a:lnTo>
                    <a:pt x="-3920" y="49106"/>
                  </a:lnTo>
                  <a:lnTo>
                    <a:pt x="722" y="-5253"/>
                  </a:lnTo>
                  <a:cubicBezTo>
                    <a:pt x="837" y="-5248"/>
                    <a:pt x="946" y="-5220"/>
                    <a:pt x="1062" y="-5220"/>
                  </a:cubicBezTo>
                  <a:lnTo>
                    <a:pt x="85135" y="-5220"/>
                  </a:lnTo>
                  <a:cubicBezTo>
                    <a:pt x="85251" y="-5220"/>
                    <a:pt x="85360" y="-5248"/>
                    <a:pt x="85476" y="-5253"/>
                  </a:cubicBezTo>
                </a:path>
              </a:pathLst>
            </a:custGeom>
            <a:grpFill/>
            <a:ln w="548" cap="flat">
              <a:noFill/>
              <a:prstDash val="solid"/>
              <a:miter/>
            </a:ln>
          </p:spPr>
          <p:txBody>
            <a:bodyPr/>
            <a:lstStyle/>
            <a:p>
              <a:endParaRPr lang="en-US"/>
            </a:p>
          </p:txBody>
        </p:sp>
        <p:sp>
          <p:nvSpPr>
            <p:cNvPr id="33" name="Freeform: Shape 32">
              <a:extLst>
                <a:ext uri="{FF2B5EF4-FFF2-40B4-BE49-F238E27FC236}">
                  <a16:creationId xmlns:a16="http://schemas.microsoft.com/office/drawing/2014/main" id="{318719F9-1422-2F7E-EBFF-F8C05F4DB33E}"/>
                </a:ext>
              </a:extLst>
            </p:cNvPr>
            <p:cNvSpPr/>
            <p:nvPr/>
          </p:nvSpPr>
          <p:spPr>
            <a:xfrm flipV="1">
              <a:off x="20207415" y="4558140"/>
              <a:ext cx="62084" cy="54364"/>
            </a:xfrm>
            <a:custGeom>
              <a:avLst/>
              <a:gdLst>
                <a:gd name="csX0" fmla="*/ 1062 w 62084"/>
                <a:gd name="csY0" fmla="*/ -4765 h 54364"/>
                <a:gd name="csX1" fmla="*/ 53183 w 62084"/>
                <a:gd name="csY1" fmla="*/ -4765 h 54364"/>
                <a:gd name="csX2" fmla="*/ 53523 w 62084"/>
                <a:gd name="csY2" fmla="*/ -4803 h 54364"/>
                <a:gd name="csX3" fmla="*/ 58164 w 62084"/>
                <a:gd name="csY3" fmla="*/ 49561 h 54364"/>
                <a:gd name="csX4" fmla="*/ -3920 w 62084"/>
                <a:gd name="csY4" fmla="*/ 49561 h 54364"/>
                <a:gd name="csX5" fmla="*/ 727 w 62084"/>
                <a:gd name="csY5" fmla="*/ -4803 h 54364"/>
                <a:gd name="csX6" fmla="*/ 1062 w 62084"/>
                <a:gd name="csY6" fmla="*/ -4765 h 54364"/>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62084" h="54364">
                  <a:moveTo>
                    <a:pt x="1062" y="-4765"/>
                  </a:moveTo>
                  <a:lnTo>
                    <a:pt x="53183" y="-4765"/>
                  </a:lnTo>
                  <a:cubicBezTo>
                    <a:pt x="53298" y="-4765"/>
                    <a:pt x="53408" y="-4792"/>
                    <a:pt x="53523" y="-4803"/>
                  </a:cubicBezTo>
                  <a:lnTo>
                    <a:pt x="58164" y="49561"/>
                  </a:lnTo>
                  <a:lnTo>
                    <a:pt x="-3920" y="49561"/>
                  </a:lnTo>
                  <a:lnTo>
                    <a:pt x="727" y="-4803"/>
                  </a:lnTo>
                  <a:cubicBezTo>
                    <a:pt x="837" y="-4792"/>
                    <a:pt x="947" y="-4765"/>
                    <a:pt x="1062" y="-4765"/>
                  </a:cubicBezTo>
                </a:path>
              </a:pathLst>
            </a:custGeom>
            <a:grpFill/>
            <a:ln w="548" cap="flat">
              <a:noFill/>
              <a:prstDash val="solid"/>
              <a:miter/>
            </a:ln>
          </p:spPr>
          <p:txBody>
            <a:bodyPr/>
            <a:lstStyle/>
            <a:p>
              <a:endParaRPr lang="en-US"/>
            </a:p>
          </p:txBody>
        </p:sp>
        <p:sp>
          <p:nvSpPr>
            <p:cNvPr id="34" name="Freeform: Shape 33">
              <a:extLst>
                <a:ext uri="{FF2B5EF4-FFF2-40B4-BE49-F238E27FC236}">
                  <a16:creationId xmlns:a16="http://schemas.microsoft.com/office/drawing/2014/main" id="{BC9FDB70-2972-45AF-0431-126D4E66957A}"/>
                </a:ext>
              </a:extLst>
            </p:cNvPr>
            <p:cNvSpPr/>
            <p:nvPr/>
          </p:nvSpPr>
          <p:spPr>
            <a:xfrm flipV="1">
              <a:off x="20196760" y="4433483"/>
              <a:ext cx="83393" cy="54397"/>
            </a:xfrm>
            <a:custGeom>
              <a:avLst/>
              <a:gdLst>
                <a:gd name="csX0" fmla="*/ 79474 w 83393"/>
                <a:gd name="csY0" fmla="*/ 49294 h 54397"/>
                <a:gd name="csX1" fmla="*/ -3920 w 83393"/>
                <a:gd name="csY1" fmla="*/ 49294 h 54397"/>
                <a:gd name="csX2" fmla="*/ 727 w 83393"/>
                <a:gd name="csY2" fmla="*/ -5081 h 54397"/>
                <a:gd name="csX3" fmla="*/ 1210 w 83393"/>
                <a:gd name="csY3" fmla="*/ -5032 h 54397"/>
                <a:gd name="csX4" fmla="*/ 74124 w 83393"/>
                <a:gd name="csY4" fmla="*/ -5032 h 54397"/>
                <a:gd name="csX5" fmla="*/ 74827 w 83393"/>
                <a:gd name="csY5" fmla="*/ -5103 h 54397"/>
                <a:gd name="csX6" fmla="*/ 79474 w 83393"/>
                <a:gd name="csY6" fmla="*/ 49294 h 54397"/>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83393" h="54397">
                  <a:moveTo>
                    <a:pt x="79474" y="49294"/>
                  </a:moveTo>
                  <a:lnTo>
                    <a:pt x="-3920" y="49294"/>
                  </a:lnTo>
                  <a:lnTo>
                    <a:pt x="727" y="-5081"/>
                  </a:lnTo>
                  <a:cubicBezTo>
                    <a:pt x="886" y="-5059"/>
                    <a:pt x="1046" y="-5032"/>
                    <a:pt x="1210" y="-5032"/>
                  </a:cubicBezTo>
                  <a:lnTo>
                    <a:pt x="74124" y="-5032"/>
                  </a:lnTo>
                  <a:cubicBezTo>
                    <a:pt x="74366" y="-5032"/>
                    <a:pt x="74596" y="-5065"/>
                    <a:pt x="74827" y="-5103"/>
                  </a:cubicBezTo>
                  <a:lnTo>
                    <a:pt x="79474" y="49294"/>
                  </a:lnTo>
                </a:path>
              </a:pathLst>
            </a:custGeom>
            <a:grpFill/>
            <a:ln w="548" cap="flat">
              <a:noFill/>
              <a:prstDash val="solid"/>
              <a:miter/>
            </a:ln>
          </p:spPr>
          <p:txBody>
            <a:bodyPr/>
            <a:lstStyle/>
            <a:p>
              <a:endParaRPr lang="en-US"/>
            </a:p>
          </p:txBody>
        </p:sp>
        <p:sp>
          <p:nvSpPr>
            <p:cNvPr id="35" name="Freeform: Shape 34">
              <a:extLst>
                <a:ext uri="{FF2B5EF4-FFF2-40B4-BE49-F238E27FC236}">
                  <a16:creationId xmlns:a16="http://schemas.microsoft.com/office/drawing/2014/main" id="{134EAF53-E526-D975-2CAC-D7C9EDAF8027}"/>
                </a:ext>
              </a:extLst>
            </p:cNvPr>
            <p:cNvSpPr/>
            <p:nvPr/>
          </p:nvSpPr>
          <p:spPr>
            <a:xfrm flipV="1">
              <a:off x="20202088" y="4495809"/>
              <a:ext cx="72744" cy="54364"/>
            </a:xfrm>
            <a:custGeom>
              <a:avLst/>
              <a:gdLst>
                <a:gd name="csX0" fmla="*/ 64177 w 72744"/>
                <a:gd name="csY0" fmla="*/ -4953 h 54364"/>
                <a:gd name="csX1" fmla="*/ 68825 w 72744"/>
                <a:gd name="csY1" fmla="*/ 49411 h 54364"/>
                <a:gd name="csX2" fmla="*/ 68797 w 72744"/>
                <a:gd name="csY2" fmla="*/ 49406 h 54364"/>
                <a:gd name="csX3" fmla="*/ -3920 w 72744"/>
                <a:gd name="csY3" fmla="*/ 49406 h 54364"/>
                <a:gd name="csX4" fmla="*/ 727 w 72744"/>
                <a:gd name="csY4" fmla="*/ -4953 h 54364"/>
                <a:gd name="csX5" fmla="*/ 1068 w 72744"/>
                <a:gd name="csY5" fmla="*/ -4920 h 54364"/>
                <a:gd name="csX6" fmla="*/ 63837 w 72744"/>
                <a:gd name="csY6" fmla="*/ -4920 h 54364"/>
                <a:gd name="csX7" fmla="*/ 64177 w 72744"/>
                <a:gd name="csY7" fmla="*/ -4953 h 5436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72744" h="54364">
                  <a:moveTo>
                    <a:pt x="64177" y="-4953"/>
                  </a:moveTo>
                  <a:lnTo>
                    <a:pt x="68825" y="49411"/>
                  </a:lnTo>
                  <a:cubicBezTo>
                    <a:pt x="68814" y="49411"/>
                    <a:pt x="68803" y="49406"/>
                    <a:pt x="68797" y="49406"/>
                  </a:cubicBezTo>
                  <a:lnTo>
                    <a:pt x="-3920" y="49406"/>
                  </a:lnTo>
                  <a:lnTo>
                    <a:pt x="727" y="-4953"/>
                  </a:lnTo>
                  <a:cubicBezTo>
                    <a:pt x="843" y="-4948"/>
                    <a:pt x="947" y="-4920"/>
                    <a:pt x="1068" y="-4920"/>
                  </a:cubicBezTo>
                  <a:lnTo>
                    <a:pt x="63837" y="-4920"/>
                  </a:lnTo>
                  <a:cubicBezTo>
                    <a:pt x="63952" y="-4920"/>
                    <a:pt x="64062" y="-4948"/>
                    <a:pt x="64177" y="-4953"/>
                  </a:cubicBezTo>
                </a:path>
              </a:pathLst>
            </a:custGeom>
            <a:grpFill/>
            <a:ln w="548" cap="flat">
              <a:noFill/>
              <a:prstDash val="solid"/>
              <a:miter/>
            </a:ln>
          </p:spPr>
          <p:txBody>
            <a:bodyPr/>
            <a:lstStyle/>
            <a:p>
              <a:endParaRPr lang="en-US"/>
            </a:p>
          </p:txBody>
        </p:sp>
        <p:sp>
          <p:nvSpPr>
            <p:cNvPr id="36" name="Freeform: Shape 35">
              <a:extLst>
                <a:ext uri="{FF2B5EF4-FFF2-40B4-BE49-F238E27FC236}">
                  <a16:creationId xmlns:a16="http://schemas.microsoft.com/office/drawing/2014/main" id="{3DDD42D9-072C-C7DE-61FE-C3014CFCC786}"/>
                </a:ext>
              </a:extLst>
            </p:cNvPr>
            <p:cNvSpPr/>
            <p:nvPr/>
          </p:nvSpPr>
          <p:spPr>
            <a:xfrm flipV="1">
              <a:off x="20212737" y="4620470"/>
              <a:ext cx="51440" cy="54364"/>
            </a:xfrm>
            <a:custGeom>
              <a:avLst/>
              <a:gdLst>
                <a:gd name="csX0" fmla="*/ -3920 w 51440"/>
                <a:gd name="csY0" fmla="*/ 49711 h 54364"/>
                <a:gd name="csX1" fmla="*/ 727 w 51440"/>
                <a:gd name="csY1" fmla="*/ -4653 h 54364"/>
                <a:gd name="csX2" fmla="*/ 1067 w 51440"/>
                <a:gd name="csY2" fmla="*/ -4621 h 54364"/>
                <a:gd name="csX3" fmla="*/ 42539 w 51440"/>
                <a:gd name="csY3" fmla="*/ -4621 h 54364"/>
                <a:gd name="csX4" fmla="*/ 42874 w 51440"/>
                <a:gd name="csY4" fmla="*/ -4653 h 54364"/>
                <a:gd name="csX5" fmla="*/ 47521 w 51440"/>
                <a:gd name="csY5" fmla="*/ 49711 h 54364"/>
                <a:gd name="csX6" fmla="*/ -3920 w 51440"/>
                <a:gd name="csY6" fmla="*/ 49711 h 54364"/>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51440" h="54364">
                  <a:moveTo>
                    <a:pt x="-3920" y="49711"/>
                  </a:moveTo>
                  <a:lnTo>
                    <a:pt x="727" y="-4653"/>
                  </a:lnTo>
                  <a:cubicBezTo>
                    <a:pt x="843" y="-4642"/>
                    <a:pt x="952" y="-4621"/>
                    <a:pt x="1067" y="-4621"/>
                  </a:cubicBezTo>
                  <a:lnTo>
                    <a:pt x="42539" y="-4621"/>
                  </a:lnTo>
                  <a:cubicBezTo>
                    <a:pt x="42654" y="-4621"/>
                    <a:pt x="42764" y="-4642"/>
                    <a:pt x="42874" y="-4653"/>
                  </a:cubicBezTo>
                  <a:lnTo>
                    <a:pt x="47521" y="49711"/>
                  </a:lnTo>
                  <a:lnTo>
                    <a:pt x="-3920" y="49711"/>
                  </a:lnTo>
                </a:path>
              </a:pathLst>
            </a:custGeom>
            <a:grpFill/>
            <a:ln w="548" cap="flat">
              <a:noFill/>
              <a:prstDash val="solid"/>
              <a:miter/>
            </a:ln>
          </p:spPr>
          <p:txBody>
            <a:bodyPr/>
            <a:lstStyle/>
            <a:p>
              <a:endParaRPr lang="en-US"/>
            </a:p>
          </p:txBody>
        </p:sp>
        <p:sp>
          <p:nvSpPr>
            <p:cNvPr id="37" name="Freeform: Shape 36">
              <a:extLst>
                <a:ext uri="{FF2B5EF4-FFF2-40B4-BE49-F238E27FC236}">
                  <a16:creationId xmlns:a16="http://schemas.microsoft.com/office/drawing/2014/main" id="{5E63C863-B42B-8681-EC98-D18CC173F73A}"/>
                </a:ext>
              </a:extLst>
            </p:cNvPr>
            <p:cNvSpPr/>
            <p:nvPr/>
          </p:nvSpPr>
          <p:spPr>
            <a:xfrm flipV="1">
              <a:off x="20223391" y="4745133"/>
              <a:ext cx="30131" cy="176332"/>
            </a:xfrm>
            <a:custGeom>
              <a:avLst/>
              <a:gdLst>
                <a:gd name="csX0" fmla="*/ 11146 w 30131"/>
                <a:gd name="csY0" fmla="*/ -4207 h 176332"/>
                <a:gd name="csX1" fmla="*/ 26211 w 30131"/>
                <a:gd name="csY1" fmla="*/ 172126 h 176332"/>
                <a:gd name="csX2" fmla="*/ -3920 w 30131"/>
                <a:gd name="csY2" fmla="*/ 172126 h 176332"/>
              </a:gdLst>
              <a:ahLst/>
              <a:cxnLst>
                <a:cxn ang="0">
                  <a:pos x="csX0" y="csY0"/>
                </a:cxn>
                <a:cxn ang="0">
                  <a:pos x="csX1" y="csY1"/>
                </a:cxn>
                <a:cxn ang="0">
                  <a:pos x="csX2" y="csY2"/>
                </a:cxn>
              </a:cxnLst>
              <a:rect l="l" t="t" r="r" b="b"/>
              <a:pathLst>
                <a:path w="30131" h="176332">
                  <a:moveTo>
                    <a:pt x="11146" y="-4207"/>
                  </a:moveTo>
                  <a:lnTo>
                    <a:pt x="26211" y="172126"/>
                  </a:lnTo>
                  <a:lnTo>
                    <a:pt x="-3920" y="172126"/>
                  </a:lnTo>
                  <a:close/>
                </a:path>
              </a:pathLst>
            </a:custGeom>
            <a:grpFill/>
            <a:ln w="548" cap="flat">
              <a:noFill/>
              <a:prstDash val="solid"/>
              <a:miter/>
            </a:ln>
          </p:spPr>
          <p:txBody>
            <a:bodyPr/>
            <a:lstStyle/>
            <a:p>
              <a:endParaRPr lang="en-US"/>
            </a:p>
          </p:txBody>
        </p:sp>
        <p:sp>
          <p:nvSpPr>
            <p:cNvPr id="38" name="Freeform: Shape 37">
              <a:extLst>
                <a:ext uri="{FF2B5EF4-FFF2-40B4-BE49-F238E27FC236}">
                  <a16:creationId xmlns:a16="http://schemas.microsoft.com/office/drawing/2014/main" id="{2BE96BEF-7EE6-4C35-62D8-DCDC5644CF57}"/>
                </a:ext>
              </a:extLst>
            </p:cNvPr>
            <p:cNvSpPr/>
            <p:nvPr/>
          </p:nvSpPr>
          <p:spPr>
            <a:xfrm flipV="1">
              <a:off x="20148831" y="3872510"/>
              <a:ext cx="179257" cy="54403"/>
            </a:xfrm>
            <a:custGeom>
              <a:avLst/>
              <a:gdLst>
                <a:gd name="csX0" fmla="*/ 175337 w 179257"/>
                <a:gd name="csY0" fmla="*/ 47950 h 54403"/>
                <a:gd name="csX1" fmla="*/ -3920 w 179257"/>
                <a:gd name="csY1" fmla="*/ 47950 h 54403"/>
                <a:gd name="csX2" fmla="*/ 722 w 179257"/>
                <a:gd name="csY2" fmla="*/ -6414 h 54403"/>
                <a:gd name="csX3" fmla="*/ 1067 w 179257"/>
                <a:gd name="csY3" fmla="*/ -6381 h 54403"/>
                <a:gd name="csX4" fmla="*/ 169928 w 179257"/>
                <a:gd name="csY4" fmla="*/ -6381 h 54403"/>
                <a:gd name="csX5" fmla="*/ 170685 w 179257"/>
                <a:gd name="csY5" fmla="*/ -6453 h 54403"/>
                <a:gd name="csX6" fmla="*/ 175337 w 179257"/>
                <a:gd name="csY6" fmla="*/ 47950 h 54403"/>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179257" h="54403">
                  <a:moveTo>
                    <a:pt x="175337" y="47950"/>
                  </a:moveTo>
                  <a:lnTo>
                    <a:pt x="-3920" y="47950"/>
                  </a:lnTo>
                  <a:lnTo>
                    <a:pt x="722" y="-6414"/>
                  </a:lnTo>
                  <a:cubicBezTo>
                    <a:pt x="837" y="-6403"/>
                    <a:pt x="947" y="-6381"/>
                    <a:pt x="1067" y="-6381"/>
                  </a:cubicBezTo>
                  <a:lnTo>
                    <a:pt x="169928" y="-6381"/>
                  </a:lnTo>
                  <a:cubicBezTo>
                    <a:pt x="170186" y="-6381"/>
                    <a:pt x="170438" y="-6409"/>
                    <a:pt x="170685" y="-6453"/>
                  </a:cubicBezTo>
                  <a:lnTo>
                    <a:pt x="175337" y="47950"/>
                  </a:lnTo>
                </a:path>
              </a:pathLst>
            </a:custGeom>
            <a:grpFill/>
            <a:ln w="548" cap="flat">
              <a:noFill/>
              <a:prstDash val="solid"/>
              <a:miter/>
            </a:ln>
          </p:spPr>
          <p:txBody>
            <a:bodyPr/>
            <a:lstStyle/>
            <a:p>
              <a:endParaRPr lang="en-US"/>
            </a:p>
          </p:txBody>
        </p:sp>
        <p:sp>
          <p:nvSpPr>
            <p:cNvPr id="39" name="Freeform: Shape 38">
              <a:extLst>
                <a:ext uri="{FF2B5EF4-FFF2-40B4-BE49-F238E27FC236}">
                  <a16:creationId xmlns:a16="http://schemas.microsoft.com/office/drawing/2014/main" id="{381CAA0D-E5F0-9D08-20E1-DB7CF3353411}"/>
                </a:ext>
              </a:extLst>
            </p:cNvPr>
            <p:cNvSpPr/>
            <p:nvPr/>
          </p:nvSpPr>
          <p:spPr>
            <a:xfrm flipV="1">
              <a:off x="20218064" y="4682802"/>
              <a:ext cx="40785" cy="54386"/>
            </a:xfrm>
            <a:custGeom>
              <a:avLst/>
              <a:gdLst>
                <a:gd name="csX0" fmla="*/ 727 w 40785"/>
                <a:gd name="csY0" fmla="*/ -4482 h 54386"/>
                <a:gd name="csX1" fmla="*/ 1067 w 40785"/>
                <a:gd name="csY1" fmla="*/ -4443 h 54386"/>
                <a:gd name="csX2" fmla="*/ 31632 w 40785"/>
                <a:gd name="csY2" fmla="*/ -4443 h 54386"/>
                <a:gd name="csX3" fmla="*/ 32219 w 40785"/>
                <a:gd name="csY3" fmla="*/ -4503 h 54386"/>
                <a:gd name="csX4" fmla="*/ 36866 w 40785"/>
                <a:gd name="csY4" fmla="*/ 49883 h 54386"/>
                <a:gd name="csX5" fmla="*/ -3920 w 40785"/>
                <a:gd name="csY5" fmla="*/ 49883 h 54386"/>
                <a:gd name="csX6" fmla="*/ 727 w 40785"/>
                <a:gd name="csY6" fmla="*/ -4482 h 54386"/>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40785" h="54386">
                  <a:moveTo>
                    <a:pt x="727" y="-4482"/>
                  </a:moveTo>
                  <a:cubicBezTo>
                    <a:pt x="843" y="-4471"/>
                    <a:pt x="952" y="-4443"/>
                    <a:pt x="1067" y="-4443"/>
                  </a:cubicBezTo>
                  <a:lnTo>
                    <a:pt x="31632" y="-4443"/>
                  </a:lnTo>
                  <a:cubicBezTo>
                    <a:pt x="31835" y="-4443"/>
                    <a:pt x="32027" y="-4476"/>
                    <a:pt x="32219" y="-4503"/>
                  </a:cubicBezTo>
                  <a:lnTo>
                    <a:pt x="36866" y="49883"/>
                  </a:lnTo>
                  <a:lnTo>
                    <a:pt x="-3920" y="49883"/>
                  </a:lnTo>
                  <a:lnTo>
                    <a:pt x="727" y="-4482"/>
                  </a:lnTo>
                </a:path>
              </a:pathLst>
            </a:custGeom>
            <a:grpFill/>
            <a:ln w="548" cap="flat">
              <a:noFill/>
              <a:prstDash val="solid"/>
              <a:miter/>
            </a:ln>
          </p:spPr>
          <p:txBody>
            <a:bodyPr/>
            <a:lstStyle/>
            <a:p>
              <a:endParaRPr lang="en-US"/>
            </a:p>
          </p:txBody>
        </p:sp>
        <p:sp>
          <p:nvSpPr>
            <p:cNvPr id="40" name="Freeform: Shape 39">
              <a:extLst>
                <a:ext uri="{FF2B5EF4-FFF2-40B4-BE49-F238E27FC236}">
                  <a16:creationId xmlns:a16="http://schemas.microsoft.com/office/drawing/2014/main" id="{B5548AC0-BD13-25EE-CD9F-7E5586F17878}"/>
                </a:ext>
              </a:extLst>
            </p:cNvPr>
            <p:cNvSpPr/>
            <p:nvPr/>
          </p:nvSpPr>
          <p:spPr>
            <a:xfrm flipV="1">
              <a:off x="20164808" y="4059497"/>
              <a:ext cx="147304" cy="54375"/>
            </a:xfrm>
            <a:custGeom>
              <a:avLst/>
              <a:gdLst>
                <a:gd name="csX0" fmla="*/ 138738 w 147304"/>
                <a:gd name="csY0" fmla="*/ -5992 h 54375"/>
                <a:gd name="csX1" fmla="*/ 143384 w 147304"/>
                <a:gd name="csY1" fmla="*/ 48373 h 54375"/>
                <a:gd name="csX2" fmla="*/ -3920 w 147304"/>
                <a:gd name="csY2" fmla="*/ 48373 h 54375"/>
                <a:gd name="csX3" fmla="*/ 727 w 147304"/>
                <a:gd name="csY3" fmla="*/ -6003 h 54375"/>
                <a:gd name="csX4" fmla="*/ 1171 w 147304"/>
                <a:gd name="csY4" fmla="*/ -5959 h 54375"/>
                <a:gd name="csX5" fmla="*/ 138397 w 147304"/>
                <a:gd name="csY5" fmla="*/ -5959 h 54375"/>
                <a:gd name="csX6" fmla="*/ 138738 w 147304"/>
                <a:gd name="csY6" fmla="*/ -5992 h 54375"/>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147304" h="54375">
                  <a:moveTo>
                    <a:pt x="138738" y="-5992"/>
                  </a:moveTo>
                  <a:lnTo>
                    <a:pt x="143384" y="48373"/>
                  </a:lnTo>
                  <a:lnTo>
                    <a:pt x="-3920" y="48373"/>
                  </a:lnTo>
                  <a:lnTo>
                    <a:pt x="727" y="-6003"/>
                  </a:lnTo>
                  <a:cubicBezTo>
                    <a:pt x="875" y="-5987"/>
                    <a:pt x="1018" y="-5959"/>
                    <a:pt x="1171" y="-5959"/>
                  </a:cubicBezTo>
                  <a:lnTo>
                    <a:pt x="138397" y="-5959"/>
                  </a:lnTo>
                  <a:cubicBezTo>
                    <a:pt x="138513" y="-5959"/>
                    <a:pt x="138622" y="-5981"/>
                    <a:pt x="138738" y="-5992"/>
                  </a:cubicBezTo>
                </a:path>
              </a:pathLst>
            </a:custGeom>
            <a:grpFill/>
            <a:ln w="548" cap="flat">
              <a:noFill/>
              <a:prstDash val="solid"/>
              <a:miter/>
            </a:ln>
          </p:spPr>
          <p:txBody>
            <a:bodyPr/>
            <a:lstStyle/>
            <a:p>
              <a:endParaRPr lang="en-US"/>
            </a:p>
          </p:txBody>
        </p:sp>
        <p:sp>
          <p:nvSpPr>
            <p:cNvPr id="41" name="Freeform: Shape 40">
              <a:extLst>
                <a:ext uri="{FF2B5EF4-FFF2-40B4-BE49-F238E27FC236}">
                  <a16:creationId xmlns:a16="http://schemas.microsoft.com/office/drawing/2014/main" id="{24267F56-0CDF-0709-D263-78DA038B629E}"/>
                </a:ext>
              </a:extLst>
            </p:cNvPr>
            <p:cNvSpPr/>
            <p:nvPr/>
          </p:nvSpPr>
          <p:spPr>
            <a:xfrm flipV="1">
              <a:off x="20159480" y="3997166"/>
              <a:ext cx="157953" cy="54364"/>
            </a:xfrm>
            <a:custGeom>
              <a:avLst/>
              <a:gdLst>
                <a:gd name="csX0" fmla="*/ 149392 w 157953"/>
                <a:gd name="csY0" fmla="*/ -6153 h 54364"/>
                <a:gd name="csX1" fmla="*/ 154034 w 157953"/>
                <a:gd name="csY1" fmla="*/ 48212 h 54364"/>
                <a:gd name="csX2" fmla="*/ -3920 w 157953"/>
                <a:gd name="csY2" fmla="*/ 48212 h 54364"/>
                <a:gd name="csX3" fmla="*/ 727 w 157953"/>
                <a:gd name="csY3" fmla="*/ -6153 h 54364"/>
                <a:gd name="csX4" fmla="*/ 1067 w 157953"/>
                <a:gd name="csY4" fmla="*/ -6120 h 54364"/>
                <a:gd name="csX5" fmla="*/ 149052 w 157953"/>
                <a:gd name="csY5" fmla="*/ -6120 h 54364"/>
                <a:gd name="csX6" fmla="*/ 149392 w 157953"/>
                <a:gd name="csY6" fmla="*/ -6153 h 54364"/>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157953" h="54364">
                  <a:moveTo>
                    <a:pt x="149392" y="-6153"/>
                  </a:moveTo>
                  <a:lnTo>
                    <a:pt x="154034" y="48212"/>
                  </a:lnTo>
                  <a:lnTo>
                    <a:pt x="-3920" y="48212"/>
                  </a:lnTo>
                  <a:lnTo>
                    <a:pt x="727" y="-6153"/>
                  </a:lnTo>
                  <a:cubicBezTo>
                    <a:pt x="842" y="-6148"/>
                    <a:pt x="946" y="-6120"/>
                    <a:pt x="1067" y="-6120"/>
                  </a:cubicBezTo>
                  <a:lnTo>
                    <a:pt x="149052" y="-6120"/>
                  </a:lnTo>
                  <a:cubicBezTo>
                    <a:pt x="149167" y="-6120"/>
                    <a:pt x="149277" y="-6148"/>
                    <a:pt x="149392" y="-6153"/>
                  </a:cubicBezTo>
                </a:path>
              </a:pathLst>
            </a:custGeom>
            <a:grpFill/>
            <a:ln w="548" cap="flat">
              <a:noFill/>
              <a:prstDash val="solid"/>
              <a:miter/>
            </a:ln>
          </p:spPr>
          <p:txBody>
            <a:bodyPr/>
            <a:lstStyle/>
            <a:p>
              <a:endParaRPr lang="en-US"/>
            </a:p>
          </p:txBody>
        </p:sp>
        <p:sp>
          <p:nvSpPr>
            <p:cNvPr id="42" name="Freeform: Shape 41">
              <a:extLst>
                <a:ext uri="{FF2B5EF4-FFF2-40B4-BE49-F238E27FC236}">
                  <a16:creationId xmlns:a16="http://schemas.microsoft.com/office/drawing/2014/main" id="{D19EA09B-58B7-F2FB-D2A8-79D8E97D61C5}"/>
                </a:ext>
              </a:extLst>
            </p:cNvPr>
            <p:cNvSpPr/>
            <p:nvPr/>
          </p:nvSpPr>
          <p:spPr>
            <a:xfrm flipV="1">
              <a:off x="20154153" y="3934830"/>
              <a:ext cx="168607" cy="54370"/>
            </a:xfrm>
            <a:custGeom>
              <a:avLst/>
              <a:gdLst>
                <a:gd name="csX0" fmla="*/ 160041 w 168607"/>
                <a:gd name="csY0" fmla="*/ -6303 h 54370"/>
                <a:gd name="csX1" fmla="*/ 164688 w 168607"/>
                <a:gd name="csY1" fmla="*/ 48067 h 54370"/>
                <a:gd name="csX2" fmla="*/ 164606 w 168607"/>
                <a:gd name="csY2" fmla="*/ 48056 h 54370"/>
                <a:gd name="csX3" fmla="*/ -3920 w 168607"/>
                <a:gd name="csY3" fmla="*/ 48056 h 54370"/>
                <a:gd name="csX4" fmla="*/ 727 w 168607"/>
                <a:gd name="csY4" fmla="*/ -6303 h 54370"/>
                <a:gd name="csX5" fmla="*/ 1067 w 168607"/>
                <a:gd name="csY5" fmla="*/ -6270 h 54370"/>
                <a:gd name="csX6" fmla="*/ 159706 w 168607"/>
                <a:gd name="csY6" fmla="*/ -6270 h 54370"/>
                <a:gd name="csX7" fmla="*/ 160041 w 168607"/>
                <a:gd name="csY7" fmla="*/ -6303 h 5437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168607" h="54370">
                  <a:moveTo>
                    <a:pt x="160041" y="-6303"/>
                  </a:moveTo>
                  <a:lnTo>
                    <a:pt x="164688" y="48067"/>
                  </a:lnTo>
                  <a:cubicBezTo>
                    <a:pt x="164661" y="48067"/>
                    <a:pt x="164633" y="48056"/>
                    <a:pt x="164606" y="48056"/>
                  </a:cubicBezTo>
                  <a:lnTo>
                    <a:pt x="-3920" y="48056"/>
                  </a:lnTo>
                  <a:lnTo>
                    <a:pt x="727" y="-6303"/>
                  </a:lnTo>
                  <a:cubicBezTo>
                    <a:pt x="842" y="-6298"/>
                    <a:pt x="952" y="-6270"/>
                    <a:pt x="1067" y="-6270"/>
                  </a:cubicBezTo>
                  <a:lnTo>
                    <a:pt x="159706" y="-6270"/>
                  </a:lnTo>
                  <a:cubicBezTo>
                    <a:pt x="159822" y="-6270"/>
                    <a:pt x="159932" y="-6298"/>
                    <a:pt x="160041" y="-6303"/>
                  </a:cubicBezTo>
                </a:path>
              </a:pathLst>
            </a:custGeom>
            <a:grpFill/>
            <a:ln w="548" cap="flat">
              <a:noFill/>
              <a:prstDash val="solid"/>
              <a:miter/>
            </a:ln>
          </p:spPr>
          <p:txBody>
            <a:bodyPr/>
            <a:lstStyle/>
            <a:p>
              <a:endParaRPr lang="en-US"/>
            </a:p>
          </p:txBody>
        </p:sp>
        <p:sp>
          <p:nvSpPr>
            <p:cNvPr id="43" name="Freeform: Shape 42">
              <a:extLst>
                <a:ext uri="{FF2B5EF4-FFF2-40B4-BE49-F238E27FC236}">
                  <a16:creationId xmlns:a16="http://schemas.microsoft.com/office/drawing/2014/main" id="{2AC9B235-8B28-08E4-695E-187EA9A94D39}"/>
                </a:ext>
              </a:extLst>
            </p:cNvPr>
            <p:cNvSpPr/>
            <p:nvPr/>
          </p:nvSpPr>
          <p:spPr>
            <a:xfrm flipV="1">
              <a:off x="20170135" y="4121828"/>
              <a:ext cx="136649" cy="54386"/>
            </a:xfrm>
            <a:custGeom>
              <a:avLst/>
              <a:gdLst>
                <a:gd name="csX0" fmla="*/ 128083 w 136649"/>
                <a:gd name="csY0" fmla="*/ -5853 h 54386"/>
                <a:gd name="csX1" fmla="*/ 132730 w 136649"/>
                <a:gd name="csY1" fmla="*/ 48533 h 54386"/>
                <a:gd name="csX2" fmla="*/ -3920 w 136649"/>
                <a:gd name="csY2" fmla="*/ 48533 h 54386"/>
                <a:gd name="csX3" fmla="*/ 722 w 136649"/>
                <a:gd name="csY3" fmla="*/ -5831 h 54386"/>
                <a:gd name="csX4" fmla="*/ 1062 w 136649"/>
                <a:gd name="csY4" fmla="*/ -5798 h 54386"/>
                <a:gd name="csX5" fmla="*/ 127501 w 136649"/>
                <a:gd name="csY5" fmla="*/ -5798 h 54386"/>
                <a:gd name="csX6" fmla="*/ 128083 w 136649"/>
                <a:gd name="csY6" fmla="*/ -5853 h 54386"/>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136649" h="54386">
                  <a:moveTo>
                    <a:pt x="128083" y="-5853"/>
                  </a:moveTo>
                  <a:lnTo>
                    <a:pt x="132730" y="48533"/>
                  </a:lnTo>
                  <a:lnTo>
                    <a:pt x="-3920" y="48533"/>
                  </a:lnTo>
                  <a:lnTo>
                    <a:pt x="722" y="-5831"/>
                  </a:lnTo>
                  <a:cubicBezTo>
                    <a:pt x="837" y="-5820"/>
                    <a:pt x="947" y="-5798"/>
                    <a:pt x="1062" y="-5798"/>
                  </a:cubicBezTo>
                  <a:lnTo>
                    <a:pt x="127501" y="-5798"/>
                  </a:lnTo>
                  <a:cubicBezTo>
                    <a:pt x="127699" y="-5798"/>
                    <a:pt x="127891" y="-5826"/>
                    <a:pt x="128083" y="-5853"/>
                  </a:cubicBezTo>
                </a:path>
              </a:pathLst>
            </a:custGeom>
            <a:grpFill/>
            <a:ln w="548" cap="flat">
              <a:noFill/>
              <a:prstDash val="solid"/>
              <a:miter/>
            </a:ln>
          </p:spPr>
          <p:txBody>
            <a:bodyPr/>
            <a:lstStyle/>
            <a:p>
              <a:endParaRPr lang="en-US"/>
            </a:p>
          </p:txBody>
        </p:sp>
        <p:sp>
          <p:nvSpPr>
            <p:cNvPr id="44" name="Freeform: Shape 43">
              <a:extLst>
                <a:ext uri="{FF2B5EF4-FFF2-40B4-BE49-F238E27FC236}">
                  <a16:creationId xmlns:a16="http://schemas.microsoft.com/office/drawing/2014/main" id="{91346C07-1424-CE8C-9950-1D029BCB2D3D}"/>
                </a:ext>
              </a:extLst>
            </p:cNvPr>
            <p:cNvSpPr/>
            <p:nvPr/>
          </p:nvSpPr>
          <p:spPr>
            <a:xfrm flipV="1">
              <a:off x="20180784" y="4246490"/>
              <a:ext cx="115346" cy="54359"/>
            </a:xfrm>
            <a:custGeom>
              <a:avLst/>
              <a:gdLst>
                <a:gd name="csX0" fmla="*/ 106785 w 115346"/>
                <a:gd name="csY0" fmla="*/ -5553 h 54359"/>
                <a:gd name="csX1" fmla="*/ 111426 w 115346"/>
                <a:gd name="csY1" fmla="*/ 48806 h 54359"/>
                <a:gd name="csX2" fmla="*/ -3920 w 115346"/>
                <a:gd name="csY2" fmla="*/ 48806 h 54359"/>
                <a:gd name="csX3" fmla="*/ 727 w 115346"/>
                <a:gd name="csY3" fmla="*/ -5553 h 54359"/>
                <a:gd name="csX4" fmla="*/ 1062 w 115346"/>
                <a:gd name="csY4" fmla="*/ -5526 h 54359"/>
                <a:gd name="csX5" fmla="*/ 106445 w 115346"/>
                <a:gd name="csY5" fmla="*/ -5526 h 54359"/>
                <a:gd name="csX6" fmla="*/ 106785 w 115346"/>
                <a:gd name="csY6" fmla="*/ -5553 h 54359"/>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115346" h="54359">
                  <a:moveTo>
                    <a:pt x="106785" y="-5553"/>
                  </a:moveTo>
                  <a:lnTo>
                    <a:pt x="111426" y="48806"/>
                  </a:lnTo>
                  <a:lnTo>
                    <a:pt x="-3920" y="48806"/>
                  </a:lnTo>
                  <a:lnTo>
                    <a:pt x="727" y="-5553"/>
                  </a:lnTo>
                  <a:cubicBezTo>
                    <a:pt x="837" y="-5548"/>
                    <a:pt x="947" y="-5526"/>
                    <a:pt x="1062" y="-5526"/>
                  </a:cubicBezTo>
                  <a:lnTo>
                    <a:pt x="106445" y="-5526"/>
                  </a:lnTo>
                  <a:cubicBezTo>
                    <a:pt x="106560" y="-5526"/>
                    <a:pt x="106670" y="-5548"/>
                    <a:pt x="106785" y="-5553"/>
                  </a:cubicBezTo>
                </a:path>
              </a:pathLst>
            </a:custGeom>
            <a:grpFill/>
            <a:ln w="548" cap="flat">
              <a:noFill/>
              <a:prstDash val="solid"/>
              <a:miter/>
            </a:ln>
          </p:spPr>
          <p:txBody>
            <a:bodyPr/>
            <a:lstStyle/>
            <a:p>
              <a:endParaRPr lang="en-US"/>
            </a:p>
          </p:txBody>
        </p:sp>
        <p:sp>
          <p:nvSpPr>
            <p:cNvPr id="45" name="Freeform: Shape 44">
              <a:extLst>
                <a:ext uri="{FF2B5EF4-FFF2-40B4-BE49-F238E27FC236}">
                  <a16:creationId xmlns:a16="http://schemas.microsoft.com/office/drawing/2014/main" id="{1A1FA1CF-41FD-82E3-D348-1347EAE56DA4}"/>
                </a:ext>
              </a:extLst>
            </p:cNvPr>
            <p:cNvSpPr/>
            <p:nvPr/>
          </p:nvSpPr>
          <p:spPr>
            <a:xfrm flipV="1">
              <a:off x="20175457" y="4184159"/>
              <a:ext cx="126000" cy="54386"/>
            </a:xfrm>
            <a:custGeom>
              <a:avLst/>
              <a:gdLst>
                <a:gd name="csX0" fmla="*/ 117434 w 126000"/>
                <a:gd name="csY0" fmla="*/ -5703 h 54386"/>
                <a:gd name="csX1" fmla="*/ 122081 w 126000"/>
                <a:gd name="csY1" fmla="*/ 48683 h 54386"/>
                <a:gd name="csX2" fmla="*/ -3920 w 126000"/>
                <a:gd name="csY2" fmla="*/ 48683 h 54386"/>
                <a:gd name="csX3" fmla="*/ 727 w 126000"/>
                <a:gd name="csY3" fmla="*/ -5687 h 54386"/>
                <a:gd name="csX4" fmla="*/ 1128 w 126000"/>
                <a:gd name="csY4" fmla="*/ -5648 h 54386"/>
                <a:gd name="csX5" fmla="*/ 116864 w 126000"/>
                <a:gd name="csY5" fmla="*/ -5648 h 54386"/>
                <a:gd name="csX6" fmla="*/ 117434 w 126000"/>
                <a:gd name="csY6" fmla="*/ -5703 h 54386"/>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126000" h="54386">
                  <a:moveTo>
                    <a:pt x="117434" y="-5703"/>
                  </a:moveTo>
                  <a:lnTo>
                    <a:pt x="122081" y="48683"/>
                  </a:lnTo>
                  <a:lnTo>
                    <a:pt x="-3920" y="48683"/>
                  </a:lnTo>
                  <a:lnTo>
                    <a:pt x="727" y="-5687"/>
                  </a:lnTo>
                  <a:cubicBezTo>
                    <a:pt x="864" y="-5676"/>
                    <a:pt x="991" y="-5648"/>
                    <a:pt x="1128" y="-5648"/>
                  </a:cubicBezTo>
                  <a:lnTo>
                    <a:pt x="116864" y="-5648"/>
                  </a:lnTo>
                  <a:cubicBezTo>
                    <a:pt x="117055" y="-5648"/>
                    <a:pt x="117242" y="-5676"/>
                    <a:pt x="117434" y="-5703"/>
                  </a:cubicBezTo>
                </a:path>
              </a:pathLst>
            </a:custGeom>
            <a:grpFill/>
            <a:ln w="548" cap="flat">
              <a:noFill/>
              <a:prstDash val="solid"/>
              <a:miter/>
            </a:ln>
          </p:spPr>
          <p:txBody>
            <a:bodyPr/>
            <a:lstStyle/>
            <a:p>
              <a:endParaRPr lang="en-US"/>
            </a:p>
          </p:txBody>
        </p:sp>
        <p:sp>
          <p:nvSpPr>
            <p:cNvPr id="46" name="Freeform: Shape 45">
              <a:extLst>
                <a:ext uri="{FF2B5EF4-FFF2-40B4-BE49-F238E27FC236}">
                  <a16:creationId xmlns:a16="http://schemas.microsoft.com/office/drawing/2014/main" id="{D657182D-7542-765C-447D-8A258366A1B9}"/>
                </a:ext>
              </a:extLst>
            </p:cNvPr>
            <p:cNvSpPr/>
            <p:nvPr/>
          </p:nvSpPr>
          <p:spPr>
            <a:xfrm flipV="1">
              <a:off x="20186111" y="4308821"/>
              <a:ext cx="104696" cy="54386"/>
            </a:xfrm>
            <a:custGeom>
              <a:avLst/>
              <a:gdLst>
                <a:gd name="csX0" fmla="*/ 96130 w 104696"/>
                <a:gd name="csY0" fmla="*/ -5403 h 54386"/>
                <a:gd name="csX1" fmla="*/ 100777 w 104696"/>
                <a:gd name="csY1" fmla="*/ 48984 h 54386"/>
                <a:gd name="csX2" fmla="*/ -3920 w 104696"/>
                <a:gd name="csY2" fmla="*/ 48984 h 54386"/>
                <a:gd name="csX3" fmla="*/ 722 w 104696"/>
                <a:gd name="csY3" fmla="*/ -5381 h 54386"/>
                <a:gd name="csX4" fmla="*/ 1062 w 104696"/>
                <a:gd name="csY4" fmla="*/ -5348 h 54386"/>
                <a:gd name="csX5" fmla="*/ 95560 w 104696"/>
                <a:gd name="csY5" fmla="*/ -5348 h 54386"/>
                <a:gd name="csX6" fmla="*/ 96130 w 104696"/>
                <a:gd name="csY6" fmla="*/ -5403 h 54386"/>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104696" h="54386">
                  <a:moveTo>
                    <a:pt x="96130" y="-5403"/>
                  </a:moveTo>
                  <a:lnTo>
                    <a:pt x="100777" y="48984"/>
                  </a:lnTo>
                  <a:lnTo>
                    <a:pt x="-3920" y="48984"/>
                  </a:lnTo>
                  <a:lnTo>
                    <a:pt x="722" y="-5381"/>
                  </a:lnTo>
                  <a:cubicBezTo>
                    <a:pt x="837" y="-5370"/>
                    <a:pt x="946" y="-5348"/>
                    <a:pt x="1062" y="-5348"/>
                  </a:cubicBezTo>
                  <a:lnTo>
                    <a:pt x="95560" y="-5348"/>
                  </a:lnTo>
                  <a:cubicBezTo>
                    <a:pt x="95757" y="-5348"/>
                    <a:pt x="95944" y="-5376"/>
                    <a:pt x="96130" y="-5403"/>
                  </a:cubicBezTo>
                </a:path>
              </a:pathLst>
            </a:custGeom>
            <a:grpFill/>
            <a:ln w="548" cap="flat">
              <a:noFill/>
              <a:prstDash val="solid"/>
              <a:miter/>
            </a:ln>
          </p:spPr>
          <p:txBody>
            <a:bodyPr/>
            <a:lstStyle/>
            <a:p>
              <a:endParaRPr lang="en-US"/>
            </a:p>
          </p:txBody>
        </p:sp>
        <p:sp>
          <p:nvSpPr>
            <p:cNvPr id="47" name="Freeform: Shape 46">
              <a:extLst>
                <a:ext uri="{FF2B5EF4-FFF2-40B4-BE49-F238E27FC236}">
                  <a16:creationId xmlns:a16="http://schemas.microsoft.com/office/drawing/2014/main" id="{677A4C26-0AC9-4A98-49A3-2F953072C745}"/>
                </a:ext>
              </a:extLst>
            </p:cNvPr>
            <p:cNvSpPr/>
            <p:nvPr/>
          </p:nvSpPr>
          <p:spPr>
            <a:xfrm flipV="1">
              <a:off x="20597312" y="3064099"/>
              <a:ext cx="591889" cy="24321"/>
            </a:xfrm>
            <a:custGeom>
              <a:avLst/>
              <a:gdLst>
                <a:gd name="csX0" fmla="*/ 587158 w 591889"/>
                <a:gd name="csY0" fmla="*/ -8434 h 24321"/>
                <a:gd name="csX1" fmla="*/ 587158 w 591889"/>
                <a:gd name="csY1" fmla="*/ 15887 h 24321"/>
                <a:gd name="csX2" fmla="*/ -4731 w 591889"/>
                <a:gd name="csY2" fmla="*/ 15887 h 24321"/>
                <a:gd name="csX3" fmla="*/ -4731 w 591889"/>
                <a:gd name="csY3" fmla="*/ -8434 h 24321"/>
                <a:gd name="csX4" fmla="*/ 587158 w 591889"/>
                <a:gd name="csY4" fmla="*/ -8434 h 24321"/>
              </a:gdLst>
              <a:ahLst/>
              <a:cxnLst>
                <a:cxn ang="0">
                  <a:pos x="csX0" y="csY0"/>
                </a:cxn>
                <a:cxn ang="0">
                  <a:pos x="csX1" y="csY1"/>
                </a:cxn>
                <a:cxn ang="0">
                  <a:pos x="csX2" y="csY2"/>
                </a:cxn>
                <a:cxn ang="0">
                  <a:pos x="csX3" y="csY3"/>
                </a:cxn>
                <a:cxn ang="0">
                  <a:pos x="csX4" y="csY4"/>
                </a:cxn>
              </a:cxnLst>
              <a:rect l="l" t="t" r="r" b="b"/>
              <a:pathLst>
                <a:path w="591889" h="24321">
                  <a:moveTo>
                    <a:pt x="587158" y="-8434"/>
                  </a:moveTo>
                  <a:lnTo>
                    <a:pt x="587158" y="15887"/>
                  </a:lnTo>
                  <a:lnTo>
                    <a:pt x="-4731" y="15887"/>
                  </a:lnTo>
                  <a:lnTo>
                    <a:pt x="-4731" y="-8434"/>
                  </a:lnTo>
                  <a:lnTo>
                    <a:pt x="587158" y="-8434"/>
                  </a:lnTo>
                </a:path>
              </a:pathLst>
            </a:custGeom>
            <a:grpFill/>
            <a:ln w="548" cap="flat">
              <a:noFill/>
              <a:prstDash val="solid"/>
              <a:miter/>
            </a:ln>
          </p:spPr>
          <p:txBody>
            <a:bodyPr/>
            <a:lstStyle/>
            <a:p>
              <a:endParaRPr lang="en-US"/>
            </a:p>
          </p:txBody>
        </p:sp>
        <p:sp>
          <p:nvSpPr>
            <p:cNvPr id="48" name="Freeform: Shape 47">
              <a:extLst>
                <a:ext uri="{FF2B5EF4-FFF2-40B4-BE49-F238E27FC236}">
                  <a16:creationId xmlns:a16="http://schemas.microsoft.com/office/drawing/2014/main" id="{92A047B5-5679-A968-BE3F-D55D616A4663}"/>
                </a:ext>
              </a:extLst>
            </p:cNvPr>
            <p:cNvSpPr/>
            <p:nvPr/>
          </p:nvSpPr>
          <p:spPr>
            <a:xfrm flipV="1">
              <a:off x="20527470" y="2820959"/>
              <a:ext cx="731572" cy="235487"/>
            </a:xfrm>
            <a:custGeom>
              <a:avLst/>
              <a:gdLst>
                <a:gd name="csX0" fmla="*/ 222800 w 731572"/>
                <a:gd name="csY0" fmla="*/ 30869 h 235487"/>
                <a:gd name="csX1" fmla="*/ 47329 w 731572"/>
                <a:gd name="csY1" fmla="*/ 30869 h 235487"/>
                <a:gd name="csX2" fmla="*/ 47329 w 731572"/>
                <a:gd name="csY2" fmla="*/ -8765 h 235487"/>
                <a:gd name="csX3" fmla="*/ 674781 w 731572"/>
                <a:gd name="csY3" fmla="*/ -8765 h 235487"/>
                <a:gd name="csX4" fmla="*/ 674781 w 731572"/>
                <a:gd name="csY4" fmla="*/ 30869 h 235487"/>
                <a:gd name="csX5" fmla="*/ 499310 w 731572"/>
                <a:gd name="csY5" fmla="*/ 30869 h 235487"/>
                <a:gd name="csX6" fmla="*/ 499310 w 731572"/>
                <a:gd name="csY6" fmla="*/ 61110 h 235487"/>
                <a:gd name="csX7" fmla="*/ 499315 w 731572"/>
                <a:gd name="csY7" fmla="*/ 61110 h 235487"/>
                <a:gd name="csX8" fmla="*/ 726842 w 731572"/>
                <a:gd name="csY8" fmla="*/ 169834 h 235487"/>
                <a:gd name="csX9" fmla="*/ 597236 w 731572"/>
                <a:gd name="csY9" fmla="*/ 169834 h 235487"/>
                <a:gd name="csX10" fmla="*/ 597236 w 731572"/>
                <a:gd name="csY10" fmla="*/ 226723 h 235487"/>
                <a:gd name="csX11" fmla="*/ 124874 w 731572"/>
                <a:gd name="csY11" fmla="*/ 226723 h 235487"/>
                <a:gd name="csX12" fmla="*/ 124874 w 731572"/>
                <a:gd name="csY12" fmla="*/ 169834 h 235487"/>
                <a:gd name="csX13" fmla="*/ -4731 w 731572"/>
                <a:gd name="csY13" fmla="*/ 169834 h 235487"/>
                <a:gd name="csX14" fmla="*/ 222800 w 731572"/>
                <a:gd name="csY14" fmla="*/ 61110 h 235487"/>
                <a:gd name="csX15" fmla="*/ 222800 w 731572"/>
                <a:gd name="csY15" fmla="*/ 30869 h 235487"/>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Lst>
              <a:rect l="l" t="t" r="r" b="b"/>
              <a:pathLst>
                <a:path w="731572" h="235487">
                  <a:moveTo>
                    <a:pt x="222800" y="30869"/>
                  </a:moveTo>
                  <a:lnTo>
                    <a:pt x="47329" y="30869"/>
                  </a:lnTo>
                  <a:lnTo>
                    <a:pt x="47329" y="-8765"/>
                  </a:lnTo>
                  <a:lnTo>
                    <a:pt x="674781" y="-8765"/>
                  </a:lnTo>
                  <a:lnTo>
                    <a:pt x="674781" y="30869"/>
                  </a:lnTo>
                  <a:lnTo>
                    <a:pt x="499310" y="30869"/>
                  </a:lnTo>
                  <a:lnTo>
                    <a:pt x="499310" y="61110"/>
                  </a:lnTo>
                  <a:lnTo>
                    <a:pt x="499315" y="61110"/>
                  </a:lnTo>
                  <a:lnTo>
                    <a:pt x="726842" y="169834"/>
                  </a:lnTo>
                  <a:lnTo>
                    <a:pt x="597236" y="169834"/>
                  </a:lnTo>
                  <a:lnTo>
                    <a:pt x="597236" y="226723"/>
                  </a:lnTo>
                  <a:lnTo>
                    <a:pt x="124874" y="226723"/>
                  </a:lnTo>
                  <a:lnTo>
                    <a:pt x="124874" y="169834"/>
                  </a:lnTo>
                  <a:lnTo>
                    <a:pt x="-4731" y="169834"/>
                  </a:lnTo>
                  <a:lnTo>
                    <a:pt x="222800" y="61110"/>
                  </a:lnTo>
                  <a:lnTo>
                    <a:pt x="222800" y="30869"/>
                  </a:lnTo>
                </a:path>
              </a:pathLst>
            </a:custGeom>
            <a:grpFill/>
            <a:ln w="548" cap="flat">
              <a:noFill/>
              <a:prstDash val="solid"/>
              <a:miter/>
            </a:ln>
          </p:spPr>
          <p:txBody>
            <a:bodyPr/>
            <a:lstStyle/>
            <a:p>
              <a:endParaRPr lang="en-US"/>
            </a:p>
          </p:txBody>
        </p:sp>
        <p:sp>
          <p:nvSpPr>
            <p:cNvPr id="49" name="Freeform: Shape 48">
              <a:extLst>
                <a:ext uri="{FF2B5EF4-FFF2-40B4-BE49-F238E27FC236}">
                  <a16:creationId xmlns:a16="http://schemas.microsoft.com/office/drawing/2014/main" id="{48825063-0816-8A9B-6622-D32D2563E5AD}"/>
                </a:ext>
              </a:extLst>
            </p:cNvPr>
            <p:cNvSpPr/>
            <p:nvPr/>
          </p:nvSpPr>
          <p:spPr>
            <a:xfrm flipV="1">
              <a:off x="20572842" y="3096074"/>
              <a:ext cx="640828" cy="1827536"/>
            </a:xfrm>
            <a:custGeom>
              <a:avLst/>
              <a:gdLst>
                <a:gd name="csX0" fmla="*/ -4731 w 640828"/>
                <a:gd name="csY0" fmla="*/ 1786861 h 1827536"/>
                <a:gd name="csX1" fmla="*/ 16156 w 640828"/>
                <a:gd name="csY1" fmla="*/ 1786861 h 1827536"/>
                <a:gd name="csX2" fmla="*/ 16156 w 640828"/>
                <a:gd name="csY2" fmla="*/ 1752384 h 1827536"/>
                <a:gd name="csX3" fmla="*/ -4731 w 640828"/>
                <a:gd name="csY3" fmla="*/ 1752384 h 1827536"/>
                <a:gd name="csX4" fmla="*/ -4731 w 640828"/>
                <a:gd name="csY4" fmla="*/ 1717903 h 1827536"/>
                <a:gd name="csX5" fmla="*/ 16156 w 640828"/>
                <a:gd name="csY5" fmla="*/ 1717903 h 1827536"/>
                <a:gd name="csX6" fmla="*/ 16156 w 640828"/>
                <a:gd name="csY6" fmla="*/ 1683420 h 1827536"/>
                <a:gd name="csX7" fmla="*/ -4731 w 640828"/>
                <a:gd name="csY7" fmla="*/ 1683420 h 1827536"/>
                <a:gd name="csX8" fmla="*/ -4731 w 640828"/>
                <a:gd name="csY8" fmla="*/ 1648938 h 1827536"/>
                <a:gd name="csX9" fmla="*/ 16156 w 640828"/>
                <a:gd name="csY9" fmla="*/ 1648938 h 1827536"/>
                <a:gd name="csX10" fmla="*/ 16156 w 640828"/>
                <a:gd name="csY10" fmla="*/ 1614456 h 1827536"/>
                <a:gd name="csX11" fmla="*/ -4731 w 640828"/>
                <a:gd name="csY11" fmla="*/ 1614456 h 1827536"/>
                <a:gd name="csX12" fmla="*/ -4731 w 640828"/>
                <a:gd name="csY12" fmla="*/ 1579974 h 1827536"/>
                <a:gd name="csX13" fmla="*/ 16156 w 640828"/>
                <a:gd name="csY13" fmla="*/ 1579974 h 1827536"/>
                <a:gd name="csX14" fmla="*/ 16156 w 640828"/>
                <a:gd name="csY14" fmla="*/ 1545492 h 1827536"/>
                <a:gd name="csX15" fmla="*/ -4731 w 640828"/>
                <a:gd name="csY15" fmla="*/ 1545492 h 1827536"/>
                <a:gd name="csX16" fmla="*/ -4731 w 640828"/>
                <a:gd name="csY16" fmla="*/ 1511010 h 1827536"/>
                <a:gd name="csX17" fmla="*/ 16156 w 640828"/>
                <a:gd name="csY17" fmla="*/ 1511010 h 1827536"/>
                <a:gd name="csX18" fmla="*/ 16156 w 640828"/>
                <a:gd name="csY18" fmla="*/ 1476528 h 1827536"/>
                <a:gd name="csX19" fmla="*/ -4731 w 640828"/>
                <a:gd name="csY19" fmla="*/ 1476528 h 1827536"/>
                <a:gd name="csX20" fmla="*/ -4731 w 640828"/>
                <a:gd name="csY20" fmla="*/ 1442046 h 1827536"/>
                <a:gd name="csX21" fmla="*/ 16156 w 640828"/>
                <a:gd name="csY21" fmla="*/ 1442046 h 1827536"/>
                <a:gd name="csX22" fmla="*/ 16156 w 640828"/>
                <a:gd name="csY22" fmla="*/ 1407564 h 1827536"/>
                <a:gd name="csX23" fmla="*/ -4731 w 640828"/>
                <a:gd name="csY23" fmla="*/ 1407564 h 1827536"/>
                <a:gd name="csX24" fmla="*/ -4731 w 640828"/>
                <a:gd name="csY24" fmla="*/ 1373082 h 1827536"/>
                <a:gd name="csX25" fmla="*/ 16156 w 640828"/>
                <a:gd name="csY25" fmla="*/ 1373082 h 1827536"/>
                <a:gd name="csX26" fmla="*/ 16156 w 640828"/>
                <a:gd name="csY26" fmla="*/ 1338600 h 1827536"/>
                <a:gd name="csX27" fmla="*/ -4731 w 640828"/>
                <a:gd name="csY27" fmla="*/ 1338600 h 1827536"/>
                <a:gd name="csX28" fmla="*/ -4731 w 640828"/>
                <a:gd name="csY28" fmla="*/ 1304118 h 1827536"/>
                <a:gd name="csX29" fmla="*/ 16156 w 640828"/>
                <a:gd name="csY29" fmla="*/ 1304118 h 1827536"/>
                <a:gd name="csX30" fmla="*/ 16156 w 640828"/>
                <a:gd name="csY30" fmla="*/ 1269636 h 1827536"/>
                <a:gd name="csX31" fmla="*/ -4731 w 640828"/>
                <a:gd name="csY31" fmla="*/ 1269636 h 1827536"/>
                <a:gd name="csX32" fmla="*/ -4731 w 640828"/>
                <a:gd name="csY32" fmla="*/ 1235159 h 1827536"/>
                <a:gd name="csX33" fmla="*/ 16156 w 640828"/>
                <a:gd name="csY33" fmla="*/ 1235159 h 1827536"/>
                <a:gd name="csX34" fmla="*/ 16156 w 640828"/>
                <a:gd name="csY34" fmla="*/ 1200672 h 1827536"/>
                <a:gd name="csX35" fmla="*/ -4731 w 640828"/>
                <a:gd name="csY35" fmla="*/ 1200672 h 1827536"/>
                <a:gd name="csX36" fmla="*/ -4731 w 640828"/>
                <a:gd name="csY36" fmla="*/ 1166195 h 1827536"/>
                <a:gd name="csX37" fmla="*/ 16156 w 640828"/>
                <a:gd name="csY37" fmla="*/ 1166195 h 1827536"/>
                <a:gd name="csX38" fmla="*/ 16156 w 640828"/>
                <a:gd name="csY38" fmla="*/ 1131708 h 1827536"/>
                <a:gd name="csX39" fmla="*/ -4731 w 640828"/>
                <a:gd name="csY39" fmla="*/ 1131708 h 1827536"/>
                <a:gd name="csX40" fmla="*/ -4731 w 640828"/>
                <a:gd name="csY40" fmla="*/ 1097231 h 1827536"/>
                <a:gd name="csX41" fmla="*/ 16156 w 640828"/>
                <a:gd name="csY41" fmla="*/ 1097231 h 1827536"/>
                <a:gd name="csX42" fmla="*/ 16156 w 640828"/>
                <a:gd name="csY42" fmla="*/ 1062744 h 1827536"/>
                <a:gd name="csX43" fmla="*/ -4731 w 640828"/>
                <a:gd name="csY43" fmla="*/ 1062744 h 1827536"/>
                <a:gd name="csX44" fmla="*/ -4731 w 640828"/>
                <a:gd name="csY44" fmla="*/ 1028267 h 1827536"/>
                <a:gd name="csX45" fmla="*/ 16156 w 640828"/>
                <a:gd name="csY45" fmla="*/ 1028267 h 1827536"/>
                <a:gd name="csX46" fmla="*/ 16156 w 640828"/>
                <a:gd name="csY46" fmla="*/ 993785 h 1827536"/>
                <a:gd name="csX47" fmla="*/ -4731 w 640828"/>
                <a:gd name="csY47" fmla="*/ 993785 h 1827536"/>
                <a:gd name="csX48" fmla="*/ -4731 w 640828"/>
                <a:gd name="csY48" fmla="*/ 959303 h 1827536"/>
                <a:gd name="csX49" fmla="*/ 16156 w 640828"/>
                <a:gd name="csY49" fmla="*/ 959303 h 1827536"/>
                <a:gd name="csX50" fmla="*/ 16156 w 640828"/>
                <a:gd name="csY50" fmla="*/ 924821 h 1827536"/>
                <a:gd name="csX51" fmla="*/ -4731 w 640828"/>
                <a:gd name="csY51" fmla="*/ 924821 h 1827536"/>
                <a:gd name="csX52" fmla="*/ -4731 w 640828"/>
                <a:gd name="csY52" fmla="*/ 890334 h 1827536"/>
                <a:gd name="csX53" fmla="*/ 16156 w 640828"/>
                <a:gd name="csY53" fmla="*/ 890334 h 1827536"/>
                <a:gd name="csX54" fmla="*/ 16156 w 640828"/>
                <a:gd name="csY54" fmla="*/ 855857 h 1827536"/>
                <a:gd name="csX55" fmla="*/ -4731 w 640828"/>
                <a:gd name="csY55" fmla="*/ 855857 h 1827536"/>
                <a:gd name="csX56" fmla="*/ -4731 w 640828"/>
                <a:gd name="csY56" fmla="*/ 821375 h 1827536"/>
                <a:gd name="csX57" fmla="*/ 16156 w 640828"/>
                <a:gd name="csY57" fmla="*/ 821375 h 1827536"/>
                <a:gd name="csX58" fmla="*/ 16156 w 640828"/>
                <a:gd name="csY58" fmla="*/ 786893 h 1827536"/>
                <a:gd name="csX59" fmla="*/ -4731 w 640828"/>
                <a:gd name="csY59" fmla="*/ 786893 h 1827536"/>
                <a:gd name="csX60" fmla="*/ -4731 w 640828"/>
                <a:gd name="csY60" fmla="*/ 752411 h 1827536"/>
                <a:gd name="csX61" fmla="*/ 16156 w 640828"/>
                <a:gd name="csY61" fmla="*/ 752411 h 1827536"/>
                <a:gd name="csX62" fmla="*/ 16156 w 640828"/>
                <a:gd name="csY62" fmla="*/ 717929 h 1827536"/>
                <a:gd name="csX63" fmla="*/ -4731 w 640828"/>
                <a:gd name="csY63" fmla="*/ 717929 h 1827536"/>
                <a:gd name="csX64" fmla="*/ -4731 w 640828"/>
                <a:gd name="csY64" fmla="*/ 683447 h 1827536"/>
                <a:gd name="csX65" fmla="*/ 16156 w 640828"/>
                <a:gd name="csY65" fmla="*/ 683447 h 1827536"/>
                <a:gd name="csX66" fmla="*/ 16156 w 640828"/>
                <a:gd name="csY66" fmla="*/ 648959 h 1827536"/>
                <a:gd name="csX67" fmla="*/ -4731 w 640828"/>
                <a:gd name="csY67" fmla="*/ 648959 h 1827536"/>
                <a:gd name="csX68" fmla="*/ -4731 w 640828"/>
                <a:gd name="csY68" fmla="*/ 614483 h 1827536"/>
                <a:gd name="csX69" fmla="*/ 16156 w 640828"/>
                <a:gd name="csY69" fmla="*/ 614483 h 1827536"/>
                <a:gd name="csX70" fmla="*/ 16156 w 640828"/>
                <a:gd name="csY70" fmla="*/ 580001 h 1827536"/>
                <a:gd name="csX71" fmla="*/ -4731 w 640828"/>
                <a:gd name="csY71" fmla="*/ 580001 h 1827536"/>
                <a:gd name="csX72" fmla="*/ -4731 w 640828"/>
                <a:gd name="csY72" fmla="*/ 545519 h 1827536"/>
                <a:gd name="csX73" fmla="*/ 16156 w 640828"/>
                <a:gd name="csY73" fmla="*/ 545519 h 1827536"/>
                <a:gd name="csX74" fmla="*/ 16156 w 640828"/>
                <a:gd name="csY74" fmla="*/ 511037 h 1827536"/>
                <a:gd name="csX75" fmla="*/ -4731 w 640828"/>
                <a:gd name="csY75" fmla="*/ 511037 h 1827536"/>
                <a:gd name="csX76" fmla="*/ -4731 w 640828"/>
                <a:gd name="csY76" fmla="*/ 476555 h 1827536"/>
                <a:gd name="csX77" fmla="*/ 16156 w 640828"/>
                <a:gd name="csY77" fmla="*/ 476555 h 1827536"/>
                <a:gd name="csX78" fmla="*/ 16156 w 640828"/>
                <a:gd name="csY78" fmla="*/ 442073 h 1827536"/>
                <a:gd name="csX79" fmla="*/ -4731 w 640828"/>
                <a:gd name="csY79" fmla="*/ 442073 h 1827536"/>
                <a:gd name="csX80" fmla="*/ -4731 w 640828"/>
                <a:gd name="csY80" fmla="*/ 407591 h 1827536"/>
                <a:gd name="csX81" fmla="*/ 16156 w 640828"/>
                <a:gd name="csY81" fmla="*/ 407591 h 1827536"/>
                <a:gd name="csX82" fmla="*/ 16156 w 640828"/>
                <a:gd name="csY82" fmla="*/ 373109 h 1827536"/>
                <a:gd name="csX83" fmla="*/ -4731 w 640828"/>
                <a:gd name="csY83" fmla="*/ 373109 h 1827536"/>
                <a:gd name="csX84" fmla="*/ -4731 w 640828"/>
                <a:gd name="csY84" fmla="*/ 338627 h 1827536"/>
                <a:gd name="csX85" fmla="*/ 16156 w 640828"/>
                <a:gd name="csY85" fmla="*/ 338627 h 1827536"/>
                <a:gd name="csX86" fmla="*/ 16156 w 640828"/>
                <a:gd name="csY86" fmla="*/ 304145 h 1827536"/>
                <a:gd name="csX87" fmla="*/ -4731 w 640828"/>
                <a:gd name="csY87" fmla="*/ 304145 h 1827536"/>
                <a:gd name="csX88" fmla="*/ -4731 w 640828"/>
                <a:gd name="csY88" fmla="*/ 269668 h 1827536"/>
                <a:gd name="csX89" fmla="*/ 16156 w 640828"/>
                <a:gd name="csY89" fmla="*/ 269668 h 1827536"/>
                <a:gd name="csX90" fmla="*/ 16156 w 640828"/>
                <a:gd name="csY90" fmla="*/ 235186 h 1827536"/>
                <a:gd name="csX91" fmla="*/ -4731 w 640828"/>
                <a:gd name="csY91" fmla="*/ 235186 h 1827536"/>
                <a:gd name="csX92" fmla="*/ -4731 w 640828"/>
                <a:gd name="csY92" fmla="*/ 200699 h 1827536"/>
                <a:gd name="csX93" fmla="*/ 16156 w 640828"/>
                <a:gd name="csY93" fmla="*/ 200699 h 1827536"/>
                <a:gd name="csX94" fmla="*/ 16156 w 640828"/>
                <a:gd name="csY94" fmla="*/ 166222 h 1827536"/>
                <a:gd name="csX95" fmla="*/ -4731 w 640828"/>
                <a:gd name="csY95" fmla="*/ 166222 h 1827536"/>
                <a:gd name="csX96" fmla="*/ -4731 w 640828"/>
                <a:gd name="csY96" fmla="*/ 131740 h 1827536"/>
                <a:gd name="csX97" fmla="*/ 16156 w 640828"/>
                <a:gd name="csY97" fmla="*/ 131740 h 1827536"/>
                <a:gd name="csX98" fmla="*/ 16156 w 640828"/>
                <a:gd name="csY98" fmla="*/ 97258 h 1827536"/>
                <a:gd name="csX99" fmla="*/ -4731 w 640828"/>
                <a:gd name="csY99" fmla="*/ 97258 h 1827536"/>
                <a:gd name="csX100" fmla="*/ -4731 w 640828"/>
                <a:gd name="csY100" fmla="*/ 62771 h 1827536"/>
                <a:gd name="csX101" fmla="*/ 16156 w 640828"/>
                <a:gd name="csY101" fmla="*/ 62771 h 1827536"/>
                <a:gd name="csX102" fmla="*/ 16156 w 640828"/>
                <a:gd name="csY102" fmla="*/ 28294 h 1827536"/>
                <a:gd name="csX103" fmla="*/ -4731 w 640828"/>
                <a:gd name="csY103" fmla="*/ 28294 h 1827536"/>
                <a:gd name="csX104" fmla="*/ -4731 w 640828"/>
                <a:gd name="csY104" fmla="*/ -6188 h 1827536"/>
                <a:gd name="csX105" fmla="*/ 636097 w 640828"/>
                <a:gd name="csY105" fmla="*/ -6188 h 1827536"/>
                <a:gd name="csX106" fmla="*/ 636097 w 640828"/>
                <a:gd name="csY106" fmla="*/ 28294 h 1827536"/>
                <a:gd name="csX107" fmla="*/ 615210 w 640828"/>
                <a:gd name="csY107" fmla="*/ 28294 h 1827536"/>
                <a:gd name="csX108" fmla="*/ 615210 w 640828"/>
                <a:gd name="csY108" fmla="*/ 62771 h 1827536"/>
                <a:gd name="csX109" fmla="*/ 636097 w 640828"/>
                <a:gd name="csY109" fmla="*/ 62771 h 1827536"/>
                <a:gd name="csX110" fmla="*/ 636097 w 640828"/>
                <a:gd name="csY110" fmla="*/ 97258 h 1827536"/>
                <a:gd name="csX111" fmla="*/ 615210 w 640828"/>
                <a:gd name="csY111" fmla="*/ 97258 h 1827536"/>
                <a:gd name="csX112" fmla="*/ 615210 w 640828"/>
                <a:gd name="csY112" fmla="*/ 131740 h 1827536"/>
                <a:gd name="csX113" fmla="*/ 636097 w 640828"/>
                <a:gd name="csY113" fmla="*/ 131740 h 1827536"/>
                <a:gd name="csX114" fmla="*/ 636097 w 640828"/>
                <a:gd name="csY114" fmla="*/ 166222 h 1827536"/>
                <a:gd name="csX115" fmla="*/ 615210 w 640828"/>
                <a:gd name="csY115" fmla="*/ 166222 h 1827536"/>
                <a:gd name="csX116" fmla="*/ 615210 w 640828"/>
                <a:gd name="csY116" fmla="*/ 200699 h 1827536"/>
                <a:gd name="csX117" fmla="*/ 636097 w 640828"/>
                <a:gd name="csY117" fmla="*/ 200699 h 1827536"/>
                <a:gd name="csX118" fmla="*/ 636097 w 640828"/>
                <a:gd name="csY118" fmla="*/ 235186 h 1827536"/>
                <a:gd name="csX119" fmla="*/ 615210 w 640828"/>
                <a:gd name="csY119" fmla="*/ 235186 h 1827536"/>
                <a:gd name="csX120" fmla="*/ 615210 w 640828"/>
                <a:gd name="csY120" fmla="*/ 269668 h 1827536"/>
                <a:gd name="csX121" fmla="*/ 636097 w 640828"/>
                <a:gd name="csY121" fmla="*/ 269668 h 1827536"/>
                <a:gd name="csX122" fmla="*/ 636097 w 640828"/>
                <a:gd name="csY122" fmla="*/ 304145 h 1827536"/>
                <a:gd name="csX123" fmla="*/ 615210 w 640828"/>
                <a:gd name="csY123" fmla="*/ 304145 h 1827536"/>
                <a:gd name="csX124" fmla="*/ 615210 w 640828"/>
                <a:gd name="csY124" fmla="*/ 338627 h 1827536"/>
                <a:gd name="csX125" fmla="*/ 636097 w 640828"/>
                <a:gd name="csY125" fmla="*/ 338627 h 1827536"/>
                <a:gd name="csX126" fmla="*/ 636097 w 640828"/>
                <a:gd name="csY126" fmla="*/ 373109 h 1827536"/>
                <a:gd name="csX127" fmla="*/ 615210 w 640828"/>
                <a:gd name="csY127" fmla="*/ 373109 h 1827536"/>
                <a:gd name="csX128" fmla="*/ 615210 w 640828"/>
                <a:gd name="csY128" fmla="*/ 407591 h 1827536"/>
                <a:gd name="csX129" fmla="*/ 636097 w 640828"/>
                <a:gd name="csY129" fmla="*/ 407591 h 1827536"/>
                <a:gd name="csX130" fmla="*/ 636097 w 640828"/>
                <a:gd name="csY130" fmla="*/ 442073 h 1827536"/>
                <a:gd name="csX131" fmla="*/ 615210 w 640828"/>
                <a:gd name="csY131" fmla="*/ 442073 h 1827536"/>
                <a:gd name="csX132" fmla="*/ 615210 w 640828"/>
                <a:gd name="csY132" fmla="*/ 476555 h 1827536"/>
                <a:gd name="csX133" fmla="*/ 636097 w 640828"/>
                <a:gd name="csY133" fmla="*/ 476555 h 1827536"/>
                <a:gd name="csX134" fmla="*/ 636097 w 640828"/>
                <a:gd name="csY134" fmla="*/ 511037 h 1827536"/>
                <a:gd name="csX135" fmla="*/ 615210 w 640828"/>
                <a:gd name="csY135" fmla="*/ 511037 h 1827536"/>
                <a:gd name="csX136" fmla="*/ 615210 w 640828"/>
                <a:gd name="csY136" fmla="*/ 545519 h 1827536"/>
                <a:gd name="csX137" fmla="*/ 636097 w 640828"/>
                <a:gd name="csY137" fmla="*/ 545519 h 1827536"/>
                <a:gd name="csX138" fmla="*/ 636097 w 640828"/>
                <a:gd name="csY138" fmla="*/ 580001 h 1827536"/>
                <a:gd name="csX139" fmla="*/ 615210 w 640828"/>
                <a:gd name="csY139" fmla="*/ 580001 h 1827536"/>
                <a:gd name="csX140" fmla="*/ 615210 w 640828"/>
                <a:gd name="csY140" fmla="*/ 614483 h 1827536"/>
                <a:gd name="csX141" fmla="*/ 636097 w 640828"/>
                <a:gd name="csY141" fmla="*/ 614483 h 1827536"/>
                <a:gd name="csX142" fmla="*/ 636097 w 640828"/>
                <a:gd name="csY142" fmla="*/ 648959 h 1827536"/>
                <a:gd name="csX143" fmla="*/ 615210 w 640828"/>
                <a:gd name="csY143" fmla="*/ 648959 h 1827536"/>
                <a:gd name="csX144" fmla="*/ 615210 w 640828"/>
                <a:gd name="csY144" fmla="*/ 683447 h 1827536"/>
                <a:gd name="csX145" fmla="*/ 636097 w 640828"/>
                <a:gd name="csY145" fmla="*/ 683447 h 1827536"/>
                <a:gd name="csX146" fmla="*/ 636097 w 640828"/>
                <a:gd name="csY146" fmla="*/ 717929 h 1827536"/>
                <a:gd name="csX147" fmla="*/ 615210 w 640828"/>
                <a:gd name="csY147" fmla="*/ 717929 h 1827536"/>
                <a:gd name="csX148" fmla="*/ 615210 w 640828"/>
                <a:gd name="csY148" fmla="*/ 752411 h 1827536"/>
                <a:gd name="csX149" fmla="*/ 636097 w 640828"/>
                <a:gd name="csY149" fmla="*/ 752411 h 1827536"/>
                <a:gd name="csX150" fmla="*/ 636097 w 640828"/>
                <a:gd name="csY150" fmla="*/ 786893 h 1827536"/>
                <a:gd name="csX151" fmla="*/ 615210 w 640828"/>
                <a:gd name="csY151" fmla="*/ 786893 h 1827536"/>
                <a:gd name="csX152" fmla="*/ 615210 w 640828"/>
                <a:gd name="csY152" fmla="*/ 821375 h 1827536"/>
                <a:gd name="csX153" fmla="*/ 636097 w 640828"/>
                <a:gd name="csY153" fmla="*/ 821375 h 1827536"/>
                <a:gd name="csX154" fmla="*/ 636097 w 640828"/>
                <a:gd name="csY154" fmla="*/ 855857 h 1827536"/>
                <a:gd name="csX155" fmla="*/ 615210 w 640828"/>
                <a:gd name="csY155" fmla="*/ 855857 h 1827536"/>
                <a:gd name="csX156" fmla="*/ 615210 w 640828"/>
                <a:gd name="csY156" fmla="*/ 890334 h 1827536"/>
                <a:gd name="csX157" fmla="*/ 636097 w 640828"/>
                <a:gd name="csY157" fmla="*/ 890334 h 1827536"/>
                <a:gd name="csX158" fmla="*/ 636097 w 640828"/>
                <a:gd name="csY158" fmla="*/ 924821 h 1827536"/>
                <a:gd name="csX159" fmla="*/ 615210 w 640828"/>
                <a:gd name="csY159" fmla="*/ 924821 h 1827536"/>
                <a:gd name="csX160" fmla="*/ 615210 w 640828"/>
                <a:gd name="csY160" fmla="*/ 959303 h 1827536"/>
                <a:gd name="csX161" fmla="*/ 636097 w 640828"/>
                <a:gd name="csY161" fmla="*/ 959303 h 1827536"/>
                <a:gd name="csX162" fmla="*/ 636097 w 640828"/>
                <a:gd name="csY162" fmla="*/ 993785 h 1827536"/>
                <a:gd name="csX163" fmla="*/ 615210 w 640828"/>
                <a:gd name="csY163" fmla="*/ 993785 h 1827536"/>
                <a:gd name="csX164" fmla="*/ 615210 w 640828"/>
                <a:gd name="csY164" fmla="*/ 1028267 h 1827536"/>
                <a:gd name="csX165" fmla="*/ 636097 w 640828"/>
                <a:gd name="csY165" fmla="*/ 1028267 h 1827536"/>
                <a:gd name="csX166" fmla="*/ 636097 w 640828"/>
                <a:gd name="csY166" fmla="*/ 1062744 h 1827536"/>
                <a:gd name="csX167" fmla="*/ 615210 w 640828"/>
                <a:gd name="csY167" fmla="*/ 1062744 h 1827536"/>
                <a:gd name="csX168" fmla="*/ 615210 w 640828"/>
                <a:gd name="csY168" fmla="*/ 1097231 h 1827536"/>
                <a:gd name="csX169" fmla="*/ 636097 w 640828"/>
                <a:gd name="csY169" fmla="*/ 1097231 h 1827536"/>
                <a:gd name="csX170" fmla="*/ 636097 w 640828"/>
                <a:gd name="csY170" fmla="*/ 1131708 h 1827536"/>
                <a:gd name="csX171" fmla="*/ 615210 w 640828"/>
                <a:gd name="csY171" fmla="*/ 1131708 h 1827536"/>
                <a:gd name="csX172" fmla="*/ 615210 w 640828"/>
                <a:gd name="csY172" fmla="*/ 1166195 h 1827536"/>
                <a:gd name="csX173" fmla="*/ 636097 w 640828"/>
                <a:gd name="csY173" fmla="*/ 1166195 h 1827536"/>
                <a:gd name="csX174" fmla="*/ 636097 w 640828"/>
                <a:gd name="csY174" fmla="*/ 1200672 h 1827536"/>
                <a:gd name="csX175" fmla="*/ 615210 w 640828"/>
                <a:gd name="csY175" fmla="*/ 1200672 h 1827536"/>
                <a:gd name="csX176" fmla="*/ 615210 w 640828"/>
                <a:gd name="csY176" fmla="*/ 1235159 h 1827536"/>
                <a:gd name="csX177" fmla="*/ 636097 w 640828"/>
                <a:gd name="csY177" fmla="*/ 1235159 h 1827536"/>
                <a:gd name="csX178" fmla="*/ 636097 w 640828"/>
                <a:gd name="csY178" fmla="*/ 1269636 h 1827536"/>
                <a:gd name="csX179" fmla="*/ 615210 w 640828"/>
                <a:gd name="csY179" fmla="*/ 1269636 h 1827536"/>
                <a:gd name="csX180" fmla="*/ 615210 w 640828"/>
                <a:gd name="csY180" fmla="*/ 1304118 h 1827536"/>
                <a:gd name="csX181" fmla="*/ 636097 w 640828"/>
                <a:gd name="csY181" fmla="*/ 1304118 h 1827536"/>
                <a:gd name="csX182" fmla="*/ 636097 w 640828"/>
                <a:gd name="csY182" fmla="*/ 1338600 h 1827536"/>
                <a:gd name="csX183" fmla="*/ 615210 w 640828"/>
                <a:gd name="csY183" fmla="*/ 1338600 h 1827536"/>
                <a:gd name="csX184" fmla="*/ 615210 w 640828"/>
                <a:gd name="csY184" fmla="*/ 1373082 h 1827536"/>
                <a:gd name="csX185" fmla="*/ 636097 w 640828"/>
                <a:gd name="csY185" fmla="*/ 1373082 h 1827536"/>
                <a:gd name="csX186" fmla="*/ 636097 w 640828"/>
                <a:gd name="csY186" fmla="*/ 1407564 h 1827536"/>
                <a:gd name="csX187" fmla="*/ 615210 w 640828"/>
                <a:gd name="csY187" fmla="*/ 1407564 h 1827536"/>
                <a:gd name="csX188" fmla="*/ 615210 w 640828"/>
                <a:gd name="csY188" fmla="*/ 1442046 h 1827536"/>
                <a:gd name="csX189" fmla="*/ 636097 w 640828"/>
                <a:gd name="csY189" fmla="*/ 1442046 h 1827536"/>
                <a:gd name="csX190" fmla="*/ 636097 w 640828"/>
                <a:gd name="csY190" fmla="*/ 1476528 h 1827536"/>
                <a:gd name="csX191" fmla="*/ 615210 w 640828"/>
                <a:gd name="csY191" fmla="*/ 1476528 h 1827536"/>
                <a:gd name="csX192" fmla="*/ 615210 w 640828"/>
                <a:gd name="csY192" fmla="*/ 1511010 h 1827536"/>
                <a:gd name="csX193" fmla="*/ 636097 w 640828"/>
                <a:gd name="csY193" fmla="*/ 1511010 h 1827536"/>
                <a:gd name="csX194" fmla="*/ 636097 w 640828"/>
                <a:gd name="csY194" fmla="*/ 1545492 h 1827536"/>
                <a:gd name="csX195" fmla="*/ 615210 w 640828"/>
                <a:gd name="csY195" fmla="*/ 1545492 h 1827536"/>
                <a:gd name="csX196" fmla="*/ 615210 w 640828"/>
                <a:gd name="csY196" fmla="*/ 1579974 h 1827536"/>
                <a:gd name="csX197" fmla="*/ 636097 w 640828"/>
                <a:gd name="csY197" fmla="*/ 1579974 h 1827536"/>
                <a:gd name="csX198" fmla="*/ 636097 w 640828"/>
                <a:gd name="csY198" fmla="*/ 1614456 h 1827536"/>
                <a:gd name="csX199" fmla="*/ 615210 w 640828"/>
                <a:gd name="csY199" fmla="*/ 1614456 h 1827536"/>
                <a:gd name="csX200" fmla="*/ 615210 w 640828"/>
                <a:gd name="csY200" fmla="*/ 1648938 h 1827536"/>
                <a:gd name="csX201" fmla="*/ 636097 w 640828"/>
                <a:gd name="csY201" fmla="*/ 1648938 h 1827536"/>
                <a:gd name="csX202" fmla="*/ 636097 w 640828"/>
                <a:gd name="csY202" fmla="*/ 1683420 h 1827536"/>
                <a:gd name="csX203" fmla="*/ 615210 w 640828"/>
                <a:gd name="csY203" fmla="*/ 1683420 h 1827536"/>
                <a:gd name="csX204" fmla="*/ 615210 w 640828"/>
                <a:gd name="csY204" fmla="*/ 1717903 h 1827536"/>
                <a:gd name="csX205" fmla="*/ 636097 w 640828"/>
                <a:gd name="csY205" fmla="*/ 1717903 h 1827536"/>
                <a:gd name="csX206" fmla="*/ 636097 w 640828"/>
                <a:gd name="csY206" fmla="*/ 1752384 h 1827536"/>
                <a:gd name="csX207" fmla="*/ 615210 w 640828"/>
                <a:gd name="csY207" fmla="*/ 1752384 h 1827536"/>
                <a:gd name="csX208" fmla="*/ 615210 w 640828"/>
                <a:gd name="csY208" fmla="*/ 1786861 h 1827536"/>
                <a:gd name="csX209" fmla="*/ 636097 w 640828"/>
                <a:gd name="csY209" fmla="*/ 1786861 h 1827536"/>
                <a:gd name="csX210" fmla="*/ 636097 w 640828"/>
                <a:gd name="csY210" fmla="*/ 1821349 h 1827536"/>
                <a:gd name="csX211" fmla="*/ -4731 w 640828"/>
                <a:gd name="csY211" fmla="*/ 1821349 h 1827536"/>
                <a:gd name="csX212" fmla="*/ 39182 w 640828"/>
                <a:gd name="csY212" fmla="*/ 1717903 h 1827536"/>
                <a:gd name="csX213" fmla="*/ 162571 w 640828"/>
                <a:gd name="csY213" fmla="*/ 1717903 h 1827536"/>
                <a:gd name="csX214" fmla="*/ 162571 w 640828"/>
                <a:gd name="csY214" fmla="*/ 1683420 h 1827536"/>
                <a:gd name="csX215" fmla="*/ 39182 w 640828"/>
                <a:gd name="csY215" fmla="*/ 1683420 h 1827536"/>
                <a:gd name="csX216" fmla="*/ 448983 w 640828"/>
                <a:gd name="csY216" fmla="*/ 1683420 h 1827536"/>
                <a:gd name="csX217" fmla="*/ 325589 w 640828"/>
                <a:gd name="csY217" fmla="*/ 1683420 h 1827536"/>
                <a:gd name="csX218" fmla="*/ 325589 w 640828"/>
                <a:gd name="csY218" fmla="*/ 1717903 h 1827536"/>
                <a:gd name="csX219" fmla="*/ 448983 w 640828"/>
                <a:gd name="csY219" fmla="*/ 1717903 h 1827536"/>
                <a:gd name="csX220" fmla="*/ 448983 w 640828"/>
                <a:gd name="csY220" fmla="*/ 1614456 h 1827536"/>
                <a:gd name="csX221" fmla="*/ 325589 w 640828"/>
                <a:gd name="csY221" fmla="*/ 1614456 h 1827536"/>
                <a:gd name="csX222" fmla="*/ 325589 w 640828"/>
                <a:gd name="csY222" fmla="*/ 1648938 h 1827536"/>
                <a:gd name="csX223" fmla="*/ 448983 w 640828"/>
                <a:gd name="csY223" fmla="*/ 1648938 h 1827536"/>
                <a:gd name="csX224" fmla="*/ 448983 w 640828"/>
                <a:gd name="csY224" fmla="*/ 1545492 h 1827536"/>
                <a:gd name="csX225" fmla="*/ 325589 w 640828"/>
                <a:gd name="csY225" fmla="*/ 1545492 h 1827536"/>
                <a:gd name="csX226" fmla="*/ 325589 w 640828"/>
                <a:gd name="csY226" fmla="*/ 1579974 h 1827536"/>
                <a:gd name="csX227" fmla="*/ 448983 w 640828"/>
                <a:gd name="csY227" fmla="*/ 1579974 h 1827536"/>
                <a:gd name="csX228" fmla="*/ 448983 w 640828"/>
                <a:gd name="csY228" fmla="*/ 1476528 h 1827536"/>
                <a:gd name="csX229" fmla="*/ 325589 w 640828"/>
                <a:gd name="csY229" fmla="*/ 1476528 h 1827536"/>
                <a:gd name="csX230" fmla="*/ 325589 w 640828"/>
                <a:gd name="csY230" fmla="*/ 1511010 h 1827536"/>
                <a:gd name="csX231" fmla="*/ 448983 w 640828"/>
                <a:gd name="csY231" fmla="*/ 1511010 h 1827536"/>
                <a:gd name="csX232" fmla="*/ 448983 w 640828"/>
                <a:gd name="csY232" fmla="*/ 1407564 h 1827536"/>
                <a:gd name="csX233" fmla="*/ 325589 w 640828"/>
                <a:gd name="csY233" fmla="*/ 1407564 h 1827536"/>
                <a:gd name="csX234" fmla="*/ 325589 w 640828"/>
                <a:gd name="csY234" fmla="*/ 1442046 h 1827536"/>
                <a:gd name="csX235" fmla="*/ 448983 w 640828"/>
                <a:gd name="csY235" fmla="*/ 1442046 h 1827536"/>
                <a:gd name="csX236" fmla="*/ 448983 w 640828"/>
                <a:gd name="csY236" fmla="*/ 1338600 h 1827536"/>
                <a:gd name="csX237" fmla="*/ 325589 w 640828"/>
                <a:gd name="csY237" fmla="*/ 1338600 h 1827536"/>
                <a:gd name="csX238" fmla="*/ 325589 w 640828"/>
                <a:gd name="csY238" fmla="*/ 1373082 h 1827536"/>
                <a:gd name="csX239" fmla="*/ 448983 w 640828"/>
                <a:gd name="csY239" fmla="*/ 1373082 h 1827536"/>
                <a:gd name="csX240" fmla="*/ 448983 w 640828"/>
                <a:gd name="csY240" fmla="*/ 1269636 h 1827536"/>
                <a:gd name="csX241" fmla="*/ 325589 w 640828"/>
                <a:gd name="csY241" fmla="*/ 1269636 h 1827536"/>
                <a:gd name="csX242" fmla="*/ 325589 w 640828"/>
                <a:gd name="csY242" fmla="*/ 1304118 h 1827536"/>
                <a:gd name="csX243" fmla="*/ 448983 w 640828"/>
                <a:gd name="csY243" fmla="*/ 1304118 h 1827536"/>
                <a:gd name="csX244" fmla="*/ 448983 w 640828"/>
                <a:gd name="csY244" fmla="*/ 1200672 h 1827536"/>
                <a:gd name="csX245" fmla="*/ 325589 w 640828"/>
                <a:gd name="csY245" fmla="*/ 1200672 h 1827536"/>
                <a:gd name="csX246" fmla="*/ 325589 w 640828"/>
                <a:gd name="csY246" fmla="*/ 1235159 h 1827536"/>
                <a:gd name="csX247" fmla="*/ 448983 w 640828"/>
                <a:gd name="csY247" fmla="*/ 1235159 h 1827536"/>
                <a:gd name="csX248" fmla="*/ 448983 w 640828"/>
                <a:gd name="csY248" fmla="*/ 1131708 h 1827536"/>
                <a:gd name="csX249" fmla="*/ 325589 w 640828"/>
                <a:gd name="csY249" fmla="*/ 1131708 h 1827536"/>
                <a:gd name="csX250" fmla="*/ 325589 w 640828"/>
                <a:gd name="csY250" fmla="*/ 1166195 h 1827536"/>
                <a:gd name="csX251" fmla="*/ 448983 w 640828"/>
                <a:gd name="csY251" fmla="*/ 1166195 h 1827536"/>
                <a:gd name="csX252" fmla="*/ 448983 w 640828"/>
                <a:gd name="csY252" fmla="*/ 1062744 h 1827536"/>
                <a:gd name="csX253" fmla="*/ 325589 w 640828"/>
                <a:gd name="csY253" fmla="*/ 1062744 h 1827536"/>
                <a:gd name="csX254" fmla="*/ 325589 w 640828"/>
                <a:gd name="csY254" fmla="*/ 1097231 h 1827536"/>
                <a:gd name="csX255" fmla="*/ 448983 w 640828"/>
                <a:gd name="csY255" fmla="*/ 1097231 h 1827536"/>
                <a:gd name="csX256" fmla="*/ 448983 w 640828"/>
                <a:gd name="csY256" fmla="*/ 993785 h 1827536"/>
                <a:gd name="csX257" fmla="*/ 325589 w 640828"/>
                <a:gd name="csY257" fmla="*/ 993785 h 1827536"/>
                <a:gd name="csX258" fmla="*/ 325589 w 640828"/>
                <a:gd name="csY258" fmla="*/ 1028267 h 1827536"/>
                <a:gd name="csX259" fmla="*/ 448983 w 640828"/>
                <a:gd name="csY259" fmla="*/ 1028267 h 1827536"/>
                <a:gd name="csX260" fmla="*/ 448983 w 640828"/>
                <a:gd name="csY260" fmla="*/ 924821 h 1827536"/>
                <a:gd name="csX261" fmla="*/ 325589 w 640828"/>
                <a:gd name="csY261" fmla="*/ 924821 h 1827536"/>
                <a:gd name="csX262" fmla="*/ 325589 w 640828"/>
                <a:gd name="csY262" fmla="*/ 959303 h 1827536"/>
                <a:gd name="csX263" fmla="*/ 448983 w 640828"/>
                <a:gd name="csY263" fmla="*/ 959303 h 1827536"/>
                <a:gd name="csX264" fmla="*/ 448983 w 640828"/>
                <a:gd name="csY264" fmla="*/ 855857 h 1827536"/>
                <a:gd name="csX265" fmla="*/ 325589 w 640828"/>
                <a:gd name="csY265" fmla="*/ 855857 h 1827536"/>
                <a:gd name="csX266" fmla="*/ 325589 w 640828"/>
                <a:gd name="csY266" fmla="*/ 890334 h 1827536"/>
                <a:gd name="csX267" fmla="*/ 448983 w 640828"/>
                <a:gd name="csY267" fmla="*/ 890334 h 1827536"/>
                <a:gd name="csX268" fmla="*/ 448983 w 640828"/>
                <a:gd name="csY268" fmla="*/ 786893 h 1827536"/>
                <a:gd name="csX269" fmla="*/ 325589 w 640828"/>
                <a:gd name="csY269" fmla="*/ 786893 h 1827536"/>
                <a:gd name="csX270" fmla="*/ 325589 w 640828"/>
                <a:gd name="csY270" fmla="*/ 821375 h 1827536"/>
                <a:gd name="csX271" fmla="*/ 448983 w 640828"/>
                <a:gd name="csY271" fmla="*/ 821375 h 1827536"/>
                <a:gd name="csX272" fmla="*/ 448983 w 640828"/>
                <a:gd name="csY272" fmla="*/ 717929 h 1827536"/>
                <a:gd name="csX273" fmla="*/ 325589 w 640828"/>
                <a:gd name="csY273" fmla="*/ 717929 h 1827536"/>
                <a:gd name="csX274" fmla="*/ 325589 w 640828"/>
                <a:gd name="csY274" fmla="*/ 752411 h 1827536"/>
                <a:gd name="csX275" fmla="*/ 448983 w 640828"/>
                <a:gd name="csY275" fmla="*/ 752411 h 1827536"/>
                <a:gd name="csX276" fmla="*/ 448983 w 640828"/>
                <a:gd name="csY276" fmla="*/ 648959 h 1827536"/>
                <a:gd name="csX277" fmla="*/ 325589 w 640828"/>
                <a:gd name="csY277" fmla="*/ 648959 h 1827536"/>
                <a:gd name="csX278" fmla="*/ 325589 w 640828"/>
                <a:gd name="csY278" fmla="*/ 683447 h 1827536"/>
                <a:gd name="csX279" fmla="*/ 448983 w 640828"/>
                <a:gd name="csY279" fmla="*/ 683447 h 1827536"/>
                <a:gd name="csX280" fmla="*/ 448983 w 640828"/>
                <a:gd name="csY280" fmla="*/ 580001 h 1827536"/>
                <a:gd name="csX281" fmla="*/ 325589 w 640828"/>
                <a:gd name="csY281" fmla="*/ 580001 h 1827536"/>
                <a:gd name="csX282" fmla="*/ 325589 w 640828"/>
                <a:gd name="csY282" fmla="*/ 614483 h 1827536"/>
                <a:gd name="csX283" fmla="*/ 448983 w 640828"/>
                <a:gd name="csY283" fmla="*/ 614483 h 1827536"/>
                <a:gd name="csX284" fmla="*/ 448983 w 640828"/>
                <a:gd name="csY284" fmla="*/ 511037 h 1827536"/>
                <a:gd name="csX285" fmla="*/ 325589 w 640828"/>
                <a:gd name="csY285" fmla="*/ 511037 h 1827536"/>
                <a:gd name="csX286" fmla="*/ 325589 w 640828"/>
                <a:gd name="csY286" fmla="*/ 545519 h 1827536"/>
                <a:gd name="csX287" fmla="*/ 448983 w 640828"/>
                <a:gd name="csY287" fmla="*/ 545519 h 1827536"/>
                <a:gd name="csX288" fmla="*/ 448983 w 640828"/>
                <a:gd name="csY288" fmla="*/ 442073 h 1827536"/>
                <a:gd name="csX289" fmla="*/ 325589 w 640828"/>
                <a:gd name="csY289" fmla="*/ 442073 h 1827536"/>
                <a:gd name="csX290" fmla="*/ 325589 w 640828"/>
                <a:gd name="csY290" fmla="*/ 476555 h 1827536"/>
                <a:gd name="csX291" fmla="*/ 448983 w 640828"/>
                <a:gd name="csY291" fmla="*/ 476555 h 1827536"/>
                <a:gd name="csX292" fmla="*/ 448983 w 640828"/>
                <a:gd name="csY292" fmla="*/ 373109 h 1827536"/>
                <a:gd name="csX293" fmla="*/ 325589 w 640828"/>
                <a:gd name="csY293" fmla="*/ 373109 h 1827536"/>
                <a:gd name="csX294" fmla="*/ 325589 w 640828"/>
                <a:gd name="csY294" fmla="*/ 407591 h 1827536"/>
                <a:gd name="csX295" fmla="*/ 448983 w 640828"/>
                <a:gd name="csY295" fmla="*/ 407591 h 1827536"/>
                <a:gd name="csX296" fmla="*/ 448983 w 640828"/>
                <a:gd name="csY296" fmla="*/ 304145 h 1827536"/>
                <a:gd name="csX297" fmla="*/ 325589 w 640828"/>
                <a:gd name="csY297" fmla="*/ 304145 h 1827536"/>
                <a:gd name="csX298" fmla="*/ 325589 w 640828"/>
                <a:gd name="csY298" fmla="*/ 338627 h 1827536"/>
                <a:gd name="csX299" fmla="*/ 448983 w 640828"/>
                <a:gd name="csY299" fmla="*/ 338627 h 1827536"/>
                <a:gd name="csX300" fmla="*/ 448983 w 640828"/>
                <a:gd name="csY300" fmla="*/ 235186 h 1827536"/>
                <a:gd name="csX301" fmla="*/ 325589 w 640828"/>
                <a:gd name="csY301" fmla="*/ 235186 h 1827536"/>
                <a:gd name="csX302" fmla="*/ 325589 w 640828"/>
                <a:gd name="csY302" fmla="*/ 269668 h 1827536"/>
                <a:gd name="csX303" fmla="*/ 448983 w 640828"/>
                <a:gd name="csY303" fmla="*/ 269668 h 1827536"/>
                <a:gd name="csX304" fmla="*/ 448983 w 640828"/>
                <a:gd name="csY304" fmla="*/ 166222 h 1827536"/>
                <a:gd name="csX305" fmla="*/ 325589 w 640828"/>
                <a:gd name="csY305" fmla="*/ 166222 h 1827536"/>
                <a:gd name="csX306" fmla="*/ 325589 w 640828"/>
                <a:gd name="csY306" fmla="*/ 200699 h 1827536"/>
                <a:gd name="csX307" fmla="*/ 448983 w 640828"/>
                <a:gd name="csY307" fmla="*/ 200699 h 1827536"/>
                <a:gd name="csX308" fmla="*/ 448983 w 640828"/>
                <a:gd name="csY308" fmla="*/ 97258 h 1827536"/>
                <a:gd name="csX309" fmla="*/ 325589 w 640828"/>
                <a:gd name="csY309" fmla="*/ 97258 h 1827536"/>
                <a:gd name="csX310" fmla="*/ 325589 w 640828"/>
                <a:gd name="csY310" fmla="*/ 131740 h 1827536"/>
                <a:gd name="csX311" fmla="*/ 448983 w 640828"/>
                <a:gd name="csY311" fmla="*/ 131740 h 1827536"/>
                <a:gd name="csX312" fmla="*/ 182382 w 640828"/>
                <a:gd name="csY312" fmla="*/ 131740 h 1827536"/>
                <a:gd name="csX313" fmla="*/ 305777 w 640828"/>
                <a:gd name="csY313" fmla="*/ 131740 h 1827536"/>
                <a:gd name="csX314" fmla="*/ 305777 w 640828"/>
                <a:gd name="csY314" fmla="*/ 97258 h 1827536"/>
                <a:gd name="csX315" fmla="*/ 182382 w 640828"/>
                <a:gd name="csY315" fmla="*/ 97258 h 1827536"/>
                <a:gd name="csX316" fmla="*/ 182382 w 640828"/>
                <a:gd name="csY316" fmla="*/ 200699 h 1827536"/>
                <a:gd name="csX317" fmla="*/ 305777 w 640828"/>
                <a:gd name="csY317" fmla="*/ 200699 h 1827536"/>
                <a:gd name="csX318" fmla="*/ 305777 w 640828"/>
                <a:gd name="csY318" fmla="*/ 166222 h 1827536"/>
                <a:gd name="csX319" fmla="*/ 182382 w 640828"/>
                <a:gd name="csY319" fmla="*/ 166222 h 1827536"/>
                <a:gd name="csX320" fmla="*/ 182382 w 640828"/>
                <a:gd name="csY320" fmla="*/ 269668 h 1827536"/>
                <a:gd name="csX321" fmla="*/ 305777 w 640828"/>
                <a:gd name="csY321" fmla="*/ 269668 h 1827536"/>
                <a:gd name="csX322" fmla="*/ 305777 w 640828"/>
                <a:gd name="csY322" fmla="*/ 235186 h 1827536"/>
                <a:gd name="csX323" fmla="*/ 182382 w 640828"/>
                <a:gd name="csY323" fmla="*/ 235186 h 1827536"/>
                <a:gd name="csX324" fmla="*/ 182382 w 640828"/>
                <a:gd name="csY324" fmla="*/ 338627 h 1827536"/>
                <a:gd name="csX325" fmla="*/ 305777 w 640828"/>
                <a:gd name="csY325" fmla="*/ 338627 h 1827536"/>
                <a:gd name="csX326" fmla="*/ 305777 w 640828"/>
                <a:gd name="csY326" fmla="*/ 304145 h 1827536"/>
                <a:gd name="csX327" fmla="*/ 182382 w 640828"/>
                <a:gd name="csY327" fmla="*/ 304145 h 1827536"/>
                <a:gd name="csX328" fmla="*/ 182382 w 640828"/>
                <a:gd name="csY328" fmla="*/ 407591 h 1827536"/>
                <a:gd name="csX329" fmla="*/ 305777 w 640828"/>
                <a:gd name="csY329" fmla="*/ 407591 h 1827536"/>
                <a:gd name="csX330" fmla="*/ 305777 w 640828"/>
                <a:gd name="csY330" fmla="*/ 373109 h 1827536"/>
                <a:gd name="csX331" fmla="*/ 182382 w 640828"/>
                <a:gd name="csY331" fmla="*/ 373109 h 1827536"/>
                <a:gd name="csX332" fmla="*/ 182382 w 640828"/>
                <a:gd name="csY332" fmla="*/ 476555 h 1827536"/>
                <a:gd name="csX333" fmla="*/ 305777 w 640828"/>
                <a:gd name="csY333" fmla="*/ 476555 h 1827536"/>
                <a:gd name="csX334" fmla="*/ 305777 w 640828"/>
                <a:gd name="csY334" fmla="*/ 442073 h 1827536"/>
                <a:gd name="csX335" fmla="*/ 182382 w 640828"/>
                <a:gd name="csY335" fmla="*/ 442073 h 1827536"/>
                <a:gd name="csX336" fmla="*/ 182382 w 640828"/>
                <a:gd name="csY336" fmla="*/ 545519 h 1827536"/>
                <a:gd name="csX337" fmla="*/ 305777 w 640828"/>
                <a:gd name="csY337" fmla="*/ 545519 h 1827536"/>
                <a:gd name="csX338" fmla="*/ 305777 w 640828"/>
                <a:gd name="csY338" fmla="*/ 511037 h 1827536"/>
                <a:gd name="csX339" fmla="*/ 182382 w 640828"/>
                <a:gd name="csY339" fmla="*/ 511037 h 1827536"/>
                <a:gd name="csX340" fmla="*/ 182382 w 640828"/>
                <a:gd name="csY340" fmla="*/ 614483 h 1827536"/>
                <a:gd name="csX341" fmla="*/ 305777 w 640828"/>
                <a:gd name="csY341" fmla="*/ 614483 h 1827536"/>
                <a:gd name="csX342" fmla="*/ 305777 w 640828"/>
                <a:gd name="csY342" fmla="*/ 580001 h 1827536"/>
                <a:gd name="csX343" fmla="*/ 182382 w 640828"/>
                <a:gd name="csY343" fmla="*/ 580001 h 1827536"/>
                <a:gd name="csX344" fmla="*/ 182382 w 640828"/>
                <a:gd name="csY344" fmla="*/ 683447 h 1827536"/>
                <a:gd name="csX345" fmla="*/ 305777 w 640828"/>
                <a:gd name="csY345" fmla="*/ 683447 h 1827536"/>
                <a:gd name="csX346" fmla="*/ 305777 w 640828"/>
                <a:gd name="csY346" fmla="*/ 648959 h 1827536"/>
                <a:gd name="csX347" fmla="*/ 182382 w 640828"/>
                <a:gd name="csY347" fmla="*/ 648959 h 1827536"/>
                <a:gd name="csX348" fmla="*/ 182382 w 640828"/>
                <a:gd name="csY348" fmla="*/ 752411 h 1827536"/>
                <a:gd name="csX349" fmla="*/ 305777 w 640828"/>
                <a:gd name="csY349" fmla="*/ 752411 h 1827536"/>
                <a:gd name="csX350" fmla="*/ 305777 w 640828"/>
                <a:gd name="csY350" fmla="*/ 717929 h 1827536"/>
                <a:gd name="csX351" fmla="*/ 182382 w 640828"/>
                <a:gd name="csY351" fmla="*/ 717929 h 1827536"/>
                <a:gd name="csX352" fmla="*/ 182382 w 640828"/>
                <a:gd name="csY352" fmla="*/ 821375 h 1827536"/>
                <a:gd name="csX353" fmla="*/ 305777 w 640828"/>
                <a:gd name="csY353" fmla="*/ 821375 h 1827536"/>
                <a:gd name="csX354" fmla="*/ 305777 w 640828"/>
                <a:gd name="csY354" fmla="*/ 786893 h 1827536"/>
                <a:gd name="csX355" fmla="*/ 182382 w 640828"/>
                <a:gd name="csY355" fmla="*/ 786893 h 1827536"/>
                <a:gd name="csX356" fmla="*/ 182382 w 640828"/>
                <a:gd name="csY356" fmla="*/ 890334 h 1827536"/>
                <a:gd name="csX357" fmla="*/ 305777 w 640828"/>
                <a:gd name="csY357" fmla="*/ 890334 h 1827536"/>
                <a:gd name="csX358" fmla="*/ 305777 w 640828"/>
                <a:gd name="csY358" fmla="*/ 855857 h 1827536"/>
                <a:gd name="csX359" fmla="*/ 182382 w 640828"/>
                <a:gd name="csY359" fmla="*/ 855857 h 1827536"/>
                <a:gd name="csX360" fmla="*/ 182382 w 640828"/>
                <a:gd name="csY360" fmla="*/ 959303 h 1827536"/>
                <a:gd name="csX361" fmla="*/ 305777 w 640828"/>
                <a:gd name="csY361" fmla="*/ 959303 h 1827536"/>
                <a:gd name="csX362" fmla="*/ 305777 w 640828"/>
                <a:gd name="csY362" fmla="*/ 924821 h 1827536"/>
                <a:gd name="csX363" fmla="*/ 182382 w 640828"/>
                <a:gd name="csY363" fmla="*/ 924821 h 1827536"/>
                <a:gd name="csX364" fmla="*/ 182382 w 640828"/>
                <a:gd name="csY364" fmla="*/ 1028267 h 1827536"/>
                <a:gd name="csX365" fmla="*/ 305777 w 640828"/>
                <a:gd name="csY365" fmla="*/ 1028267 h 1827536"/>
                <a:gd name="csX366" fmla="*/ 305777 w 640828"/>
                <a:gd name="csY366" fmla="*/ 993785 h 1827536"/>
                <a:gd name="csX367" fmla="*/ 182382 w 640828"/>
                <a:gd name="csY367" fmla="*/ 993785 h 1827536"/>
                <a:gd name="csX368" fmla="*/ 182382 w 640828"/>
                <a:gd name="csY368" fmla="*/ 1097231 h 1827536"/>
                <a:gd name="csX369" fmla="*/ 305777 w 640828"/>
                <a:gd name="csY369" fmla="*/ 1097231 h 1827536"/>
                <a:gd name="csX370" fmla="*/ 305777 w 640828"/>
                <a:gd name="csY370" fmla="*/ 1062744 h 1827536"/>
                <a:gd name="csX371" fmla="*/ 182382 w 640828"/>
                <a:gd name="csY371" fmla="*/ 1062744 h 1827536"/>
                <a:gd name="csX372" fmla="*/ 182382 w 640828"/>
                <a:gd name="csY372" fmla="*/ 1166195 h 1827536"/>
                <a:gd name="csX373" fmla="*/ 305777 w 640828"/>
                <a:gd name="csY373" fmla="*/ 1166195 h 1827536"/>
                <a:gd name="csX374" fmla="*/ 305777 w 640828"/>
                <a:gd name="csY374" fmla="*/ 1131708 h 1827536"/>
                <a:gd name="csX375" fmla="*/ 182382 w 640828"/>
                <a:gd name="csY375" fmla="*/ 1131708 h 1827536"/>
                <a:gd name="csX376" fmla="*/ 182382 w 640828"/>
                <a:gd name="csY376" fmla="*/ 1235159 h 1827536"/>
                <a:gd name="csX377" fmla="*/ 305777 w 640828"/>
                <a:gd name="csY377" fmla="*/ 1235159 h 1827536"/>
                <a:gd name="csX378" fmla="*/ 305777 w 640828"/>
                <a:gd name="csY378" fmla="*/ 1200672 h 1827536"/>
                <a:gd name="csX379" fmla="*/ 182382 w 640828"/>
                <a:gd name="csY379" fmla="*/ 1200672 h 1827536"/>
                <a:gd name="csX380" fmla="*/ 182382 w 640828"/>
                <a:gd name="csY380" fmla="*/ 1304118 h 1827536"/>
                <a:gd name="csX381" fmla="*/ 305777 w 640828"/>
                <a:gd name="csY381" fmla="*/ 1304118 h 1827536"/>
                <a:gd name="csX382" fmla="*/ 305777 w 640828"/>
                <a:gd name="csY382" fmla="*/ 1269636 h 1827536"/>
                <a:gd name="csX383" fmla="*/ 182382 w 640828"/>
                <a:gd name="csY383" fmla="*/ 1269636 h 1827536"/>
                <a:gd name="csX384" fmla="*/ 182382 w 640828"/>
                <a:gd name="csY384" fmla="*/ 1373082 h 1827536"/>
                <a:gd name="csX385" fmla="*/ 305777 w 640828"/>
                <a:gd name="csY385" fmla="*/ 1373082 h 1827536"/>
                <a:gd name="csX386" fmla="*/ 305777 w 640828"/>
                <a:gd name="csY386" fmla="*/ 1338600 h 1827536"/>
                <a:gd name="csX387" fmla="*/ 182382 w 640828"/>
                <a:gd name="csY387" fmla="*/ 1338600 h 1827536"/>
                <a:gd name="csX388" fmla="*/ 182382 w 640828"/>
                <a:gd name="csY388" fmla="*/ 1442046 h 1827536"/>
                <a:gd name="csX389" fmla="*/ 305777 w 640828"/>
                <a:gd name="csY389" fmla="*/ 1442046 h 1827536"/>
                <a:gd name="csX390" fmla="*/ 305777 w 640828"/>
                <a:gd name="csY390" fmla="*/ 1407564 h 1827536"/>
                <a:gd name="csX391" fmla="*/ 182382 w 640828"/>
                <a:gd name="csY391" fmla="*/ 1407564 h 1827536"/>
                <a:gd name="csX392" fmla="*/ 182382 w 640828"/>
                <a:gd name="csY392" fmla="*/ 1511010 h 1827536"/>
                <a:gd name="csX393" fmla="*/ 305777 w 640828"/>
                <a:gd name="csY393" fmla="*/ 1511010 h 1827536"/>
                <a:gd name="csX394" fmla="*/ 305777 w 640828"/>
                <a:gd name="csY394" fmla="*/ 1476528 h 1827536"/>
                <a:gd name="csX395" fmla="*/ 182382 w 640828"/>
                <a:gd name="csY395" fmla="*/ 1476528 h 1827536"/>
                <a:gd name="csX396" fmla="*/ 182382 w 640828"/>
                <a:gd name="csY396" fmla="*/ 1579974 h 1827536"/>
                <a:gd name="csX397" fmla="*/ 305777 w 640828"/>
                <a:gd name="csY397" fmla="*/ 1579974 h 1827536"/>
                <a:gd name="csX398" fmla="*/ 305777 w 640828"/>
                <a:gd name="csY398" fmla="*/ 1545492 h 1827536"/>
                <a:gd name="csX399" fmla="*/ 182382 w 640828"/>
                <a:gd name="csY399" fmla="*/ 1545492 h 1827536"/>
                <a:gd name="csX400" fmla="*/ 182382 w 640828"/>
                <a:gd name="csY400" fmla="*/ 1648938 h 1827536"/>
                <a:gd name="csX401" fmla="*/ 305777 w 640828"/>
                <a:gd name="csY401" fmla="*/ 1648938 h 1827536"/>
                <a:gd name="csX402" fmla="*/ 305777 w 640828"/>
                <a:gd name="csY402" fmla="*/ 1614456 h 1827536"/>
                <a:gd name="csX403" fmla="*/ 182382 w 640828"/>
                <a:gd name="csY403" fmla="*/ 1614456 h 1827536"/>
                <a:gd name="csX404" fmla="*/ 305777 w 640828"/>
                <a:gd name="csY404" fmla="*/ 1683420 h 1827536"/>
                <a:gd name="csX405" fmla="*/ 182382 w 640828"/>
                <a:gd name="csY405" fmla="*/ 1683420 h 1827536"/>
                <a:gd name="csX406" fmla="*/ 182382 w 640828"/>
                <a:gd name="csY406" fmla="*/ 1717903 h 1827536"/>
                <a:gd name="csX407" fmla="*/ 305777 w 640828"/>
                <a:gd name="csY407" fmla="*/ 1717903 h 1827536"/>
                <a:gd name="csX408" fmla="*/ 39182 w 640828"/>
                <a:gd name="csY408" fmla="*/ 1648938 h 1827536"/>
                <a:gd name="csX409" fmla="*/ 162571 w 640828"/>
                <a:gd name="csY409" fmla="*/ 1648938 h 1827536"/>
                <a:gd name="csX410" fmla="*/ 162571 w 640828"/>
                <a:gd name="csY410" fmla="*/ 1614456 h 1827536"/>
                <a:gd name="csX411" fmla="*/ 39182 w 640828"/>
                <a:gd name="csY411" fmla="*/ 1614456 h 1827536"/>
                <a:gd name="csX412" fmla="*/ 39182 w 640828"/>
                <a:gd name="csY412" fmla="*/ 1579974 h 1827536"/>
                <a:gd name="csX413" fmla="*/ 162571 w 640828"/>
                <a:gd name="csY413" fmla="*/ 1579974 h 1827536"/>
                <a:gd name="csX414" fmla="*/ 162571 w 640828"/>
                <a:gd name="csY414" fmla="*/ 1545492 h 1827536"/>
                <a:gd name="csX415" fmla="*/ 39182 w 640828"/>
                <a:gd name="csY415" fmla="*/ 1545492 h 1827536"/>
                <a:gd name="csX416" fmla="*/ 39182 w 640828"/>
                <a:gd name="csY416" fmla="*/ 1511010 h 1827536"/>
                <a:gd name="csX417" fmla="*/ 162571 w 640828"/>
                <a:gd name="csY417" fmla="*/ 1511010 h 1827536"/>
                <a:gd name="csX418" fmla="*/ 162571 w 640828"/>
                <a:gd name="csY418" fmla="*/ 1476528 h 1827536"/>
                <a:gd name="csX419" fmla="*/ 39182 w 640828"/>
                <a:gd name="csY419" fmla="*/ 1476528 h 1827536"/>
                <a:gd name="csX420" fmla="*/ 39182 w 640828"/>
                <a:gd name="csY420" fmla="*/ 1442046 h 1827536"/>
                <a:gd name="csX421" fmla="*/ 162571 w 640828"/>
                <a:gd name="csY421" fmla="*/ 1442046 h 1827536"/>
                <a:gd name="csX422" fmla="*/ 162571 w 640828"/>
                <a:gd name="csY422" fmla="*/ 1407564 h 1827536"/>
                <a:gd name="csX423" fmla="*/ 39182 w 640828"/>
                <a:gd name="csY423" fmla="*/ 1407564 h 1827536"/>
                <a:gd name="csX424" fmla="*/ 39182 w 640828"/>
                <a:gd name="csY424" fmla="*/ 1373082 h 1827536"/>
                <a:gd name="csX425" fmla="*/ 162571 w 640828"/>
                <a:gd name="csY425" fmla="*/ 1373082 h 1827536"/>
                <a:gd name="csX426" fmla="*/ 162571 w 640828"/>
                <a:gd name="csY426" fmla="*/ 1338600 h 1827536"/>
                <a:gd name="csX427" fmla="*/ 39182 w 640828"/>
                <a:gd name="csY427" fmla="*/ 1338600 h 1827536"/>
                <a:gd name="csX428" fmla="*/ 39182 w 640828"/>
                <a:gd name="csY428" fmla="*/ 1304118 h 1827536"/>
                <a:gd name="csX429" fmla="*/ 162571 w 640828"/>
                <a:gd name="csY429" fmla="*/ 1304118 h 1827536"/>
                <a:gd name="csX430" fmla="*/ 162571 w 640828"/>
                <a:gd name="csY430" fmla="*/ 1269636 h 1827536"/>
                <a:gd name="csX431" fmla="*/ 39182 w 640828"/>
                <a:gd name="csY431" fmla="*/ 1269636 h 1827536"/>
                <a:gd name="csX432" fmla="*/ 39182 w 640828"/>
                <a:gd name="csY432" fmla="*/ 1235159 h 1827536"/>
                <a:gd name="csX433" fmla="*/ 162571 w 640828"/>
                <a:gd name="csY433" fmla="*/ 1235159 h 1827536"/>
                <a:gd name="csX434" fmla="*/ 162571 w 640828"/>
                <a:gd name="csY434" fmla="*/ 1200672 h 1827536"/>
                <a:gd name="csX435" fmla="*/ 39182 w 640828"/>
                <a:gd name="csY435" fmla="*/ 1200672 h 1827536"/>
                <a:gd name="csX436" fmla="*/ 39182 w 640828"/>
                <a:gd name="csY436" fmla="*/ 1166195 h 1827536"/>
                <a:gd name="csX437" fmla="*/ 162571 w 640828"/>
                <a:gd name="csY437" fmla="*/ 1166195 h 1827536"/>
                <a:gd name="csX438" fmla="*/ 162571 w 640828"/>
                <a:gd name="csY438" fmla="*/ 1131708 h 1827536"/>
                <a:gd name="csX439" fmla="*/ 39182 w 640828"/>
                <a:gd name="csY439" fmla="*/ 1131708 h 1827536"/>
                <a:gd name="csX440" fmla="*/ 39182 w 640828"/>
                <a:gd name="csY440" fmla="*/ 1097231 h 1827536"/>
                <a:gd name="csX441" fmla="*/ 162571 w 640828"/>
                <a:gd name="csY441" fmla="*/ 1097231 h 1827536"/>
                <a:gd name="csX442" fmla="*/ 162571 w 640828"/>
                <a:gd name="csY442" fmla="*/ 1062744 h 1827536"/>
                <a:gd name="csX443" fmla="*/ 39182 w 640828"/>
                <a:gd name="csY443" fmla="*/ 1062744 h 1827536"/>
                <a:gd name="csX444" fmla="*/ 39182 w 640828"/>
                <a:gd name="csY444" fmla="*/ 1028267 h 1827536"/>
                <a:gd name="csX445" fmla="*/ 162571 w 640828"/>
                <a:gd name="csY445" fmla="*/ 1028267 h 1827536"/>
                <a:gd name="csX446" fmla="*/ 162571 w 640828"/>
                <a:gd name="csY446" fmla="*/ 993785 h 1827536"/>
                <a:gd name="csX447" fmla="*/ 39182 w 640828"/>
                <a:gd name="csY447" fmla="*/ 993785 h 1827536"/>
                <a:gd name="csX448" fmla="*/ 39182 w 640828"/>
                <a:gd name="csY448" fmla="*/ 959303 h 1827536"/>
                <a:gd name="csX449" fmla="*/ 162571 w 640828"/>
                <a:gd name="csY449" fmla="*/ 959303 h 1827536"/>
                <a:gd name="csX450" fmla="*/ 162571 w 640828"/>
                <a:gd name="csY450" fmla="*/ 924821 h 1827536"/>
                <a:gd name="csX451" fmla="*/ 39182 w 640828"/>
                <a:gd name="csY451" fmla="*/ 924821 h 1827536"/>
                <a:gd name="csX452" fmla="*/ 39182 w 640828"/>
                <a:gd name="csY452" fmla="*/ 890334 h 1827536"/>
                <a:gd name="csX453" fmla="*/ 162571 w 640828"/>
                <a:gd name="csY453" fmla="*/ 890334 h 1827536"/>
                <a:gd name="csX454" fmla="*/ 162571 w 640828"/>
                <a:gd name="csY454" fmla="*/ 855857 h 1827536"/>
                <a:gd name="csX455" fmla="*/ 39182 w 640828"/>
                <a:gd name="csY455" fmla="*/ 855857 h 1827536"/>
                <a:gd name="csX456" fmla="*/ 39182 w 640828"/>
                <a:gd name="csY456" fmla="*/ 821375 h 1827536"/>
                <a:gd name="csX457" fmla="*/ 162571 w 640828"/>
                <a:gd name="csY457" fmla="*/ 821375 h 1827536"/>
                <a:gd name="csX458" fmla="*/ 162571 w 640828"/>
                <a:gd name="csY458" fmla="*/ 786893 h 1827536"/>
                <a:gd name="csX459" fmla="*/ 39182 w 640828"/>
                <a:gd name="csY459" fmla="*/ 786893 h 1827536"/>
                <a:gd name="csX460" fmla="*/ 39182 w 640828"/>
                <a:gd name="csY460" fmla="*/ 752411 h 1827536"/>
                <a:gd name="csX461" fmla="*/ 162571 w 640828"/>
                <a:gd name="csY461" fmla="*/ 752411 h 1827536"/>
                <a:gd name="csX462" fmla="*/ 162571 w 640828"/>
                <a:gd name="csY462" fmla="*/ 717929 h 1827536"/>
                <a:gd name="csX463" fmla="*/ 39182 w 640828"/>
                <a:gd name="csY463" fmla="*/ 717929 h 1827536"/>
                <a:gd name="csX464" fmla="*/ 39182 w 640828"/>
                <a:gd name="csY464" fmla="*/ 683447 h 1827536"/>
                <a:gd name="csX465" fmla="*/ 162571 w 640828"/>
                <a:gd name="csY465" fmla="*/ 683447 h 1827536"/>
                <a:gd name="csX466" fmla="*/ 162571 w 640828"/>
                <a:gd name="csY466" fmla="*/ 648959 h 1827536"/>
                <a:gd name="csX467" fmla="*/ 39182 w 640828"/>
                <a:gd name="csY467" fmla="*/ 648959 h 1827536"/>
                <a:gd name="csX468" fmla="*/ 39182 w 640828"/>
                <a:gd name="csY468" fmla="*/ 614483 h 1827536"/>
                <a:gd name="csX469" fmla="*/ 162571 w 640828"/>
                <a:gd name="csY469" fmla="*/ 614483 h 1827536"/>
                <a:gd name="csX470" fmla="*/ 162571 w 640828"/>
                <a:gd name="csY470" fmla="*/ 580001 h 1827536"/>
                <a:gd name="csX471" fmla="*/ 39182 w 640828"/>
                <a:gd name="csY471" fmla="*/ 580001 h 1827536"/>
                <a:gd name="csX472" fmla="*/ 39182 w 640828"/>
                <a:gd name="csY472" fmla="*/ 545519 h 1827536"/>
                <a:gd name="csX473" fmla="*/ 162571 w 640828"/>
                <a:gd name="csY473" fmla="*/ 545519 h 1827536"/>
                <a:gd name="csX474" fmla="*/ 162571 w 640828"/>
                <a:gd name="csY474" fmla="*/ 511037 h 1827536"/>
                <a:gd name="csX475" fmla="*/ 39182 w 640828"/>
                <a:gd name="csY475" fmla="*/ 511037 h 1827536"/>
                <a:gd name="csX476" fmla="*/ 39182 w 640828"/>
                <a:gd name="csY476" fmla="*/ 476555 h 1827536"/>
                <a:gd name="csX477" fmla="*/ 162571 w 640828"/>
                <a:gd name="csY477" fmla="*/ 476555 h 1827536"/>
                <a:gd name="csX478" fmla="*/ 162571 w 640828"/>
                <a:gd name="csY478" fmla="*/ 442073 h 1827536"/>
                <a:gd name="csX479" fmla="*/ 39182 w 640828"/>
                <a:gd name="csY479" fmla="*/ 442073 h 1827536"/>
                <a:gd name="csX480" fmla="*/ 39182 w 640828"/>
                <a:gd name="csY480" fmla="*/ 407591 h 1827536"/>
                <a:gd name="csX481" fmla="*/ 162571 w 640828"/>
                <a:gd name="csY481" fmla="*/ 407591 h 1827536"/>
                <a:gd name="csX482" fmla="*/ 162571 w 640828"/>
                <a:gd name="csY482" fmla="*/ 373109 h 1827536"/>
                <a:gd name="csX483" fmla="*/ 39182 w 640828"/>
                <a:gd name="csY483" fmla="*/ 373109 h 1827536"/>
                <a:gd name="csX484" fmla="*/ 39182 w 640828"/>
                <a:gd name="csY484" fmla="*/ 338627 h 1827536"/>
                <a:gd name="csX485" fmla="*/ 162571 w 640828"/>
                <a:gd name="csY485" fmla="*/ 338627 h 1827536"/>
                <a:gd name="csX486" fmla="*/ 162571 w 640828"/>
                <a:gd name="csY486" fmla="*/ 304145 h 1827536"/>
                <a:gd name="csX487" fmla="*/ 39182 w 640828"/>
                <a:gd name="csY487" fmla="*/ 304145 h 1827536"/>
                <a:gd name="csX488" fmla="*/ 39182 w 640828"/>
                <a:gd name="csY488" fmla="*/ 269668 h 1827536"/>
                <a:gd name="csX489" fmla="*/ 162571 w 640828"/>
                <a:gd name="csY489" fmla="*/ 269668 h 1827536"/>
                <a:gd name="csX490" fmla="*/ 162571 w 640828"/>
                <a:gd name="csY490" fmla="*/ 235186 h 1827536"/>
                <a:gd name="csX491" fmla="*/ 39182 w 640828"/>
                <a:gd name="csY491" fmla="*/ 235186 h 1827536"/>
                <a:gd name="csX492" fmla="*/ 39182 w 640828"/>
                <a:gd name="csY492" fmla="*/ 200699 h 1827536"/>
                <a:gd name="csX493" fmla="*/ 162571 w 640828"/>
                <a:gd name="csY493" fmla="*/ 200699 h 1827536"/>
                <a:gd name="csX494" fmla="*/ 162571 w 640828"/>
                <a:gd name="csY494" fmla="*/ 166222 h 1827536"/>
                <a:gd name="csX495" fmla="*/ 39182 w 640828"/>
                <a:gd name="csY495" fmla="*/ 166222 h 1827536"/>
                <a:gd name="csX496" fmla="*/ 39182 w 640828"/>
                <a:gd name="csY496" fmla="*/ 131740 h 1827536"/>
                <a:gd name="csX497" fmla="*/ 162571 w 640828"/>
                <a:gd name="csY497" fmla="*/ 131740 h 1827536"/>
                <a:gd name="csX498" fmla="*/ 162571 w 640828"/>
                <a:gd name="csY498" fmla="*/ 97258 h 1827536"/>
                <a:gd name="csX499" fmla="*/ 39182 w 640828"/>
                <a:gd name="csY499" fmla="*/ 97258 h 1827536"/>
                <a:gd name="csX500" fmla="*/ 39182 w 640828"/>
                <a:gd name="csY500" fmla="*/ 28294 h 1827536"/>
                <a:gd name="csX501" fmla="*/ 39182 w 640828"/>
                <a:gd name="csY501" fmla="*/ 62771 h 1827536"/>
                <a:gd name="csX502" fmla="*/ 162571 w 640828"/>
                <a:gd name="csY502" fmla="*/ 62771 h 1827536"/>
                <a:gd name="csX503" fmla="*/ 162571 w 640828"/>
                <a:gd name="csY503" fmla="*/ 28294 h 1827536"/>
                <a:gd name="csX504" fmla="*/ 182382 w 640828"/>
                <a:gd name="csY504" fmla="*/ 28294 h 1827536"/>
                <a:gd name="csX505" fmla="*/ 182382 w 640828"/>
                <a:gd name="csY505" fmla="*/ 62771 h 1827536"/>
                <a:gd name="csX506" fmla="*/ 305777 w 640828"/>
                <a:gd name="csY506" fmla="*/ 62771 h 1827536"/>
                <a:gd name="csX507" fmla="*/ 305777 w 640828"/>
                <a:gd name="csY507" fmla="*/ 28294 h 1827536"/>
                <a:gd name="csX508" fmla="*/ 325589 w 640828"/>
                <a:gd name="csY508" fmla="*/ 28294 h 1827536"/>
                <a:gd name="csX509" fmla="*/ 325589 w 640828"/>
                <a:gd name="csY509" fmla="*/ 62771 h 1827536"/>
                <a:gd name="csX510" fmla="*/ 448983 w 640828"/>
                <a:gd name="csY510" fmla="*/ 62771 h 1827536"/>
                <a:gd name="csX511" fmla="*/ 448983 w 640828"/>
                <a:gd name="csY511" fmla="*/ 28294 h 1827536"/>
                <a:gd name="csX512" fmla="*/ 592189 w 640828"/>
                <a:gd name="csY512" fmla="*/ 28294 h 1827536"/>
                <a:gd name="csX513" fmla="*/ 468800 w 640828"/>
                <a:gd name="csY513" fmla="*/ 28294 h 1827536"/>
                <a:gd name="csX514" fmla="*/ 468800 w 640828"/>
                <a:gd name="csY514" fmla="*/ 62771 h 1827536"/>
                <a:gd name="csX515" fmla="*/ 592189 w 640828"/>
                <a:gd name="csY515" fmla="*/ 62771 h 1827536"/>
                <a:gd name="csX516" fmla="*/ 592189 w 640828"/>
                <a:gd name="csY516" fmla="*/ 97258 h 1827536"/>
                <a:gd name="csX517" fmla="*/ 468800 w 640828"/>
                <a:gd name="csY517" fmla="*/ 97258 h 1827536"/>
                <a:gd name="csX518" fmla="*/ 468800 w 640828"/>
                <a:gd name="csY518" fmla="*/ 131740 h 1827536"/>
                <a:gd name="csX519" fmla="*/ 592189 w 640828"/>
                <a:gd name="csY519" fmla="*/ 131740 h 1827536"/>
                <a:gd name="csX520" fmla="*/ 592189 w 640828"/>
                <a:gd name="csY520" fmla="*/ 166222 h 1827536"/>
                <a:gd name="csX521" fmla="*/ 468800 w 640828"/>
                <a:gd name="csY521" fmla="*/ 166222 h 1827536"/>
                <a:gd name="csX522" fmla="*/ 468800 w 640828"/>
                <a:gd name="csY522" fmla="*/ 200699 h 1827536"/>
                <a:gd name="csX523" fmla="*/ 592189 w 640828"/>
                <a:gd name="csY523" fmla="*/ 200699 h 1827536"/>
                <a:gd name="csX524" fmla="*/ 592189 w 640828"/>
                <a:gd name="csY524" fmla="*/ 235186 h 1827536"/>
                <a:gd name="csX525" fmla="*/ 468800 w 640828"/>
                <a:gd name="csY525" fmla="*/ 235186 h 1827536"/>
                <a:gd name="csX526" fmla="*/ 468800 w 640828"/>
                <a:gd name="csY526" fmla="*/ 269668 h 1827536"/>
                <a:gd name="csX527" fmla="*/ 592189 w 640828"/>
                <a:gd name="csY527" fmla="*/ 269668 h 1827536"/>
                <a:gd name="csX528" fmla="*/ 592189 w 640828"/>
                <a:gd name="csY528" fmla="*/ 304145 h 1827536"/>
                <a:gd name="csX529" fmla="*/ 468800 w 640828"/>
                <a:gd name="csY529" fmla="*/ 304145 h 1827536"/>
                <a:gd name="csX530" fmla="*/ 468800 w 640828"/>
                <a:gd name="csY530" fmla="*/ 338627 h 1827536"/>
                <a:gd name="csX531" fmla="*/ 592189 w 640828"/>
                <a:gd name="csY531" fmla="*/ 338627 h 1827536"/>
                <a:gd name="csX532" fmla="*/ 592189 w 640828"/>
                <a:gd name="csY532" fmla="*/ 373109 h 1827536"/>
                <a:gd name="csX533" fmla="*/ 468800 w 640828"/>
                <a:gd name="csY533" fmla="*/ 373109 h 1827536"/>
                <a:gd name="csX534" fmla="*/ 468800 w 640828"/>
                <a:gd name="csY534" fmla="*/ 407591 h 1827536"/>
                <a:gd name="csX535" fmla="*/ 592189 w 640828"/>
                <a:gd name="csY535" fmla="*/ 407591 h 1827536"/>
                <a:gd name="csX536" fmla="*/ 592189 w 640828"/>
                <a:gd name="csY536" fmla="*/ 442073 h 1827536"/>
                <a:gd name="csX537" fmla="*/ 468800 w 640828"/>
                <a:gd name="csY537" fmla="*/ 442073 h 1827536"/>
                <a:gd name="csX538" fmla="*/ 468800 w 640828"/>
                <a:gd name="csY538" fmla="*/ 476555 h 1827536"/>
                <a:gd name="csX539" fmla="*/ 592189 w 640828"/>
                <a:gd name="csY539" fmla="*/ 476555 h 1827536"/>
                <a:gd name="csX540" fmla="*/ 592189 w 640828"/>
                <a:gd name="csY540" fmla="*/ 511037 h 1827536"/>
                <a:gd name="csX541" fmla="*/ 468800 w 640828"/>
                <a:gd name="csY541" fmla="*/ 511037 h 1827536"/>
                <a:gd name="csX542" fmla="*/ 468800 w 640828"/>
                <a:gd name="csY542" fmla="*/ 545519 h 1827536"/>
                <a:gd name="csX543" fmla="*/ 592189 w 640828"/>
                <a:gd name="csY543" fmla="*/ 545519 h 1827536"/>
                <a:gd name="csX544" fmla="*/ 592189 w 640828"/>
                <a:gd name="csY544" fmla="*/ 580001 h 1827536"/>
                <a:gd name="csX545" fmla="*/ 468800 w 640828"/>
                <a:gd name="csY545" fmla="*/ 580001 h 1827536"/>
                <a:gd name="csX546" fmla="*/ 468800 w 640828"/>
                <a:gd name="csY546" fmla="*/ 614483 h 1827536"/>
                <a:gd name="csX547" fmla="*/ 592189 w 640828"/>
                <a:gd name="csY547" fmla="*/ 614483 h 1827536"/>
                <a:gd name="csX548" fmla="*/ 592189 w 640828"/>
                <a:gd name="csY548" fmla="*/ 648959 h 1827536"/>
                <a:gd name="csX549" fmla="*/ 468800 w 640828"/>
                <a:gd name="csY549" fmla="*/ 648959 h 1827536"/>
                <a:gd name="csX550" fmla="*/ 468800 w 640828"/>
                <a:gd name="csY550" fmla="*/ 683447 h 1827536"/>
                <a:gd name="csX551" fmla="*/ 592189 w 640828"/>
                <a:gd name="csY551" fmla="*/ 683447 h 1827536"/>
                <a:gd name="csX552" fmla="*/ 592189 w 640828"/>
                <a:gd name="csY552" fmla="*/ 717929 h 1827536"/>
                <a:gd name="csX553" fmla="*/ 468800 w 640828"/>
                <a:gd name="csY553" fmla="*/ 717929 h 1827536"/>
                <a:gd name="csX554" fmla="*/ 468800 w 640828"/>
                <a:gd name="csY554" fmla="*/ 752411 h 1827536"/>
                <a:gd name="csX555" fmla="*/ 592189 w 640828"/>
                <a:gd name="csY555" fmla="*/ 752411 h 1827536"/>
                <a:gd name="csX556" fmla="*/ 592189 w 640828"/>
                <a:gd name="csY556" fmla="*/ 786893 h 1827536"/>
                <a:gd name="csX557" fmla="*/ 468800 w 640828"/>
                <a:gd name="csY557" fmla="*/ 786893 h 1827536"/>
                <a:gd name="csX558" fmla="*/ 468800 w 640828"/>
                <a:gd name="csY558" fmla="*/ 821375 h 1827536"/>
                <a:gd name="csX559" fmla="*/ 592189 w 640828"/>
                <a:gd name="csY559" fmla="*/ 821375 h 1827536"/>
                <a:gd name="csX560" fmla="*/ 592189 w 640828"/>
                <a:gd name="csY560" fmla="*/ 855857 h 1827536"/>
                <a:gd name="csX561" fmla="*/ 468800 w 640828"/>
                <a:gd name="csY561" fmla="*/ 855857 h 1827536"/>
                <a:gd name="csX562" fmla="*/ 468800 w 640828"/>
                <a:gd name="csY562" fmla="*/ 890334 h 1827536"/>
                <a:gd name="csX563" fmla="*/ 592189 w 640828"/>
                <a:gd name="csY563" fmla="*/ 890334 h 1827536"/>
                <a:gd name="csX564" fmla="*/ 592189 w 640828"/>
                <a:gd name="csY564" fmla="*/ 924821 h 1827536"/>
                <a:gd name="csX565" fmla="*/ 468800 w 640828"/>
                <a:gd name="csY565" fmla="*/ 924821 h 1827536"/>
                <a:gd name="csX566" fmla="*/ 468800 w 640828"/>
                <a:gd name="csY566" fmla="*/ 959303 h 1827536"/>
                <a:gd name="csX567" fmla="*/ 592189 w 640828"/>
                <a:gd name="csY567" fmla="*/ 959303 h 1827536"/>
                <a:gd name="csX568" fmla="*/ 592189 w 640828"/>
                <a:gd name="csY568" fmla="*/ 993785 h 1827536"/>
                <a:gd name="csX569" fmla="*/ 468800 w 640828"/>
                <a:gd name="csY569" fmla="*/ 993785 h 1827536"/>
                <a:gd name="csX570" fmla="*/ 468800 w 640828"/>
                <a:gd name="csY570" fmla="*/ 1028267 h 1827536"/>
                <a:gd name="csX571" fmla="*/ 592189 w 640828"/>
                <a:gd name="csY571" fmla="*/ 1028267 h 1827536"/>
                <a:gd name="csX572" fmla="*/ 592189 w 640828"/>
                <a:gd name="csY572" fmla="*/ 1062744 h 1827536"/>
                <a:gd name="csX573" fmla="*/ 468800 w 640828"/>
                <a:gd name="csY573" fmla="*/ 1062744 h 1827536"/>
                <a:gd name="csX574" fmla="*/ 468800 w 640828"/>
                <a:gd name="csY574" fmla="*/ 1097231 h 1827536"/>
                <a:gd name="csX575" fmla="*/ 592189 w 640828"/>
                <a:gd name="csY575" fmla="*/ 1097231 h 1827536"/>
                <a:gd name="csX576" fmla="*/ 592189 w 640828"/>
                <a:gd name="csY576" fmla="*/ 1131708 h 1827536"/>
                <a:gd name="csX577" fmla="*/ 468800 w 640828"/>
                <a:gd name="csY577" fmla="*/ 1131708 h 1827536"/>
                <a:gd name="csX578" fmla="*/ 468800 w 640828"/>
                <a:gd name="csY578" fmla="*/ 1166195 h 1827536"/>
                <a:gd name="csX579" fmla="*/ 592189 w 640828"/>
                <a:gd name="csY579" fmla="*/ 1166195 h 1827536"/>
                <a:gd name="csX580" fmla="*/ 592189 w 640828"/>
                <a:gd name="csY580" fmla="*/ 1200672 h 1827536"/>
                <a:gd name="csX581" fmla="*/ 468800 w 640828"/>
                <a:gd name="csY581" fmla="*/ 1200672 h 1827536"/>
                <a:gd name="csX582" fmla="*/ 468800 w 640828"/>
                <a:gd name="csY582" fmla="*/ 1235159 h 1827536"/>
                <a:gd name="csX583" fmla="*/ 592189 w 640828"/>
                <a:gd name="csY583" fmla="*/ 1235159 h 1827536"/>
                <a:gd name="csX584" fmla="*/ 592189 w 640828"/>
                <a:gd name="csY584" fmla="*/ 1269636 h 1827536"/>
                <a:gd name="csX585" fmla="*/ 468800 w 640828"/>
                <a:gd name="csY585" fmla="*/ 1269636 h 1827536"/>
                <a:gd name="csX586" fmla="*/ 468800 w 640828"/>
                <a:gd name="csY586" fmla="*/ 1304118 h 1827536"/>
                <a:gd name="csX587" fmla="*/ 592189 w 640828"/>
                <a:gd name="csY587" fmla="*/ 1304118 h 1827536"/>
                <a:gd name="csX588" fmla="*/ 592189 w 640828"/>
                <a:gd name="csY588" fmla="*/ 1338600 h 1827536"/>
                <a:gd name="csX589" fmla="*/ 468800 w 640828"/>
                <a:gd name="csY589" fmla="*/ 1338600 h 1827536"/>
                <a:gd name="csX590" fmla="*/ 468800 w 640828"/>
                <a:gd name="csY590" fmla="*/ 1373082 h 1827536"/>
                <a:gd name="csX591" fmla="*/ 592189 w 640828"/>
                <a:gd name="csY591" fmla="*/ 1373082 h 1827536"/>
                <a:gd name="csX592" fmla="*/ 592189 w 640828"/>
                <a:gd name="csY592" fmla="*/ 1407564 h 1827536"/>
                <a:gd name="csX593" fmla="*/ 468800 w 640828"/>
                <a:gd name="csY593" fmla="*/ 1407564 h 1827536"/>
                <a:gd name="csX594" fmla="*/ 468800 w 640828"/>
                <a:gd name="csY594" fmla="*/ 1442046 h 1827536"/>
                <a:gd name="csX595" fmla="*/ 592189 w 640828"/>
                <a:gd name="csY595" fmla="*/ 1442046 h 1827536"/>
                <a:gd name="csX596" fmla="*/ 592189 w 640828"/>
                <a:gd name="csY596" fmla="*/ 1476528 h 1827536"/>
                <a:gd name="csX597" fmla="*/ 468800 w 640828"/>
                <a:gd name="csY597" fmla="*/ 1476528 h 1827536"/>
                <a:gd name="csX598" fmla="*/ 468800 w 640828"/>
                <a:gd name="csY598" fmla="*/ 1511010 h 1827536"/>
                <a:gd name="csX599" fmla="*/ 592189 w 640828"/>
                <a:gd name="csY599" fmla="*/ 1511010 h 1827536"/>
                <a:gd name="csX600" fmla="*/ 592189 w 640828"/>
                <a:gd name="csY600" fmla="*/ 1545492 h 1827536"/>
                <a:gd name="csX601" fmla="*/ 468800 w 640828"/>
                <a:gd name="csY601" fmla="*/ 1545492 h 1827536"/>
                <a:gd name="csX602" fmla="*/ 468800 w 640828"/>
                <a:gd name="csY602" fmla="*/ 1579974 h 1827536"/>
                <a:gd name="csX603" fmla="*/ 592189 w 640828"/>
                <a:gd name="csY603" fmla="*/ 1579974 h 1827536"/>
                <a:gd name="csX604" fmla="*/ 592189 w 640828"/>
                <a:gd name="csY604" fmla="*/ 1614456 h 1827536"/>
                <a:gd name="csX605" fmla="*/ 468800 w 640828"/>
                <a:gd name="csY605" fmla="*/ 1614456 h 1827536"/>
                <a:gd name="csX606" fmla="*/ 468800 w 640828"/>
                <a:gd name="csY606" fmla="*/ 1648938 h 1827536"/>
                <a:gd name="csX607" fmla="*/ 592189 w 640828"/>
                <a:gd name="csY607" fmla="*/ 1648938 h 1827536"/>
                <a:gd name="csX608" fmla="*/ 592189 w 640828"/>
                <a:gd name="csY608" fmla="*/ 1683420 h 1827536"/>
                <a:gd name="csX609" fmla="*/ 468800 w 640828"/>
                <a:gd name="csY609" fmla="*/ 1683420 h 1827536"/>
                <a:gd name="csX610" fmla="*/ 468800 w 640828"/>
                <a:gd name="csY610" fmla="*/ 1717903 h 1827536"/>
                <a:gd name="csX611" fmla="*/ 592189 w 640828"/>
                <a:gd name="csY611" fmla="*/ 1717903 h 1827536"/>
                <a:gd name="csX612" fmla="*/ 592189 w 640828"/>
                <a:gd name="csY612" fmla="*/ 1786861 h 1827536"/>
                <a:gd name="csX613" fmla="*/ 592189 w 640828"/>
                <a:gd name="csY613" fmla="*/ 1752384 h 1827536"/>
                <a:gd name="csX614" fmla="*/ 468800 w 640828"/>
                <a:gd name="csY614" fmla="*/ 1752384 h 1827536"/>
                <a:gd name="csX615" fmla="*/ 468800 w 640828"/>
                <a:gd name="csY615" fmla="*/ 1786861 h 1827536"/>
                <a:gd name="csX616" fmla="*/ 448983 w 640828"/>
                <a:gd name="csY616" fmla="*/ 1786861 h 1827536"/>
                <a:gd name="csX617" fmla="*/ 448983 w 640828"/>
                <a:gd name="csY617" fmla="*/ 1752384 h 1827536"/>
                <a:gd name="csX618" fmla="*/ 325589 w 640828"/>
                <a:gd name="csY618" fmla="*/ 1752384 h 1827536"/>
                <a:gd name="csX619" fmla="*/ 325589 w 640828"/>
                <a:gd name="csY619" fmla="*/ 1786861 h 1827536"/>
                <a:gd name="csX620" fmla="*/ 305777 w 640828"/>
                <a:gd name="csY620" fmla="*/ 1786861 h 1827536"/>
                <a:gd name="csX621" fmla="*/ 305777 w 640828"/>
                <a:gd name="csY621" fmla="*/ 1752384 h 1827536"/>
                <a:gd name="csX622" fmla="*/ 182382 w 640828"/>
                <a:gd name="csY622" fmla="*/ 1752384 h 1827536"/>
                <a:gd name="csX623" fmla="*/ 182382 w 640828"/>
                <a:gd name="csY623" fmla="*/ 1786861 h 1827536"/>
                <a:gd name="csX624" fmla="*/ 162571 w 640828"/>
                <a:gd name="csY624" fmla="*/ 1786861 h 1827536"/>
                <a:gd name="csX625" fmla="*/ 162571 w 640828"/>
                <a:gd name="csY625" fmla="*/ 1752384 h 1827536"/>
                <a:gd name="csX626" fmla="*/ 39182 w 640828"/>
                <a:gd name="csY626" fmla="*/ 1752384 h 1827536"/>
                <a:gd name="csX627" fmla="*/ 39182 w 640828"/>
                <a:gd name="csY627" fmla="*/ 1786861 h 1827536"/>
                <a:gd name="csX628" fmla="*/ 162571 w 640828"/>
                <a:gd name="csY628" fmla="*/ 1786861 h 182753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 ang="0">
                  <a:pos x="csX97" y="csY97"/>
                </a:cxn>
                <a:cxn ang="0">
                  <a:pos x="csX98" y="csY98"/>
                </a:cxn>
                <a:cxn ang="0">
                  <a:pos x="csX99" y="csY99"/>
                </a:cxn>
                <a:cxn ang="0">
                  <a:pos x="csX100" y="csY100"/>
                </a:cxn>
                <a:cxn ang="0">
                  <a:pos x="csX101" y="csY101"/>
                </a:cxn>
                <a:cxn ang="0">
                  <a:pos x="csX102" y="csY102"/>
                </a:cxn>
                <a:cxn ang="0">
                  <a:pos x="csX103" y="csY103"/>
                </a:cxn>
                <a:cxn ang="0">
                  <a:pos x="csX104" y="csY104"/>
                </a:cxn>
                <a:cxn ang="0">
                  <a:pos x="csX105" y="csY105"/>
                </a:cxn>
                <a:cxn ang="0">
                  <a:pos x="csX106" y="csY106"/>
                </a:cxn>
                <a:cxn ang="0">
                  <a:pos x="csX107" y="csY107"/>
                </a:cxn>
                <a:cxn ang="0">
                  <a:pos x="csX108" y="csY108"/>
                </a:cxn>
                <a:cxn ang="0">
                  <a:pos x="csX109" y="csY109"/>
                </a:cxn>
                <a:cxn ang="0">
                  <a:pos x="csX110" y="csY110"/>
                </a:cxn>
                <a:cxn ang="0">
                  <a:pos x="csX111" y="csY111"/>
                </a:cxn>
                <a:cxn ang="0">
                  <a:pos x="csX112" y="csY112"/>
                </a:cxn>
                <a:cxn ang="0">
                  <a:pos x="csX113" y="csY113"/>
                </a:cxn>
                <a:cxn ang="0">
                  <a:pos x="csX114" y="csY114"/>
                </a:cxn>
                <a:cxn ang="0">
                  <a:pos x="csX115" y="csY115"/>
                </a:cxn>
                <a:cxn ang="0">
                  <a:pos x="csX116" y="csY116"/>
                </a:cxn>
                <a:cxn ang="0">
                  <a:pos x="csX117" y="csY117"/>
                </a:cxn>
                <a:cxn ang="0">
                  <a:pos x="csX118" y="csY118"/>
                </a:cxn>
                <a:cxn ang="0">
                  <a:pos x="csX119" y="csY119"/>
                </a:cxn>
                <a:cxn ang="0">
                  <a:pos x="csX120" y="csY120"/>
                </a:cxn>
                <a:cxn ang="0">
                  <a:pos x="csX121" y="csY121"/>
                </a:cxn>
                <a:cxn ang="0">
                  <a:pos x="csX122" y="csY122"/>
                </a:cxn>
                <a:cxn ang="0">
                  <a:pos x="csX123" y="csY123"/>
                </a:cxn>
                <a:cxn ang="0">
                  <a:pos x="csX124" y="csY124"/>
                </a:cxn>
                <a:cxn ang="0">
                  <a:pos x="csX125" y="csY125"/>
                </a:cxn>
                <a:cxn ang="0">
                  <a:pos x="csX126" y="csY126"/>
                </a:cxn>
                <a:cxn ang="0">
                  <a:pos x="csX127" y="csY127"/>
                </a:cxn>
                <a:cxn ang="0">
                  <a:pos x="csX128" y="csY128"/>
                </a:cxn>
                <a:cxn ang="0">
                  <a:pos x="csX129" y="csY129"/>
                </a:cxn>
                <a:cxn ang="0">
                  <a:pos x="csX130" y="csY130"/>
                </a:cxn>
                <a:cxn ang="0">
                  <a:pos x="csX131" y="csY131"/>
                </a:cxn>
                <a:cxn ang="0">
                  <a:pos x="csX132" y="csY132"/>
                </a:cxn>
                <a:cxn ang="0">
                  <a:pos x="csX133" y="csY133"/>
                </a:cxn>
                <a:cxn ang="0">
                  <a:pos x="csX134" y="csY134"/>
                </a:cxn>
                <a:cxn ang="0">
                  <a:pos x="csX135" y="csY135"/>
                </a:cxn>
                <a:cxn ang="0">
                  <a:pos x="csX136" y="csY136"/>
                </a:cxn>
                <a:cxn ang="0">
                  <a:pos x="csX137" y="csY137"/>
                </a:cxn>
                <a:cxn ang="0">
                  <a:pos x="csX138" y="csY138"/>
                </a:cxn>
                <a:cxn ang="0">
                  <a:pos x="csX139" y="csY139"/>
                </a:cxn>
                <a:cxn ang="0">
                  <a:pos x="csX140" y="csY140"/>
                </a:cxn>
                <a:cxn ang="0">
                  <a:pos x="csX141" y="csY141"/>
                </a:cxn>
                <a:cxn ang="0">
                  <a:pos x="csX142" y="csY142"/>
                </a:cxn>
                <a:cxn ang="0">
                  <a:pos x="csX143" y="csY143"/>
                </a:cxn>
                <a:cxn ang="0">
                  <a:pos x="csX144" y="csY144"/>
                </a:cxn>
                <a:cxn ang="0">
                  <a:pos x="csX145" y="csY145"/>
                </a:cxn>
                <a:cxn ang="0">
                  <a:pos x="csX146" y="csY146"/>
                </a:cxn>
                <a:cxn ang="0">
                  <a:pos x="csX147" y="csY147"/>
                </a:cxn>
                <a:cxn ang="0">
                  <a:pos x="csX148" y="csY148"/>
                </a:cxn>
                <a:cxn ang="0">
                  <a:pos x="csX149" y="csY149"/>
                </a:cxn>
                <a:cxn ang="0">
                  <a:pos x="csX150" y="csY150"/>
                </a:cxn>
                <a:cxn ang="0">
                  <a:pos x="csX151" y="csY151"/>
                </a:cxn>
                <a:cxn ang="0">
                  <a:pos x="csX152" y="csY152"/>
                </a:cxn>
                <a:cxn ang="0">
                  <a:pos x="csX153" y="csY153"/>
                </a:cxn>
                <a:cxn ang="0">
                  <a:pos x="csX154" y="csY154"/>
                </a:cxn>
                <a:cxn ang="0">
                  <a:pos x="csX155" y="csY155"/>
                </a:cxn>
                <a:cxn ang="0">
                  <a:pos x="csX156" y="csY156"/>
                </a:cxn>
                <a:cxn ang="0">
                  <a:pos x="csX157" y="csY157"/>
                </a:cxn>
                <a:cxn ang="0">
                  <a:pos x="csX158" y="csY158"/>
                </a:cxn>
                <a:cxn ang="0">
                  <a:pos x="csX159" y="csY159"/>
                </a:cxn>
                <a:cxn ang="0">
                  <a:pos x="csX160" y="csY160"/>
                </a:cxn>
                <a:cxn ang="0">
                  <a:pos x="csX161" y="csY161"/>
                </a:cxn>
                <a:cxn ang="0">
                  <a:pos x="csX162" y="csY162"/>
                </a:cxn>
                <a:cxn ang="0">
                  <a:pos x="csX163" y="csY163"/>
                </a:cxn>
                <a:cxn ang="0">
                  <a:pos x="csX164" y="csY164"/>
                </a:cxn>
                <a:cxn ang="0">
                  <a:pos x="csX165" y="csY165"/>
                </a:cxn>
                <a:cxn ang="0">
                  <a:pos x="csX166" y="csY166"/>
                </a:cxn>
                <a:cxn ang="0">
                  <a:pos x="csX167" y="csY167"/>
                </a:cxn>
                <a:cxn ang="0">
                  <a:pos x="csX168" y="csY168"/>
                </a:cxn>
                <a:cxn ang="0">
                  <a:pos x="csX169" y="csY169"/>
                </a:cxn>
                <a:cxn ang="0">
                  <a:pos x="csX170" y="csY170"/>
                </a:cxn>
                <a:cxn ang="0">
                  <a:pos x="csX171" y="csY171"/>
                </a:cxn>
                <a:cxn ang="0">
                  <a:pos x="csX172" y="csY172"/>
                </a:cxn>
                <a:cxn ang="0">
                  <a:pos x="csX173" y="csY173"/>
                </a:cxn>
                <a:cxn ang="0">
                  <a:pos x="csX174" y="csY174"/>
                </a:cxn>
                <a:cxn ang="0">
                  <a:pos x="csX175" y="csY175"/>
                </a:cxn>
                <a:cxn ang="0">
                  <a:pos x="csX176" y="csY176"/>
                </a:cxn>
                <a:cxn ang="0">
                  <a:pos x="csX177" y="csY177"/>
                </a:cxn>
                <a:cxn ang="0">
                  <a:pos x="csX178" y="csY178"/>
                </a:cxn>
                <a:cxn ang="0">
                  <a:pos x="csX179" y="csY179"/>
                </a:cxn>
                <a:cxn ang="0">
                  <a:pos x="csX180" y="csY180"/>
                </a:cxn>
                <a:cxn ang="0">
                  <a:pos x="csX181" y="csY181"/>
                </a:cxn>
                <a:cxn ang="0">
                  <a:pos x="csX182" y="csY182"/>
                </a:cxn>
                <a:cxn ang="0">
                  <a:pos x="csX183" y="csY183"/>
                </a:cxn>
                <a:cxn ang="0">
                  <a:pos x="csX184" y="csY184"/>
                </a:cxn>
                <a:cxn ang="0">
                  <a:pos x="csX185" y="csY185"/>
                </a:cxn>
                <a:cxn ang="0">
                  <a:pos x="csX186" y="csY186"/>
                </a:cxn>
                <a:cxn ang="0">
                  <a:pos x="csX187" y="csY187"/>
                </a:cxn>
                <a:cxn ang="0">
                  <a:pos x="csX188" y="csY188"/>
                </a:cxn>
                <a:cxn ang="0">
                  <a:pos x="csX189" y="csY189"/>
                </a:cxn>
                <a:cxn ang="0">
                  <a:pos x="csX190" y="csY190"/>
                </a:cxn>
                <a:cxn ang="0">
                  <a:pos x="csX191" y="csY191"/>
                </a:cxn>
                <a:cxn ang="0">
                  <a:pos x="csX192" y="csY192"/>
                </a:cxn>
                <a:cxn ang="0">
                  <a:pos x="csX193" y="csY193"/>
                </a:cxn>
                <a:cxn ang="0">
                  <a:pos x="csX194" y="csY194"/>
                </a:cxn>
                <a:cxn ang="0">
                  <a:pos x="csX195" y="csY195"/>
                </a:cxn>
                <a:cxn ang="0">
                  <a:pos x="csX196" y="csY196"/>
                </a:cxn>
                <a:cxn ang="0">
                  <a:pos x="csX197" y="csY197"/>
                </a:cxn>
                <a:cxn ang="0">
                  <a:pos x="csX198" y="csY198"/>
                </a:cxn>
                <a:cxn ang="0">
                  <a:pos x="csX199" y="csY199"/>
                </a:cxn>
                <a:cxn ang="0">
                  <a:pos x="csX200" y="csY200"/>
                </a:cxn>
                <a:cxn ang="0">
                  <a:pos x="csX201" y="csY201"/>
                </a:cxn>
                <a:cxn ang="0">
                  <a:pos x="csX202" y="csY202"/>
                </a:cxn>
                <a:cxn ang="0">
                  <a:pos x="csX203" y="csY203"/>
                </a:cxn>
                <a:cxn ang="0">
                  <a:pos x="csX204" y="csY204"/>
                </a:cxn>
                <a:cxn ang="0">
                  <a:pos x="csX205" y="csY205"/>
                </a:cxn>
                <a:cxn ang="0">
                  <a:pos x="csX206" y="csY206"/>
                </a:cxn>
                <a:cxn ang="0">
                  <a:pos x="csX207" y="csY207"/>
                </a:cxn>
                <a:cxn ang="0">
                  <a:pos x="csX208" y="csY208"/>
                </a:cxn>
                <a:cxn ang="0">
                  <a:pos x="csX209" y="csY209"/>
                </a:cxn>
                <a:cxn ang="0">
                  <a:pos x="csX210" y="csY210"/>
                </a:cxn>
                <a:cxn ang="0">
                  <a:pos x="csX211" y="csY211"/>
                </a:cxn>
                <a:cxn ang="0">
                  <a:pos x="csX212" y="csY212"/>
                </a:cxn>
                <a:cxn ang="0">
                  <a:pos x="csX213" y="csY213"/>
                </a:cxn>
                <a:cxn ang="0">
                  <a:pos x="csX214" y="csY214"/>
                </a:cxn>
                <a:cxn ang="0">
                  <a:pos x="csX215" y="csY215"/>
                </a:cxn>
                <a:cxn ang="0">
                  <a:pos x="csX216" y="csY216"/>
                </a:cxn>
                <a:cxn ang="0">
                  <a:pos x="csX217" y="csY217"/>
                </a:cxn>
                <a:cxn ang="0">
                  <a:pos x="csX218" y="csY218"/>
                </a:cxn>
                <a:cxn ang="0">
                  <a:pos x="csX219" y="csY219"/>
                </a:cxn>
                <a:cxn ang="0">
                  <a:pos x="csX220" y="csY220"/>
                </a:cxn>
                <a:cxn ang="0">
                  <a:pos x="csX221" y="csY221"/>
                </a:cxn>
                <a:cxn ang="0">
                  <a:pos x="csX222" y="csY222"/>
                </a:cxn>
                <a:cxn ang="0">
                  <a:pos x="csX223" y="csY223"/>
                </a:cxn>
                <a:cxn ang="0">
                  <a:pos x="csX224" y="csY224"/>
                </a:cxn>
                <a:cxn ang="0">
                  <a:pos x="csX225" y="csY225"/>
                </a:cxn>
                <a:cxn ang="0">
                  <a:pos x="csX226" y="csY226"/>
                </a:cxn>
                <a:cxn ang="0">
                  <a:pos x="csX227" y="csY227"/>
                </a:cxn>
                <a:cxn ang="0">
                  <a:pos x="csX228" y="csY228"/>
                </a:cxn>
                <a:cxn ang="0">
                  <a:pos x="csX229" y="csY229"/>
                </a:cxn>
                <a:cxn ang="0">
                  <a:pos x="csX230" y="csY230"/>
                </a:cxn>
                <a:cxn ang="0">
                  <a:pos x="csX231" y="csY231"/>
                </a:cxn>
                <a:cxn ang="0">
                  <a:pos x="csX232" y="csY232"/>
                </a:cxn>
                <a:cxn ang="0">
                  <a:pos x="csX233" y="csY233"/>
                </a:cxn>
                <a:cxn ang="0">
                  <a:pos x="csX234" y="csY234"/>
                </a:cxn>
                <a:cxn ang="0">
                  <a:pos x="csX235" y="csY235"/>
                </a:cxn>
                <a:cxn ang="0">
                  <a:pos x="csX236" y="csY236"/>
                </a:cxn>
                <a:cxn ang="0">
                  <a:pos x="csX237" y="csY237"/>
                </a:cxn>
                <a:cxn ang="0">
                  <a:pos x="csX238" y="csY238"/>
                </a:cxn>
                <a:cxn ang="0">
                  <a:pos x="csX239" y="csY239"/>
                </a:cxn>
                <a:cxn ang="0">
                  <a:pos x="csX240" y="csY240"/>
                </a:cxn>
                <a:cxn ang="0">
                  <a:pos x="csX241" y="csY241"/>
                </a:cxn>
                <a:cxn ang="0">
                  <a:pos x="csX242" y="csY242"/>
                </a:cxn>
                <a:cxn ang="0">
                  <a:pos x="csX243" y="csY243"/>
                </a:cxn>
                <a:cxn ang="0">
                  <a:pos x="csX244" y="csY244"/>
                </a:cxn>
                <a:cxn ang="0">
                  <a:pos x="csX245" y="csY245"/>
                </a:cxn>
                <a:cxn ang="0">
                  <a:pos x="csX246" y="csY246"/>
                </a:cxn>
                <a:cxn ang="0">
                  <a:pos x="csX247" y="csY247"/>
                </a:cxn>
                <a:cxn ang="0">
                  <a:pos x="csX248" y="csY248"/>
                </a:cxn>
                <a:cxn ang="0">
                  <a:pos x="csX249" y="csY249"/>
                </a:cxn>
                <a:cxn ang="0">
                  <a:pos x="csX250" y="csY250"/>
                </a:cxn>
                <a:cxn ang="0">
                  <a:pos x="csX251" y="csY251"/>
                </a:cxn>
                <a:cxn ang="0">
                  <a:pos x="csX252" y="csY252"/>
                </a:cxn>
                <a:cxn ang="0">
                  <a:pos x="csX253" y="csY253"/>
                </a:cxn>
                <a:cxn ang="0">
                  <a:pos x="csX254" y="csY254"/>
                </a:cxn>
                <a:cxn ang="0">
                  <a:pos x="csX255" y="csY255"/>
                </a:cxn>
                <a:cxn ang="0">
                  <a:pos x="csX256" y="csY256"/>
                </a:cxn>
                <a:cxn ang="0">
                  <a:pos x="csX257" y="csY257"/>
                </a:cxn>
                <a:cxn ang="0">
                  <a:pos x="csX258" y="csY258"/>
                </a:cxn>
                <a:cxn ang="0">
                  <a:pos x="csX259" y="csY259"/>
                </a:cxn>
                <a:cxn ang="0">
                  <a:pos x="csX260" y="csY260"/>
                </a:cxn>
                <a:cxn ang="0">
                  <a:pos x="csX261" y="csY261"/>
                </a:cxn>
                <a:cxn ang="0">
                  <a:pos x="csX262" y="csY262"/>
                </a:cxn>
                <a:cxn ang="0">
                  <a:pos x="csX263" y="csY263"/>
                </a:cxn>
                <a:cxn ang="0">
                  <a:pos x="csX264" y="csY264"/>
                </a:cxn>
                <a:cxn ang="0">
                  <a:pos x="csX265" y="csY265"/>
                </a:cxn>
                <a:cxn ang="0">
                  <a:pos x="csX266" y="csY266"/>
                </a:cxn>
                <a:cxn ang="0">
                  <a:pos x="csX267" y="csY267"/>
                </a:cxn>
                <a:cxn ang="0">
                  <a:pos x="csX268" y="csY268"/>
                </a:cxn>
                <a:cxn ang="0">
                  <a:pos x="csX269" y="csY269"/>
                </a:cxn>
                <a:cxn ang="0">
                  <a:pos x="csX270" y="csY270"/>
                </a:cxn>
                <a:cxn ang="0">
                  <a:pos x="csX271" y="csY271"/>
                </a:cxn>
                <a:cxn ang="0">
                  <a:pos x="csX272" y="csY272"/>
                </a:cxn>
                <a:cxn ang="0">
                  <a:pos x="csX273" y="csY273"/>
                </a:cxn>
                <a:cxn ang="0">
                  <a:pos x="csX274" y="csY274"/>
                </a:cxn>
                <a:cxn ang="0">
                  <a:pos x="csX275" y="csY275"/>
                </a:cxn>
                <a:cxn ang="0">
                  <a:pos x="csX276" y="csY276"/>
                </a:cxn>
                <a:cxn ang="0">
                  <a:pos x="csX277" y="csY277"/>
                </a:cxn>
                <a:cxn ang="0">
                  <a:pos x="csX278" y="csY278"/>
                </a:cxn>
                <a:cxn ang="0">
                  <a:pos x="csX279" y="csY279"/>
                </a:cxn>
                <a:cxn ang="0">
                  <a:pos x="csX280" y="csY280"/>
                </a:cxn>
                <a:cxn ang="0">
                  <a:pos x="csX281" y="csY281"/>
                </a:cxn>
                <a:cxn ang="0">
                  <a:pos x="csX282" y="csY282"/>
                </a:cxn>
                <a:cxn ang="0">
                  <a:pos x="csX283" y="csY283"/>
                </a:cxn>
                <a:cxn ang="0">
                  <a:pos x="csX284" y="csY284"/>
                </a:cxn>
                <a:cxn ang="0">
                  <a:pos x="csX285" y="csY285"/>
                </a:cxn>
                <a:cxn ang="0">
                  <a:pos x="csX286" y="csY286"/>
                </a:cxn>
                <a:cxn ang="0">
                  <a:pos x="csX287" y="csY287"/>
                </a:cxn>
                <a:cxn ang="0">
                  <a:pos x="csX288" y="csY288"/>
                </a:cxn>
                <a:cxn ang="0">
                  <a:pos x="csX289" y="csY289"/>
                </a:cxn>
                <a:cxn ang="0">
                  <a:pos x="csX290" y="csY290"/>
                </a:cxn>
                <a:cxn ang="0">
                  <a:pos x="csX291" y="csY291"/>
                </a:cxn>
                <a:cxn ang="0">
                  <a:pos x="csX292" y="csY292"/>
                </a:cxn>
                <a:cxn ang="0">
                  <a:pos x="csX293" y="csY293"/>
                </a:cxn>
                <a:cxn ang="0">
                  <a:pos x="csX294" y="csY294"/>
                </a:cxn>
                <a:cxn ang="0">
                  <a:pos x="csX295" y="csY295"/>
                </a:cxn>
                <a:cxn ang="0">
                  <a:pos x="csX296" y="csY296"/>
                </a:cxn>
                <a:cxn ang="0">
                  <a:pos x="csX297" y="csY297"/>
                </a:cxn>
                <a:cxn ang="0">
                  <a:pos x="csX298" y="csY298"/>
                </a:cxn>
                <a:cxn ang="0">
                  <a:pos x="csX299" y="csY299"/>
                </a:cxn>
                <a:cxn ang="0">
                  <a:pos x="csX300" y="csY300"/>
                </a:cxn>
                <a:cxn ang="0">
                  <a:pos x="csX301" y="csY301"/>
                </a:cxn>
                <a:cxn ang="0">
                  <a:pos x="csX302" y="csY302"/>
                </a:cxn>
                <a:cxn ang="0">
                  <a:pos x="csX303" y="csY303"/>
                </a:cxn>
                <a:cxn ang="0">
                  <a:pos x="csX304" y="csY304"/>
                </a:cxn>
                <a:cxn ang="0">
                  <a:pos x="csX305" y="csY305"/>
                </a:cxn>
                <a:cxn ang="0">
                  <a:pos x="csX306" y="csY306"/>
                </a:cxn>
                <a:cxn ang="0">
                  <a:pos x="csX307" y="csY307"/>
                </a:cxn>
                <a:cxn ang="0">
                  <a:pos x="csX308" y="csY308"/>
                </a:cxn>
                <a:cxn ang="0">
                  <a:pos x="csX309" y="csY309"/>
                </a:cxn>
                <a:cxn ang="0">
                  <a:pos x="csX310" y="csY310"/>
                </a:cxn>
                <a:cxn ang="0">
                  <a:pos x="csX311" y="csY311"/>
                </a:cxn>
                <a:cxn ang="0">
                  <a:pos x="csX312" y="csY312"/>
                </a:cxn>
                <a:cxn ang="0">
                  <a:pos x="csX313" y="csY313"/>
                </a:cxn>
                <a:cxn ang="0">
                  <a:pos x="csX314" y="csY314"/>
                </a:cxn>
                <a:cxn ang="0">
                  <a:pos x="csX315" y="csY315"/>
                </a:cxn>
                <a:cxn ang="0">
                  <a:pos x="csX316" y="csY316"/>
                </a:cxn>
                <a:cxn ang="0">
                  <a:pos x="csX317" y="csY317"/>
                </a:cxn>
                <a:cxn ang="0">
                  <a:pos x="csX318" y="csY318"/>
                </a:cxn>
                <a:cxn ang="0">
                  <a:pos x="csX319" y="csY319"/>
                </a:cxn>
                <a:cxn ang="0">
                  <a:pos x="csX320" y="csY320"/>
                </a:cxn>
                <a:cxn ang="0">
                  <a:pos x="csX321" y="csY321"/>
                </a:cxn>
                <a:cxn ang="0">
                  <a:pos x="csX322" y="csY322"/>
                </a:cxn>
                <a:cxn ang="0">
                  <a:pos x="csX323" y="csY323"/>
                </a:cxn>
                <a:cxn ang="0">
                  <a:pos x="csX324" y="csY324"/>
                </a:cxn>
                <a:cxn ang="0">
                  <a:pos x="csX325" y="csY325"/>
                </a:cxn>
                <a:cxn ang="0">
                  <a:pos x="csX326" y="csY326"/>
                </a:cxn>
                <a:cxn ang="0">
                  <a:pos x="csX327" y="csY327"/>
                </a:cxn>
                <a:cxn ang="0">
                  <a:pos x="csX328" y="csY328"/>
                </a:cxn>
                <a:cxn ang="0">
                  <a:pos x="csX329" y="csY329"/>
                </a:cxn>
                <a:cxn ang="0">
                  <a:pos x="csX330" y="csY330"/>
                </a:cxn>
                <a:cxn ang="0">
                  <a:pos x="csX331" y="csY331"/>
                </a:cxn>
                <a:cxn ang="0">
                  <a:pos x="csX332" y="csY332"/>
                </a:cxn>
                <a:cxn ang="0">
                  <a:pos x="csX333" y="csY333"/>
                </a:cxn>
                <a:cxn ang="0">
                  <a:pos x="csX334" y="csY334"/>
                </a:cxn>
                <a:cxn ang="0">
                  <a:pos x="csX335" y="csY335"/>
                </a:cxn>
                <a:cxn ang="0">
                  <a:pos x="csX336" y="csY336"/>
                </a:cxn>
                <a:cxn ang="0">
                  <a:pos x="csX337" y="csY337"/>
                </a:cxn>
                <a:cxn ang="0">
                  <a:pos x="csX338" y="csY338"/>
                </a:cxn>
                <a:cxn ang="0">
                  <a:pos x="csX339" y="csY339"/>
                </a:cxn>
                <a:cxn ang="0">
                  <a:pos x="csX340" y="csY340"/>
                </a:cxn>
                <a:cxn ang="0">
                  <a:pos x="csX341" y="csY341"/>
                </a:cxn>
                <a:cxn ang="0">
                  <a:pos x="csX342" y="csY342"/>
                </a:cxn>
                <a:cxn ang="0">
                  <a:pos x="csX343" y="csY343"/>
                </a:cxn>
                <a:cxn ang="0">
                  <a:pos x="csX344" y="csY344"/>
                </a:cxn>
                <a:cxn ang="0">
                  <a:pos x="csX345" y="csY345"/>
                </a:cxn>
                <a:cxn ang="0">
                  <a:pos x="csX346" y="csY346"/>
                </a:cxn>
                <a:cxn ang="0">
                  <a:pos x="csX347" y="csY347"/>
                </a:cxn>
                <a:cxn ang="0">
                  <a:pos x="csX348" y="csY348"/>
                </a:cxn>
                <a:cxn ang="0">
                  <a:pos x="csX349" y="csY349"/>
                </a:cxn>
                <a:cxn ang="0">
                  <a:pos x="csX350" y="csY350"/>
                </a:cxn>
                <a:cxn ang="0">
                  <a:pos x="csX351" y="csY351"/>
                </a:cxn>
                <a:cxn ang="0">
                  <a:pos x="csX352" y="csY352"/>
                </a:cxn>
                <a:cxn ang="0">
                  <a:pos x="csX353" y="csY353"/>
                </a:cxn>
                <a:cxn ang="0">
                  <a:pos x="csX354" y="csY354"/>
                </a:cxn>
                <a:cxn ang="0">
                  <a:pos x="csX355" y="csY355"/>
                </a:cxn>
                <a:cxn ang="0">
                  <a:pos x="csX356" y="csY356"/>
                </a:cxn>
                <a:cxn ang="0">
                  <a:pos x="csX357" y="csY357"/>
                </a:cxn>
                <a:cxn ang="0">
                  <a:pos x="csX358" y="csY358"/>
                </a:cxn>
                <a:cxn ang="0">
                  <a:pos x="csX359" y="csY359"/>
                </a:cxn>
                <a:cxn ang="0">
                  <a:pos x="csX360" y="csY360"/>
                </a:cxn>
                <a:cxn ang="0">
                  <a:pos x="csX361" y="csY361"/>
                </a:cxn>
                <a:cxn ang="0">
                  <a:pos x="csX362" y="csY362"/>
                </a:cxn>
                <a:cxn ang="0">
                  <a:pos x="csX363" y="csY363"/>
                </a:cxn>
                <a:cxn ang="0">
                  <a:pos x="csX364" y="csY364"/>
                </a:cxn>
                <a:cxn ang="0">
                  <a:pos x="csX365" y="csY365"/>
                </a:cxn>
                <a:cxn ang="0">
                  <a:pos x="csX366" y="csY366"/>
                </a:cxn>
                <a:cxn ang="0">
                  <a:pos x="csX367" y="csY367"/>
                </a:cxn>
                <a:cxn ang="0">
                  <a:pos x="csX368" y="csY368"/>
                </a:cxn>
                <a:cxn ang="0">
                  <a:pos x="csX369" y="csY369"/>
                </a:cxn>
                <a:cxn ang="0">
                  <a:pos x="csX370" y="csY370"/>
                </a:cxn>
                <a:cxn ang="0">
                  <a:pos x="csX371" y="csY371"/>
                </a:cxn>
                <a:cxn ang="0">
                  <a:pos x="csX372" y="csY372"/>
                </a:cxn>
                <a:cxn ang="0">
                  <a:pos x="csX373" y="csY373"/>
                </a:cxn>
                <a:cxn ang="0">
                  <a:pos x="csX374" y="csY374"/>
                </a:cxn>
                <a:cxn ang="0">
                  <a:pos x="csX375" y="csY375"/>
                </a:cxn>
                <a:cxn ang="0">
                  <a:pos x="csX376" y="csY376"/>
                </a:cxn>
                <a:cxn ang="0">
                  <a:pos x="csX377" y="csY377"/>
                </a:cxn>
                <a:cxn ang="0">
                  <a:pos x="csX378" y="csY378"/>
                </a:cxn>
                <a:cxn ang="0">
                  <a:pos x="csX379" y="csY379"/>
                </a:cxn>
                <a:cxn ang="0">
                  <a:pos x="csX380" y="csY380"/>
                </a:cxn>
                <a:cxn ang="0">
                  <a:pos x="csX381" y="csY381"/>
                </a:cxn>
                <a:cxn ang="0">
                  <a:pos x="csX382" y="csY382"/>
                </a:cxn>
                <a:cxn ang="0">
                  <a:pos x="csX383" y="csY383"/>
                </a:cxn>
                <a:cxn ang="0">
                  <a:pos x="csX384" y="csY384"/>
                </a:cxn>
                <a:cxn ang="0">
                  <a:pos x="csX385" y="csY385"/>
                </a:cxn>
                <a:cxn ang="0">
                  <a:pos x="csX386" y="csY386"/>
                </a:cxn>
                <a:cxn ang="0">
                  <a:pos x="csX387" y="csY387"/>
                </a:cxn>
                <a:cxn ang="0">
                  <a:pos x="csX388" y="csY388"/>
                </a:cxn>
                <a:cxn ang="0">
                  <a:pos x="csX389" y="csY389"/>
                </a:cxn>
                <a:cxn ang="0">
                  <a:pos x="csX390" y="csY390"/>
                </a:cxn>
                <a:cxn ang="0">
                  <a:pos x="csX391" y="csY391"/>
                </a:cxn>
                <a:cxn ang="0">
                  <a:pos x="csX392" y="csY392"/>
                </a:cxn>
                <a:cxn ang="0">
                  <a:pos x="csX393" y="csY393"/>
                </a:cxn>
                <a:cxn ang="0">
                  <a:pos x="csX394" y="csY394"/>
                </a:cxn>
                <a:cxn ang="0">
                  <a:pos x="csX395" y="csY395"/>
                </a:cxn>
                <a:cxn ang="0">
                  <a:pos x="csX396" y="csY396"/>
                </a:cxn>
                <a:cxn ang="0">
                  <a:pos x="csX397" y="csY397"/>
                </a:cxn>
                <a:cxn ang="0">
                  <a:pos x="csX398" y="csY398"/>
                </a:cxn>
                <a:cxn ang="0">
                  <a:pos x="csX399" y="csY399"/>
                </a:cxn>
                <a:cxn ang="0">
                  <a:pos x="csX400" y="csY400"/>
                </a:cxn>
                <a:cxn ang="0">
                  <a:pos x="csX401" y="csY401"/>
                </a:cxn>
                <a:cxn ang="0">
                  <a:pos x="csX402" y="csY402"/>
                </a:cxn>
                <a:cxn ang="0">
                  <a:pos x="csX403" y="csY403"/>
                </a:cxn>
                <a:cxn ang="0">
                  <a:pos x="csX404" y="csY404"/>
                </a:cxn>
                <a:cxn ang="0">
                  <a:pos x="csX405" y="csY405"/>
                </a:cxn>
                <a:cxn ang="0">
                  <a:pos x="csX406" y="csY406"/>
                </a:cxn>
                <a:cxn ang="0">
                  <a:pos x="csX407" y="csY407"/>
                </a:cxn>
                <a:cxn ang="0">
                  <a:pos x="csX408" y="csY408"/>
                </a:cxn>
                <a:cxn ang="0">
                  <a:pos x="csX409" y="csY409"/>
                </a:cxn>
                <a:cxn ang="0">
                  <a:pos x="csX410" y="csY410"/>
                </a:cxn>
                <a:cxn ang="0">
                  <a:pos x="csX411" y="csY411"/>
                </a:cxn>
                <a:cxn ang="0">
                  <a:pos x="csX412" y="csY412"/>
                </a:cxn>
                <a:cxn ang="0">
                  <a:pos x="csX413" y="csY413"/>
                </a:cxn>
                <a:cxn ang="0">
                  <a:pos x="csX414" y="csY414"/>
                </a:cxn>
                <a:cxn ang="0">
                  <a:pos x="csX415" y="csY415"/>
                </a:cxn>
                <a:cxn ang="0">
                  <a:pos x="csX416" y="csY416"/>
                </a:cxn>
                <a:cxn ang="0">
                  <a:pos x="csX417" y="csY417"/>
                </a:cxn>
                <a:cxn ang="0">
                  <a:pos x="csX418" y="csY418"/>
                </a:cxn>
                <a:cxn ang="0">
                  <a:pos x="csX419" y="csY419"/>
                </a:cxn>
                <a:cxn ang="0">
                  <a:pos x="csX420" y="csY420"/>
                </a:cxn>
                <a:cxn ang="0">
                  <a:pos x="csX421" y="csY421"/>
                </a:cxn>
                <a:cxn ang="0">
                  <a:pos x="csX422" y="csY422"/>
                </a:cxn>
                <a:cxn ang="0">
                  <a:pos x="csX423" y="csY423"/>
                </a:cxn>
                <a:cxn ang="0">
                  <a:pos x="csX424" y="csY424"/>
                </a:cxn>
                <a:cxn ang="0">
                  <a:pos x="csX425" y="csY425"/>
                </a:cxn>
                <a:cxn ang="0">
                  <a:pos x="csX426" y="csY426"/>
                </a:cxn>
                <a:cxn ang="0">
                  <a:pos x="csX427" y="csY427"/>
                </a:cxn>
                <a:cxn ang="0">
                  <a:pos x="csX428" y="csY428"/>
                </a:cxn>
                <a:cxn ang="0">
                  <a:pos x="csX429" y="csY429"/>
                </a:cxn>
                <a:cxn ang="0">
                  <a:pos x="csX430" y="csY430"/>
                </a:cxn>
                <a:cxn ang="0">
                  <a:pos x="csX431" y="csY431"/>
                </a:cxn>
                <a:cxn ang="0">
                  <a:pos x="csX432" y="csY432"/>
                </a:cxn>
                <a:cxn ang="0">
                  <a:pos x="csX433" y="csY433"/>
                </a:cxn>
                <a:cxn ang="0">
                  <a:pos x="csX434" y="csY434"/>
                </a:cxn>
                <a:cxn ang="0">
                  <a:pos x="csX435" y="csY435"/>
                </a:cxn>
                <a:cxn ang="0">
                  <a:pos x="csX436" y="csY436"/>
                </a:cxn>
                <a:cxn ang="0">
                  <a:pos x="csX437" y="csY437"/>
                </a:cxn>
                <a:cxn ang="0">
                  <a:pos x="csX438" y="csY438"/>
                </a:cxn>
                <a:cxn ang="0">
                  <a:pos x="csX439" y="csY439"/>
                </a:cxn>
                <a:cxn ang="0">
                  <a:pos x="csX440" y="csY440"/>
                </a:cxn>
                <a:cxn ang="0">
                  <a:pos x="csX441" y="csY441"/>
                </a:cxn>
                <a:cxn ang="0">
                  <a:pos x="csX442" y="csY442"/>
                </a:cxn>
                <a:cxn ang="0">
                  <a:pos x="csX443" y="csY443"/>
                </a:cxn>
                <a:cxn ang="0">
                  <a:pos x="csX444" y="csY444"/>
                </a:cxn>
                <a:cxn ang="0">
                  <a:pos x="csX445" y="csY445"/>
                </a:cxn>
                <a:cxn ang="0">
                  <a:pos x="csX446" y="csY446"/>
                </a:cxn>
                <a:cxn ang="0">
                  <a:pos x="csX447" y="csY447"/>
                </a:cxn>
                <a:cxn ang="0">
                  <a:pos x="csX448" y="csY448"/>
                </a:cxn>
                <a:cxn ang="0">
                  <a:pos x="csX449" y="csY449"/>
                </a:cxn>
                <a:cxn ang="0">
                  <a:pos x="csX450" y="csY450"/>
                </a:cxn>
                <a:cxn ang="0">
                  <a:pos x="csX451" y="csY451"/>
                </a:cxn>
                <a:cxn ang="0">
                  <a:pos x="csX452" y="csY452"/>
                </a:cxn>
                <a:cxn ang="0">
                  <a:pos x="csX453" y="csY453"/>
                </a:cxn>
                <a:cxn ang="0">
                  <a:pos x="csX454" y="csY454"/>
                </a:cxn>
                <a:cxn ang="0">
                  <a:pos x="csX455" y="csY455"/>
                </a:cxn>
                <a:cxn ang="0">
                  <a:pos x="csX456" y="csY456"/>
                </a:cxn>
                <a:cxn ang="0">
                  <a:pos x="csX457" y="csY457"/>
                </a:cxn>
                <a:cxn ang="0">
                  <a:pos x="csX458" y="csY458"/>
                </a:cxn>
                <a:cxn ang="0">
                  <a:pos x="csX459" y="csY459"/>
                </a:cxn>
                <a:cxn ang="0">
                  <a:pos x="csX460" y="csY460"/>
                </a:cxn>
                <a:cxn ang="0">
                  <a:pos x="csX461" y="csY461"/>
                </a:cxn>
                <a:cxn ang="0">
                  <a:pos x="csX462" y="csY462"/>
                </a:cxn>
                <a:cxn ang="0">
                  <a:pos x="csX463" y="csY463"/>
                </a:cxn>
                <a:cxn ang="0">
                  <a:pos x="csX464" y="csY464"/>
                </a:cxn>
                <a:cxn ang="0">
                  <a:pos x="csX465" y="csY465"/>
                </a:cxn>
                <a:cxn ang="0">
                  <a:pos x="csX466" y="csY466"/>
                </a:cxn>
                <a:cxn ang="0">
                  <a:pos x="csX467" y="csY467"/>
                </a:cxn>
                <a:cxn ang="0">
                  <a:pos x="csX468" y="csY468"/>
                </a:cxn>
                <a:cxn ang="0">
                  <a:pos x="csX469" y="csY469"/>
                </a:cxn>
                <a:cxn ang="0">
                  <a:pos x="csX470" y="csY470"/>
                </a:cxn>
                <a:cxn ang="0">
                  <a:pos x="csX471" y="csY471"/>
                </a:cxn>
                <a:cxn ang="0">
                  <a:pos x="csX472" y="csY472"/>
                </a:cxn>
                <a:cxn ang="0">
                  <a:pos x="csX473" y="csY473"/>
                </a:cxn>
                <a:cxn ang="0">
                  <a:pos x="csX474" y="csY474"/>
                </a:cxn>
                <a:cxn ang="0">
                  <a:pos x="csX475" y="csY475"/>
                </a:cxn>
                <a:cxn ang="0">
                  <a:pos x="csX476" y="csY476"/>
                </a:cxn>
                <a:cxn ang="0">
                  <a:pos x="csX477" y="csY477"/>
                </a:cxn>
                <a:cxn ang="0">
                  <a:pos x="csX478" y="csY478"/>
                </a:cxn>
                <a:cxn ang="0">
                  <a:pos x="csX479" y="csY479"/>
                </a:cxn>
                <a:cxn ang="0">
                  <a:pos x="csX480" y="csY480"/>
                </a:cxn>
                <a:cxn ang="0">
                  <a:pos x="csX481" y="csY481"/>
                </a:cxn>
                <a:cxn ang="0">
                  <a:pos x="csX482" y="csY482"/>
                </a:cxn>
                <a:cxn ang="0">
                  <a:pos x="csX483" y="csY483"/>
                </a:cxn>
                <a:cxn ang="0">
                  <a:pos x="csX484" y="csY484"/>
                </a:cxn>
                <a:cxn ang="0">
                  <a:pos x="csX485" y="csY485"/>
                </a:cxn>
                <a:cxn ang="0">
                  <a:pos x="csX486" y="csY486"/>
                </a:cxn>
                <a:cxn ang="0">
                  <a:pos x="csX487" y="csY487"/>
                </a:cxn>
                <a:cxn ang="0">
                  <a:pos x="csX488" y="csY488"/>
                </a:cxn>
                <a:cxn ang="0">
                  <a:pos x="csX489" y="csY489"/>
                </a:cxn>
                <a:cxn ang="0">
                  <a:pos x="csX490" y="csY490"/>
                </a:cxn>
                <a:cxn ang="0">
                  <a:pos x="csX491" y="csY491"/>
                </a:cxn>
                <a:cxn ang="0">
                  <a:pos x="csX492" y="csY492"/>
                </a:cxn>
                <a:cxn ang="0">
                  <a:pos x="csX493" y="csY493"/>
                </a:cxn>
                <a:cxn ang="0">
                  <a:pos x="csX494" y="csY494"/>
                </a:cxn>
                <a:cxn ang="0">
                  <a:pos x="csX495" y="csY495"/>
                </a:cxn>
                <a:cxn ang="0">
                  <a:pos x="csX496" y="csY496"/>
                </a:cxn>
                <a:cxn ang="0">
                  <a:pos x="csX497" y="csY497"/>
                </a:cxn>
                <a:cxn ang="0">
                  <a:pos x="csX498" y="csY498"/>
                </a:cxn>
                <a:cxn ang="0">
                  <a:pos x="csX499" y="csY499"/>
                </a:cxn>
                <a:cxn ang="0">
                  <a:pos x="csX500" y="csY500"/>
                </a:cxn>
                <a:cxn ang="0">
                  <a:pos x="csX501" y="csY501"/>
                </a:cxn>
                <a:cxn ang="0">
                  <a:pos x="csX502" y="csY502"/>
                </a:cxn>
                <a:cxn ang="0">
                  <a:pos x="csX503" y="csY503"/>
                </a:cxn>
                <a:cxn ang="0">
                  <a:pos x="csX504" y="csY504"/>
                </a:cxn>
                <a:cxn ang="0">
                  <a:pos x="csX505" y="csY505"/>
                </a:cxn>
                <a:cxn ang="0">
                  <a:pos x="csX506" y="csY506"/>
                </a:cxn>
                <a:cxn ang="0">
                  <a:pos x="csX507" y="csY507"/>
                </a:cxn>
                <a:cxn ang="0">
                  <a:pos x="csX508" y="csY508"/>
                </a:cxn>
                <a:cxn ang="0">
                  <a:pos x="csX509" y="csY509"/>
                </a:cxn>
                <a:cxn ang="0">
                  <a:pos x="csX510" y="csY510"/>
                </a:cxn>
                <a:cxn ang="0">
                  <a:pos x="csX511" y="csY511"/>
                </a:cxn>
                <a:cxn ang="0">
                  <a:pos x="csX512" y="csY512"/>
                </a:cxn>
                <a:cxn ang="0">
                  <a:pos x="csX513" y="csY513"/>
                </a:cxn>
                <a:cxn ang="0">
                  <a:pos x="csX514" y="csY514"/>
                </a:cxn>
                <a:cxn ang="0">
                  <a:pos x="csX515" y="csY515"/>
                </a:cxn>
                <a:cxn ang="0">
                  <a:pos x="csX516" y="csY516"/>
                </a:cxn>
                <a:cxn ang="0">
                  <a:pos x="csX517" y="csY517"/>
                </a:cxn>
                <a:cxn ang="0">
                  <a:pos x="csX518" y="csY518"/>
                </a:cxn>
                <a:cxn ang="0">
                  <a:pos x="csX519" y="csY519"/>
                </a:cxn>
                <a:cxn ang="0">
                  <a:pos x="csX520" y="csY520"/>
                </a:cxn>
                <a:cxn ang="0">
                  <a:pos x="csX521" y="csY521"/>
                </a:cxn>
                <a:cxn ang="0">
                  <a:pos x="csX522" y="csY522"/>
                </a:cxn>
                <a:cxn ang="0">
                  <a:pos x="csX523" y="csY523"/>
                </a:cxn>
                <a:cxn ang="0">
                  <a:pos x="csX524" y="csY524"/>
                </a:cxn>
                <a:cxn ang="0">
                  <a:pos x="csX525" y="csY525"/>
                </a:cxn>
                <a:cxn ang="0">
                  <a:pos x="csX526" y="csY526"/>
                </a:cxn>
                <a:cxn ang="0">
                  <a:pos x="csX527" y="csY527"/>
                </a:cxn>
                <a:cxn ang="0">
                  <a:pos x="csX528" y="csY528"/>
                </a:cxn>
                <a:cxn ang="0">
                  <a:pos x="csX529" y="csY529"/>
                </a:cxn>
                <a:cxn ang="0">
                  <a:pos x="csX530" y="csY530"/>
                </a:cxn>
                <a:cxn ang="0">
                  <a:pos x="csX531" y="csY531"/>
                </a:cxn>
                <a:cxn ang="0">
                  <a:pos x="csX532" y="csY532"/>
                </a:cxn>
                <a:cxn ang="0">
                  <a:pos x="csX533" y="csY533"/>
                </a:cxn>
                <a:cxn ang="0">
                  <a:pos x="csX534" y="csY534"/>
                </a:cxn>
                <a:cxn ang="0">
                  <a:pos x="csX535" y="csY535"/>
                </a:cxn>
                <a:cxn ang="0">
                  <a:pos x="csX536" y="csY536"/>
                </a:cxn>
                <a:cxn ang="0">
                  <a:pos x="csX537" y="csY537"/>
                </a:cxn>
                <a:cxn ang="0">
                  <a:pos x="csX538" y="csY538"/>
                </a:cxn>
                <a:cxn ang="0">
                  <a:pos x="csX539" y="csY539"/>
                </a:cxn>
                <a:cxn ang="0">
                  <a:pos x="csX540" y="csY540"/>
                </a:cxn>
                <a:cxn ang="0">
                  <a:pos x="csX541" y="csY541"/>
                </a:cxn>
                <a:cxn ang="0">
                  <a:pos x="csX542" y="csY542"/>
                </a:cxn>
                <a:cxn ang="0">
                  <a:pos x="csX543" y="csY543"/>
                </a:cxn>
                <a:cxn ang="0">
                  <a:pos x="csX544" y="csY544"/>
                </a:cxn>
                <a:cxn ang="0">
                  <a:pos x="csX545" y="csY545"/>
                </a:cxn>
                <a:cxn ang="0">
                  <a:pos x="csX546" y="csY546"/>
                </a:cxn>
                <a:cxn ang="0">
                  <a:pos x="csX547" y="csY547"/>
                </a:cxn>
                <a:cxn ang="0">
                  <a:pos x="csX548" y="csY548"/>
                </a:cxn>
                <a:cxn ang="0">
                  <a:pos x="csX549" y="csY549"/>
                </a:cxn>
                <a:cxn ang="0">
                  <a:pos x="csX550" y="csY550"/>
                </a:cxn>
                <a:cxn ang="0">
                  <a:pos x="csX551" y="csY551"/>
                </a:cxn>
                <a:cxn ang="0">
                  <a:pos x="csX552" y="csY552"/>
                </a:cxn>
                <a:cxn ang="0">
                  <a:pos x="csX553" y="csY553"/>
                </a:cxn>
                <a:cxn ang="0">
                  <a:pos x="csX554" y="csY554"/>
                </a:cxn>
                <a:cxn ang="0">
                  <a:pos x="csX555" y="csY555"/>
                </a:cxn>
                <a:cxn ang="0">
                  <a:pos x="csX556" y="csY556"/>
                </a:cxn>
                <a:cxn ang="0">
                  <a:pos x="csX557" y="csY557"/>
                </a:cxn>
                <a:cxn ang="0">
                  <a:pos x="csX558" y="csY558"/>
                </a:cxn>
                <a:cxn ang="0">
                  <a:pos x="csX559" y="csY559"/>
                </a:cxn>
                <a:cxn ang="0">
                  <a:pos x="csX560" y="csY560"/>
                </a:cxn>
                <a:cxn ang="0">
                  <a:pos x="csX561" y="csY561"/>
                </a:cxn>
                <a:cxn ang="0">
                  <a:pos x="csX562" y="csY562"/>
                </a:cxn>
                <a:cxn ang="0">
                  <a:pos x="csX563" y="csY563"/>
                </a:cxn>
                <a:cxn ang="0">
                  <a:pos x="csX564" y="csY564"/>
                </a:cxn>
                <a:cxn ang="0">
                  <a:pos x="csX565" y="csY565"/>
                </a:cxn>
                <a:cxn ang="0">
                  <a:pos x="csX566" y="csY566"/>
                </a:cxn>
                <a:cxn ang="0">
                  <a:pos x="csX567" y="csY567"/>
                </a:cxn>
                <a:cxn ang="0">
                  <a:pos x="csX568" y="csY568"/>
                </a:cxn>
                <a:cxn ang="0">
                  <a:pos x="csX569" y="csY569"/>
                </a:cxn>
                <a:cxn ang="0">
                  <a:pos x="csX570" y="csY570"/>
                </a:cxn>
                <a:cxn ang="0">
                  <a:pos x="csX571" y="csY571"/>
                </a:cxn>
                <a:cxn ang="0">
                  <a:pos x="csX572" y="csY572"/>
                </a:cxn>
                <a:cxn ang="0">
                  <a:pos x="csX573" y="csY573"/>
                </a:cxn>
                <a:cxn ang="0">
                  <a:pos x="csX574" y="csY574"/>
                </a:cxn>
                <a:cxn ang="0">
                  <a:pos x="csX575" y="csY575"/>
                </a:cxn>
                <a:cxn ang="0">
                  <a:pos x="csX576" y="csY576"/>
                </a:cxn>
                <a:cxn ang="0">
                  <a:pos x="csX577" y="csY577"/>
                </a:cxn>
                <a:cxn ang="0">
                  <a:pos x="csX578" y="csY578"/>
                </a:cxn>
                <a:cxn ang="0">
                  <a:pos x="csX579" y="csY579"/>
                </a:cxn>
                <a:cxn ang="0">
                  <a:pos x="csX580" y="csY580"/>
                </a:cxn>
                <a:cxn ang="0">
                  <a:pos x="csX581" y="csY581"/>
                </a:cxn>
                <a:cxn ang="0">
                  <a:pos x="csX582" y="csY582"/>
                </a:cxn>
                <a:cxn ang="0">
                  <a:pos x="csX583" y="csY583"/>
                </a:cxn>
                <a:cxn ang="0">
                  <a:pos x="csX584" y="csY584"/>
                </a:cxn>
                <a:cxn ang="0">
                  <a:pos x="csX585" y="csY585"/>
                </a:cxn>
                <a:cxn ang="0">
                  <a:pos x="csX586" y="csY586"/>
                </a:cxn>
                <a:cxn ang="0">
                  <a:pos x="csX587" y="csY587"/>
                </a:cxn>
                <a:cxn ang="0">
                  <a:pos x="csX588" y="csY588"/>
                </a:cxn>
                <a:cxn ang="0">
                  <a:pos x="csX589" y="csY589"/>
                </a:cxn>
                <a:cxn ang="0">
                  <a:pos x="csX590" y="csY590"/>
                </a:cxn>
                <a:cxn ang="0">
                  <a:pos x="csX591" y="csY591"/>
                </a:cxn>
                <a:cxn ang="0">
                  <a:pos x="csX592" y="csY592"/>
                </a:cxn>
                <a:cxn ang="0">
                  <a:pos x="csX593" y="csY593"/>
                </a:cxn>
                <a:cxn ang="0">
                  <a:pos x="csX594" y="csY594"/>
                </a:cxn>
                <a:cxn ang="0">
                  <a:pos x="csX595" y="csY595"/>
                </a:cxn>
                <a:cxn ang="0">
                  <a:pos x="csX596" y="csY596"/>
                </a:cxn>
                <a:cxn ang="0">
                  <a:pos x="csX597" y="csY597"/>
                </a:cxn>
                <a:cxn ang="0">
                  <a:pos x="csX598" y="csY598"/>
                </a:cxn>
                <a:cxn ang="0">
                  <a:pos x="csX599" y="csY599"/>
                </a:cxn>
                <a:cxn ang="0">
                  <a:pos x="csX600" y="csY600"/>
                </a:cxn>
                <a:cxn ang="0">
                  <a:pos x="csX601" y="csY601"/>
                </a:cxn>
                <a:cxn ang="0">
                  <a:pos x="csX602" y="csY602"/>
                </a:cxn>
                <a:cxn ang="0">
                  <a:pos x="csX603" y="csY603"/>
                </a:cxn>
                <a:cxn ang="0">
                  <a:pos x="csX604" y="csY604"/>
                </a:cxn>
                <a:cxn ang="0">
                  <a:pos x="csX605" y="csY605"/>
                </a:cxn>
                <a:cxn ang="0">
                  <a:pos x="csX606" y="csY606"/>
                </a:cxn>
                <a:cxn ang="0">
                  <a:pos x="csX607" y="csY607"/>
                </a:cxn>
                <a:cxn ang="0">
                  <a:pos x="csX608" y="csY608"/>
                </a:cxn>
                <a:cxn ang="0">
                  <a:pos x="csX609" y="csY609"/>
                </a:cxn>
                <a:cxn ang="0">
                  <a:pos x="csX610" y="csY610"/>
                </a:cxn>
                <a:cxn ang="0">
                  <a:pos x="csX611" y="csY611"/>
                </a:cxn>
                <a:cxn ang="0">
                  <a:pos x="csX612" y="csY612"/>
                </a:cxn>
                <a:cxn ang="0">
                  <a:pos x="csX613" y="csY613"/>
                </a:cxn>
                <a:cxn ang="0">
                  <a:pos x="csX614" y="csY614"/>
                </a:cxn>
                <a:cxn ang="0">
                  <a:pos x="csX615" y="csY615"/>
                </a:cxn>
                <a:cxn ang="0">
                  <a:pos x="csX616" y="csY616"/>
                </a:cxn>
                <a:cxn ang="0">
                  <a:pos x="csX617" y="csY617"/>
                </a:cxn>
                <a:cxn ang="0">
                  <a:pos x="csX618" y="csY618"/>
                </a:cxn>
                <a:cxn ang="0">
                  <a:pos x="csX619" y="csY619"/>
                </a:cxn>
                <a:cxn ang="0">
                  <a:pos x="csX620" y="csY620"/>
                </a:cxn>
                <a:cxn ang="0">
                  <a:pos x="csX621" y="csY621"/>
                </a:cxn>
                <a:cxn ang="0">
                  <a:pos x="csX622" y="csY622"/>
                </a:cxn>
                <a:cxn ang="0">
                  <a:pos x="csX623" y="csY623"/>
                </a:cxn>
                <a:cxn ang="0">
                  <a:pos x="csX624" y="csY624"/>
                </a:cxn>
                <a:cxn ang="0">
                  <a:pos x="csX625" y="csY625"/>
                </a:cxn>
                <a:cxn ang="0">
                  <a:pos x="csX626" y="csY626"/>
                </a:cxn>
                <a:cxn ang="0">
                  <a:pos x="csX627" y="csY627"/>
                </a:cxn>
                <a:cxn ang="0">
                  <a:pos x="csX628" y="csY628"/>
                </a:cxn>
              </a:cxnLst>
              <a:rect l="l" t="t" r="r" b="b"/>
              <a:pathLst>
                <a:path w="640828" h="1827536">
                  <a:moveTo>
                    <a:pt x="-4731" y="1786861"/>
                  </a:moveTo>
                  <a:lnTo>
                    <a:pt x="16156" y="1786861"/>
                  </a:lnTo>
                  <a:lnTo>
                    <a:pt x="16156" y="1752384"/>
                  </a:lnTo>
                  <a:lnTo>
                    <a:pt x="-4731" y="1752384"/>
                  </a:lnTo>
                  <a:lnTo>
                    <a:pt x="-4731" y="1717903"/>
                  </a:lnTo>
                  <a:lnTo>
                    <a:pt x="16156" y="1717903"/>
                  </a:lnTo>
                  <a:lnTo>
                    <a:pt x="16156" y="1683420"/>
                  </a:lnTo>
                  <a:lnTo>
                    <a:pt x="-4731" y="1683420"/>
                  </a:lnTo>
                  <a:lnTo>
                    <a:pt x="-4731" y="1648938"/>
                  </a:lnTo>
                  <a:lnTo>
                    <a:pt x="16156" y="1648938"/>
                  </a:lnTo>
                  <a:lnTo>
                    <a:pt x="16156" y="1614456"/>
                  </a:lnTo>
                  <a:lnTo>
                    <a:pt x="-4731" y="1614456"/>
                  </a:lnTo>
                  <a:lnTo>
                    <a:pt x="-4731" y="1579974"/>
                  </a:lnTo>
                  <a:lnTo>
                    <a:pt x="16156" y="1579974"/>
                  </a:lnTo>
                  <a:lnTo>
                    <a:pt x="16156" y="1545492"/>
                  </a:lnTo>
                  <a:lnTo>
                    <a:pt x="-4731" y="1545492"/>
                  </a:lnTo>
                  <a:lnTo>
                    <a:pt x="-4731" y="1511010"/>
                  </a:lnTo>
                  <a:lnTo>
                    <a:pt x="16156" y="1511010"/>
                  </a:lnTo>
                  <a:lnTo>
                    <a:pt x="16156" y="1476528"/>
                  </a:lnTo>
                  <a:lnTo>
                    <a:pt x="-4731" y="1476528"/>
                  </a:lnTo>
                  <a:lnTo>
                    <a:pt x="-4731" y="1442046"/>
                  </a:lnTo>
                  <a:lnTo>
                    <a:pt x="16156" y="1442046"/>
                  </a:lnTo>
                  <a:lnTo>
                    <a:pt x="16156" y="1407564"/>
                  </a:lnTo>
                  <a:lnTo>
                    <a:pt x="-4731" y="1407564"/>
                  </a:lnTo>
                  <a:lnTo>
                    <a:pt x="-4731" y="1373082"/>
                  </a:lnTo>
                  <a:lnTo>
                    <a:pt x="16156" y="1373082"/>
                  </a:lnTo>
                  <a:lnTo>
                    <a:pt x="16156" y="1338600"/>
                  </a:lnTo>
                  <a:lnTo>
                    <a:pt x="-4731" y="1338600"/>
                  </a:lnTo>
                  <a:lnTo>
                    <a:pt x="-4731" y="1304118"/>
                  </a:lnTo>
                  <a:lnTo>
                    <a:pt x="16156" y="1304118"/>
                  </a:lnTo>
                  <a:lnTo>
                    <a:pt x="16156" y="1269636"/>
                  </a:lnTo>
                  <a:lnTo>
                    <a:pt x="-4731" y="1269636"/>
                  </a:lnTo>
                  <a:lnTo>
                    <a:pt x="-4731" y="1235159"/>
                  </a:lnTo>
                  <a:lnTo>
                    <a:pt x="16156" y="1235159"/>
                  </a:lnTo>
                  <a:lnTo>
                    <a:pt x="16156" y="1200672"/>
                  </a:lnTo>
                  <a:lnTo>
                    <a:pt x="-4731" y="1200672"/>
                  </a:lnTo>
                  <a:lnTo>
                    <a:pt x="-4731" y="1166195"/>
                  </a:lnTo>
                  <a:lnTo>
                    <a:pt x="16156" y="1166195"/>
                  </a:lnTo>
                  <a:lnTo>
                    <a:pt x="16156" y="1131708"/>
                  </a:lnTo>
                  <a:lnTo>
                    <a:pt x="-4731" y="1131708"/>
                  </a:lnTo>
                  <a:lnTo>
                    <a:pt x="-4731" y="1097231"/>
                  </a:lnTo>
                  <a:lnTo>
                    <a:pt x="16156" y="1097231"/>
                  </a:lnTo>
                  <a:lnTo>
                    <a:pt x="16156" y="1062744"/>
                  </a:lnTo>
                  <a:lnTo>
                    <a:pt x="-4731" y="1062744"/>
                  </a:lnTo>
                  <a:lnTo>
                    <a:pt x="-4731" y="1028267"/>
                  </a:lnTo>
                  <a:lnTo>
                    <a:pt x="16156" y="1028267"/>
                  </a:lnTo>
                  <a:lnTo>
                    <a:pt x="16156" y="993785"/>
                  </a:lnTo>
                  <a:lnTo>
                    <a:pt x="-4731" y="993785"/>
                  </a:lnTo>
                  <a:lnTo>
                    <a:pt x="-4731" y="959303"/>
                  </a:lnTo>
                  <a:lnTo>
                    <a:pt x="16156" y="959303"/>
                  </a:lnTo>
                  <a:lnTo>
                    <a:pt x="16156" y="924821"/>
                  </a:lnTo>
                  <a:lnTo>
                    <a:pt x="-4731" y="924821"/>
                  </a:lnTo>
                  <a:lnTo>
                    <a:pt x="-4731" y="890334"/>
                  </a:lnTo>
                  <a:lnTo>
                    <a:pt x="16156" y="890334"/>
                  </a:lnTo>
                  <a:lnTo>
                    <a:pt x="16156" y="855857"/>
                  </a:lnTo>
                  <a:lnTo>
                    <a:pt x="-4731" y="855857"/>
                  </a:lnTo>
                  <a:lnTo>
                    <a:pt x="-4731" y="821375"/>
                  </a:lnTo>
                  <a:lnTo>
                    <a:pt x="16156" y="821375"/>
                  </a:lnTo>
                  <a:lnTo>
                    <a:pt x="16156" y="786893"/>
                  </a:lnTo>
                  <a:lnTo>
                    <a:pt x="-4731" y="786893"/>
                  </a:lnTo>
                  <a:lnTo>
                    <a:pt x="-4731" y="752411"/>
                  </a:lnTo>
                  <a:lnTo>
                    <a:pt x="16156" y="752411"/>
                  </a:lnTo>
                  <a:lnTo>
                    <a:pt x="16156" y="717929"/>
                  </a:lnTo>
                  <a:lnTo>
                    <a:pt x="-4731" y="717929"/>
                  </a:lnTo>
                  <a:lnTo>
                    <a:pt x="-4731" y="683447"/>
                  </a:lnTo>
                  <a:lnTo>
                    <a:pt x="16156" y="683447"/>
                  </a:lnTo>
                  <a:lnTo>
                    <a:pt x="16156" y="648959"/>
                  </a:lnTo>
                  <a:lnTo>
                    <a:pt x="-4731" y="648959"/>
                  </a:lnTo>
                  <a:lnTo>
                    <a:pt x="-4731" y="614483"/>
                  </a:lnTo>
                  <a:lnTo>
                    <a:pt x="16156" y="614483"/>
                  </a:lnTo>
                  <a:lnTo>
                    <a:pt x="16156" y="580001"/>
                  </a:lnTo>
                  <a:lnTo>
                    <a:pt x="-4731" y="580001"/>
                  </a:lnTo>
                  <a:lnTo>
                    <a:pt x="-4731" y="545519"/>
                  </a:lnTo>
                  <a:lnTo>
                    <a:pt x="16156" y="545519"/>
                  </a:lnTo>
                  <a:lnTo>
                    <a:pt x="16156" y="511037"/>
                  </a:lnTo>
                  <a:lnTo>
                    <a:pt x="-4731" y="511037"/>
                  </a:lnTo>
                  <a:lnTo>
                    <a:pt x="-4731" y="476555"/>
                  </a:lnTo>
                  <a:lnTo>
                    <a:pt x="16156" y="476555"/>
                  </a:lnTo>
                  <a:lnTo>
                    <a:pt x="16156" y="442073"/>
                  </a:lnTo>
                  <a:lnTo>
                    <a:pt x="-4731" y="442073"/>
                  </a:lnTo>
                  <a:lnTo>
                    <a:pt x="-4731" y="407591"/>
                  </a:lnTo>
                  <a:lnTo>
                    <a:pt x="16156" y="407591"/>
                  </a:lnTo>
                  <a:lnTo>
                    <a:pt x="16156" y="373109"/>
                  </a:lnTo>
                  <a:lnTo>
                    <a:pt x="-4731" y="373109"/>
                  </a:lnTo>
                  <a:lnTo>
                    <a:pt x="-4731" y="338627"/>
                  </a:lnTo>
                  <a:lnTo>
                    <a:pt x="16156" y="338627"/>
                  </a:lnTo>
                  <a:lnTo>
                    <a:pt x="16156" y="304145"/>
                  </a:lnTo>
                  <a:lnTo>
                    <a:pt x="-4731" y="304145"/>
                  </a:lnTo>
                  <a:lnTo>
                    <a:pt x="-4731" y="269668"/>
                  </a:lnTo>
                  <a:lnTo>
                    <a:pt x="16156" y="269668"/>
                  </a:lnTo>
                  <a:lnTo>
                    <a:pt x="16156" y="235186"/>
                  </a:lnTo>
                  <a:lnTo>
                    <a:pt x="-4731" y="235186"/>
                  </a:lnTo>
                  <a:lnTo>
                    <a:pt x="-4731" y="200699"/>
                  </a:lnTo>
                  <a:lnTo>
                    <a:pt x="16156" y="200699"/>
                  </a:lnTo>
                  <a:lnTo>
                    <a:pt x="16156" y="166222"/>
                  </a:lnTo>
                  <a:lnTo>
                    <a:pt x="-4731" y="166222"/>
                  </a:lnTo>
                  <a:lnTo>
                    <a:pt x="-4731" y="131740"/>
                  </a:lnTo>
                  <a:lnTo>
                    <a:pt x="16156" y="131740"/>
                  </a:lnTo>
                  <a:lnTo>
                    <a:pt x="16156" y="97258"/>
                  </a:lnTo>
                  <a:lnTo>
                    <a:pt x="-4731" y="97258"/>
                  </a:lnTo>
                  <a:lnTo>
                    <a:pt x="-4731" y="62771"/>
                  </a:lnTo>
                  <a:lnTo>
                    <a:pt x="16156" y="62771"/>
                  </a:lnTo>
                  <a:lnTo>
                    <a:pt x="16156" y="28294"/>
                  </a:lnTo>
                  <a:lnTo>
                    <a:pt x="-4731" y="28294"/>
                  </a:lnTo>
                  <a:lnTo>
                    <a:pt x="-4731" y="-6188"/>
                  </a:lnTo>
                  <a:lnTo>
                    <a:pt x="636097" y="-6188"/>
                  </a:lnTo>
                  <a:lnTo>
                    <a:pt x="636097" y="28294"/>
                  </a:lnTo>
                  <a:lnTo>
                    <a:pt x="615210" y="28294"/>
                  </a:lnTo>
                  <a:lnTo>
                    <a:pt x="615210" y="62771"/>
                  </a:lnTo>
                  <a:lnTo>
                    <a:pt x="636097" y="62771"/>
                  </a:lnTo>
                  <a:lnTo>
                    <a:pt x="636097" y="97258"/>
                  </a:lnTo>
                  <a:lnTo>
                    <a:pt x="615210" y="97258"/>
                  </a:lnTo>
                  <a:lnTo>
                    <a:pt x="615210" y="131740"/>
                  </a:lnTo>
                  <a:lnTo>
                    <a:pt x="636097" y="131740"/>
                  </a:lnTo>
                  <a:lnTo>
                    <a:pt x="636097" y="166222"/>
                  </a:lnTo>
                  <a:lnTo>
                    <a:pt x="615210" y="166222"/>
                  </a:lnTo>
                  <a:lnTo>
                    <a:pt x="615210" y="200699"/>
                  </a:lnTo>
                  <a:lnTo>
                    <a:pt x="636097" y="200699"/>
                  </a:lnTo>
                  <a:lnTo>
                    <a:pt x="636097" y="235186"/>
                  </a:lnTo>
                  <a:lnTo>
                    <a:pt x="615210" y="235186"/>
                  </a:lnTo>
                  <a:lnTo>
                    <a:pt x="615210" y="269668"/>
                  </a:lnTo>
                  <a:lnTo>
                    <a:pt x="636097" y="269668"/>
                  </a:lnTo>
                  <a:lnTo>
                    <a:pt x="636097" y="304145"/>
                  </a:lnTo>
                  <a:lnTo>
                    <a:pt x="615210" y="304145"/>
                  </a:lnTo>
                  <a:lnTo>
                    <a:pt x="615210" y="338627"/>
                  </a:lnTo>
                  <a:lnTo>
                    <a:pt x="636097" y="338627"/>
                  </a:lnTo>
                  <a:lnTo>
                    <a:pt x="636097" y="373109"/>
                  </a:lnTo>
                  <a:lnTo>
                    <a:pt x="615210" y="373109"/>
                  </a:lnTo>
                  <a:lnTo>
                    <a:pt x="615210" y="407591"/>
                  </a:lnTo>
                  <a:lnTo>
                    <a:pt x="636097" y="407591"/>
                  </a:lnTo>
                  <a:lnTo>
                    <a:pt x="636097" y="442073"/>
                  </a:lnTo>
                  <a:lnTo>
                    <a:pt x="615210" y="442073"/>
                  </a:lnTo>
                  <a:lnTo>
                    <a:pt x="615210" y="476555"/>
                  </a:lnTo>
                  <a:lnTo>
                    <a:pt x="636097" y="476555"/>
                  </a:lnTo>
                  <a:lnTo>
                    <a:pt x="636097" y="511037"/>
                  </a:lnTo>
                  <a:lnTo>
                    <a:pt x="615210" y="511037"/>
                  </a:lnTo>
                  <a:lnTo>
                    <a:pt x="615210" y="545519"/>
                  </a:lnTo>
                  <a:lnTo>
                    <a:pt x="636097" y="545519"/>
                  </a:lnTo>
                  <a:lnTo>
                    <a:pt x="636097" y="580001"/>
                  </a:lnTo>
                  <a:lnTo>
                    <a:pt x="615210" y="580001"/>
                  </a:lnTo>
                  <a:lnTo>
                    <a:pt x="615210" y="614483"/>
                  </a:lnTo>
                  <a:lnTo>
                    <a:pt x="636097" y="614483"/>
                  </a:lnTo>
                  <a:lnTo>
                    <a:pt x="636097" y="648959"/>
                  </a:lnTo>
                  <a:lnTo>
                    <a:pt x="615210" y="648959"/>
                  </a:lnTo>
                  <a:lnTo>
                    <a:pt x="615210" y="683447"/>
                  </a:lnTo>
                  <a:lnTo>
                    <a:pt x="636097" y="683447"/>
                  </a:lnTo>
                  <a:lnTo>
                    <a:pt x="636097" y="717929"/>
                  </a:lnTo>
                  <a:lnTo>
                    <a:pt x="615210" y="717929"/>
                  </a:lnTo>
                  <a:lnTo>
                    <a:pt x="615210" y="752411"/>
                  </a:lnTo>
                  <a:lnTo>
                    <a:pt x="636097" y="752411"/>
                  </a:lnTo>
                  <a:lnTo>
                    <a:pt x="636097" y="786893"/>
                  </a:lnTo>
                  <a:lnTo>
                    <a:pt x="615210" y="786893"/>
                  </a:lnTo>
                  <a:lnTo>
                    <a:pt x="615210" y="821375"/>
                  </a:lnTo>
                  <a:lnTo>
                    <a:pt x="636097" y="821375"/>
                  </a:lnTo>
                  <a:lnTo>
                    <a:pt x="636097" y="855857"/>
                  </a:lnTo>
                  <a:lnTo>
                    <a:pt x="615210" y="855857"/>
                  </a:lnTo>
                  <a:lnTo>
                    <a:pt x="615210" y="890334"/>
                  </a:lnTo>
                  <a:lnTo>
                    <a:pt x="636097" y="890334"/>
                  </a:lnTo>
                  <a:lnTo>
                    <a:pt x="636097" y="924821"/>
                  </a:lnTo>
                  <a:lnTo>
                    <a:pt x="615210" y="924821"/>
                  </a:lnTo>
                  <a:lnTo>
                    <a:pt x="615210" y="959303"/>
                  </a:lnTo>
                  <a:lnTo>
                    <a:pt x="636097" y="959303"/>
                  </a:lnTo>
                  <a:lnTo>
                    <a:pt x="636097" y="993785"/>
                  </a:lnTo>
                  <a:lnTo>
                    <a:pt x="615210" y="993785"/>
                  </a:lnTo>
                  <a:lnTo>
                    <a:pt x="615210" y="1028267"/>
                  </a:lnTo>
                  <a:lnTo>
                    <a:pt x="636097" y="1028267"/>
                  </a:lnTo>
                  <a:lnTo>
                    <a:pt x="636097" y="1062744"/>
                  </a:lnTo>
                  <a:lnTo>
                    <a:pt x="615210" y="1062744"/>
                  </a:lnTo>
                  <a:lnTo>
                    <a:pt x="615210" y="1097231"/>
                  </a:lnTo>
                  <a:lnTo>
                    <a:pt x="636097" y="1097231"/>
                  </a:lnTo>
                  <a:lnTo>
                    <a:pt x="636097" y="1131708"/>
                  </a:lnTo>
                  <a:lnTo>
                    <a:pt x="615210" y="1131708"/>
                  </a:lnTo>
                  <a:lnTo>
                    <a:pt x="615210" y="1166195"/>
                  </a:lnTo>
                  <a:lnTo>
                    <a:pt x="636097" y="1166195"/>
                  </a:lnTo>
                  <a:lnTo>
                    <a:pt x="636097" y="1200672"/>
                  </a:lnTo>
                  <a:lnTo>
                    <a:pt x="615210" y="1200672"/>
                  </a:lnTo>
                  <a:lnTo>
                    <a:pt x="615210" y="1235159"/>
                  </a:lnTo>
                  <a:lnTo>
                    <a:pt x="636097" y="1235159"/>
                  </a:lnTo>
                  <a:lnTo>
                    <a:pt x="636097" y="1269636"/>
                  </a:lnTo>
                  <a:lnTo>
                    <a:pt x="615210" y="1269636"/>
                  </a:lnTo>
                  <a:lnTo>
                    <a:pt x="615210" y="1304118"/>
                  </a:lnTo>
                  <a:lnTo>
                    <a:pt x="636097" y="1304118"/>
                  </a:lnTo>
                  <a:lnTo>
                    <a:pt x="636097" y="1338600"/>
                  </a:lnTo>
                  <a:lnTo>
                    <a:pt x="615210" y="1338600"/>
                  </a:lnTo>
                  <a:lnTo>
                    <a:pt x="615210" y="1373082"/>
                  </a:lnTo>
                  <a:lnTo>
                    <a:pt x="636097" y="1373082"/>
                  </a:lnTo>
                  <a:lnTo>
                    <a:pt x="636097" y="1407564"/>
                  </a:lnTo>
                  <a:lnTo>
                    <a:pt x="615210" y="1407564"/>
                  </a:lnTo>
                  <a:lnTo>
                    <a:pt x="615210" y="1442046"/>
                  </a:lnTo>
                  <a:lnTo>
                    <a:pt x="636097" y="1442046"/>
                  </a:lnTo>
                  <a:lnTo>
                    <a:pt x="636097" y="1476528"/>
                  </a:lnTo>
                  <a:lnTo>
                    <a:pt x="615210" y="1476528"/>
                  </a:lnTo>
                  <a:lnTo>
                    <a:pt x="615210" y="1511010"/>
                  </a:lnTo>
                  <a:lnTo>
                    <a:pt x="636097" y="1511010"/>
                  </a:lnTo>
                  <a:lnTo>
                    <a:pt x="636097" y="1545492"/>
                  </a:lnTo>
                  <a:lnTo>
                    <a:pt x="615210" y="1545492"/>
                  </a:lnTo>
                  <a:lnTo>
                    <a:pt x="615210" y="1579974"/>
                  </a:lnTo>
                  <a:lnTo>
                    <a:pt x="636097" y="1579974"/>
                  </a:lnTo>
                  <a:lnTo>
                    <a:pt x="636097" y="1614456"/>
                  </a:lnTo>
                  <a:lnTo>
                    <a:pt x="615210" y="1614456"/>
                  </a:lnTo>
                  <a:lnTo>
                    <a:pt x="615210" y="1648938"/>
                  </a:lnTo>
                  <a:lnTo>
                    <a:pt x="636097" y="1648938"/>
                  </a:lnTo>
                  <a:lnTo>
                    <a:pt x="636097" y="1683420"/>
                  </a:lnTo>
                  <a:lnTo>
                    <a:pt x="615210" y="1683420"/>
                  </a:lnTo>
                  <a:lnTo>
                    <a:pt x="615210" y="1717903"/>
                  </a:lnTo>
                  <a:lnTo>
                    <a:pt x="636097" y="1717903"/>
                  </a:lnTo>
                  <a:lnTo>
                    <a:pt x="636097" y="1752384"/>
                  </a:lnTo>
                  <a:lnTo>
                    <a:pt x="615210" y="1752384"/>
                  </a:lnTo>
                  <a:lnTo>
                    <a:pt x="615210" y="1786861"/>
                  </a:lnTo>
                  <a:lnTo>
                    <a:pt x="636097" y="1786861"/>
                  </a:lnTo>
                  <a:lnTo>
                    <a:pt x="636097" y="1821349"/>
                  </a:lnTo>
                  <a:lnTo>
                    <a:pt x="-4731" y="1821349"/>
                  </a:lnTo>
                  <a:close/>
                  <a:moveTo>
                    <a:pt x="39182" y="1717903"/>
                  </a:moveTo>
                  <a:lnTo>
                    <a:pt x="162571" y="1717903"/>
                  </a:lnTo>
                  <a:lnTo>
                    <a:pt x="162571" y="1683420"/>
                  </a:lnTo>
                  <a:lnTo>
                    <a:pt x="39182" y="1683420"/>
                  </a:lnTo>
                  <a:close/>
                  <a:moveTo>
                    <a:pt x="448983" y="1683420"/>
                  </a:moveTo>
                  <a:lnTo>
                    <a:pt x="325589" y="1683420"/>
                  </a:lnTo>
                  <a:lnTo>
                    <a:pt x="325589" y="1717903"/>
                  </a:lnTo>
                  <a:lnTo>
                    <a:pt x="448983" y="1717903"/>
                  </a:lnTo>
                  <a:close/>
                  <a:moveTo>
                    <a:pt x="448983" y="1614456"/>
                  </a:moveTo>
                  <a:lnTo>
                    <a:pt x="325589" y="1614456"/>
                  </a:lnTo>
                  <a:lnTo>
                    <a:pt x="325589" y="1648938"/>
                  </a:lnTo>
                  <a:lnTo>
                    <a:pt x="448983" y="1648938"/>
                  </a:lnTo>
                  <a:close/>
                  <a:moveTo>
                    <a:pt x="448983" y="1545492"/>
                  </a:moveTo>
                  <a:lnTo>
                    <a:pt x="325589" y="1545492"/>
                  </a:lnTo>
                  <a:lnTo>
                    <a:pt x="325589" y="1579974"/>
                  </a:lnTo>
                  <a:lnTo>
                    <a:pt x="448983" y="1579974"/>
                  </a:lnTo>
                  <a:close/>
                  <a:moveTo>
                    <a:pt x="448983" y="1476528"/>
                  </a:moveTo>
                  <a:lnTo>
                    <a:pt x="325589" y="1476528"/>
                  </a:lnTo>
                  <a:lnTo>
                    <a:pt x="325589" y="1511010"/>
                  </a:lnTo>
                  <a:lnTo>
                    <a:pt x="448983" y="1511010"/>
                  </a:lnTo>
                  <a:close/>
                  <a:moveTo>
                    <a:pt x="448983" y="1407564"/>
                  </a:moveTo>
                  <a:lnTo>
                    <a:pt x="325589" y="1407564"/>
                  </a:lnTo>
                  <a:lnTo>
                    <a:pt x="325589" y="1442046"/>
                  </a:lnTo>
                  <a:lnTo>
                    <a:pt x="448983" y="1442046"/>
                  </a:lnTo>
                  <a:close/>
                  <a:moveTo>
                    <a:pt x="448983" y="1338600"/>
                  </a:moveTo>
                  <a:lnTo>
                    <a:pt x="325589" y="1338600"/>
                  </a:lnTo>
                  <a:lnTo>
                    <a:pt x="325589" y="1373082"/>
                  </a:lnTo>
                  <a:lnTo>
                    <a:pt x="448983" y="1373082"/>
                  </a:lnTo>
                  <a:close/>
                  <a:moveTo>
                    <a:pt x="448983" y="1269636"/>
                  </a:moveTo>
                  <a:lnTo>
                    <a:pt x="325589" y="1269636"/>
                  </a:lnTo>
                  <a:lnTo>
                    <a:pt x="325589" y="1304118"/>
                  </a:lnTo>
                  <a:lnTo>
                    <a:pt x="448983" y="1304118"/>
                  </a:lnTo>
                  <a:close/>
                  <a:moveTo>
                    <a:pt x="448983" y="1200672"/>
                  </a:moveTo>
                  <a:lnTo>
                    <a:pt x="325589" y="1200672"/>
                  </a:lnTo>
                  <a:lnTo>
                    <a:pt x="325589" y="1235159"/>
                  </a:lnTo>
                  <a:lnTo>
                    <a:pt x="448983" y="1235159"/>
                  </a:lnTo>
                  <a:close/>
                  <a:moveTo>
                    <a:pt x="448983" y="1131708"/>
                  </a:moveTo>
                  <a:lnTo>
                    <a:pt x="325589" y="1131708"/>
                  </a:lnTo>
                  <a:lnTo>
                    <a:pt x="325589" y="1166195"/>
                  </a:lnTo>
                  <a:lnTo>
                    <a:pt x="448983" y="1166195"/>
                  </a:lnTo>
                  <a:close/>
                  <a:moveTo>
                    <a:pt x="448983" y="1062744"/>
                  </a:moveTo>
                  <a:lnTo>
                    <a:pt x="325589" y="1062744"/>
                  </a:lnTo>
                  <a:lnTo>
                    <a:pt x="325589" y="1097231"/>
                  </a:lnTo>
                  <a:lnTo>
                    <a:pt x="448983" y="1097231"/>
                  </a:lnTo>
                  <a:close/>
                  <a:moveTo>
                    <a:pt x="448983" y="993785"/>
                  </a:moveTo>
                  <a:lnTo>
                    <a:pt x="325589" y="993785"/>
                  </a:lnTo>
                  <a:lnTo>
                    <a:pt x="325589" y="1028267"/>
                  </a:lnTo>
                  <a:lnTo>
                    <a:pt x="448983" y="1028267"/>
                  </a:lnTo>
                  <a:close/>
                  <a:moveTo>
                    <a:pt x="448983" y="924821"/>
                  </a:moveTo>
                  <a:lnTo>
                    <a:pt x="325589" y="924821"/>
                  </a:lnTo>
                  <a:lnTo>
                    <a:pt x="325589" y="959303"/>
                  </a:lnTo>
                  <a:lnTo>
                    <a:pt x="448983" y="959303"/>
                  </a:lnTo>
                  <a:close/>
                  <a:moveTo>
                    <a:pt x="448983" y="855857"/>
                  </a:moveTo>
                  <a:lnTo>
                    <a:pt x="325589" y="855857"/>
                  </a:lnTo>
                  <a:lnTo>
                    <a:pt x="325589" y="890334"/>
                  </a:lnTo>
                  <a:lnTo>
                    <a:pt x="448983" y="890334"/>
                  </a:lnTo>
                  <a:close/>
                  <a:moveTo>
                    <a:pt x="448983" y="786893"/>
                  </a:moveTo>
                  <a:lnTo>
                    <a:pt x="325589" y="786893"/>
                  </a:lnTo>
                  <a:lnTo>
                    <a:pt x="325589" y="821375"/>
                  </a:lnTo>
                  <a:lnTo>
                    <a:pt x="448983" y="821375"/>
                  </a:lnTo>
                  <a:close/>
                  <a:moveTo>
                    <a:pt x="448983" y="717929"/>
                  </a:moveTo>
                  <a:lnTo>
                    <a:pt x="325589" y="717929"/>
                  </a:lnTo>
                  <a:lnTo>
                    <a:pt x="325589" y="752411"/>
                  </a:lnTo>
                  <a:lnTo>
                    <a:pt x="448983" y="752411"/>
                  </a:lnTo>
                  <a:close/>
                  <a:moveTo>
                    <a:pt x="448983" y="648959"/>
                  </a:moveTo>
                  <a:lnTo>
                    <a:pt x="325589" y="648959"/>
                  </a:lnTo>
                  <a:lnTo>
                    <a:pt x="325589" y="683447"/>
                  </a:lnTo>
                  <a:lnTo>
                    <a:pt x="448983" y="683447"/>
                  </a:lnTo>
                  <a:close/>
                  <a:moveTo>
                    <a:pt x="448983" y="580001"/>
                  </a:moveTo>
                  <a:lnTo>
                    <a:pt x="325589" y="580001"/>
                  </a:lnTo>
                  <a:lnTo>
                    <a:pt x="325589" y="614483"/>
                  </a:lnTo>
                  <a:lnTo>
                    <a:pt x="448983" y="614483"/>
                  </a:lnTo>
                  <a:close/>
                  <a:moveTo>
                    <a:pt x="448983" y="511037"/>
                  </a:moveTo>
                  <a:lnTo>
                    <a:pt x="325589" y="511037"/>
                  </a:lnTo>
                  <a:lnTo>
                    <a:pt x="325589" y="545519"/>
                  </a:lnTo>
                  <a:lnTo>
                    <a:pt x="448983" y="545519"/>
                  </a:lnTo>
                  <a:close/>
                  <a:moveTo>
                    <a:pt x="448983" y="442073"/>
                  </a:moveTo>
                  <a:lnTo>
                    <a:pt x="325589" y="442073"/>
                  </a:lnTo>
                  <a:lnTo>
                    <a:pt x="325589" y="476555"/>
                  </a:lnTo>
                  <a:lnTo>
                    <a:pt x="448983" y="476555"/>
                  </a:lnTo>
                  <a:close/>
                  <a:moveTo>
                    <a:pt x="448983" y="373109"/>
                  </a:moveTo>
                  <a:lnTo>
                    <a:pt x="325589" y="373109"/>
                  </a:lnTo>
                  <a:lnTo>
                    <a:pt x="325589" y="407591"/>
                  </a:lnTo>
                  <a:lnTo>
                    <a:pt x="448983" y="407591"/>
                  </a:lnTo>
                  <a:close/>
                  <a:moveTo>
                    <a:pt x="448983" y="304145"/>
                  </a:moveTo>
                  <a:lnTo>
                    <a:pt x="325589" y="304145"/>
                  </a:lnTo>
                  <a:lnTo>
                    <a:pt x="325589" y="338627"/>
                  </a:lnTo>
                  <a:lnTo>
                    <a:pt x="448983" y="338627"/>
                  </a:lnTo>
                  <a:close/>
                  <a:moveTo>
                    <a:pt x="448983" y="235186"/>
                  </a:moveTo>
                  <a:lnTo>
                    <a:pt x="325589" y="235186"/>
                  </a:lnTo>
                  <a:lnTo>
                    <a:pt x="325589" y="269668"/>
                  </a:lnTo>
                  <a:lnTo>
                    <a:pt x="448983" y="269668"/>
                  </a:lnTo>
                  <a:close/>
                  <a:moveTo>
                    <a:pt x="448983" y="166222"/>
                  </a:moveTo>
                  <a:lnTo>
                    <a:pt x="325589" y="166222"/>
                  </a:lnTo>
                  <a:lnTo>
                    <a:pt x="325589" y="200699"/>
                  </a:lnTo>
                  <a:lnTo>
                    <a:pt x="448983" y="200699"/>
                  </a:lnTo>
                  <a:close/>
                  <a:moveTo>
                    <a:pt x="448983" y="97258"/>
                  </a:moveTo>
                  <a:lnTo>
                    <a:pt x="325589" y="97258"/>
                  </a:lnTo>
                  <a:lnTo>
                    <a:pt x="325589" y="131740"/>
                  </a:lnTo>
                  <a:lnTo>
                    <a:pt x="448983" y="131740"/>
                  </a:lnTo>
                  <a:close/>
                  <a:moveTo>
                    <a:pt x="182382" y="131740"/>
                  </a:moveTo>
                  <a:lnTo>
                    <a:pt x="305777" y="131740"/>
                  </a:lnTo>
                  <a:lnTo>
                    <a:pt x="305777" y="97258"/>
                  </a:lnTo>
                  <a:lnTo>
                    <a:pt x="182382" y="97258"/>
                  </a:lnTo>
                  <a:close/>
                  <a:moveTo>
                    <a:pt x="182382" y="200699"/>
                  </a:moveTo>
                  <a:lnTo>
                    <a:pt x="305777" y="200699"/>
                  </a:lnTo>
                  <a:lnTo>
                    <a:pt x="305777" y="166222"/>
                  </a:lnTo>
                  <a:lnTo>
                    <a:pt x="182382" y="166222"/>
                  </a:lnTo>
                  <a:close/>
                  <a:moveTo>
                    <a:pt x="182382" y="269668"/>
                  </a:moveTo>
                  <a:lnTo>
                    <a:pt x="305777" y="269668"/>
                  </a:lnTo>
                  <a:lnTo>
                    <a:pt x="305777" y="235186"/>
                  </a:lnTo>
                  <a:lnTo>
                    <a:pt x="182382" y="235186"/>
                  </a:lnTo>
                  <a:close/>
                  <a:moveTo>
                    <a:pt x="182382" y="338627"/>
                  </a:moveTo>
                  <a:lnTo>
                    <a:pt x="305777" y="338627"/>
                  </a:lnTo>
                  <a:lnTo>
                    <a:pt x="305777" y="304145"/>
                  </a:lnTo>
                  <a:lnTo>
                    <a:pt x="182382" y="304145"/>
                  </a:lnTo>
                  <a:close/>
                  <a:moveTo>
                    <a:pt x="182382" y="407591"/>
                  </a:moveTo>
                  <a:lnTo>
                    <a:pt x="305777" y="407591"/>
                  </a:lnTo>
                  <a:lnTo>
                    <a:pt x="305777" y="373109"/>
                  </a:lnTo>
                  <a:lnTo>
                    <a:pt x="182382" y="373109"/>
                  </a:lnTo>
                  <a:close/>
                  <a:moveTo>
                    <a:pt x="182382" y="476555"/>
                  </a:moveTo>
                  <a:lnTo>
                    <a:pt x="305777" y="476555"/>
                  </a:lnTo>
                  <a:lnTo>
                    <a:pt x="305777" y="442073"/>
                  </a:lnTo>
                  <a:lnTo>
                    <a:pt x="182382" y="442073"/>
                  </a:lnTo>
                  <a:close/>
                  <a:moveTo>
                    <a:pt x="182382" y="545519"/>
                  </a:moveTo>
                  <a:lnTo>
                    <a:pt x="305777" y="545519"/>
                  </a:lnTo>
                  <a:lnTo>
                    <a:pt x="305777" y="511037"/>
                  </a:lnTo>
                  <a:lnTo>
                    <a:pt x="182382" y="511037"/>
                  </a:lnTo>
                  <a:close/>
                  <a:moveTo>
                    <a:pt x="182382" y="614483"/>
                  </a:moveTo>
                  <a:lnTo>
                    <a:pt x="305777" y="614483"/>
                  </a:lnTo>
                  <a:lnTo>
                    <a:pt x="305777" y="580001"/>
                  </a:lnTo>
                  <a:lnTo>
                    <a:pt x="182382" y="580001"/>
                  </a:lnTo>
                  <a:close/>
                  <a:moveTo>
                    <a:pt x="182382" y="683447"/>
                  </a:moveTo>
                  <a:lnTo>
                    <a:pt x="305777" y="683447"/>
                  </a:lnTo>
                  <a:lnTo>
                    <a:pt x="305777" y="648959"/>
                  </a:lnTo>
                  <a:lnTo>
                    <a:pt x="182382" y="648959"/>
                  </a:lnTo>
                  <a:close/>
                  <a:moveTo>
                    <a:pt x="182382" y="752411"/>
                  </a:moveTo>
                  <a:lnTo>
                    <a:pt x="305777" y="752411"/>
                  </a:lnTo>
                  <a:lnTo>
                    <a:pt x="305777" y="717929"/>
                  </a:lnTo>
                  <a:lnTo>
                    <a:pt x="182382" y="717929"/>
                  </a:lnTo>
                  <a:close/>
                  <a:moveTo>
                    <a:pt x="182382" y="821375"/>
                  </a:moveTo>
                  <a:lnTo>
                    <a:pt x="305777" y="821375"/>
                  </a:lnTo>
                  <a:lnTo>
                    <a:pt x="305777" y="786893"/>
                  </a:lnTo>
                  <a:lnTo>
                    <a:pt x="182382" y="786893"/>
                  </a:lnTo>
                  <a:close/>
                  <a:moveTo>
                    <a:pt x="182382" y="890334"/>
                  </a:moveTo>
                  <a:lnTo>
                    <a:pt x="305777" y="890334"/>
                  </a:lnTo>
                  <a:lnTo>
                    <a:pt x="305777" y="855857"/>
                  </a:lnTo>
                  <a:lnTo>
                    <a:pt x="182382" y="855857"/>
                  </a:lnTo>
                  <a:close/>
                  <a:moveTo>
                    <a:pt x="182382" y="959303"/>
                  </a:moveTo>
                  <a:lnTo>
                    <a:pt x="305777" y="959303"/>
                  </a:lnTo>
                  <a:lnTo>
                    <a:pt x="305777" y="924821"/>
                  </a:lnTo>
                  <a:lnTo>
                    <a:pt x="182382" y="924821"/>
                  </a:lnTo>
                  <a:close/>
                  <a:moveTo>
                    <a:pt x="182382" y="1028267"/>
                  </a:moveTo>
                  <a:lnTo>
                    <a:pt x="305777" y="1028267"/>
                  </a:lnTo>
                  <a:lnTo>
                    <a:pt x="305777" y="993785"/>
                  </a:lnTo>
                  <a:lnTo>
                    <a:pt x="182382" y="993785"/>
                  </a:lnTo>
                  <a:close/>
                  <a:moveTo>
                    <a:pt x="182382" y="1097231"/>
                  </a:moveTo>
                  <a:lnTo>
                    <a:pt x="305777" y="1097231"/>
                  </a:lnTo>
                  <a:lnTo>
                    <a:pt x="305777" y="1062744"/>
                  </a:lnTo>
                  <a:lnTo>
                    <a:pt x="182382" y="1062744"/>
                  </a:lnTo>
                  <a:close/>
                  <a:moveTo>
                    <a:pt x="182382" y="1166195"/>
                  </a:moveTo>
                  <a:lnTo>
                    <a:pt x="305777" y="1166195"/>
                  </a:lnTo>
                  <a:lnTo>
                    <a:pt x="305777" y="1131708"/>
                  </a:lnTo>
                  <a:lnTo>
                    <a:pt x="182382" y="1131708"/>
                  </a:lnTo>
                  <a:close/>
                  <a:moveTo>
                    <a:pt x="182382" y="1235159"/>
                  </a:moveTo>
                  <a:lnTo>
                    <a:pt x="305777" y="1235159"/>
                  </a:lnTo>
                  <a:lnTo>
                    <a:pt x="305777" y="1200672"/>
                  </a:lnTo>
                  <a:lnTo>
                    <a:pt x="182382" y="1200672"/>
                  </a:lnTo>
                  <a:close/>
                  <a:moveTo>
                    <a:pt x="182382" y="1304118"/>
                  </a:moveTo>
                  <a:lnTo>
                    <a:pt x="305777" y="1304118"/>
                  </a:lnTo>
                  <a:lnTo>
                    <a:pt x="305777" y="1269636"/>
                  </a:lnTo>
                  <a:lnTo>
                    <a:pt x="182382" y="1269636"/>
                  </a:lnTo>
                  <a:close/>
                  <a:moveTo>
                    <a:pt x="182382" y="1373082"/>
                  </a:moveTo>
                  <a:lnTo>
                    <a:pt x="305777" y="1373082"/>
                  </a:lnTo>
                  <a:lnTo>
                    <a:pt x="305777" y="1338600"/>
                  </a:lnTo>
                  <a:lnTo>
                    <a:pt x="182382" y="1338600"/>
                  </a:lnTo>
                  <a:close/>
                  <a:moveTo>
                    <a:pt x="182382" y="1442046"/>
                  </a:moveTo>
                  <a:lnTo>
                    <a:pt x="305777" y="1442046"/>
                  </a:lnTo>
                  <a:lnTo>
                    <a:pt x="305777" y="1407564"/>
                  </a:lnTo>
                  <a:lnTo>
                    <a:pt x="182382" y="1407564"/>
                  </a:lnTo>
                  <a:close/>
                  <a:moveTo>
                    <a:pt x="182382" y="1511010"/>
                  </a:moveTo>
                  <a:lnTo>
                    <a:pt x="305777" y="1511010"/>
                  </a:lnTo>
                  <a:lnTo>
                    <a:pt x="305777" y="1476528"/>
                  </a:lnTo>
                  <a:lnTo>
                    <a:pt x="182382" y="1476528"/>
                  </a:lnTo>
                  <a:close/>
                  <a:moveTo>
                    <a:pt x="182382" y="1579974"/>
                  </a:moveTo>
                  <a:lnTo>
                    <a:pt x="305777" y="1579974"/>
                  </a:lnTo>
                  <a:lnTo>
                    <a:pt x="305777" y="1545492"/>
                  </a:lnTo>
                  <a:lnTo>
                    <a:pt x="182382" y="1545492"/>
                  </a:lnTo>
                  <a:close/>
                  <a:moveTo>
                    <a:pt x="182382" y="1648938"/>
                  </a:moveTo>
                  <a:lnTo>
                    <a:pt x="305777" y="1648938"/>
                  </a:lnTo>
                  <a:lnTo>
                    <a:pt x="305777" y="1614456"/>
                  </a:lnTo>
                  <a:lnTo>
                    <a:pt x="182382" y="1614456"/>
                  </a:lnTo>
                  <a:close/>
                  <a:moveTo>
                    <a:pt x="305777" y="1683420"/>
                  </a:moveTo>
                  <a:lnTo>
                    <a:pt x="182382" y="1683420"/>
                  </a:lnTo>
                  <a:lnTo>
                    <a:pt x="182382" y="1717903"/>
                  </a:lnTo>
                  <a:lnTo>
                    <a:pt x="305777" y="1717903"/>
                  </a:lnTo>
                  <a:close/>
                  <a:moveTo>
                    <a:pt x="39182" y="1648938"/>
                  </a:moveTo>
                  <a:lnTo>
                    <a:pt x="162571" y="1648938"/>
                  </a:lnTo>
                  <a:lnTo>
                    <a:pt x="162571" y="1614456"/>
                  </a:lnTo>
                  <a:lnTo>
                    <a:pt x="39182" y="1614456"/>
                  </a:lnTo>
                  <a:close/>
                  <a:moveTo>
                    <a:pt x="39182" y="1579974"/>
                  </a:moveTo>
                  <a:lnTo>
                    <a:pt x="162571" y="1579974"/>
                  </a:lnTo>
                  <a:lnTo>
                    <a:pt x="162571" y="1545492"/>
                  </a:lnTo>
                  <a:lnTo>
                    <a:pt x="39182" y="1545492"/>
                  </a:lnTo>
                  <a:close/>
                  <a:moveTo>
                    <a:pt x="39182" y="1511010"/>
                  </a:moveTo>
                  <a:lnTo>
                    <a:pt x="162571" y="1511010"/>
                  </a:lnTo>
                  <a:lnTo>
                    <a:pt x="162571" y="1476528"/>
                  </a:lnTo>
                  <a:lnTo>
                    <a:pt x="39182" y="1476528"/>
                  </a:lnTo>
                  <a:close/>
                  <a:moveTo>
                    <a:pt x="39182" y="1442046"/>
                  </a:moveTo>
                  <a:lnTo>
                    <a:pt x="162571" y="1442046"/>
                  </a:lnTo>
                  <a:lnTo>
                    <a:pt x="162571" y="1407564"/>
                  </a:lnTo>
                  <a:lnTo>
                    <a:pt x="39182" y="1407564"/>
                  </a:lnTo>
                  <a:close/>
                  <a:moveTo>
                    <a:pt x="39182" y="1373082"/>
                  </a:moveTo>
                  <a:lnTo>
                    <a:pt x="162571" y="1373082"/>
                  </a:lnTo>
                  <a:lnTo>
                    <a:pt x="162571" y="1338600"/>
                  </a:lnTo>
                  <a:lnTo>
                    <a:pt x="39182" y="1338600"/>
                  </a:lnTo>
                  <a:close/>
                  <a:moveTo>
                    <a:pt x="39182" y="1304118"/>
                  </a:moveTo>
                  <a:lnTo>
                    <a:pt x="162571" y="1304118"/>
                  </a:lnTo>
                  <a:lnTo>
                    <a:pt x="162571" y="1269636"/>
                  </a:lnTo>
                  <a:lnTo>
                    <a:pt x="39182" y="1269636"/>
                  </a:lnTo>
                  <a:close/>
                  <a:moveTo>
                    <a:pt x="39182" y="1235159"/>
                  </a:moveTo>
                  <a:lnTo>
                    <a:pt x="162571" y="1235159"/>
                  </a:lnTo>
                  <a:lnTo>
                    <a:pt x="162571" y="1200672"/>
                  </a:lnTo>
                  <a:lnTo>
                    <a:pt x="39182" y="1200672"/>
                  </a:lnTo>
                  <a:close/>
                  <a:moveTo>
                    <a:pt x="39182" y="1166195"/>
                  </a:moveTo>
                  <a:lnTo>
                    <a:pt x="162571" y="1166195"/>
                  </a:lnTo>
                  <a:lnTo>
                    <a:pt x="162571" y="1131708"/>
                  </a:lnTo>
                  <a:lnTo>
                    <a:pt x="39182" y="1131708"/>
                  </a:lnTo>
                  <a:close/>
                  <a:moveTo>
                    <a:pt x="39182" y="1097231"/>
                  </a:moveTo>
                  <a:lnTo>
                    <a:pt x="162571" y="1097231"/>
                  </a:lnTo>
                  <a:lnTo>
                    <a:pt x="162571" y="1062744"/>
                  </a:lnTo>
                  <a:lnTo>
                    <a:pt x="39182" y="1062744"/>
                  </a:lnTo>
                  <a:close/>
                  <a:moveTo>
                    <a:pt x="39182" y="1028267"/>
                  </a:moveTo>
                  <a:lnTo>
                    <a:pt x="162571" y="1028267"/>
                  </a:lnTo>
                  <a:lnTo>
                    <a:pt x="162571" y="993785"/>
                  </a:lnTo>
                  <a:lnTo>
                    <a:pt x="39182" y="993785"/>
                  </a:lnTo>
                  <a:close/>
                  <a:moveTo>
                    <a:pt x="39182" y="959303"/>
                  </a:moveTo>
                  <a:lnTo>
                    <a:pt x="162571" y="959303"/>
                  </a:lnTo>
                  <a:lnTo>
                    <a:pt x="162571" y="924821"/>
                  </a:lnTo>
                  <a:lnTo>
                    <a:pt x="39182" y="924821"/>
                  </a:lnTo>
                  <a:close/>
                  <a:moveTo>
                    <a:pt x="39182" y="890334"/>
                  </a:moveTo>
                  <a:lnTo>
                    <a:pt x="162571" y="890334"/>
                  </a:lnTo>
                  <a:lnTo>
                    <a:pt x="162571" y="855857"/>
                  </a:lnTo>
                  <a:lnTo>
                    <a:pt x="39182" y="855857"/>
                  </a:lnTo>
                  <a:close/>
                  <a:moveTo>
                    <a:pt x="39182" y="821375"/>
                  </a:moveTo>
                  <a:lnTo>
                    <a:pt x="162571" y="821375"/>
                  </a:lnTo>
                  <a:lnTo>
                    <a:pt x="162571" y="786893"/>
                  </a:lnTo>
                  <a:lnTo>
                    <a:pt x="39182" y="786893"/>
                  </a:lnTo>
                  <a:close/>
                  <a:moveTo>
                    <a:pt x="39182" y="752411"/>
                  </a:moveTo>
                  <a:lnTo>
                    <a:pt x="162571" y="752411"/>
                  </a:lnTo>
                  <a:lnTo>
                    <a:pt x="162571" y="717929"/>
                  </a:lnTo>
                  <a:lnTo>
                    <a:pt x="39182" y="717929"/>
                  </a:lnTo>
                  <a:close/>
                  <a:moveTo>
                    <a:pt x="39182" y="683447"/>
                  </a:moveTo>
                  <a:lnTo>
                    <a:pt x="162571" y="683447"/>
                  </a:lnTo>
                  <a:lnTo>
                    <a:pt x="162571" y="648959"/>
                  </a:lnTo>
                  <a:lnTo>
                    <a:pt x="39182" y="648959"/>
                  </a:lnTo>
                  <a:close/>
                  <a:moveTo>
                    <a:pt x="39182" y="614483"/>
                  </a:moveTo>
                  <a:lnTo>
                    <a:pt x="162571" y="614483"/>
                  </a:lnTo>
                  <a:lnTo>
                    <a:pt x="162571" y="580001"/>
                  </a:lnTo>
                  <a:lnTo>
                    <a:pt x="39182" y="580001"/>
                  </a:lnTo>
                  <a:close/>
                  <a:moveTo>
                    <a:pt x="39182" y="545519"/>
                  </a:moveTo>
                  <a:lnTo>
                    <a:pt x="162571" y="545519"/>
                  </a:lnTo>
                  <a:lnTo>
                    <a:pt x="162571" y="511037"/>
                  </a:lnTo>
                  <a:lnTo>
                    <a:pt x="39182" y="511037"/>
                  </a:lnTo>
                  <a:close/>
                  <a:moveTo>
                    <a:pt x="39182" y="476555"/>
                  </a:moveTo>
                  <a:lnTo>
                    <a:pt x="162571" y="476555"/>
                  </a:lnTo>
                  <a:lnTo>
                    <a:pt x="162571" y="442073"/>
                  </a:lnTo>
                  <a:lnTo>
                    <a:pt x="39182" y="442073"/>
                  </a:lnTo>
                  <a:close/>
                  <a:moveTo>
                    <a:pt x="39182" y="407591"/>
                  </a:moveTo>
                  <a:lnTo>
                    <a:pt x="162571" y="407591"/>
                  </a:lnTo>
                  <a:lnTo>
                    <a:pt x="162571" y="373109"/>
                  </a:lnTo>
                  <a:lnTo>
                    <a:pt x="39182" y="373109"/>
                  </a:lnTo>
                  <a:close/>
                  <a:moveTo>
                    <a:pt x="39182" y="338627"/>
                  </a:moveTo>
                  <a:lnTo>
                    <a:pt x="162571" y="338627"/>
                  </a:lnTo>
                  <a:lnTo>
                    <a:pt x="162571" y="304145"/>
                  </a:lnTo>
                  <a:lnTo>
                    <a:pt x="39182" y="304145"/>
                  </a:lnTo>
                  <a:close/>
                  <a:moveTo>
                    <a:pt x="39182" y="269668"/>
                  </a:moveTo>
                  <a:lnTo>
                    <a:pt x="162571" y="269668"/>
                  </a:lnTo>
                  <a:lnTo>
                    <a:pt x="162571" y="235186"/>
                  </a:lnTo>
                  <a:lnTo>
                    <a:pt x="39182" y="235186"/>
                  </a:lnTo>
                  <a:close/>
                  <a:moveTo>
                    <a:pt x="39182" y="200699"/>
                  </a:moveTo>
                  <a:lnTo>
                    <a:pt x="162571" y="200699"/>
                  </a:lnTo>
                  <a:lnTo>
                    <a:pt x="162571" y="166222"/>
                  </a:lnTo>
                  <a:lnTo>
                    <a:pt x="39182" y="166222"/>
                  </a:lnTo>
                  <a:close/>
                  <a:moveTo>
                    <a:pt x="39182" y="131740"/>
                  </a:moveTo>
                  <a:lnTo>
                    <a:pt x="162571" y="131740"/>
                  </a:lnTo>
                  <a:lnTo>
                    <a:pt x="162571" y="97258"/>
                  </a:lnTo>
                  <a:lnTo>
                    <a:pt x="39182" y="97258"/>
                  </a:lnTo>
                  <a:close/>
                  <a:moveTo>
                    <a:pt x="39182" y="28294"/>
                  </a:moveTo>
                  <a:lnTo>
                    <a:pt x="39182" y="62771"/>
                  </a:lnTo>
                  <a:lnTo>
                    <a:pt x="162571" y="62771"/>
                  </a:lnTo>
                  <a:lnTo>
                    <a:pt x="162571" y="28294"/>
                  </a:lnTo>
                  <a:close/>
                  <a:moveTo>
                    <a:pt x="182382" y="28294"/>
                  </a:moveTo>
                  <a:lnTo>
                    <a:pt x="182382" y="62771"/>
                  </a:lnTo>
                  <a:lnTo>
                    <a:pt x="305777" y="62771"/>
                  </a:lnTo>
                  <a:lnTo>
                    <a:pt x="305777" y="28294"/>
                  </a:lnTo>
                  <a:close/>
                  <a:moveTo>
                    <a:pt x="325589" y="28294"/>
                  </a:moveTo>
                  <a:lnTo>
                    <a:pt x="325589" y="62771"/>
                  </a:lnTo>
                  <a:lnTo>
                    <a:pt x="448983" y="62771"/>
                  </a:lnTo>
                  <a:lnTo>
                    <a:pt x="448983" y="28294"/>
                  </a:lnTo>
                  <a:close/>
                  <a:moveTo>
                    <a:pt x="592189" y="28294"/>
                  </a:moveTo>
                  <a:lnTo>
                    <a:pt x="468800" y="28294"/>
                  </a:lnTo>
                  <a:lnTo>
                    <a:pt x="468800" y="62771"/>
                  </a:lnTo>
                  <a:lnTo>
                    <a:pt x="592189" y="62771"/>
                  </a:lnTo>
                  <a:close/>
                  <a:moveTo>
                    <a:pt x="592189" y="97258"/>
                  </a:moveTo>
                  <a:lnTo>
                    <a:pt x="468800" y="97258"/>
                  </a:lnTo>
                  <a:lnTo>
                    <a:pt x="468800" y="131740"/>
                  </a:lnTo>
                  <a:lnTo>
                    <a:pt x="592189" y="131740"/>
                  </a:lnTo>
                  <a:close/>
                  <a:moveTo>
                    <a:pt x="592189" y="166222"/>
                  </a:moveTo>
                  <a:lnTo>
                    <a:pt x="468800" y="166222"/>
                  </a:lnTo>
                  <a:lnTo>
                    <a:pt x="468800" y="200699"/>
                  </a:lnTo>
                  <a:lnTo>
                    <a:pt x="592189" y="200699"/>
                  </a:lnTo>
                  <a:close/>
                  <a:moveTo>
                    <a:pt x="592189" y="235186"/>
                  </a:moveTo>
                  <a:lnTo>
                    <a:pt x="468800" y="235186"/>
                  </a:lnTo>
                  <a:lnTo>
                    <a:pt x="468800" y="269668"/>
                  </a:lnTo>
                  <a:lnTo>
                    <a:pt x="592189" y="269668"/>
                  </a:lnTo>
                  <a:close/>
                  <a:moveTo>
                    <a:pt x="592189" y="304145"/>
                  </a:moveTo>
                  <a:lnTo>
                    <a:pt x="468800" y="304145"/>
                  </a:lnTo>
                  <a:lnTo>
                    <a:pt x="468800" y="338627"/>
                  </a:lnTo>
                  <a:lnTo>
                    <a:pt x="592189" y="338627"/>
                  </a:lnTo>
                  <a:close/>
                  <a:moveTo>
                    <a:pt x="592189" y="373109"/>
                  </a:moveTo>
                  <a:lnTo>
                    <a:pt x="468800" y="373109"/>
                  </a:lnTo>
                  <a:lnTo>
                    <a:pt x="468800" y="407591"/>
                  </a:lnTo>
                  <a:lnTo>
                    <a:pt x="592189" y="407591"/>
                  </a:lnTo>
                  <a:close/>
                  <a:moveTo>
                    <a:pt x="592189" y="442073"/>
                  </a:moveTo>
                  <a:lnTo>
                    <a:pt x="468800" y="442073"/>
                  </a:lnTo>
                  <a:lnTo>
                    <a:pt x="468800" y="476555"/>
                  </a:lnTo>
                  <a:lnTo>
                    <a:pt x="592189" y="476555"/>
                  </a:lnTo>
                  <a:close/>
                  <a:moveTo>
                    <a:pt x="592189" y="511037"/>
                  </a:moveTo>
                  <a:lnTo>
                    <a:pt x="468800" y="511037"/>
                  </a:lnTo>
                  <a:lnTo>
                    <a:pt x="468800" y="545519"/>
                  </a:lnTo>
                  <a:lnTo>
                    <a:pt x="592189" y="545519"/>
                  </a:lnTo>
                  <a:close/>
                  <a:moveTo>
                    <a:pt x="592189" y="580001"/>
                  </a:moveTo>
                  <a:lnTo>
                    <a:pt x="468800" y="580001"/>
                  </a:lnTo>
                  <a:lnTo>
                    <a:pt x="468800" y="614483"/>
                  </a:lnTo>
                  <a:lnTo>
                    <a:pt x="592189" y="614483"/>
                  </a:lnTo>
                  <a:close/>
                  <a:moveTo>
                    <a:pt x="592189" y="648959"/>
                  </a:moveTo>
                  <a:lnTo>
                    <a:pt x="468800" y="648959"/>
                  </a:lnTo>
                  <a:lnTo>
                    <a:pt x="468800" y="683447"/>
                  </a:lnTo>
                  <a:lnTo>
                    <a:pt x="592189" y="683447"/>
                  </a:lnTo>
                  <a:close/>
                  <a:moveTo>
                    <a:pt x="592189" y="717929"/>
                  </a:moveTo>
                  <a:lnTo>
                    <a:pt x="468800" y="717929"/>
                  </a:lnTo>
                  <a:lnTo>
                    <a:pt x="468800" y="752411"/>
                  </a:lnTo>
                  <a:lnTo>
                    <a:pt x="592189" y="752411"/>
                  </a:lnTo>
                  <a:close/>
                  <a:moveTo>
                    <a:pt x="592189" y="786893"/>
                  </a:moveTo>
                  <a:lnTo>
                    <a:pt x="468800" y="786893"/>
                  </a:lnTo>
                  <a:lnTo>
                    <a:pt x="468800" y="821375"/>
                  </a:lnTo>
                  <a:lnTo>
                    <a:pt x="592189" y="821375"/>
                  </a:lnTo>
                  <a:close/>
                  <a:moveTo>
                    <a:pt x="592189" y="855857"/>
                  </a:moveTo>
                  <a:lnTo>
                    <a:pt x="468800" y="855857"/>
                  </a:lnTo>
                  <a:lnTo>
                    <a:pt x="468800" y="890334"/>
                  </a:lnTo>
                  <a:lnTo>
                    <a:pt x="592189" y="890334"/>
                  </a:lnTo>
                  <a:close/>
                  <a:moveTo>
                    <a:pt x="592189" y="924821"/>
                  </a:moveTo>
                  <a:lnTo>
                    <a:pt x="468800" y="924821"/>
                  </a:lnTo>
                  <a:lnTo>
                    <a:pt x="468800" y="959303"/>
                  </a:lnTo>
                  <a:lnTo>
                    <a:pt x="592189" y="959303"/>
                  </a:lnTo>
                  <a:close/>
                  <a:moveTo>
                    <a:pt x="592189" y="993785"/>
                  </a:moveTo>
                  <a:lnTo>
                    <a:pt x="468800" y="993785"/>
                  </a:lnTo>
                  <a:lnTo>
                    <a:pt x="468800" y="1028267"/>
                  </a:lnTo>
                  <a:lnTo>
                    <a:pt x="592189" y="1028267"/>
                  </a:lnTo>
                  <a:close/>
                  <a:moveTo>
                    <a:pt x="592189" y="1062744"/>
                  </a:moveTo>
                  <a:lnTo>
                    <a:pt x="468800" y="1062744"/>
                  </a:lnTo>
                  <a:lnTo>
                    <a:pt x="468800" y="1097231"/>
                  </a:lnTo>
                  <a:lnTo>
                    <a:pt x="592189" y="1097231"/>
                  </a:lnTo>
                  <a:close/>
                  <a:moveTo>
                    <a:pt x="592189" y="1131708"/>
                  </a:moveTo>
                  <a:lnTo>
                    <a:pt x="468800" y="1131708"/>
                  </a:lnTo>
                  <a:lnTo>
                    <a:pt x="468800" y="1166195"/>
                  </a:lnTo>
                  <a:lnTo>
                    <a:pt x="592189" y="1166195"/>
                  </a:lnTo>
                  <a:close/>
                  <a:moveTo>
                    <a:pt x="592189" y="1200672"/>
                  </a:moveTo>
                  <a:lnTo>
                    <a:pt x="468800" y="1200672"/>
                  </a:lnTo>
                  <a:lnTo>
                    <a:pt x="468800" y="1235159"/>
                  </a:lnTo>
                  <a:lnTo>
                    <a:pt x="592189" y="1235159"/>
                  </a:lnTo>
                  <a:close/>
                  <a:moveTo>
                    <a:pt x="592189" y="1269636"/>
                  </a:moveTo>
                  <a:lnTo>
                    <a:pt x="468800" y="1269636"/>
                  </a:lnTo>
                  <a:lnTo>
                    <a:pt x="468800" y="1304118"/>
                  </a:lnTo>
                  <a:lnTo>
                    <a:pt x="592189" y="1304118"/>
                  </a:lnTo>
                  <a:close/>
                  <a:moveTo>
                    <a:pt x="592189" y="1338600"/>
                  </a:moveTo>
                  <a:lnTo>
                    <a:pt x="468800" y="1338600"/>
                  </a:lnTo>
                  <a:lnTo>
                    <a:pt x="468800" y="1373082"/>
                  </a:lnTo>
                  <a:lnTo>
                    <a:pt x="592189" y="1373082"/>
                  </a:lnTo>
                  <a:close/>
                  <a:moveTo>
                    <a:pt x="592189" y="1407564"/>
                  </a:moveTo>
                  <a:lnTo>
                    <a:pt x="468800" y="1407564"/>
                  </a:lnTo>
                  <a:lnTo>
                    <a:pt x="468800" y="1442046"/>
                  </a:lnTo>
                  <a:lnTo>
                    <a:pt x="592189" y="1442046"/>
                  </a:lnTo>
                  <a:close/>
                  <a:moveTo>
                    <a:pt x="592189" y="1476528"/>
                  </a:moveTo>
                  <a:lnTo>
                    <a:pt x="468800" y="1476528"/>
                  </a:lnTo>
                  <a:lnTo>
                    <a:pt x="468800" y="1511010"/>
                  </a:lnTo>
                  <a:lnTo>
                    <a:pt x="592189" y="1511010"/>
                  </a:lnTo>
                  <a:close/>
                  <a:moveTo>
                    <a:pt x="592189" y="1545492"/>
                  </a:moveTo>
                  <a:lnTo>
                    <a:pt x="468800" y="1545492"/>
                  </a:lnTo>
                  <a:lnTo>
                    <a:pt x="468800" y="1579974"/>
                  </a:lnTo>
                  <a:lnTo>
                    <a:pt x="592189" y="1579974"/>
                  </a:lnTo>
                  <a:close/>
                  <a:moveTo>
                    <a:pt x="592189" y="1614456"/>
                  </a:moveTo>
                  <a:lnTo>
                    <a:pt x="468800" y="1614456"/>
                  </a:lnTo>
                  <a:lnTo>
                    <a:pt x="468800" y="1648938"/>
                  </a:lnTo>
                  <a:lnTo>
                    <a:pt x="592189" y="1648938"/>
                  </a:lnTo>
                  <a:close/>
                  <a:moveTo>
                    <a:pt x="592189" y="1683420"/>
                  </a:moveTo>
                  <a:lnTo>
                    <a:pt x="468800" y="1683420"/>
                  </a:lnTo>
                  <a:lnTo>
                    <a:pt x="468800" y="1717903"/>
                  </a:lnTo>
                  <a:lnTo>
                    <a:pt x="592189" y="1717903"/>
                  </a:lnTo>
                  <a:close/>
                  <a:moveTo>
                    <a:pt x="592189" y="1786861"/>
                  </a:moveTo>
                  <a:lnTo>
                    <a:pt x="592189" y="1752384"/>
                  </a:lnTo>
                  <a:lnTo>
                    <a:pt x="468800" y="1752384"/>
                  </a:lnTo>
                  <a:lnTo>
                    <a:pt x="468800" y="1786861"/>
                  </a:lnTo>
                  <a:close/>
                  <a:moveTo>
                    <a:pt x="448983" y="1786861"/>
                  </a:moveTo>
                  <a:lnTo>
                    <a:pt x="448983" y="1752384"/>
                  </a:lnTo>
                  <a:lnTo>
                    <a:pt x="325589" y="1752384"/>
                  </a:lnTo>
                  <a:lnTo>
                    <a:pt x="325589" y="1786861"/>
                  </a:lnTo>
                  <a:close/>
                  <a:moveTo>
                    <a:pt x="305777" y="1786861"/>
                  </a:moveTo>
                  <a:lnTo>
                    <a:pt x="305777" y="1752384"/>
                  </a:lnTo>
                  <a:lnTo>
                    <a:pt x="182382" y="1752384"/>
                  </a:lnTo>
                  <a:lnTo>
                    <a:pt x="182382" y="1786861"/>
                  </a:lnTo>
                  <a:close/>
                  <a:moveTo>
                    <a:pt x="162571" y="1786861"/>
                  </a:moveTo>
                  <a:lnTo>
                    <a:pt x="162571" y="1752384"/>
                  </a:lnTo>
                  <a:lnTo>
                    <a:pt x="39182" y="1752384"/>
                  </a:lnTo>
                  <a:lnTo>
                    <a:pt x="39182" y="1786861"/>
                  </a:lnTo>
                  <a:lnTo>
                    <a:pt x="162571" y="1786861"/>
                  </a:lnTo>
                </a:path>
              </a:pathLst>
            </a:custGeom>
            <a:grpFill/>
            <a:ln w="548" cap="flat">
              <a:noFill/>
              <a:prstDash val="solid"/>
              <a:miter/>
            </a:ln>
          </p:spPr>
          <p:txBody>
            <a:bodyPr/>
            <a:lstStyle/>
            <a:p>
              <a:endParaRPr lang="en-US"/>
            </a:p>
          </p:txBody>
        </p:sp>
        <p:sp>
          <p:nvSpPr>
            <p:cNvPr id="50" name="Freeform: Shape 49">
              <a:extLst>
                <a:ext uri="{FF2B5EF4-FFF2-40B4-BE49-F238E27FC236}">
                  <a16:creationId xmlns:a16="http://schemas.microsoft.com/office/drawing/2014/main" id="{D66CB181-5871-E3FB-0869-38DB048DB535}"/>
                </a:ext>
              </a:extLst>
            </p:cNvPr>
            <p:cNvSpPr/>
            <p:nvPr/>
          </p:nvSpPr>
          <p:spPr>
            <a:xfrm flipV="1">
              <a:off x="26010819" y="3757685"/>
              <a:ext cx="22988" cy="1165925"/>
            </a:xfrm>
            <a:custGeom>
              <a:avLst/>
              <a:gdLst>
                <a:gd name="csX0" fmla="*/ 11900 w 22988"/>
                <a:gd name="csY0" fmla="*/ -5392 h 1165925"/>
                <a:gd name="csX1" fmla="*/ -11088 w 22988"/>
                <a:gd name="csY1" fmla="*/ -5392 h 1165925"/>
                <a:gd name="csX2" fmla="*/ -11088 w 22988"/>
                <a:gd name="csY2" fmla="*/ 1160534 h 1165925"/>
                <a:gd name="csX3" fmla="*/ 11900 w 22988"/>
                <a:gd name="csY3" fmla="*/ 1160534 h 1165925"/>
                <a:gd name="csX4" fmla="*/ 11900 w 22988"/>
                <a:gd name="csY4" fmla="*/ -5392 h 1165925"/>
              </a:gdLst>
              <a:ahLst/>
              <a:cxnLst>
                <a:cxn ang="0">
                  <a:pos x="csX0" y="csY0"/>
                </a:cxn>
                <a:cxn ang="0">
                  <a:pos x="csX1" y="csY1"/>
                </a:cxn>
                <a:cxn ang="0">
                  <a:pos x="csX2" y="csY2"/>
                </a:cxn>
                <a:cxn ang="0">
                  <a:pos x="csX3" y="csY3"/>
                </a:cxn>
                <a:cxn ang="0">
                  <a:pos x="csX4" y="csY4"/>
                </a:cxn>
              </a:cxnLst>
              <a:rect l="l" t="t" r="r" b="b"/>
              <a:pathLst>
                <a:path w="22988" h="1165925">
                  <a:moveTo>
                    <a:pt x="11900" y="-5392"/>
                  </a:moveTo>
                  <a:lnTo>
                    <a:pt x="-11088" y="-5392"/>
                  </a:lnTo>
                  <a:lnTo>
                    <a:pt x="-11088" y="1160534"/>
                  </a:lnTo>
                  <a:lnTo>
                    <a:pt x="11900" y="1160534"/>
                  </a:lnTo>
                  <a:lnTo>
                    <a:pt x="11900" y="-5392"/>
                  </a:lnTo>
                </a:path>
              </a:pathLst>
            </a:custGeom>
            <a:grpFill/>
            <a:ln w="548" cap="flat">
              <a:noFill/>
              <a:prstDash val="solid"/>
              <a:miter/>
            </a:ln>
          </p:spPr>
          <p:txBody>
            <a:bodyPr/>
            <a:lstStyle/>
            <a:p>
              <a:endParaRPr lang="en-US"/>
            </a:p>
          </p:txBody>
        </p:sp>
        <p:sp>
          <p:nvSpPr>
            <p:cNvPr id="51" name="Freeform: Shape 50">
              <a:extLst>
                <a:ext uri="{FF2B5EF4-FFF2-40B4-BE49-F238E27FC236}">
                  <a16:creationId xmlns:a16="http://schemas.microsoft.com/office/drawing/2014/main" id="{BAEA7992-543B-AE9A-2EB8-5D922F9CAF36}"/>
                </a:ext>
              </a:extLst>
            </p:cNvPr>
            <p:cNvSpPr/>
            <p:nvPr/>
          </p:nvSpPr>
          <p:spPr>
            <a:xfrm flipV="1">
              <a:off x="26075559" y="4049633"/>
              <a:ext cx="22988" cy="873978"/>
            </a:xfrm>
            <a:custGeom>
              <a:avLst/>
              <a:gdLst>
                <a:gd name="csX0" fmla="*/ 11820 w 22988"/>
                <a:gd name="csY0" fmla="*/ -5041 h 873978"/>
                <a:gd name="csX1" fmla="*/ -11169 w 22988"/>
                <a:gd name="csY1" fmla="*/ -5041 h 873978"/>
                <a:gd name="csX2" fmla="*/ -11169 w 22988"/>
                <a:gd name="csY2" fmla="*/ 868937 h 873978"/>
                <a:gd name="csX3" fmla="*/ 11820 w 22988"/>
                <a:gd name="csY3" fmla="*/ 868937 h 873978"/>
                <a:gd name="csX4" fmla="*/ 11820 w 22988"/>
                <a:gd name="csY4" fmla="*/ -5041 h 873978"/>
              </a:gdLst>
              <a:ahLst/>
              <a:cxnLst>
                <a:cxn ang="0">
                  <a:pos x="csX0" y="csY0"/>
                </a:cxn>
                <a:cxn ang="0">
                  <a:pos x="csX1" y="csY1"/>
                </a:cxn>
                <a:cxn ang="0">
                  <a:pos x="csX2" y="csY2"/>
                </a:cxn>
                <a:cxn ang="0">
                  <a:pos x="csX3" y="csY3"/>
                </a:cxn>
                <a:cxn ang="0">
                  <a:pos x="csX4" y="csY4"/>
                </a:cxn>
              </a:cxnLst>
              <a:rect l="l" t="t" r="r" b="b"/>
              <a:pathLst>
                <a:path w="22988" h="873978">
                  <a:moveTo>
                    <a:pt x="11820" y="-5041"/>
                  </a:moveTo>
                  <a:lnTo>
                    <a:pt x="-11169" y="-5041"/>
                  </a:lnTo>
                  <a:lnTo>
                    <a:pt x="-11169" y="868937"/>
                  </a:lnTo>
                  <a:lnTo>
                    <a:pt x="11820" y="868937"/>
                  </a:lnTo>
                  <a:lnTo>
                    <a:pt x="11820" y="-5041"/>
                  </a:lnTo>
                </a:path>
              </a:pathLst>
            </a:custGeom>
            <a:grpFill/>
            <a:ln w="548" cap="flat">
              <a:noFill/>
              <a:prstDash val="solid"/>
              <a:miter/>
            </a:ln>
          </p:spPr>
          <p:txBody>
            <a:bodyPr/>
            <a:lstStyle/>
            <a:p>
              <a:endParaRPr lang="en-US"/>
            </a:p>
          </p:txBody>
        </p:sp>
        <p:sp>
          <p:nvSpPr>
            <p:cNvPr id="52" name="Freeform: Shape 51">
              <a:extLst>
                <a:ext uri="{FF2B5EF4-FFF2-40B4-BE49-F238E27FC236}">
                  <a16:creationId xmlns:a16="http://schemas.microsoft.com/office/drawing/2014/main" id="{F341CD8E-FE69-8AD7-47B8-2E3437E1A24F}"/>
                </a:ext>
              </a:extLst>
            </p:cNvPr>
            <p:cNvSpPr/>
            <p:nvPr/>
          </p:nvSpPr>
          <p:spPr>
            <a:xfrm flipV="1">
              <a:off x="26201033" y="4049633"/>
              <a:ext cx="22987" cy="873978"/>
            </a:xfrm>
            <a:custGeom>
              <a:avLst/>
              <a:gdLst>
                <a:gd name="csX0" fmla="*/ 11663 w 22987"/>
                <a:gd name="csY0" fmla="*/ -5041 h 873978"/>
                <a:gd name="csX1" fmla="*/ -11324 w 22987"/>
                <a:gd name="csY1" fmla="*/ -5041 h 873978"/>
                <a:gd name="csX2" fmla="*/ -11324 w 22987"/>
                <a:gd name="csY2" fmla="*/ 868937 h 873978"/>
                <a:gd name="csX3" fmla="*/ 11663 w 22987"/>
                <a:gd name="csY3" fmla="*/ 868937 h 873978"/>
                <a:gd name="csX4" fmla="*/ 11663 w 22987"/>
                <a:gd name="csY4" fmla="*/ -5041 h 873978"/>
              </a:gdLst>
              <a:ahLst/>
              <a:cxnLst>
                <a:cxn ang="0">
                  <a:pos x="csX0" y="csY0"/>
                </a:cxn>
                <a:cxn ang="0">
                  <a:pos x="csX1" y="csY1"/>
                </a:cxn>
                <a:cxn ang="0">
                  <a:pos x="csX2" y="csY2"/>
                </a:cxn>
                <a:cxn ang="0">
                  <a:pos x="csX3" y="csY3"/>
                </a:cxn>
                <a:cxn ang="0">
                  <a:pos x="csX4" y="csY4"/>
                </a:cxn>
              </a:cxnLst>
              <a:rect l="l" t="t" r="r" b="b"/>
              <a:pathLst>
                <a:path w="22987" h="873978">
                  <a:moveTo>
                    <a:pt x="11663" y="-5041"/>
                  </a:moveTo>
                  <a:lnTo>
                    <a:pt x="-11324" y="-5041"/>
                  </a:lnTo>
                  <a:lnTo>
                    <a:pt x="-11324" y="868937"/>
                  </a:lnTo>
                  <a:lnTo>
                    <a:pt x="11663" y="868937"/>
                  </a:lnTo>
                  <a:lnTo>
                    <a:pt x="11663" y="-5041"/>
                  </a:lnTo>
                </a:path>
              </a:pathLst>
            </a:custGeom>
            <a:grpFill/>
            <a:ln w="548" cap="flat">
              <a:noFill/>
              <a:prstDash val="solid"/>
              <a:miter/>
            </a:ln>
          </p:spPr>
          <p:txBody>
            <a:bodyPr/>
            <a:lstStyle/>
            <a:p>
              <a:endParaRPr lang="en-US"/>
            </a:p>
          </p:txBody>
        </p:sp>
        <p:sp>
          <p:nvSpPr>
            <p:cNvPr id="53" name="Freeform: Shape 52">
              <a:extLst>
                <a:ext uri="{FF2B5EF4-FFF2-40B4-BE49-F238E27FC236}">
                  <a16:creationId xmlns:a16="http://schemas.microsoft.com/office/drawing/2014/main" id="{8B830B5A-D6FD-BE9A-1852-1EE5CE006116}"/>
                </a:ext>
              </a:extLst>
            </p:cNvPr>
            <p:cNvSpPr/>
            <p:nvPr/>
          </p:nvSpPr>
          <p:spPr>
            <a:xfrm flipV="1">
              <a:off x="26265992" y="3757685"/>
              <a:ext cx="22988" cy="1165925"/>
            </a:xfrm>
            <a:custGeom>
              <a:avLst/>
              <a:gdLst>
                <a:gd name="csX0" fmla="*/ 11584 w 22988"/>
                <a:gd name="csY0" fmla="*/ -5392 h 1165925"/>
                <a:gd name="csX1" fmla="*/ -11405 w 22988"/>
                <a:gd name="csY1" fmla="*/ -5392 h 1165925"/>
                <a:gd name="csX2" fmla="*/ -11405 w 22988"/>
                <a:gd name="csY2" fmla="*/ 1160534 h 1165925"/>
                <a:gd name="csX3" fmla="*/ 11584 w 22988"/>
                <a:gd name="csY3" fmla="*/ 1160534 h 1165925"/>
                <a:gd name="csX4" fmla="*/ 11584 w 22988"/>
                <a:gd name="csY4" fmla="*/ -5392 h 1165925"/>
              </a:gdLst>
              <a:ahLst/>
              <a:cxnLst>
                <a:cxn ang="0">
                  <a:pos x="csX0" y="csY0"/>
                </a:cxn>
                <a:cxn ang="0">
                  <a:pos x="csX1" y="csY1"/>
                </a:cxn>
                <a:cxn ang="0">
                  <a:pos x="csX2" y="csY2"/>
                </a:cxn>
                <a:cxn ang="0">
                  <a:pos x="csX3" y="csY3"/>
                </a:cxn>
                <a:cxn ang="0">
                  <a:pos x="csX4" y="csY4"/>
                </a:cxn>
              </a:cxnLst>
              <a:rect l="l" t="t" r="r" b="b"/>
              <a:pathLst>
                <a:path w="22988" h="1165925">
                  <a:moveTo>
                    <a:pt x="11584" y="-5392"/>
                  </a:moveTo>
                  <a:lnTo>
                    <a:pt x="-11405" y="-5392"/>
                  </a:lnTo>
                  <a:lnTo>
                    <a:pt x="-11405" y="1160534"/>
                  </a:lnTo>
                  <a:lnTo>
                    <a:pt x="11584" y="1160534"/>
                  </a:lnTo>
                  <a:lnTo>
                    <a:pt x="11584" y="-5392"/>
                  </a:lnTo>
                </a:path>
              </a:pathLst>
            </a:custGeom>
            <a:grpFill/>
            <a:ln w="548" cap="flat">
              <a:noFill/>
              <a:prstDash val="solid"/>
              <a:miter/>
            </a:ln>
          </p:spPr>
          <p:txBody>
            <a:bodyPr/>
            <a:lstStyle/>
            <a:p>
              <a:endParaRPr lang="en-US"/>
            </a:p>
          </p:txBody>
        </p:sp>
        <p:sp>
          <p:nvSpPr>
            <p:cNvPr id="54" name="Freeform: Shape 53">
              <a:extLst>
                <a:ext uri="{FF2B5EF4-FFF2-40B4-BE49-F238E27FC236}">
                  <a16:creationId xmlns:a16="http://schemas.microsoft.com/office/drawing/2014/main" id="{422360E8-19E1-9858-56DC-B7305FA282B9}"/>
                </a:ext>
              </a:extLst>
            </p:cNvPr>
            <p:cNvSpPr/>
            <p:nvPr/>
          </p:nvSpPr>
          <p:spPr>
            <a:xfrm flipV="1">
              <a:off x="26033807" y="3757685"/>
              <a:ext cx="232184" cy="43090"/>
            </a:xfrm>
            <a:custGeom>
              <a:avLst/>
              <a:gdLst>
                <a:gd name="csX0" fmla="*/ 220937 w 232184"/>
                <a:gd name="csY0" fmla="*/ -6743 h 43090"/>
                <a:gd name="csX1" fmla="*/ -11247 w 232184"/>
                <a:gd name="csY1" fmla="*/ -6743 h 43090"/>
                <a:gd name="csX2" fmla="*/ -11247 w 232184"/>
                <a:gd name="csY2" fmla="*/ 36347 h 43090"/>
                <a:gd name="csX3" fmla="*/ 220937 w 232184"/>
                <a:gd name="csY3" fmla="*/ 36347 h 43090"/>
                <a:gd name="csX4" fmla="*/ 220937 w 232184"/>
                <a:gd name="csY4" fmla="*/ -6743 h 43090"/>
              </a:gdLst>
              <a:ahLst/>
              <a:cxnLst>
                <a:cxn ang="0">
                  <a:pos x="csX0" y="csY0"/>
                </a:cxn>
                <a:cxn ang="0">
                  <a:pos x="csX1" y="csY1"/>
                </a:cxn>
                <a:cxn ang="0">
                  <a:pos x="csX2" y="csY2"/>
                </a:cxn>
                <a:cxn ang="0">
                  <a:pos x="csX3" y="csY3"/>
                </a:cxn>
                <a:cxn ang="0">
                  <a:pos x="csX4" y="csY4"/>
                </a:cxn>
              </a:cxnLst>
              <a:rect l="l" t="t" r="r" b="b"/>
              <a:pathLst>
                <a:path w="232184" h="43090">
                  <a:moveTo>
                    <a:pt x="220937" y="-6743"/>
                  </a:moveTo>
                  <a:lnTo>
                    <a:pt x="-11247" y="-6743"/>
                  </a:lnTo>
                  <a:lnTo>
                    <a:pt x="-11247" y="36347"/>
                  </a:lnTo>
                  <a:lnTo>
                    <a:pt x="220937" y="36347"/>
                  </a:lnTo>
                  <a:lnTo>
                    <a:pt x="220937" y="-6743"/>
                  </a:lnTo>
                </a:path>
              </a:pathLst>
            </a:custGeom>
            <a:grpFill/>
            <a:ln w="548" cap="flat">
              <a:noFill/>
              <a:prstDash val="solid"/>
              <a:miter/>
            </a:ln>
          </p:spPr>
          <p:txBody>
            <a:bodyPr/>
            <a:lstStyle/>
            <a:p>
              <a:endParaRPr lang="en-US"/>
            </a:p>
          </p:txBody>
        </p:sp>
        <p:sp>
          <p:nvSpPr>
            <p:cNvPr id="55" name="Freeform: Shape 54">
              <a:extLst>
                <a:ext uri="{FF2B5EF4-FFF2-40B4-BE49-F238E27FC236}">
                  <a16:creationId xmlns:a16="http://schemas.microsoft.com/office/drawing/2014/main" id="{17ADFF8F-572C-46ED-E91E-378273EB827D}"/>
                </a:ext>
              </a:extLst>
            </p:cNvPr>
            <p:cNvSpPr/>
            <p:nvPr/>
          </p:nvSpPr>
          <p:spPr>
            <a:xfrm flipV="1">
              <a:off x="26033807" y="4032526"/>
              <a:ext cx="232184" cy="17106"/>
            </a:xfrm>
            <a:custGeom>
              <a:avLst/>
              <a:gdLst>
                <a:gd name="csX0" fmla="*/ 220937 w 232184"/>
                <a:gd name="csY0" fmla="*/ -6113 h 17106"/>
                <a:gd name="csX1" fmla="*/ -11247 w 232184"/>
                <a:gd name="csY1" fmla="*/ -6113 h 17106"/>
                <a:gd name="csX2" fmla="*/ -11247 w 232184"/>
                <a:gd name="csY2" fmla="*/ 10994 h 17106"/>
                <a:gd name="csX3" fmla="*/ 220937 w 232184"/>
                <a:gd name="csY3" fmla="*/ 10994 h 17106"/>
                <a:gd name="csX4" fmla="*/ 220937 w 232184"/>
                <a:gd name="csY4" fmla="*/ -6113 h 17106"/>
              </a:gdLst>
              <a:ahLst/>
              <a:cxnLst>
                <a:cxn ang="0">
                  <a:pos x="csX0" y="csY0"/>
                </a:cxn>
                <a:cxn ang="0">
                  <a:pos x="csX1" y="csY1"/>
                </a:cxn>
                <a:cxn ang="0">
                  <a:pos x="csX2" y="csY2"/>
                </a:cxn>
                <a:cxn ang="0">
                  <a:pos x="csX3" y="csY3"/>
                </a:cxn>
                <a:cxn ang="0">
                  <a:pos x="csX4" y="csY4"/>
                </a:cxn>
              </a:cxnLst>
              <a:rect l="l" t="t" r="r" b="b"/>
              <a:pathLst>
                <a:path w="232184" h="17106">
                  <a:moveTo>
                    <a:pt x="220937" y="-6113"/>
                  </a:moveTo>
                  <a:lnTo>
                    <a:pt x="-11247" y="-6113"/>
                  </a:lnTo>
                  <a:lnTo>
                    <a:pt x="-11247" y="10994"/>
                  </a:lnTo>
                  <a:lnTo>
                    <a:pt x="220937" y="10994"/>
                  </a:lnTo>
                  <a:lnTo>
                    <a:pt x="220937" y="-6113"/>
                  </a:lnTo>
                </a:path>
              </a:pathLst>
            </a:custGeom>
            <a:grpFill/>
            <a:ln w="548" cap="flat">
              <a:noFill/>
              <a:prstDash val="solid"/>
              <a:miter/>
            </a:ln>
          </p:spPr>
          <p:txBody>
            <a:bodyPr/>
            <a:lstStyle/>
            <a:p>
              <a:endParaRPr lang="en-US"/>
            </a:p>
          </p:txBody>
        </p:sp>
        <p:sp>
          <p:nvSpPr>
            <p:cNvPr id="56" name="Freeform: Shape 55">
              <a:extLst>
                <a:ext uri="{FF2B5EF4-FFF2-40B4-BE49-F238E27FC236}">
                  <a16:creationId xmlns:a16="http://schemas.microsoft.com/office/drawing/2014/main" id="{E1B58000-1660-ACA2-B04C-E59FD302DA81}"/>
                </a:ext>
              </a:extLst>
            </p:cNvPr>
            <p:cNvSpPr/>
            <p:nvPr/>
          </p:nvSpPr>
          <p:spPr>
            <a:xfrm flipV="1">
              <a:off x="26071389" y="3831126"/>
              <a:ext cx="167774" cy="167746"/>
            </a:xfrm>
            <a:custGeom>
              <a:avLst/>
              <a:gdLst>
                <a:gd name="csX0" fmla="*/ 72634 w 167774"/>
                <a:gd name="csY0" fmla="*/ 161330 h 167746"/>
                <a:gd name="csX1" fmla="*/ -11253 w 167774"/>
                <a:gd name="csY1" fmla="*/ 77454 h 167746"/>
                <a:gd name="csX2" fmla="*/ 72634 w 167774"/>
                <a:gd name="csY2" fmla="*/ -6416 h 167746"/>
                <a:gd name="csX3" fmla="*/ 156521 w 167774"/>
                <a:gd name="csY3" fmla="*/ 77454 h 167746"/>
                <a:gd name="csX4" fmla="*/ 72634 w 167774"/>
                <a:gd name="csY4" fmla="*/ 161330 h 167746"/>
                <a:gd name="csX5" fmla="*/ 124535 w 167774"/>
                <a:gd name="csY5" fmla="*/ 75172 h 167746"/>
                <a:gd name="csX6" fmla="*/ 72634 w 167774"/>
                <a:gd name="csY6" fmla="*/ 75172 h 167746"/>
                <a:gd name="csX7" fmla="*/ 70385 w 167774"/>
                <a:gd name="csY7" fmla="*/ 77454 h 167746"/>
                <a:gd name="csX8" fmla="*/ 70385 w 167774"/>
                <a:gd name="csY8" fmla="*/ 143670 h 167746"/>
                <a:gd name="csX9" fmla="*/ 72634 w 167774"/>
                <a:gd name="csY9" fmla="*/ 145958 h 167746"/>
                <a:gd name="csX10" fmla="*/ 74938 w 167774"/>
                <a:gd name="csY10" fmla="*/ 143670 h 167746"/>
                <a:gd name="csX11" fmla="*/ 74938 w 167774"/>
                <a:gd name="csY11" fmla="*/ 79742 h 167746"/>
                <a:gd name="csX12" fmla="*/ 124535 w 167774"/>
                <a:gd name="csY12" fmla="*/ 79742 h 167746"/>
                <a:gd name="csX13" fmla="*/ 126784 w 167774"/>
                <a:gd name="csY13" fmla="*/ 77454 h 167746"/>
                <a:gd name="csX14" fmla="*/ 124535 w 167774"/>
                <a:gd name="csY14" fmla="*/ 75172 h 16774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Lst>
              <a:rect l="l" t="t" r="r" b="b"/>
              <a:pathLst>
                <a:path w="167774" h="167746">
                  <a:moveTo>
                    <a:pt x="72634" y="161330"/>
                  </a:moveTo>
                  <a:cubicBezTo>
                    <a:pt x="26329" y="161330"/>
                    <a:pt x="-11253" y="123782"/>
                    <a:pt x="-11253" y="77454"/>
                  </a:cubicBezTo>
                  <a:cubicBezTo>
                    <a:pt x="-11253" y="31133"/>
                    <a:pt x="26329" y="-6416"/>
                    <a:pt x="72634" y="-6416"/>
                  </a:cubicBezTo>
                  <a:cubicBezTo>
                    <a:pt x="118939" y="-6416"/>
                    <a:pt x="156521" y="31133"/>
                    <a:pt x="156521" y="77454"/>
                  </a:cubicBezTo>
                  <a:cubicBezTo>
                    <a:pt x="156521" y="123782"/>
                    <a:pt x="118939" y="161330"/>
                    <a:pt x="72634" y="161330"/>
                  </a:cubicBezTo>
                  <a:close/>
                  <a:moveTo>
                    <a:pt x="124535" y="75172"/>
                  </a:moveTo>
                  <a:lnTo>
                    <a:pt x="72634" y="75172"/>
                  </a:lnTo>
                  <a:cubicBezTo>
                    <a:pt x="71372" y="75172"/>
                    <a:pt x="70385" y="76192"/>
                    <a:pt x="70385" y="77454"/>
                  </a:cubicBezTo>
                  <a:lnTo>
                    <a:pt x="70385" y="143670"/>
                  </a:lnTo>
                  <a:cubicBezTo>
                    <a:pt x="70385" y="144937"/>
                    <a:pt x="71372" y="145958"/>
                    <a:pt x="72634" y="145958"/>
                  </a:cubicBezTo>
                  <a:cubicBezTo>
                    <a:pt x="73895" y="145958"/>
                    <a:pt x="74938" y="144937"/>
                    <a:pt x="74938" y="143670"/>
                  </a:cubicBezTo>
                  <a:lnTo>
                    <a:pt x="74938" y="79742"/>
                  </a:lnTo>
                  <a:lnTo>
                    <a:pt x="124535" y="79742"/>
                  </a:lnTo>
                  <a:cubicBezTo>
                    <a:pt x="125797" y="79742"/>
                    <a:pt x="126784" y="78722"/>
                    <a:pt x="126784" y="77454"/>
                  </a:cubicBezTo>
                  <a:cubicBezTo>
                    <a:pt x="126784" y="76192"/>
                    <a:pt x="125797" y="75172"/>
                    <a:pt x="124535" y="75172"/>
                  </a:cubicBezTo>
                </a:path>
              </a:pathLst>
            </a:custGeom>
            <a:grpFill/>
            <a:ln w="548" cap="flat">
              <a:noFill/>
              <a:prstDash val="solid"/>
              <a:miter/>
            </a:ln>
          </p:spPr>
          <p:txBody>
            <a:bodyPr/>
            <a:lstStyle/>
            <a:p>
              <a:endParaRPr lang="en-US"/>
            </a:p>
          </p:txBody>
        </p:sp>
        <p:sp>
          <p:nvSpPr>
            <p:cNvPr id="57" name="Freeform: Shape 56">
              <a:extLst>
                <a:ext uri="{FF2B5EF4-FFF2-40B4-BE49-F238E27FC236}">
                  <a16:creationId xmlns:a16="http://schemas.microsoft.com/office/drawing/2014/main" id="{4BB66185-14F4-B0B3-B014-57197F277C58}"/>
                </a:ext>
              </a:extLst>
            </p:cNvPr>
            <p:cNvSpPr/>
            <p:nvPr/>
          </p:nvSpPr>
          <p:spPr>
            <a:xfrm flipV="1">
              <a:off x="26098547" y="4111124"/>
              <a:ext cx="102486" cy="30433"/>
            </a:xfrm>
            <a:custGeom>
              <a:avLst/>
              <a:gdLst>
                <a:gd name="csX0" fmla="*/ 91240 w 102486"/>
                <a:gd name="csY0" fmla="*/ -5908 h 30433"/>
                <a:gd name="csX1" fmla="*/ -11246 w 102486"/>
                <a:gd name="csY1" fmla="*/ -5908 h 30433"/>
                <a:gd name="csX2" fmla="*/ -11246 w 102486"/>
                <a:gd name="csY2" fmla="*/ 24525 h 30433"/>
                <a:gd name="csX3" fmla="*/ 91240 w 102486"/>
                <a:gd name="csY3" fmla="*/ 24525 h 30433"/>
                <a:gd name="csX4" fmla="*/ 91240 w 102486"/>
                <a:gd name="csY4" fmla="*/ -5908 h 30433"/>
              </a:gdLst>
              <a:ahLst/>
              <a:cxnLst>
                <a:cxn ang="0">
                  <a:pos x="csX0" y="csY0"/>
                </a:cxn>
                <a:cxn ang="0">
                  <a:pos x="csX1" y="csY1"/>
                </a:cxn>
                <a:cxn ang="0">
                  <a:pos x="csX2" y="csY2"/>
                </a:cxn>
                <a:cxn ang="0">
                  <a:pos x="csX3" y="csY3"/>
                </a:cxn>
                <a:cxn ang="0">
                  <a:pos x="csX4" y="csY4"/>
                </a:cxn>
              </a:cxnLst>
              <a:rect l="l" t="t" r="r" b="b"/>
              <a:pathLst>
                <a:path w="102486" h="30433">
                  <a:moveTo>
                    <a:pt x="91240" y="-5908"/>
                  </a:moveTo>
                  <a:lnTo>
                    <a:pt x="-11246" y="-5908"/>
                  </a:lnTo>
                  <a:lnTo>
                    <a:pt x="-11246" y="24525"/>
                  </a:lnTo>
                  <a:lnTo>
                    <a:pt x="91240" y="24525"/>
                  </a:lnTo>
                  <a:lnTo>
                    <a:pt x="91240" y="-5908"/>
                  </a:lnTo>
                </a:path>
              </a:pathLst>
            </a:custGeom>
            <a:grpFill/>
            <a:ln w="548" cap="flat">
              <a:noFill/>
              <a:prstDash val="solid"/>
              <a:miter/>
            </a:ln>
          </p:spPr>
          <p:txBody>
            <a:bodyPr/>
            <a:lstStyle/>
            <a:p>
              <a:endParaRPr lang="en-US"/>
            </a:p>
          </p:txBody>
        </p:sp>
        <p:sp>
          <p:nvSpPr>
            <p:cNvPr id="58" name="Freeform: Shape 57">
              <a:extLst>
                <a:ext uri="{FF2B5EF4-FFF2-40B4-BE49-F238E27FC236}">
                  <a16:creationId xmlns:a16="http://schemas.microsoft.com/office/drawing/2014/main" id="{0CE80CCC-5CA7-16AD-7531-9EAD6CD5CF5C}"/>
                </a:ext>
              </a:extLst>
            </p:cNvPr>
            <p:cNvSpPr/>
            <p:nvPr/>
          </p:nvSpPr>
          <p:spPr>
            <a:xfrm flipV="1">
              <a:off x="26098547" y="4141557"/>
              <a:ext cx="102486" cy="30427"/>
            </a:xfrm>
            <a:custGeom>
              <a:avLst/>
              <a:gdLst>
                <a:gd name="csX0" fmla="*/ 91240 w 102486"/>
                <a:gd name="csY0" fmla="*/ -5835 h 30427"/>
                <a:gd name="csX1" fmla="*/ -11246 w 102486"/>
                <a:gd name="csY1" fmla="*/ -5835 h 30427"/>
                <a:gd name="csX2" fmla="*/ -11246 w 102486"/>
                <a:gd name="csY2" fmla="*/ 24593 h 30427"/>
                <a:gd name="csX3" fmla="*/ 91240 w 102486"/>
                <a:gd name="csY3" fmla="*/ 24593 h 30427"/>
                <a:gd name="csX4" fmla="*/ 91240 w 102486"/>
                <a:gd name="csY4" fmla="*/ -5835 h 30427"/>
              </a:gdLst>
              <a:ahLst/>
              <a:cxnLst>
                <a:cxn ang="0">
                  <a:pos x="csX0" y="csY0"/>
                </a:cxn>
                <a:cxn ang="0">
                  <a:pos x="csX1" y="csY1"/>
                </a:cxn>
                <a:cxn ang="0">
                  <a:pos x="csX2" y="csY2"/>
                </a:cxn>
                <a:cxn ang="0">
                  <a:pos x="csX3" y="csY3"/>
                </a:cxn>
                <a:cxn ang="0">
                  <a:pos x="csX4" y="csY4"/>
                </a:cxn>
              </a:cxnLst>
              <a:rect l="l" t="t" r="r" b="b"/>
              <a:pathLst>
                <a:path w="102486" h="30427">
                  <a:moveTo>
                    <a:pt x="91240" y="-5835"/>
                  </a:moveTo>
                  <a:lnTo>
                    <a:pt x="-11246" y="-5835"/>
                  </a:lnTo>
                  <a:lnTo>
                    <a:pt x="-11246" y="24593"/>
                  </a:lnTo>
                  <a:lnTo>
                    <a:pt x="91240" y="24593"/>
                  </a:lnTo>
                  <a:lnTo>
                    <a:pt x="91240" y="-5835"/>
                  </a:lnTo>
                </a:path>
              </a:pathLst>
            </a:custGeom>
            <a:grpFill/>
            <a:ln w="548" cap="flat">
              <a:noFill/>
              <a:prstDash val="solid"/>
              <a:miter/>
            </a:ln>
          </p:spPr>
          <p:txBody>
            <a:bodyPr/>
            <a:lstStyle/>
            <a:p>
              <a:endParaRPr lang="en-US"/>
            </a:p>
          </p:txBody>
        </p:sp>
        <p:sp>
          <p:nvSpPr>
            <p:cNvPr id="59" name="Freeform: Shape 58">
              <a:extLst>
                <a:ext uri="{FF2B5EF4-FFF2-40B4-BE49-F238E27FC236}">
                  <a16:creationId xmlns:a16="http://schemas.microsoft.com/office/drawing/2014/main" id="{27771F0E-CAFC-9F7D-C817-57EB6877B0A1}"/>
                </a:ext>
              </a:extLst>
            </p:cNvPr>
            <p:cNvSpPr/>
            <p:nvPr/>
          </p:nvSpPr>
          <p:spPr>
            <a:xfrm flipV="1">
              <a:off x="26098547" y="4239314"/>
              <a:ext cx="102486" cy="30427"/>
            </a:xfrm>
            <a:custGeom>
              <a:avLst/>
              <a:gdLst>
                <a:gd name="csX0" fmla="*/ 91240 w 102486"/>
                <a:gd name="csY0" fmla="*/ -5599 h 30427"/>
                <a:gd name="csX1" fmla="*/ -11246 w 102486"/>
                <a:gd name="csY1" fmla="*/ -5599 h 30427"/>
                <a:gd name="csX2" fmla="*/ -11246 w 102486"/>
                <a:gd name="csY2" fmla="*/ 24828 h 30427"/>
                <a:gd name="csX3" fmla="*/ 91240 w 102486"/>
                <a:gd name="csY3" fmla="*/ 24828 h 30427"/>
                <a:gd name="csX4" fmla="*/ 91240 w 102486"/>
                <a:gd name="csY4" fmla="*/ -5599 h 30427"/>
              </a:gdLst>
              <a:ahLst/>
              <a:cxnLst>
                <a:cxn ang="0">
                  <a:pos x="csX0" y="csY0"/>
                </a:cxn>
                <a:cxn ang="0">
                  <a:pos x="csX1" y="csY1"/>
                </a:cxn>
                <a:cxn ang="0">
                  <a:pos x="csX2" y="csY2"/>
                </a:cxn>
                <a:cxn ang="0">
                  <a:pos x="csX3" y="csY3"/>
                </a:cxn>
                <a:cxn ang="0">
                  <a:pos x="csX4" y="csY4"/>
                </a:cxn>
              </a:cxnLst>
              <a:rect l="l" t="t" r="r" b="b"/>
              <a:pathLst>
                <a:path w="102486" h="30427">
                  <a:moveTo>
                    <a:pt x="91240" y="-5599"/>
                  </a:moveTo>
                  <a:lnTo>
                    <a:pt x="-11246" y="-5599"/>
                  </a:lnTo>
                  <a:lnTo>
                    <a:pt x="-11246" y="24828"/>
                  </a:lnTo>
                  <a:lnTo>
                    <a:pt x="91240" y="24828"/>
                  </a:lnTo>
                  <a:lnTo>
                    <a:pt x="91240" y="-5599"/>
                  </a:lnTo>
                </a:path>
              </a:pathLst>
            </a:custGeom>
            <a:grpFill/>
            <a:ln w="548" cap="flat">
              <a:noFill/>
              <a:prstDash val="solid"/>
              <a:miter/>
            </a:ln>
          </p:spPr>
          <p:txBody>
            <a:bodyPr/>
            <a:lstStyle/>
            <a:p>
              <a:endParaRPr lang="en-US"/>
            </a:p>
          </p:txBody>
        </p:sp>
        <p:sp>
          <p:nvSpPr>
            <p:cNvPr id="60" name="Freeform: Shape 59">
              <a:extLst>
                <a:ext uri="{FF2B5EF4-FFF2-40B4-BE49-F238E27FC236}">
                  <a16:creationId xmlns:a16="http://schemas.microsoft.com/office/drawing/2014/main" id="{4BBDD8B5-45C3-9941-DEE0-E0364EEBF2FE}"/>
                </a:ext>
              </a:extLst>
            </p:cNvPr>
            <p:cNvSpPr/>
            <p:nvPr/>
          </p:nvSpPr>
          <p:spPr>
            <a:xfrm flipV="1">
              <a:off x="26098547" y="4337065"/>
              <a:ext cx="102486" cy="30432"/>
            </a:xfrm>
            <a:custGeom>
              <a:avLst/>
              <a:gdLst>
                <a:gd name="csX0" fmla="*/ 91240 w 102486"/>
                <a:gd name="csY0" fmla="*/ -5364 h 30432"/>
                <a:gd name="csX1" fmla="*/ -11246 w 102486"/>
                <a:gd name="csY1" fmla="*/ -5364 h 30432"/>
                <a:gd name="csX2" fmla="*/ -11246 w 102486"/>
                <a:gd name="csY2" fmla="*/ 25069 h 30432"/>
                <a:gd name="csX3" fmla="*/ 91240 w 102486"/>
                <a:gd name="csY3" fmla="*/ 25069 h 30432"/>
                <a:gd name="csX4" fmla="*/ 91240 w 102486"/>
                <a:gd name="csY4" fmla="*/ -5364 h 30432"/>
              </a:gdLst>
              <a:ahLst/>
              <a:cxnLst>
                <a:cxn ang="0">
                  <a:pos x="csX0" y="csY0"/>
                </a:cxn>
                <a:cxn ang="0">
                  <a:pos x="csX1" y="csY1"/>
                </a:cxn>
                <a:cxn ang="0">
                  <a:pos x="csX2" y="csY2"/>
                </a:cxn>
                <a:cxn ang="0">
                  <a:pos x="csX3" y="csY3"/>
                </a:cxn>
                <a:cxn ang="0">
                  <a:pos x="csX4" y="csY4"/>
                </a:cxn>
              </a:cxnLst>
              <a:rect l="l" t="t" r="r" b="b"/>
              <a:pathLst>
                <a:path w="102486" h="30432">
                  <a:moveTo>
                    <a:pt x="91240" y="-5364"/>
                  </a:moveTo>
                  <a:lnTo>
                    <a:pt x="-11246" y="-5364"/>
                  </a:lnTo>
                  <a:lnTo>
                    <a:pt x="-11246" y="25069"/>
                  </a:lnTo>
                  <a:lnTo>
                    <a:pt x="91240" y="25069"/>
                  </a:lnTo>
                  <a:lnTo>
                    <a:pt x="91240" y="-5364"/>
                  </a:lnTo>
                </a:path>
              </a:pathLst>
            </a:custGeom>
            <a:grpFill/>
            <a:ln w="548" cap="flat">
              <a:noFill/>
              <a:prstDash val="solid"/>
              <a:miter/>
            </a:ln>
          </p:spPr>
          <p:txBody>
            <a:bodyPr/>
            <a:lstStyle/>
            <a:p>
              <a:endParaRPr lang="en-US"/>
            </a:p>
          </p:txBody>
        </p:sp>
        <p:sp>
          <p:nvSpPr>
            <p:cNvPr id="61" name="Freeform: Shape 60">
              <a:extLst>
                <a:ext uri="{FF2B5EF4-FFF2-40B4-BE49-F238E27FC236}">
                  <a16:creationId xmlns:a16="http://schemas.microsoft.com/office/drawing/2014/main" id="{86D40759-EB5E-5125-FD1F-AF323C591FB5}"/>
                </a:ext>
              </a:extLst>
            </p:cNvPr>
            <p:cNvSpPr/>
            <p:nvPr/>
          </p:nvSpPr>
          <p:spPr>
            <a:xfrm flipV="1">
              <a:off x="26098547" y="4434827"/>
              <a:ext cx="102486" cy="30427"/>
            </a:xfrm>
            <a:custGeom>
              <a:avLst/>
              <a:gdLst>
                <a:gd name="csX0" fmla="*/ 91240 w 102486"/>
                <a:gd name="csY0" fmla="*/ -5129 h 30427"/>
                <a:gd name="csX1" fmla="*/ -11246 w 102486"/>
                <a:gd name="csY1" fmla="*/ -5129 h 30427"/>
                <a:gd name="csX2" fmla="*/ -11246 w 102486"/>
                <a:gd name="csY2" fmla="*/ 25299 h 30427"/>
                <a:gd name="csX3" fmla="*/ 91240 w 102486"/>
                <a:gd name="csY3" fmla="*/ 25299 h 30427"/>
                <a:gd name="csX4" fmla="*/ 91240 w 102486"/>
                <a:gd name="csY4" fmla="*/ -5129 h 30427"/>
              </a:gdLst>
              <a:ahLst/>
              <a:cxnLst>
                <a:cxn ang="0">
                  <a:pos x="csX0" y="csY0"/>
                </a:cxn>
                <a:cxn ang="0">
                  <a:pos x="csX1" y="csY1"/>
                </a:cxn>
                <a:cxn ang="0">
                  <a:pos x="csX2" y="csY2"/>
                </a:cxn>
                <a:cxn ang="0">
                  <a:pos x="csX3" y="csY3"/>
                </a:cxn>
                <a:cxn ang="0">
                  <a:pos x="csX4" y="csY4"/>
                </a:cxn>
              </a:cxnLst>
              <a:rect l="l" t="t" r="r" b="b"/>
              <a:pathLst>
                <a:path w="102486" h="30427">
                  <a:moveTo>
                    <a:pt x="91240" y="-5129"/>
                  </a:moveTo>
                  <a:lnTo>
                    <a:pt x="-11246" y="-5129"/>
                  </a:lnTo>
                  <a:lnTo>
                    <a:pt x="-11246" y="25299"/>
                  </a:lnTo>
                  <a:lnTo>
                    <a:pt x="91240" y="25299"/>
                  </a:lnTo>
                  <a:lnTo>
                    <a:pt x="91240" y="-5129"/>
                  </a:lnTo>
                </a:path>
              </a:pathLst>
            </a:custGeom>
            <a:grpFill/>
            <a:ln w="548" cap="flat">
              <a:noFill/>
              <a:prstDash val="solid"/>
              <a:miter/>
            </a:ln>
          </p:spPr>
          <p:txBody>
            <a:bodyPr/>
            <a:lstStyle/>
            <a:p>
              <a:endParaRPr lang="en-US"/>
            </a:p>
          </p:txBody>
        </p:sp>
        <p:sp>
          <p:nvSpPr>
            <p:cNvPr id="62" name="Freeform: Shape 61">
              <a:extLst>
                <a:ext uri="{FF2B5EF4-FFF2-40B4-BE49-F238E27FC236}">
                  <a16:creationId xmlns:a16="http://schemas.microsoft.com/office/drawing/2014/main" id="{9E13B0A3-A380-B34E-986F-0F23ECCC6961}"/>
                </a:ext>
              </a:extLst>
            </p:cNvPr>
            <p:cNvSpPr/>
            <p:nvPr/>
          </p:nvSpPr>
          <p:spPr>
            <a:xfrm flipV="1">
              <a:off x="26098547" y="4532584"/>
              <a:ext cx="102486" cy="30427"/>
            </a:xfrm>
            <a:custGeom>
              <a:avLst/>
              <a:gdLst>
                <a:gd name="csX0" fmla="*/ 91240 w 102486"/>
                <a:gd name="csY0" fmla="*/ -4894 h 30427"/>
                <a:gd name="csX1" fmla="*/ -11246 w 102486"/>
                <a:gd name="csY1" fmla="*/ -4894 h 30427"/>
                <a:gd name="csX2" fmla="*/ -11246 w 102486"/>
                <a:gd name="csY2" fmla="*/ 25534 h 30427"/>
                <a:gd name="csX3" fmla="*/ 91240 w 102486"/>
                <a:gd name="csY3" fmla="*/ 25534 h 30427"/>
                <a:gd name="csX4" fmla="*/ 91240 w 102486"/>
                <a:gd name="csY4" fmla="*/ -4894 h 30427"/>
              </a:gdLst>
              <a:ahLst/>
              <a:cxnLst>
                <a:cxn ang="0">
                  <a:pos x="csX0" y="csY0"/>
                </a:cxn>
                <a:cxn ang="0">
                  <a:pos x="csX1" y="csY1"/>
                </a:cxn>
                <a:cxn ang="0">
                  <a:pos x="csX2" y="csY2"/>
                </a:cxn>
                <a:cxn ang="0">
                  <a:pos x="csX3" y="csY3"/>
                </a:cxn>
                <a:cxn ang="0">
                  <a:pos x="csX4" y="csY4"/>
                </a:cxn>
              </a:cxnLst>
              <a:rect l="l" t="t" r="r" b="b"/>
              <a:pathLst>
                <a:path w="102486" h="30427">
                  <a:moveTo>
                    <a:pt x="91240" y="-4894"/>
                  </a:moveTo>
                  <a:lnTo>
                    <a:pt x="-11246" y="-4894"/>
                  </a:lnTo>
                  <a:lnTo>
                    <a:pt x="-11246" y="25534"/>
                  </a:lnTo>
                  <a:lnTo>
                    <a:pt x="91240" y="25534"/>
                  </a:lnTo>
                  <a:lnTo>
                    <a:pt x="91240" y="-4894"/>
                  </a:lnTo>
                </a:path>
              </a:pathLst>
            </a:custGeom>
            <a:grpFill/>
            <a:ln w="548" cap="flat">
              <a:noFill/>
              <a:prstDash val="solid"/>
              <a:miter/>
            </a:ln>
          </p:spPr>
          <p:txBody>
            <a:bodyPr/>
            <a:lstStyle/>
            <a:p>
              <a:endParaRPr lang="en-US"/>
            </a:p>
          </p:txBody>
        </p:sp>
        <p:sp>
          <p:nvSpPr>
            <p:cNvPr id="63" name="Freeform: Shape 62">
              <a:extLst>
                <a:ext uri="{FF2B5EF4-FFF2-40B4-BE49-F238E27FC236}">
                  <a16:creationId xmlns:a16="http://schemas.microsoft.com/office/drawing/2014/main" id="{B5F3F673-43E7-117C-9C3D-A19C52483ED5}"/>
                </a:ext>
              </a:extLst>
            </p:cNvPr>
            <p:cNvSpPr/>
            <p:nvPr/>
          </p:nvSpPr>
          <p:spPr>
            <a:xfrm flipV="1">
              <a:off x="26098547" y="4630341"/>
              <a:ext cx="102486" cy="30427"/>
            </a:xfrm>
            <a:custGeom>
              <a:avLst/>
              <a:gdLst>
                <a:gd name="csX0" fmla="*/ 91240 w 102486"/>
                <a:gd name="csY0" fmla="*/ -4659 h 30427"/>
                <a:gd name="csX1" fmla="*/ -11246 w 102486"/>
                <a:gd name="csY1" fmla="*/ -4659 h 30427"/>
                <a:gd name="csX2" fmla="*/ -11246 w 102486"/>
                <a:gd name="csY2" fmla="*/ 25769 h 30427"/>
                <a:gd name="csX3" fmla="*/ 91240 w 102486"/>
                <a:gd name="csY3" fmla="*/ 25769 h 30427"/>
                <a:gd name="csX4" fmla="*/ 91240 w 102486"/>
                <a:gd name="csY4" fmla="*/ -4659 h 30427"/>
              </a:gdLst>
              <a:ahLst/>
              <a:cxnLst>
                <a:cxn ang="0">
                  <a:pos x="csX0" y="csY0"/>
                </a:cxn>
                <a:cxn ang="0">
                  <a:pos x="csX1" y="csY1"/>
                </a:cxn>
                <a:cxn ang="0">
                  <a:pos x="csX2" y="csY2"/>
                </a:cxn>
                <a:cxn ang="0">
                  <a:pos x="csX3" y="csY3"/>
                </a:cxn>
                <a:cxn ang="0">
                  <a:pos x="csX4" y="csY4"/>
                </a:cxn>
              </a:cxnLst>
              <a:rect l="l" t="t" r="r" b="b"/>
              <a:pathLst>
                <a:path w="102486" h="30427">
                  <a:moveTo>
                    <a:pt x="91240" y="-4659"/>
                  </a:moveTo>
                  <a:lnTo>
                    <a:pt x="-11246" y="-4659"/>
                  </a:lnTo>
                  <a:lnTo>
                    <a:pt x="-11246" y="25769"/>
                  </a:lnTo>
                  <a:lnTo>
                    <a:pt x="91240" y="25769"/>
                  </a:lnTo>
                  <a:lnTo>
                    <a:pt x="91240" y="-4659"/>
                  </a:lnTo>
                </a:path>
              </a:pathLst>
            </a:custGeom>
            <a:grpFill/>
            <a:ln w="548" cap="flat">
              <a:noFill/>
              <a:prstDash val="solid"/>
              <a:miter/>
            </a:ln>
          </p:spPr>
          <p:txBody>
            <a:bodyPr/>
            <a:lstStyle/>
            <a:p>
              <a:endParaRPr lang="en-US"/>
            </a:p>
          </p:txBody>
        </p:sp>
        <p:sp>
          <p:nvSpPr>
            <p:cNvPr id="64" name="Freeform: Shape 63">
              <a:extLst>
                <a:ext uri="{FF2B5EF4-FFF2-40B4-BE49-F238E27FC236}">
                  <a16:creationId xmlns:a16="http://schemas.microsoft.com/office/drawing/2014/main" id="{4C5AB87A-E517-B891-5808-F38A0441063C}"/>
                </a:ext>
              </a:extLst>
            </p:cNvPr>
            <p:cNvSpPr/>
            <p:nvPr/>
          </p:nvSpPr>
          <p:spPr>
            <a:xfrm flipV="1">
              <a:off x="26098547" y="4728092"/>
              <a:ext cx="102486" cy="30433"/>
            </a:xfrm>
            <a:custGeom>
              <a:avLst/>
              <a:gdLst>
                <a:gd name="csX0" fmla="*/ 91240 w 102486"/>
                <a:gd name="csY0" fmla="*/ -4423 h 30433"/>
                <a:gd name="csX1" fmla="*/ -11246 w 102486"/>
                <a:gd name="csY1" fmla="*/ -4423 h 30433"/>
                <a:gd name="csX2" fmla="*/ -11246 w 102486"/>
                <a:gd name="csY2" fmla="*/ 26010 h 30433"/>
                <a:gd name="csX3" fmla="*/ 91240 w 102486"/>
                <a:gd name="csY3" fmla="*/ 26010 h 30433"/>
                <a:gd name="csX4" fmla="*/ 91240 w 102486"/>
                <a:gd name="csY4" fmla="*/ -4423 h 30433"/>
              </a:gdLst>
              <a:ahLst/>
              <a:cxnLst>
                <a:cxn ang="0">
                  <a:pos x="csX0" y="csY0"/>
                </a:cxn>
                <a:cxn ang="0">
                  <a:pos x="csX1" y="csY1"/>
                </a:cxn>
                <a:cxn ang="0">
                  <a:pos x="csX2" y="csY2"/>
                </a:cxn>
                <a:cxn ang="0">
                  <a:pos x="csX3" y="csY3"/>
                </a:cxn>
                <a:cxn ang="0">
                  <a:pos x="csX4" y="csY4"/>
                </a:cxn>
              </a:cxnLst>
              <a:rect l="l" t="t" r="r" b="b"/>
              <a:pathLst>
                <a:path w="102486" h="30433">
                  <a:moveTo>
                    <a:pt x="91240" y="-4423"/>
                  </a:moveTo>
                  <a:lnTo>
                    <a:pt x="-11246" y="-4423"/>
                  </a:lnTo>
                  <a:lnTo>
                    <a:pt x="-11246" y="26010"/>
                  </a:lnTo>
                  <a:lnTo>
                    <a:pt x="91240" y="26010"/>
                  </a:lnTo>
                  <a:lnTo>
                    <a:pt x="91240" y="-4423"/>
                  </a:lnTo>
                </a:path>
              </a:pathLst>
            </a:custGeom>
            <a:grpFill/>
            <a:ln w="548" cap="flat">
              <a:noFill/>
              <a:prstDash val="solid"/>
              <a:miter/>
            </a:ln>
          </p:spPr>
          <p:txBody>
            <a:bodyPr/>
            <a:lstStyle/>
            <a:p>
              <a:endParaRPr lang="en-US"/>
            </a:p>
          </p:txBody>
        </p:sp>
        <p:sp>
          <p:nvSpPr>
            <p:cNvPr id="65" name="Freeform: Shape 64">
              <a:extLst>
                <a:ext uri="{FF2B5EF4-FFF2-40B4-BE49-F238E27FC236}">
                  <a16:creationId xmlns:a16="http://schemas.microsoft.com/office/drawing/2014/main" id="{0015802F-05E6-AEFF-2BB6-A61A0727031E}"/>
                </a:ext>
              </a:extLst>
            </p:cNvPr>
            <p:cNvSpPr/>
            <p:nvPr/>
          </p:nvSpPr>
          <p:spPr>
            <a:xfrm flipV="1">
              <a:off x="26098547" y="4825854"/>
              <a:ext cx="102486" cy="30427"/>
            </a:xfrm>
            <a:custGeom>
              <a:avLst/>
              <a:gdLst>
                <a:gd name="csX0" fmla="*/ 91240 w 102486"/>
                <a:gd name="csY0" fmla="*/ -4188 h 30427"/>
                <a:gd name="csX1" fmla="*/ -11246 w 102486"/>
                <a:gd name="csY1" fmla="*/ -4188 h 30427"/>
                <a:gd name="csX2" fmla="*/ -11246 w 102486"/>
                <a:gd name="csY2" fmla="*/ 26239 h 30427"/>
                <a:gd name="csX3" fmla="*/ 91240 w 102486"/>
                <a:gd name="csY3" fmla="*/ 26239 h 30427"/>
                <a:gd name="csX4" fmla="*/ 91240 w 102486"/>
                <a:gd name="csY4" fmla="*/ -4188 h 30427"/>
              </a:gdLst>
              <a:ahLst/>
              <a:cxnLst>
                <a:cxn ang="0">
                  <a:pos x="csX0" y="csY0"/>
                </a:cxn>
                <a:cxn ang="0">
                  <a:pos x="csX1" y="csY1"/>
                </a:cxn>
                <a:cxn ang="0">
                  <a:pos x="csX2" y="csY2"/>
                </a:cxn>
                <a:cxn ang="0">
                  <a:pos x="csX3" y="csY3"/>
                </a:cxn>
                <a:cxn ang="0">
                  <a:pos x="csX4" y="csY4"/>
                </a:cxn>
              </a:cxnLst>
              <a:rect l="l" t="t" r="r" b="b"/>
              <a:pathLst>
                <a:path w="102486" h="30427">
                  <a:moveTo>
                    <a:pt x="91240" y="-4188"/>
                  </a:moveTo>
                  <a:lnTo>
                    <a:pt x="-11246" y="-4188"/>
                  </a:lnTo>
                  <a:lnTo>
                    <a:pt x="-11246" y="26239"/>
                  </a:lnTo>
                  <a:lnTo>
                    <a:pt x="91240" y="26239"/>
                  </a:lnTo>
                  <a:lnTo>
                    <a:pt x="91240" y="-4188"/>
                  </a:lnTo>
                </a:path>
              </a:pathLst>
            </a:custGeom>
            <a:grpFill/>
            <a:ln w="548" cap="flat">
              <a:noFill/>
              <a:prstDash val="solid"/>
              <a:miter/>
            </a:ln>
          </p:spPr>
          <p:txBody>
            <a:bodyPr/>
            <a:lstStyle/>
            <a:p>
              <a:endParaRPr lang="en-US"/>
            </a:p>
          </p:txBody>
        </p:sp>
        <p:sp>
          <p:nvSpPr>
            <p:cNvPr id="66" name="Freeform: Shape 65">
              <a:extLst>
                <a:ext uri="{FF2B5EF4-FFF2-40B4-BE49-F238E27FC236}">
                  <a16:creationId xmlns:a16="http://schemas.microsoft.com/office/drawing/2014/main" id="{9D98CE47-D085-B04E-60C9-A8D7FDAB69A2}"/>
                </a:ext>
              </a:extLst>
            </p:cNvPr>
            <p:cNvSpPr/>
            <p:nvPr/>
          </p:nvSpPr>
          <p:spPr>
            <a:xfrm flipV="1">
              <a:off x="26023987" y="4905072"/>
              <a:ext cx="251606" cy="18538"/>
            </a:xfrm>
            <a:custGeom>
              <a:avLst/>
              <a:gdLst>
                <a:gd name="csX0" fmla="*/ 240360 w 251606"/>
                <a:gd name="csY0" fmla="*/ -4012 h 18538"/>
                <a:gd name="csX1" fmla="*/ -11246 w 251606"/>
                <a:gd name="csY1" fmla="*/ -4012 h 18538"/>
                <a:gd name="csX2" fmla="*/ -11246 w 251606"/>
                <a:gd name="csY2" fmla="*/ 14527 h 18538"/>
                <a:gd name="csX3" fmla="*/ 240360 w 251606"/>
                <a:gd name="csY3" fmla="*/ 14527 h 18538"/>
                <a:gd name="csX4" fmla="*/ 240360 w 251606"/>
                <a:gd name="csY4" fmla="*/ -4012 h 18538"/>
              </a:gdLst>
              <a:ahLst/>
              <a:cxnLst>
                <a:cxn ang="0">
                  <a:pos x="csX0" y="csY0"/>
                </a:cxn>
                <a:cxn ang="0">
                  <a:pos x="csX1" y="csY1"/>
                </a:cxn>
                <a:cxn ang="0">
                  <a:pos x="csX2" y="csY2"/>
                </a:cxn>
                <a:cxn ang="0">
                  <a:pos x="csX3" y="csY3"/>
                </a:cxn>
                <a:cxn ang="0">
                  <a:pos x="csX4" y="csY4"/>
                </a:cxn>
              </a:cxnLst>
              <a:rect l="l" t="t" r="r" b="b"/>
              <a:pathLst>
                <a:path w="251606" h="18538">
                  <a:moveTo>
                    <a:pt x="240360" y="-4012"/>
                  </a:moveTo>
                  <a:lnTo>
                    <a:pt x="-11246" y="-4012"/>
                  </a:lnTo>
                  <a:lnTo>
                    <a:pt x="-11246" y="14527"/>
                  </a:lnTo>
                  <a:lnTo>
                    <a:pt x="240360" y="14527"/>
                  </a:lnTo>
                  <a:lnTo>
                    <a:pt x="240360" y="-4012"/>
                  </a:lnTo>
                </a:path>
              </a:pathLst>
            </a:custGeom>
            <a:grpFill/>
            <a:ln w="548" cap="flat">
              <a:noFill/>
              <a:prstDash val="solid"/>
              <a:miter/>
            </a:ln>
          </p:spPr>
          <p:txBody>
            <a:bodyPr/>
            <a:lstStyle/>
            <a:p>
              <a:endParaRPr lang="en-US"/>
            </a:p>
          </p:txBody>
        </p:sp>
        <p:sp>
          <p:nvSpPr>
            <p:cNvPr id="67" name="Freeform: Shape 66">
              <a:extLst>
                <a:ext uri="{FF2B5EF4-FFF2-40B4-BE49-F238E27FC236}">
                  <a16:creationId xmlns:a16="http://schemas.microsoft.com/office/drawing/2014/main" id="{60F5A721-2FB4-A26A-04C5-39DC1F8EE475}"/>
                </a:ext>
              </a:extLst>
            </p:cNvPr>
            <p:cNvSpPr/>
            <p:nvPr/>
          </p:nvSpPr>
          <p:spPr>
            <a:xfrm flipV="1">
              <a:off x="26033807" y="3704845"/>
              <a:ext cx="20902" cy="52839"/>
            </a:xfrm>
            <a:custGeom>
              <a:avLst/>
              <a:gdLst>
                <a:gd name="csX0" fmla="*/ 9787 w 20902"/>
                <a:gd name="csY0" fmla="*/ 45981 h 52839"/>
                <a:gd name="csX1" fmla="*/ -11116 w 20902"/>
                <a:gd name="csY1" fmla="*/ 45981 h 52839"/>
                <a:gd name="csX2" fmla="*/ -11116 w 20902"/>
                <a:gd name="csY2" fmla="*/ -6858 h 52839"/>
                <a:gd name="csX3" fmla="*/ 9787 w 20902"/>
                <a:gd name="csY3" fmla="*/ -6858 h 52839"/>
                <a:gd name="csX4" fmla="*/ 9787 w 20902"/>
                <a:gd name="csY4" fmla="*/ 45981 h 52839"/>
              </a:gdLst>
              <a:ahLst/>
              <a:cxnLst>
                <a:cxn ang="0">
                  <a:pos x="csX0" y="csY0"/>
                </a:cxn>
                <a:cxn ang="0">
                  <a:pos x="csX1" y="csY1"/>
                </a:cxn>
                <a:cxn ang="0">
                  <a:pos x="csX2" y="csY2"/>
                </a:cxn>
                <a:cxn ang="0">
                  <a:pos x="csX3" y="csY3"/>
                </a:cxn>
                <a:cxn ang="0">
                  <a:pos x="csX4" y="csY4"/>
                </a:cxn>
              </a:cxnLst>
              <a:rect l="l" t="t" r="r" b="b"/>
              <a:pathLst>
                <a:path w="20902" h="52839">
                  <a:moveTo>
                    <a:pt x="9787" y="45981"/>
                  </a:moveTo>
                  <a:lnTo>
                    <a:pt x="-11116" y="45981"/>
                  </a:lnTo>
                  <a:lnTo>
                    <a:pt x="-11116" y="-6858"/>
                  </a:lnTo>
                  <a:lnTo>
                    <a:pt x="9787" y="-6858"/>
                  </a:lnTo>
                  <a:lnTo>
                    <a:pt x="9787" y="45981"/>
                  </a:lnTo>
                </a:path>
              </a:pathLst>
            </a:custGeom>
            <a:grpFill/>
            <a:ln w="548" cap="flat">
              <a:noFill/>
              <a:prstDash val="solid"/>
              <a:miter/>
            </a:ln>
          </p:spPr>
          <p:txBody>
            <a:bodyPr/>
            <a:lstStyle/>
            <a:p>
              <a:endParaRPr lang="en-US"/>
            </a:p>
          </p:txBody>
        </p:sp>
        <p:sp>
          <p:nvSpPr>
            <p:cNvPr id="68" name="Freeform: Shape 67">
              <a:extLst>
                <a:ext uri="{FF2B5EF4-FFF2-40B4-BE49-F238E27FC236}">
                  <a16:creationId xmlns:a16="http://schemas.microsoft.com/office/drawing/2014/main" id="{87318C18-D3E1-DFFB-CD42-FCF1BA98D690}"/>
                </a:ext>
              </a:extLst>
            </p:cNvPr>
            <p:cNvSpPr/>
            <p:nvPr/>
          </p:nvSpPr>
          <p:spPr>
            <a:xfrm flipV="1">
              <a:off x="26086642" y="3704845"/>
              <a:ext cx="20848" cy="52839"/>
            </a:xfrm>
            <a:custGeom>
              <a:avLst/>
              <a:gdLst>
                <a:gd name="csX0" fmla="*/ 9667 w 20848"/>
                <a:gd name="csY0" fmla="*/ 45981 h 52839"/>
                <a:gd name="csX1" fmla="*/ -11181 w 20848"/>
                <a:gd name="csY1" fmla="*/ 45981 h 52839"/>
                <a:gd name="csX2" fmla="*/ -11181 w 20848"/>
                <a:gd name="csY2" fmla="*/ -6858 h 52839"/>
                <a:gd name="csX3" fmla="*/ 9667 w 20848"/>
                <a:gd name="csY3" fmla="*/ -6858 h 52839"/>
                <a:gd name="csX4" fmla="*/ 9667 w 20848"/>
                <a:gd name="csY4" fmla="*/ 45981 h 52839"/>
              </a:gdLst>
              <a:ahLst/>
              <a:cxnLst>
                <a:cxn ang="0">
                  <a:pos x="csX0" y="csY0"/>
                </a:cxn>
                <a:cxn ang="0">
                  <a:pos x="csX1" y="csY1"/>
                </a:cxn>
                <a:cxn ang="0">
                  <a:pos x="csX2" y="csY2"/>
                </a:cxn>
                <a:cxn ang="0">
                  <a:pos x="csX3" y="csY3"/>
                </a:cxn>
                <a:cxn ang="0">
                  <a:pos x="csX4" y="csY4"/>
                </a:cxn>
              </a:cxnLst>
              <a:rect l="l" t="t" r="r" b="b"/>
              <a:pathLst>
                <a:path w="20848" h="52839">
                  <a:moveTo>
                    <a:pt x="9667" y="45981"/>
                  </a:moveTo>
                  <a:lnTo>
                    <a:pt x="-11181" y="45981"/>
                  </a:lnTo>
                  <a:lnTo>
                    <a:pt x="-11181" y="-6858"/>
                  </a:lnTo>
                  <a:lnTo>
                    <a:pt x="9667" y="-6858"/>
                  </a:lnTo>
                  <a:lnTo>
                    <a:pt x="9667" y="45981"/>
                  </a:lnTo>
                </a:path>
              </a:pathLst>
            </a:custGeom>
            <a:grpFill/>
            <a:ln w="548" cap="flat">
              <a:noFill/>
              <a:prstDash val="solid"/>
              <a:miter/>
            </a:ln>
          </p:spPr>
          <p:txBody>
            <a:bodyPr/>
            <a:lstStyle/>
            <a:p>
              <a:endParaRPr lang="en-US"/>
            </a:p>
          </p:txBody>
        </p:sp>
        <p:sp>
          <p:nvSpPr>
            <p:cNvPr id="69" name="Freeform: Shape 68">
              <a:extLst>
                <a:ext uri="{FF2B5EF4-FFF2-40B4-BE49-F238E27FC236}">
                  <a16:creationId xmlns:a16="http://schemas.microsoft.com/office/drawing/2014/main" id="{29136CAE-1E09-472F-2244-982BAA4DB5FA}"/>
                </a:ext>
              </a:extLst>
            </p:cNvPr>
            <p:cNvSpPr/>
            <p:nvPr/>
          </p:nvSpPr>
          <p:spPr>
            <a:xfrm flipV="1">
              <a:off x="26098876" y="3409073"/>
              <a:ext cx="13990" cy="278434"/>
            </a:xfrm>
            <a:custGeom>
              <a:avLst/>
              <a:gdLst>
                <a:gd name="csX0" fmla="*/ 2798 w 13990"/>
                <a:gd name="csY0" fmla="*/ 271136 h 278434"/>
                <a:gd name="csX1" fmla="*/ -11192 w 13990"/>
                <a:gd name="csY1" fmla="*/ 271136 h 278434"/>
                <a:gd name="csX2" fmla="*/ -11192 w 13990"/>
                <a:gd name="csY2" fmla="*/ -7298 h 278434"/>
                <a:gd name="csX3" fmla="*/ 2798 w 13990"/>
                <a:gd name="csY3" fmla="*/ -7298 h 278434"/>
                <a:gd name="csX4" fmla="*/ 2798 w 13990"/>
                <a:gd name="csY4" fmla="*/ 271136 h 278434"/>
              </a:gdLst>
              <a:ahLst/>
              <a:cxnLst>
                <a:cxn ang="0">
                  <a:pos x="csX0" y="csY0"/>
                </a:cxn>
                <a:cxn ang="0">
                  <a:pos x="csX1" y="csY1"/>
                </a:cxn>
                <a:cxn ang="0">
                  <a:pos x="csX2" y="csY2"/>
                </a:cxn>
                <a:cxn ang="0">
                  <a:pos x="csX3" y="csY3"/>
                </a:cxn>
                <a:cxn ang="0">
                  <a:pos x="csX4" y="csY4"/>
                </a:cxn>
              </a:cxnLst>
              <a:rect l="l" t="t" r="r" b="b"/>
              <a:pathLst>
                <a:path w="13990" h="278434">
                  <a:moveTo>
                    <a:pt x="2798" y="271136"/>
                  </a:moveTo>
                  <a:lnTo>
                    <a:pt x="-11192" y="271136"/>
                  </a:lnTo>
                  <a:lnTo>
                    <a:pt x="-11192" y="-7298"/>
                  </a:lnTo>
                  <a:lnTo>
                    <a:pt x="2798" y="-7298"/>
                  </a:lnTo>
                  <a:lnTo>
                    <a:pt x="2798" y="271136"/>
                  </a:lnTo>
                </a:path>
              </a:pathLst>
            </a:custGeom>
            <a:grpFill/>
            <a:ln w="548" cap="flat">
              <a:noFill/>
              <a:prstDash val="solid"/>
              <a:miter/>
            </a:ln>
          </p:spPr>
          <p:txBody>
            <a:bodyPr/>
            <a:lstStyle/>
            <a:p>
              <a:endParaRPr lang="en-US"/>
            </a:p>
          </p:txBody>
        </p:sp>
        <p:sp>
          <p:nvSpPr>
            <p:cNvPr id="70" name="Freeform: Shape 69">
              <a:extLst>
                <a:ext uri="{FF2B5EF4-FFF2-40B4-BE49-F238E27FC236}">
                  <a16:creationId xmlns:a16="http://schemas.microsoft.com/office/drawing/2014/main" id="{C5CEBCE3-7015-DD13-0D2D-CC99D32B1B69}"/>
                </a:ext>
              </a:extLst>
            </p:cNvPr>
            <p:cNvSpPr/>
            <p:nvPr/>
          </p:nvSpPr>
          <p:spPr>
            <a:xfrm flipV="1">
              <a:off x="26186933" y="3409073"/>
              <a:ext cx="13990" cy="278434"/>
            </a:xfrm>
            <a:custGeom>
              <a:avLst/>
              <a:gdLst>
                <a:gd name="csX0" fmla="*/ 2689 w 13990"/>
                <a:gd name="csY0" fmla="*/ 271136 h 278434"/>
                <a:gd name="csX1" fmla="*/ -11301 w 13990"/>
                <a:gd name="csY1" fmla="*/ 271136 h 278434"/>
                <a:gd name="csX2" fmla="*/ -11301 w 13990"/>
                <a:gd name="csY2" fmla="*/ -7298 h 278434"/>
                <a:gd name="csX3" fmla="*/ 2689 w 13990"/>
                <a:gd name="csY3" fmla="*/ -7298 h 278434"/>
                <a:gd name="csX4" fmla="*/ 2689 w 13990"/>
                <a:gd name="csY4" fmla="*/ 271136 h 278434"/>
              </a:gdLst>
              <a:ahLst/>
              <a:cxnLst>
                <a:cxn ang="0">
                  <a:pos x="csX0" y="csY0"/>
                </a:cxn>
                <a:cxn ang="0">
                  <a:pos x="csX1" y="csY1"/>
                </a:cxn>
                <a:cxn ang="0">
                  <a:pos x="csX2" y="csY2"/>
                </a:cxn>
                <a:cxn ang="0">
                  <a:pos x="csX3" y="csY3"/>
                </a:cxn>
                <a:cxn ang="0">
                  <a:pos x="csX4" y="csY4"/>
                </a:cxn>
              </a:cxnLst>
              <a:rect l="l" t="t" r="r" b="b"/>
              <a:pathLst>
                <a:path w="13990" h="278434">
                  <a:moveTo>
                    <a:pt x="2689" y="271136"/>
                  </a:moveTo>
                  <a:lnTo>
                    <a:pt x="-11301" y="271136"/>
                  </a:lnTo>
                  <a:lnTo>
                    <a:pt x="-11301" y="-7298"/>
                  </a:lnTo>
                  <a:lnTo>
                    <a:pt x="2689" y="-7298"/>
                  </a:lnTo>
                  <a:lnTo>
                    <a:pt x="2689" y="271136"/>
                  </a:lnTo>
                </a:path>
              </a:pathLst>
            </a:custGeom>
            <a:grpFill/>
            <a:ln w="548" cap="flat">
              <a:noFill/>
              <a:prstDash val="solid"/>
              <a:miter/>
            </a:ln>
          </p:spPr>
          <p:txBody>
            <a:bodyPr/>
            <a:lstStyle/>
            <a:p>
              <a:endParaRPr lang="en-US"/>
            </a:p>
          </p:txBody>
        </p:sp>
        <p:sp>
          <p:nvSpPr>
            <p:cNvPr id="71" name="Freeform: Shape 70">
              <a:extLst>
                <a:ext uri="{FF2B5EF4-FFF2-40B4-BE49-F238E27FC236}">
                  <a16:creationId xmlns:a16="http://schemas.microsoft.com/office/drawing/2014/main" id="{4EAB4CAD-6A88-D8F4-2859-6E4EB4993E5D}"/>
                </a:ext>
              </a:extLst>
            </p:cNvPr>
            <p:cNvSpPr/>
            <p:nvPr/>
          </p:nvSpPr>
          <p:spPr>
            <a:xfrm flipV="1">
              <a:off x="26139475" y="3704845"/>
              <a:ext cx="20848" cy="52839"/>
            </a:xfrm>
            <a:custGeom>
              <a:avLst/>
              <a:gdLst>
                <a:gd name="csX0" fmla="*/ 9602 w 20848"/>
                <a:gd name="csY0" fmla="*/ 45981 h 52839"/>
                <a:gd name="csX1" fmla="*/ -11247 w 20848"/>
                <a:gd name="csY1" fmla="*/ 45981 h 52839"/>
                <a:gd name="csX2" fmla="*/ -11247 w 20848"/>
                <a:gd name="csY2" fmla="*/ -6858 h 52839"/>
                <a:gd name="csX3" fmla="*/ 9602 w 20848"/>
                <a:gd name="csY3" fmla="*/ -6858 h 52839"/>
                <a:gd name="csX4" fmla="*/ 9602 w 20848"/>
                <a:gd name="csY4" fmla="*/ 45981 h 52839"/>
              </a:gdLst>
              <a:ahLst/>
              <a:cxnLst>
                <a:cxn ang="0">
                  <a:pos x="csX0" y="csY0"/>
                </a:cxn>
                <a:cxn ang="0">
                  <a:pos x="csX1" y="csY1"/>
                </a:cxn>
                <a:cxn ang="0">
                  <a:pos x="csX2" y="csY2"/>
                </a:cxn>
                <a:cxn ang="0">
                  <a:pos x="csX3" y="csY3"/>
                </a:cxn>
                <a:cxn ang="0">
                  <a:pos x="csX4" y="csY4"/>
                </a:cxn>
              </a:cxnLst>
              <a:rect l="l" t="t" r="r" b="b"/>
              <a:pathLst>
                <a:path w="20848" h="52839">
                  <a:moveTo>
                    <a:pt x="9602" y="45981"/>
                  </a:moveTo>
                  <a:lnTo>
                    <a:pt x="-11247" y="45981"/>
                  </a:lnTo>
                  <a:lnTo>
                    <a:pt x="-11247" y="-6858"/>
                  </a:lnTo>
                  <a:lnTo>
                    <a:pt x="9602" y="-6858"/>
                  </a:lnTo>
                  <a:lnTo>
                    <a:pt x="9602" y="45981"/>
                  </a:lnTo>
                </a:path>
              </a:pathLst>
            </a:custGeom>
            <a:grpFill/>
            <a:ln w="548" cap="flat">
              <a:noFill/>
              <a:prstDash val="solid"/>
              <a:miter/>
            </a:ln>
          </p:spPr>
          <p:txBody>
            <a:bodyPr/>
            <a:lstStyle/>
            <a:p>
              <a:endParaRPr lang="en-US"/>
            </a:p>
          </p:txBody>
        </p:sp>
        <p:sp>
          <p:nvSpPr>
            <p:cNvPr id="72" name="Freeform: Shape 71">
              <a:extLst>
                <a:ext uri="{FF2B5EF4-FFF2-40B4-BE49-F238E27FC236}">
                  <a16:creationId xmlns:a16="http://schemas.microsoft.com/office/drawing/2014/main" id="{B8560EBB-80BD-0442-3014-A77F8D0DAEAA}"/>
                </a:ext>
              </a:extLst>
            </p:cNvPr>
            <p:cNvSpPr/>
            <p:nvPr/>
          </p:nvSpPr>
          <p:spPr>
            <a:xfrm flipV="1">
              <a:off x="26192310" y="3704845"/>
              <a:ext cx="20848" cy="52839"/>
            </a:xfrm>
            <a:custGeom>
              <a:avLst/>
              <a:gdLst>
                <a:gd name="csX0" fmla="*/ 9536 w 20848"/>
                <a:gd name="csY0" fmla="*/ 45981 h 52839"/>
                <a:gd name="csX1" fmla="*/ -11312 w 20848"/>
                <a:gd name="csY1" fmla="*/ 45981 h 52839"/>
                <a:gd name="csX2" fmla="*/ -11312 w 20848"/>
                <a:gd name="csY2" fmla="*/ -6858 h 52839"/>
                <a:gd name="csX3" fmla="*/ 9536 w 20848"/>
                <a:gd name="csY3" fmla="*/ -6858 h 52839"/>
                <a:gd name="csX4" fmla="*/ 9536 w 20848"/>
                <a:gd name="csY4" fmla="*/ 45981 h 52839"/>
              </a:gdLst>
              <a:ahLst/>
              <a:cxnLst>
                <a:cxn ang="0">
                  <a:pos x="csX0" y="csY0"/>
                </a:cxn>
                <a:cxn ang="0">
                  <a:pos x="csX1" y="csY1"/>
                </a:cxn>
                <a:cxn ang="0">
                  <a:pos x="csX2" y="csY2"/>
                </a:cxn>
                <a:cxn ang="0">
                  <a:pos x="csX3" y="csY3"/>
                </a:cxn>
                <a:cxn ang="0">
                  <a:pos x="csX4" y="csY4"/>
                </a:cxn>
              </a:cxnLst>
              <a:rect l="l" t="t" r="r" b="b"/>
              <a:pathLst>
                <a:path w="20848" h="52839">
                  <a:moveTo>
                    <a:pt x="9536" y="45981"/>
                  </a:moveTo>
                  <a:lnTo>
                    <a:pt x="-11312" y="45981"/>
                  </a:lnTo>
                  <a:lnTo>
                    <a:pt x="-11312" y="-6858"/>
                  </a:lnTo>
                  <a:lnTo>
                    <a:pt x="9536" y="-6858"/>
                  </a:lnTo>
                  <a:lnTo>
                    <a:pt x="9536" y="45981"/>
                  </a:lnTo>
                </a:path>
              </a:pathLst>
            </a:custGeom>
            <a:grpFill/>
            <a:ln w="548" cap="flat">
              <a:noFill/>
              <a:prstDash val="solid"/>
              <a:miter/>
            </a:ln>
          </p:spPr>
          <p:txBody>
            <a:bodyPr/>
            <a:lstStyle/>
            <a:p>
              <a:endParaRPr lang="en-US"/>
            </a:p>
          </p:txBody>
        </p:sp>
        <p:sp>
          <p:nvSpPr>
            <p:cNvPr id="73" name="Freeform: Shape 72">
              <a:extLst>
                <a:ext uri="{FF2B5EF4-FFF2-40B4-BE49-F238E27FC236}">
                  <a16:creationId xmlns:a16="http://schemas.microsoft.com/office/drawing/2014/main" id="{673A0C8E-DCF1-F303-0EFF-D95474B2A2ED}"/>
                </a:ext>
              </a:extLst>
            </p:cNvPr>
            <p:cNvSpPr/>
            <p:nvPr/>
          </p:nvSpPr>
          <p:spPr>
            <a:xfrm flipV="1">
              <a:off x="26245143" y="3704845"/>
              <a:ext cx="20848" cy="52839"/>
            </a:xfrm>
            <a:custGeom>
              <a:avLst/>
              <a:gdLst>
                <a:gd name="csX0" fmla="*/ 9471 w 20848"/>
                <a:gd name="csY0" fmla="*/ 45981 h 52839"/>
                <a:gd name="csX1" fmla="*/ -11378 w 20848"/>
                <a:gd name="csY1" fmla="*/ 45981 h 52839"/>
                <a:gd name="csX2" fmla="*/ -11378 w 20848"/>
                <a:gd name="csY2" fmla="*/ -6858 h 52839"/>
                <a:gd name="csX3" fmla="*/ 9471 w 20848"/>
                <a:gd name="csY3" fmla="*/ -6858 h 52839"/>
                <a:gd name="csX4" fmla="*/ 9471 w 20848"/>
                <a:gd name="csY4" fmla="*/ 45981 h 52839"/>
              </a:gdLst>
              <a:ahLst/>
              <a:cxnLst>
                <a:cxn ang="0">
                  <a:pos x="csX0" y="csY0"/>
                </a:cxn>
                <a:cxn ang="0">
                  <a:pos x="csX1" y="csY1"/>
                </a:cxn>
                <a:cxn ang="0">
                  <a:pos x="csX2" y="csY2"/>
                </a:cxn>
                <a:cxn ang="0">
                  <a:pos x="csX3" y="csY3"/>
                </a:cxn>
                <a:cxn ang="0">
                  <a:pos x="csX4" y="csY4"/>
                </a:cxn>
              </a:cxnLst>
              <a:rect l="l" t="t" r="r" b="b"/>
              <a:pathLst>
                <a:path w="20848" h="52839">
                  <a:moveTo>
                    <a:pt x="9471" y="45981"/>
                  </a:moveTo>
                  <a:lnTo>
                    <a:pt x="-11378" y="45981"/>
                  </a:lnTo>
                  <a:lnTo>
                    <a:pt x="-11378" y="-6858"/>
                  </a:lnTo>
                  <a:lnTo>
                    <a:pt x="9471" y="-6858"/>
                  </a:lnTo>
                  <a:lnTo>
                    <a:pt x="9471" y="45981"/>
                  </a:lnTo>
                </a:path>
              </a:pathLst>
            </a:custGeom>
            <a:grpFill/>
            <a:ln w="548" cap="flat">
              <a:noFill/>
              <a:prstDash val="solid"/>
              <a:miter/>
            </a:ln>
          </p:spPr>
          <p:txBody>
            <a:bodyPr/>
            <a:lstStyle/>
            <a:p>
              <a:endParaRPr lang="en-US"/>
            </a:p>
          </p:txBody>
        </p:sp>
        <p:sp>
          <p:nvSpPr>
            <p:cNvPr id="74" name="Freeform: Shape 73">
              <a:extLst>
                <a:ext uri="{FF2B5EF4-FFF2-40B4-BE49-F238E27FC236}">
                  <a16:creationId xmlns:a16="http://schemas.microsoft.com/office/drawing/2014/main" id="{D47FB4B7-611D-18B0-EDD9-A5A813396123}"/>
                </a:ext>
              </a:extLst>
            </p:cNvPr>
            <p:cNvSpPr/>
            <p:nvPr/>
          </p:nvSpPr>
          <p:spPr>
            <a:xfrm flipV="1">
              <a:off x="26013343" y="3687508"/>
              <a:ext cx="273112" cy="17337"/>
            </a:xfrm>
            <a:custGeom>
              <a:avLst/>
              <a:gdLst>
                <a:gd name="csX0" fmla="*/ 261866 w 273112"/>
                <a:gd name="csY0" fmla="*/ 10395 h 17337"/>
                <a:gd name="csX1" fmla="*/ -11247 w 273112"/>
                <a:gd name="csY1" fmla="*/ 10395 h 17337"/>
                <a:gd name="csX2" fmla="*/ -11247 w 273112"/>
                <a:gd name="csY2" fmla="*/ -6943 h 17337"/>
                <a:gd name="csX3" fmla="*/ 261866 w 273112"/>
                <a:gd name="csY3" fmla="*/ -6943 h 17337"/>
                <a:gd name="csX4" fmla="*/ 261866 w 273112"/>
                <a:gd name="csY4" fmla="*/ 10395 h 17337"/>
              </a:gdLst>
              <a:ahLst/>
              <a:cxnLst>
                <a:cxn ang="0">
                  <a:pos x="csX0" y="csY0"/>
                </a:cxn>
                <a:cxn ang="0">
                  <a:pos x="csX1" y="csY1"/>
                </a:cxn>
                <a:cxn ang="0">
                  <a:pos x="csX2" y="csY2"/>
                </a:cxn>
                <a:cxn ang="0">
                  <a:pos x="csX3" y="csY3"/>
                </a:cxn>
                <a:cxn ang="0">
                  <a:pos x="csX4" y="csY4"/>
                </a:cxn>
              </a:cxnLst>
              <a:rect l="l" t="t" r="r" b="b"/>
              <a:pathLst>
                <a:path w="273112" h="17337">
                  <a:moveTo>
                    <a:pt x="261866" y="10395"/>
                  </a:moveTo>
                  <a:lnTo>
                    <a:pt x="-11247" y="10395"/>
                  </a:lnTo>
                  <a:lnTo>
                    <a:pt x="-11247" y="-6943"/>
                  </a:lnTo>
                  <a:lnTo>
                    <a:pt x="261866" y="-6943"/>
                  </a:lnTo>
                  <a:lnTo>
                    <a:pt x="261866" y="10395"/>
                  </a:lnTo>
                </a:path>
              </a:pathLst>
            </a:custGeom>
            <a:grpFill/>
            <a:ln w="548" cap="flat">
              <a:noFill/>
              <a:prstDash val="solid"/>
              <a:miter/>
            </a:ln>
          </p:spPr>
          <p:txBody>
            <a:bodyPr/>
            <a:lstStyle/>
            <a:p>
              <a:endParaRPr lang="en-US"/>
            </a:p>
          </p:txBody>
        </p:sp>
        <p:sp>
          <p:nvSpPr>
            <p:cNvPr id="75" name="Freeform: Shape 74">
              <a:extLst>
                <a:ext uri="{FF2B5EF4-FFF2-40B4-BE49-F238E27FC236}">
                  <a16:creationId xmlns:a16="http://schemas.microsoft.com/office/drawing/2014/main" id="{E7F9EDD2-7073-6A20-406A-3D877301D6A4}"/>
                </a:ext>
              </a:extLst>
            </p:cNvPr>
            <p:cNvSpPr/>
            <p:nvPr/>
          </p:nvSpPr>
          <p:spPr>
            <a:xfrm flipV="1">
              <a:off x="26086642" y="3393174"/>
              <a:ext cx="126516" cy="15899"/>
            </a:xfrm>
            <a:custGeom>
              <a:avLst/>
              <a:gdLst>
                <a:gd name="csX0" fmla="*/ 115270 w 126516"/>
                <a:gd name="csY0" fmla="*/ 8247 h 15899"/>
                <a:gd name="csX1" fmla="*/ -11247 w 126516"/>
                <a:gd name="csY1" fmla="*/ 8247 h 15899"/>
                <a:gd name="csX2" fmla="*/ -11247 w 126516"/>
                <a:gd name="csY2" fmla="*/ -7653 h 15899"/>
                <a:gd name="csX3" fmla="*/ 115270 w 126516"/>
                <a:gd name="csY3" fmla="*/ -7653 h 15899"/>
                <a:gd name="csX4" fmla="*/ 115270 w 126516"/>
                <a:gd name="csY4" fmla="*/ 8247 h 15899"/>
              </a:gdLst>
              <a:ahLst/>
              <a:cxnLst>
                <a:cxn ang="0">
                  <a:pos x="csX0" y="csY0"/>
                </a:cxn>
                <a:cxn ang="0">
                  <a:pos x="csX1" y="csY1"/>
                </a:cxn>
                <a:cxn ang="0">
                  <a:pos x="csX2" y="csY2"/>
                </a:cxn>
                <a:cxn ang="0">
                  <a:pos x="csX3" y="csY3"/>
                </a:cxn>
                <a:cxn ang="0">
                  <a:pos x="csX4" y="csY4"/>
                </a:cxn>
              </a:cxnLst>
              <a:rect l="l" t="t" r="r" b="b"/>
              <a:pathLst>
                <a:path w="126516" h="15899">
                  <a:moveTo>
                    <a:pt x="115270" y="8247"/>
                  </a:moveTo>
                  <a:lnTo>
                    <a:pt x="-11247" y="8247"/>
                  </a:lnTo>
                  <a:lnTo>
                    <a:pt x="-11247" y="-7653"/>
                  </a:lnTo>
                  <a:lnTo>
                    <a:pt x="115270" y="-7653"/>
                  </a:lnTo>
                  <a:lnTo>
                    <a:pt x="115270" y="8247"/>
                  </a:lnTo>
                </a:path>
              </a:pathLst>
            </a:custGeom>
            <a:grpFill/>
            <a:ln w="548" cap="flat">
              <a:noFill/>
              <a:prstDash val="solid"/>
              <a:miter/>
            </a:ln>
          </p:spPr>
          <p:txBody>
            <a:bodyPr/>
            <a:lstStyle/>
            <a:p>
              <a:endParaRPr lang="en-US"/>
            </a:p>
          </p:txBody>
        </p:sp>
        <p:sp>
          <p:nvSpPr>
            <p:cNvPr id="76" name="Freeform: Shape 75">
              <a:extLst>
                <a:ext uri="{FF2B5EF4-FFF2-40B4-BE49-F238E27FC236}">
                  <a16:creationId xmlns:a16="http://schemas.microsoft.com/office/drawing/2014/main" id="{40334B7E-DA56-673A-9A84-79543AE77CFA}"/>
                </a:ext>
              </a:extLst>
            </p:cNvPr>
            <p:cNvSpPr/>
            <p:nvPr/>
          </p:nvSpPr>
          <p:spPr>
            <a:xfrm flipV="1">
              <a:off x="26149900" y="3255454"/>
              <a:ext cx="1714" cy="137719"/>
            </a:xfrm>
            <a:custGeom>
              <a:avLst/>
              <a:gdLst>
                <a:gd name="csX0" fmla="*/ -11247 w 1714"/>
                <a:gd name="csY0" fmla="*/ -7837 h 137719"/>
                <a:gd name="csX1" fmla="*/ -11247 w 1714"/>
                <a:gd name="csY1" fmla="*/ 129883 h 137719"/>
                <a:gd name="csX2" fmla="*/ -11247 w 1714"/>
                <a:gd name="csY2" fmla="*/ -7837 h 137719"/>
              </a:gdLst>
              <a:ahLst/>
              <a:cxnLst>
                <a:cxn ang="0">
                  <a:pos x="csX0" y="csY0"/>
                </a:cxn>
                <a:cxn ang="0">
                  <a:pos x="csX1" y="csY1"/>
                </a:cxn>
                <a:cxn ang="0">
                  <a:pos x="csX2" y="csY2"/>
                </a:cxn>
              </a:cxnLst>
              <a:rect l="l" t="t" r="r" b="b"/>
              <a:pathLst>
                <a:path w="1714" h="137719">
                  <a:moveTo>
                    <a:pt x="-11247" y="-7837"/>
                  </a:moveTo>
                  <a:lnTo>
                    <a:pt x="-11247" y="129883"/>
                  </a:lnTo>
                  <a:lnTo>
                    <a:pt x="-11247" y="-7837"/>
                  </a:lnTo>
                </a:path>
              </a:pathLst>
            </a:custGeom>
            <a:grpFill/>
            <a:ln w="548" cap="flat">
              <a:noFill/>
              <a:prstDash val="solid"/>
              <a:miter/>
            </a:ln>
          </p:spPr>
          <p:txBody>
            <a:bodyPr/>
            <a:lstStyle/>
            <a:p>
              <a:endParaRPr lang="en-US"/>
            </a:p>
          </p:txBody>
        </p:sp>
        <p:sp>
          <p:nvSpPr>
            <p:cNvPr id="77" name="Freeform: Shape 76">
              <a:extLst>
                <a:ext uri="{FF2B5EF4-FFF2-40B4-BE49-F238E27FC236}">
                  <a16:creationId xmlns:a16="http://schemas.microsoft.com/office/drawing/2014/main" id="{F13C7984-1365-00E8-1067-0337E555847D}"/>
                </a:ext>
              </a:extLst>
            </p:cNvPr>
            <p:cNvSpPr/>
            <p:nvPr/>
          </p:nvSpPr>
          <p:spPr>
            <a:xfrm flipV="1">
              <a:off x="26148748" y="3254308"/>
              <a:ext cx="2303" cy="140007"/>
            </a:xfrm>
            <a:custGeom>
              <a:avLst/>
              <a:gdLst>
                <a:gd name="csX0" fmla="*/ -10095 w 2303"/>
                <a:gd name="csY0" fmla="*/ -7837 h 140007"/>
                <a:gd name="csX1" fmla="*/ -11247 w 2303"/>
                <a:gd name="csY1" fmla="*/ -6696 h 140007"/>
                <a:gd name="csX2" fmla="*/ -11247 w 2303"/>
                <a:gd name="csY2" fmla="*/ 131024 h 140007"/>
                <a:gd name="csX3" fmla="*/ -10095 w 2303"/>
                <a:gd name="csY3" fmla="*/ 132170 h 140007"/>
                <a:gd name="csX4" fmla="*/ -8943 w 2303"/>
                <a:gd name="csY4" fmla="*/ 131024 h 140007"/>
                <a:gd name="csX5" fmla="*/ -8943 w 2303"/>
                <a:gd name="csY5" fmla="*/ -6696 h 140007"/>
                <a:gd name="csX6" fmla="*/ -10095 w 2303"/>
                <a:gd name="csY6" fmla="*/ -7837 h 140007"/>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2303" h="140007">
                  <a:moveTo>
                    <a:pt x="-10095" y="-7837"/>
                  </a:moveTo>
                  <a:cubicBezTo>
                    <a:pt x="-10753" y="-7837"/>
                    <a:pt x="-11247" y="-7327"/>
                    <a:pt x="-11247" y="-6696"/>
                  </a:cubicBezTo>
                  <a:lnTo>
                    <a:pt x="-11247" y="131024"/>
                  </a:lnTo>
                  <a:cubicBezTo>
                    <a:pt x="-11247" y="131660"/>
                    <a:pt x="-10753" y="132170"/>
                    <a:pt x="-10095" y="132170"/>
                  </a:cubicBezTo>
                  <a:cubicBezTo>
                    <a:pt x="-9436" y="132170"/>
                    <a:pt x="-8943" y="131660"/>
                    <a:pt x="-8943" y="131024"/>
                  </a:cubicBezTo>
                  <a:lnTo>
                    <a:pt x="-8943" y="-6696"/>
                  </a:lnTo>
                  <a:cubicBezTo>
                    <a:pt x="-8943" y="-7327"/>
                    <a:pt x="-9436" y="-7837"/>
                    <a:pt x="-10095" y="-7837"/>
                  </a:cubicBezTo>
                </a:path>
              </a:pathLst>
            </a:custGeom>
            <a:grpFill/>
            <a:ln w="548" cap="flat">
              <a:noFill/>
              <a:prstDash val="solid"/>
              <a:miter/>
            </a:ln>
          </p:spPr>
          <p:txBody>
            <a:bodyPr/>
            <a:lstStyle/>
            <a:p>
              <a:endParaRPr lang="en-US"/>
            </a:p>
          </p:txBody>
        </p:sp>
        <p:sp>
          <p:nvSpPr>
            <p:cNvPr id="78" name="Freeform: Shape 77">
              <a:extLst>
                <a:ext uri="{FF2B5EF4-FFF2-40B4-BE49-F238E27FC236}">
                  <a16:creationId xmlns:a16="http://schemas.microsoft.com/office/drawing/2014/main" id="{5457B727-050F-B7DE-5BD8-516A8FB87D04}"/>
                </a:ext>
              </a:extLst>
            </p:cNvPr>
            <p:cNvSpPr/>
            <p:nvPr/>
          </p:nvSpPr>
          <p:spPr>
            <a:xfrm flipV="1">
              <a:off x="25026285" y="3192531"/>
              <a:ext cx="235531" cy="251156"/>
            </a:xfrm>
            <a:custGeom>
              <a:avLst/>
              <a:gdLst>
                <a:gd name="csX0" fmla="*/ 225532 w 235531"/>
                <a:gd name="csY0" fmla="*/ 243304 h 251156"/>
                <a:gd name="csX1" fmla="*/ -10000 w 235531"/>
                <a:gd name="csY1" fmla="*/ -7852 h 251156"/>
                <a:gd name="csX2" fmla="*/ 224379 w 235531"/>
                <a:gd name="csY2" fmla="*/ 73462 h 251156"/>
                <a:gd name="csX3" fmla="*/ 225532 w 235531"/>
                <a:gd name="csY3" fmla="*/ 73643 h 251156"/>
                <a:gd name="csX4" fmla="*/ 225532 w 235531"/>
                <a:gd name="csY4" fmla="*/ 243304 h 251156"/>
              </a:gdLst>
              <a:ahLst/>
              <a:cxnLst>
                <a:cxn ang="0">
                  <a:pos x="csX0" y="csY0"/>
                </a:cxn>
                <a:cxn ang="0">
                  <a:pos x="csX1" y="csY1"/>
                </a:cxn>
                <a:cxn ang="0">
                  <a:pos x="csX2" y="csY2"/>
                </a:cxn>
                <a:cxn ang="0">
                  <a:pos x="csX3" y="csY3"/>
                </a:cxn>
                <a:cxn ang="0">
                  <a:pos x="csX4" y="csY4"/>
                </a:cxn>
              </a:cxnLst>
              <a:rect l="l" t="t" r="r" b="b"/>
              <a:pathLst>
                <a:path w="235531" h="251156">
                  <a:moveTo>
                    <a:pt x="225532" y="243304"/>
                  </a:moveTo>
                  <a:lnTo>
                    <a:pt x="-10000" y="-7852"/>
                  </a:lnTo>
                  <a:lnTo>
                    <a:pt x="224379" y="73462"/>
                  </a:lnTo>
                  <a:cubicBezTo>
                    <a:pt x="224763" y="73593"/>
                    <a:pt x="225148" y="73637"/>
                    <a:pt x="225532" y="73643"/>
                  </a:cubicBezTo>
                  <a:lnTo>
                    <a:pt x="225532" y="243304"/>
                  </a:lnTo>
                </a:path>
              </a:pathLst>
            </a:custGeom>
            <a:grpFill/>
            <a:ln w="548" cap="flat">
              <a:noFill/>
              <a:prstDash val="solid"/>
              <a:miter/>
            </a:ln>
          </p:spPr>
          <p:txBody>
            <a:bodyPr/>
            <a:lstStyle/>
            <a:p>
              <a:endParaRPr lang="en-US"/>
            </a:p>
          </p:txBody>
        </p:sp>
        <p:sp>
          <p:nvSpPr>
            <p:cNvPr id="79" name="Freeform: Shape 78">
              <a:extLst>
                <a:ext uri="{FF2B5EF4-FFF2-40B4-BE49-F238E27FC236}">
                  <a16:creationId xmlns:a16="http://schemas.microsoft.com/office/drawing/2014/main" id="{F2D5F0AD-2D60-867B-1729-34AD3ED3E1DC}"/>
                </a:ext>
              </a:extLst>
            </p:cNvPr>
            <p:cNvSpPr/>
            <p:nvPr/>
          </p:nvSpPr>
          <p:spPr>
            <a:xfrm flipV="1">
              <a:off x="25029851" y="2983186"/>
              <a:ext cx="231965" cy="200544"/>
            </a:xfrm>
            <a:custGeom>
              <a:avLst/>
              <a:gdLst>
                <a:gd name="csX0" fmla="*/ 221963 w 231965"/>
                <a:gd name="csY0" fmla="*/ 192128 h 200544"/>
                <a:gd name="csX1" fmla="*/ -10002 w 231965"/>
                <a:gd name="csY1" fmla="*/ 100647 h 200544"/>
                <a:gd name="csX2" fmla="*/ 221963 w 231965"/>
                <a:gd name="csY2" fmla="*/ -8417 h 200544"/>
              </a:gdLst>
              <a:ahLst/>
              <a:cxnLst>
                <a:cxn ang="0">
                  <a:pos x="csX0" y="csY0"/>
                </a:cxn>
                <a:cxn ang="0">
                  <a:pos x="csX1" y="csY1"/>
                </a:cxn>
                <a:cxn ang="0">
                  <a:pos x="csX2" y="csY2"/>
                </a:cxn>
              </a:cxnLst>
              <a:rect l="l" t="t" r="r" b="b"/>
              <a:pathLst>
                <a:path w="231965" h="200544">
                  <a:moveTo>
                    <a:pt x="221963" y="192128"/>
                  </a:moveTo>
                  <a:lnTo>
                    <a:pt x="-10002" y="100647"/>
                  </a:lnTo>
                  <a:lnTo>
                    <a:pt x="221963" y="-8417"/>
                  </a:lnTo>
                  <a:close/>
                </a:path>
              </a:pathLst>
            </a:custGeom>
            <a:grpFill/>
            <a:ln w="548" cap="flat">
              <a:noFill/>
              <a:prstDash val="solid"/>
              <a:miter/>
            </a:ln>
          </p:spPr>
          <p:txBody>
            <a:bodyPr/>
            <a:lstStyle/>
            <a:p>
              <a:endParaRPr lang="en-US"/>
            </a:p>
          </p:txBody>
        </p:sp>
        <p:sp>
          <p:nvSpPr>
            <p:cNvPr id="80" name="Freeform: Shape 79">
              <a:extLst>
                <a:ext uri="{FF2B5EF4-FFF2-40B4-BE49-F238E27FC236}">
                  <a16:creationId xmlns:a16="http://schemas.microsoft.com/office/drawing/2014/main" id="{5CDF5B74-5846-45E9-1CA7-E5A70B45ADAE}"/>
                </a:ext>
              </a:extLst>
            </p:cNvPr>
            <p:cNvSpPr/>
            <p:nvPr/>
          </p:nvSpPr>
          <p:spPr>
            <a:xfrm flipV="1">
              <a:off x="24959899" y="3193656"/>
              <a:ext cx="291437" cy="254009"/>
            </a:xfrm>
            <a:custGeom>
              <a:avLst/>
              <a:gdLst>
                <a:gd name="csX0" fmla="*/ 281485 w 291437"/>
                <a:gd name="csY0" fmla="*/ 246163 h 254009"/>
                <a:gd name="csX1" fmla="*/ -9952 w 291437"/>
                <a:gd name="csY1" fmla="*/ 173589 h 254009"/>
                <a:gd name="csX2" fmla="*/ 43321 w 291437"/>
                <a:gd name="csY2" fmla="*/ -7846 h 254009"/>
              </a:gdLst>
              <a:ahLst/>
              <a:cxnLst>
                <a:cxn ang="0">
                  <a:pos x="csX0" y="csY0"/>
                </a:cxn>
                <a:cxn ang="0">
                  <a:pos x="csX1" y="csY1"/>
                </a:cxn>
                <a:cxn ang="0">
                  <a:pos x="csX2" y="csY2"/>
                </a:cxn>
              </a:cxnLst>
              <a:rect l="l" t="t" r="r" b="b"/>
              <a:pathLst>
                <a:path w="291437" h="254009">
                  <a:moveTo>
                    <a:pt x="281485" y="246163"/>
                  </a:moveTo>
                  <a:lnTo>
                    <a:pt x="-9952" y="173589"/>
                  </a:lnTo>
                  <a:lnTo>
                    <a:pt x="43321" y="-7846"/>
                  </a:lnTo>
                  <a:close/>
                </a:path>
              </a:pathLst>
            </a:custGeom>
            <a:grpFill/>
            <a:ln w="548" cap="flat">
              <a:noFill/>
              <a:prstDash val="solid"/>
              <a:miter/>
            </a:ln>
          </p:spPr>
          <p:txBody>
            <a:bodyPr/>
            <a:lstStyle/>
            <a:p>
              <a:endParaRPr lang="en-US"/>
            </a:p>
          </p:txBody>
        </p:sp>
        <p:sp>
          <p:nvSpPr>
            <p:cNvPr id="81" name="Freeform: Shape 80">
              <a:extLst>
                <a:ext uri="{FF2B5EF4-FFF2-40B4-BE49-F238E27FC236}">
                  <a16:creationId xmlns:a16="http://schemas.microsoft.com/office/drawing/2014/main" id="{7640D64A-149E-E1F0-4D22-BE6D2ACD91D7}"/>
                </a:ext>
              </a:extLst>
            </p:cNvPr>
            <p:cNvSpPr/>
            <p:nvPr/>
          </p:nvSpPr>
          <p:spPr>
            <a:xfrm flipV="1">
              <a:off x="25022828" y="3369242"/>
              <a:ext cx="238987" cy="210238"/>
            </a:xfrm>
            <a:custGeom>
              <a:avLst/>
              <a:gdLst>
                <a:gd name="csX0" fmla="*/ 228990 w 238987"/>
                <a:gd name="csY0" fmla="*/ -7476 h 210238"/>
                <a:gd name="csX1" fmla="*/ 228990 w 238987"/>
                <a:gd name="csY1" fmla="*/ 202763 h 210238"/>
                <a:gd name="csX2" fmla="*/ -9998 w 238987"/>
                <a:gd name="csY2" fmla="*/ 119858 h 210238"/>
              </a:gdLst>
              <a:ahLst/>
              <a:cxnLst>
                <a:cxn ang="0">
                  <a:pos x="csX0" y="csY0"/>
                </a:cxn>
                <a:cxn ang="0">
                  <a:pos x="csX1" y="csY1"/>
                </a:cxn>
                <a:cxn ang="0">
                  <a:pos x="csX2" y="csY2"/>
                </a:cxn>
              </a:cxnLst>
              <a:rect l="l" t="t" r="r" b="b"/>
              <a:pathLst>
                <a:path w="238987" h="210238">
                  <a:moveTo>
                    <a:pt x="228990" y="-7476"/>
                  </a:moveTo>
                  <a:lnTo>
                    <a:pt x="228990" y="202763"/>
                  </a:lnTo>
                  <a:lnTo>
                    <a:pt x="-9998" y="119858"/>
                  </a:lnTo>
                  <a:close/>
                </a:path>
              </a:pathLst>
            </a:custGeom>
            <a:grpFill/>
            <a:ln w="548" cap="flat">
              <a:noFill/>
              <a:prstDash val="solid"/>
              <a:miter/>
            </a:ln>
          </p:spPr>
          <p:txBody>
            <a:bodyPr/>
            <a:lstStyle/>
            <a:p>
              <a:endParaRPr lang="en-US"/>
            </a:p>
          </p:txBody>
        </p:sp>
        <p:sp>
          <p:nvSpPr>
            <p:cNvPr id="82" name="Freeform: Shape 81">
              <a:extLst>
                <a:ext uri="{FF2B5EF4-FFF2-40B4-BE49-F238E27FC236}">
                  <a16:creationId xmlns:a16="http://schemas.microsoft.com/office/drawing/2014/main" id="{2712C969-FD93-FFB3-1A25-6DD2CCC6636D}"/>
                </a:ext>
              </a:extLst>
            </p:cNvPr>
            <p:cNvSpPr/>
            <p:nvPr/>
          </p:nvSpPr>
          <p:spPr>
            <a:xfrm flipV="1">
              <a:off x="25015147" y="4008320"/>
              <a:ext cx="246668" cy="247288"/>
            </a:xfrm>
            <a:custGeom>
              <a:avLst/>
              <a:gdLst>
                <a:gd name="csX0" fmla="*/ 236676 w 246668"/>
                <a:gd name="csY0" fmla="*/ 241394 h 247288"/>
                <a:gd name="csX1" fmla="*/ -9993 w 246668"/>
                <a:gd name="csY1" fmla="*/ -5894 h 247288"/>
                <a:gd name="csX2" fmla="*/ 236072 w 246668"/>
                <a:gd name="csY2" fmla="*/ 37657 h 247288"/>
                <a:gd name="csX3" fmla="*/ 236676 w 246668"/>
                <a:gd name="csY3" fmla="*/ 37706 h 247288"/>
                <a:gd name="csX4" fmla="*/ 236676 w 246668"/>
                <a:gd name="csY4" fmla="*/ 241394 h 247288"/>
              </a:gdLst>
              <a:ahLst/>
              <a:cxnLst>
                <a:cxn ang="0">
                  <a:pos x="csX0" y="csY0"/>
                </a:cxn>
                <a:cxn ang="0">
                  <a:pos x="csX1" y="csY1"/>
                </a:cxn>
                <a:cxn ang="0">
                  <a:pos x="csX2" y="csY2"/>
                </a:cxn>
                <a:cxn ang="0">
                  <a:pos x="csX3" y="csY3"/>
                </a:cxn>
                <a:cxn ang="0">
                  <a:pos x="csX4" y="csY4"/>
                </a:cxn>
              </a:cxnLst>
              <a:rect l="l" t="t" r="r" b="b"/>
              <a:pathLst>
                <a:path w="246668" h="247288">
                  <a:moveTo>
                    <a:pt x="236676" y="241394"/>
                  </a:moveTo>
                  <a:lnTo>
                    <a:pt x="-9993" y="-5894"/>
                  </a:lnTo>
                  <a:lnTo>
                    <a:pt x="236072" y="37657"/>
                  </a:lnTo>
                  <a:cubicBezTo>
                    <a:pt x="236237" y="37695"/>
                    <a:pt x="236456" y="37706"/>
                    <a:pt x="236676" y="37706"/>
                  </a:cubicBezTo>
                  <a:lnTo>
                    <a:pt x="236676" y="241394"/>
                  </a:lnTo>
                </a:path>
              </a:pathLst>
            </a:custGeom>
            <a:grpFill/>
            <a:ln w="548" cap="flat">
              <a:noFill/>
              <a:prstDash val="solid"/>
              <a:miter/>
            </a:ln>
          </p:spPr>
          <p:txBody>
            <a:bodyPr/>
            <a:lstStyle/>
            <a:p>
              <a:endParaRPr lang="en-US"/>
            </a:p>
          </p:txBody>
        </p:sp>
        <p:sp>
          <p:nvSpPr>
            <p:cNvPr id="83" name="Freeform: Shape 82">
              <a:extLst>
                <a:ext uri="{FF2B5EF4-FFF2-40B4-BE49-F238E27FC236}">
                  <a16:creationId xmlns:a16="http://schemas.microsoft.com/office/drawing/2014/main" id="{94C4620C-A557-2529-52E2-9DB43A292F0C}"/>
                </a:ext>
              </a:extLst>
            </p:cNvPr>
            <p:cNvSpPr/>
            <p:nvPr/>
          </p:nvSpPr>
          <p:spPr>
            <a:xfrm flipV="1">
              <a:off x="25015916" y="3780009"/>
              <a:ext cx="245900" cy="219368"/>
            </a:xfrm>
            <a:custGeom>
              <a:avLst/>
              <a:gdLst>
                <a:gd name="csX0" fmla="*/ 235907 w 245900"/>
                <a:gd name="csY0" fmla="*/ -6477 h 219368"/>
                <a:gd name="csX1" fmla="*/ 235907 w 245900"/>
                <a:gd name="csY1" fmla="*/ 212891 h 219368"/>
                <a:gd name="csX2" fmla="*/ -9993 w 245900"/>
                <a:gd name="csY2" fmla="*/ 152513 h 219368"/>
              </a:gdLst>
              <a:ahLst/>
              <a:cxnLst>
                <a:cxn ang="0">
                  <a:pos x="csX0" y="csY0"/>
                </a:cxn>
                <a:cxn ang="0">
                  <a:pos x="csX1" y="csY1"/>
                </a:cxn>
                <a:cxn ang="0">
                  <a:pos x="csX2" y="csY2"/>
                </a:cxn>
              </a:cxnLst>
              <a:rect l="l" t="t" r="r" b="b"/>
              <a:pathLst>
                <a:path w="245900" h="219368">
                  <a:moveTo>
                    <a:pt x="235907" y="-6477"/>
                  </a:moveTo>
                  <a:lnTo>
                    <a:pt x="235907" y="212891"/>
                  </a:lnTo>
                  <a:lnTo>
                    <a:pt x="-9993" y="152513"/>
                  </a:lnTo>
                  <a:close/>
                </a:path>
              </a:pathLst>
            </a:custGeom>
            <a:grpFill/>
            <a:ln w="548" cap="flat">
              <a:noFill/>
              <a:prstDash val="solid"/>
              <a:miter/>
            </a:ln>
          </p:spPr>
          <p:txBody>
            <a:bodyPr/>
            <a:lstStyle/>
            <a:p>
              <a:endParaRPr lang="en-US"/>
            </a:p>
          </p:txBody>
        </p:sp>
        <p:sp>
          <p:nvSpPr>
            <p:cNvPr id="84" name="Freeform: Shape 83">
              <a:extLst>
                <a:ext uri="{FF2B5EF4-FFF2-40B4-BE49-F238E27FC236}">
                  <a16:creationId xmlns:a16="http://schemas.microsoft.com/office/drawing/2014/main" id="{9BD15454-9930-B849-C0D1-DF5EF385AD02}"/>
                </a:ext>
              </a:extLst>
            </p:cNvPr>
            <p:cNvSpPr/>
            <p:nvPr/>
          </p:nvSpPr>
          <p:spPr>
            <a:xfrm flipV="1">
              <a:off x="24949530" y="3588610"/>
              <a:ext cx="302190" cy="246586"/>
            </a:xfrm>
            <a:custGeom>
              <a:avLst/>
              <a:gdLst>
                <a:gd name="csX0" fmla="*/ 292245 w 302190"/>
                <a:gd name="csY0" fmla="*/ 239682 h 246586"/>
                <a:gd name="csX1" fmla="*/ -9946 w 302190"/>
                <a:gd name="csY1" fmla="*/ 186683 h 246586"/>
                <a:gd name="csX2" fmla="*/ 46783 w 302190"/>
                <a:gd name="csY2" fmla="*/ -6905 h 246586"/>
              </a:gdLst>
              <a:ahLst/>
              <a:cxnLst>
                <a:cxn ang="0">
                  <a:pos x="csX0" y="csY0"/>
                </a:cxn>
                <a:cxn ang="0">
                  <a:pos x="csX1" y="csY1"/>
                </a:cxn>
                <a:cxn ang="0">
                  <a:pos x="csX2" y="csY2"/>
                </a:cxn>
              </a:cxnLst>
              <a:rect l="l" t="t" r="r" b="b"/>
              <a:pathLst>
                <a:path w="302190" h="246586">
                  <a:moveTo>
                    <a:pt x="292245" y="239682"/>
                  </a:moveTo>
                  <a:lnTo>
                    <a:pt x="-9946" y="186683"/>
                  </a:lnTo>
                  <a:lnTo>
                    <a:pt x="46783" y="-6905"/>
                  </a:lnTo>
                  <a:close/>
                </a:path>
              </a:pathLst>
            </a:custGeom>
            <a:grpFill/>
            <a:ln w="548" cap="flat">
              <a:noFill/>
              <a:prstDash val="solid"/>
              <a:miter/>
            </a:ln>
          </p:spPr>
          <p:txBody>
            <a:bodyPr/>
            <a:lstStyle/>
            <a:p>
              <a:endParaRPr lang="en-US"/>
            </a:p>
          </p:txBody>
        </p:sp>
        <p:sp>
          <p:nvSpPr>
            <p:cNvPr id="85" name="Freeform: Shape 84">
              <a:extLst>
                <a:ext uri="{FF2B5EF4-FFF2-40B4-BE49-F238E27FC236}">
                  <a16:creationId xmlns:a16="http://schemas.microsoft.com/office/drawing/2014/main" id="{AB4A3964-5E76-BB9D-3E4C-C0EDFD7F6EA3}"/>
                </a:ext>
              </a:extLst>
            </p:cNvPr>
            <p:cNvSpPr/>
            <p:nvPr/>
          </p:nvSpPr>
          <p:spPr>
            <a:xfrm flipV="1">
              <a:off x="25018439" y="3588226"/>
              <a:ext cx="243377" cy="244479"/>
            </a:xfrm>
            <a:custGeom>
              <a:avLst/>
              <a:gdLst>
                <a:gd name="csX0" fmla="*/ 233382 w 243377"/>
                <a:gd name="csY0" fmla="*/ 237571 h 244479"/>
                <a:gd name="csX1" fmla="*/ -9995 w 243377"/>
                <a:gd name="csY1" fmla="*/ -6908 h 244479"/>
                <a:gd name="csX2" fmla="*/ 232559 w 243377"/>
                <a:gd name="csY2" fmla="*/ 52652 h 244479"/>
                <a:gd name="csX3" fmla="*/ 233382 w 243377"/>
                <a:gd name="csY3" fmla="*/ 52740 h 244479"/>
                <a:gd name="csX4" fmla="*/ 233382 w 243377"/>
                <a:gd name="csY4" fmla="*/ 237571 h 244479"/>
              </a:gdLst>
              <a:ahLst/>
              <a:cxnLst>
                <a:cxn ang="0">
                  <a:pos x="csX0" y="csY0"/>
                </a:cxn>
                <a:cxn ang="0">
                  <a:pos x="csX1" y="csY1"/>
                </a:cxn>
                <a:cxn ang="0">
                  <a:pos x="csX2" y="csY2"/>
                </a:cxn>
                <a:cxn ang="0">
                  <a:pos x="csX3" y="csY3"/>
                </a:cxn>
                <a:cxn ang="0">
                  <a:pos x="csX4" y="csY4"/>
                </a:cxn>
              </a:cxnLst>
              <a:rect l="l" t="t" r="r" b="b"/>
              <a:pathLst>
                <a:path w="243377" h="244479">
                  <a:moveTo>
                    <a:pt x="233382" y="237571"/>
                  </a:moveTo>
                  <a:lnTo>
                    <a:pt x="-9995" y="-6908"/>
                  </a:lnTo>
                  <a:lnTo>
                    <a:pt x="232559" y="52652"/>
                  </a:lnTo>
                  <a:cubicBezTo>
                    <a:pt x="232833" y="52718"/>
                    <a:pt x="233108" y="52740"/>
                    <a:pt x="233382" y="52740"/>
                  </a:cubicBezTo>
                  <a:lnTo>
                    <a:pt x="233382" y="237571"/>
                  </a:lnTo>
                </a:path>
              </a:pathLst>
            </a:custGeom>
            <a:grpFill/>
            <a:ln w="548" cap="flat">
              <a:noFill/>
              <a:prstDash val="solid"/>
              <a:miter/>
            </a:ln>
          </p:spPr>
          <p:txBody>
            <a:bodyPr/>
            <a:lstStyle/>
            <a:p>
              <a:endParaRPr lang="en-US"/>
            </a:p>
          </p:txBody>
        </p:sp>
        <p:sp>
          <p:nvSpPr>
            <p:cNvPr id="86" name="Freeform: Shape 85">
              <a:extLst>
                <a:ext uri="{FF2B5EF4-FFF2-40B4-BE49-F238E27FC236}">
                  <a16:creationId xmlns:a16="http://schemas.microsoft.com/office/drawing/2014/main" id="{9D5A6FCD-0BF4-2EC7-3909-4C1C1EED6942}"/>
                </a:ext>
              </a:extLst>
            </p:cNvPr>
            <p:cNvSpPr/>
            <p:nvPr/>
          </p:nvSpPr>
          <p:spPr>
            <a:xfrm flipV="1">
              <a:off x="25014544" y="4218916"/>
              <a:ext cx="247272" cy="195238"/>
            </a:xfrm>
            <a:custGeom>
              <a:avLst/>
              <a:gdLst>
                <a:gd name="csX0" fmla="*/ 237280 w 247272"/>
                <a:gd name="csY0" fmla="*/ -5450 h 195238"/>
                <a:gd name="csX1" fmla="*/ 237280 w 247272"/>
                <a:gd name="csY1" fmla="*/ 189789 h 195238"/>
                <a:gd name="csX2" fmla="*/ -9993 w 247272"/>
                <a:gd name="csY2" fmla="*/ 146029 h 195238"/>
              </a:gdLst>
              <a:ahLst/>
              <a:cxnLst>
                <a:cxn ang="0">
                  <a:pos x="csX0" y="csY0"/>
                </a:cxn>
                <a:cxn ang="0">
                  <a:pos x="csX1" y="csY1"/>
                </a:cxn>
                <a:cxn ang="0">
                  <a:pos x="csX2" y="csY2"/>
                </a:cxn>
              </a:cxnLst>
              <a:rect l="l" t="t" r="r" b="b"/>
              <a:pathLst>
                <a:path w="247272" h="195238">
                  <a:moveTo>
                    <a:pt x="237280" y="-5450"/>
                  </a:moveTo>
                  <a:lnTo>
                    <a:pt x="237280" y="189789"/>
                  </a:lnTo>
                  <a:lnTo>
                    <a:pt x="-9993" y="146029"/>
                  </a:lnTo>
                  <a:close/>
                </a:path>
              </a:pathLst>
            </a:custGeom>
            <a:grpFill/>
            <a:ln w="548" cap="flat">
              <a:noFill/>
              <a:prstDash val="solid"/>
              <a:miter/>
            </a:ln>
          </p:spPr>
          <p:txBody>
            <a:bodyPr/>
            <a:lstStyle/>
            <a:p>
              <a:endParaRPr lang="en-US"/>
            </a:p>
          </p:txBody>
        </p:sp>
        <p:sp>
          <p:nvSpPr>
            <p:cNvPr id="87" name="Freeform: Shape 86">
              <a:extLst>
                <a:ext uri="{FF2B5EF4-FFF2-40B4-BE49-F238E27FC236}">
                  <a16:creationId xmlns:a16="http://schemas.microsoft.com/office/drawing/2014/main" id="{4E2DFD76-86C0-4BA9-88AE-CFDB551C498C}"/>
                </a:ext>
              </a:extLst>
            </p:cNvPr>
            <p:cNvSpPr/>
            <p:nvPr/>
          </p:nvSpPr>
          <p:spPr>
            <a:xfrm flipV="1">
              <a:off x="24936802" y="3842274"/>
              <a:ext cx="315139" cy="195688"/>
            </a:xfrm>
            <a:custGeom>
              <a:avLst/>
              <a:gdLst>
                <a:gd name="csX0" fmla="*/ 59465 w 315139"/>
                <a:gd name="csY0" fmla="*/ 189333 h 195688"/>
                <a:gd name="csX1" fmla="*/ -9938 w 315139"/>
                <a:gd name="csY1" fmla="*/ -6356 h 195688"/>
                <a:gd name="csX2" fmla="*/ 305201 w 315139"/>
                <a:gd name="csY2" fmla="*/ 30441 h 195688"/>
              </a:gdLst>
              <a:ahLst/>
              <a:cxnLst>
                <a:cxn ang="0">
                  <a:pos x="csX0" y="csY0"/>
                </a:cxn>
                <a:cxn ang="0">
                  <a:pos x="csX1" y="csY1"/>
                </a:cxn>
                <a:cxn ang="0">
                  <a:pos x="csX2" y="csY2"/>
                </a:cxn>
              </a:cxnLst>
              <a:rect l="l" t="t" r="r" b="b"/>
              <a:pathLst>
                <a:path w="315139" h="195688">
                  <a:moveTo>
                    <a:pt x="59465" y="189333"/>
                  </a:moveTo>
                  <a:lnTo>
                    <a:pt x="-9938" y="-6356"/>
                  </a:lnTo>
                  <a:lnTo>
                    <a:pt x="305201" y="30441"/>
                  </a:lnTo>
                  <a:close/>
                </a:path>
              </a:pathLst>
            </a:custGeom>
            <a:grpFill/>
            <a:ln w="548" cap="flat">
              <a:noFill/>
              <a:prstDash val="solid"/>
              <a:miter/>
            </a:ln>
          </p:spPr>
          <p:txBody>
            <a:bodyPr/>
            <a:lstStyle/>
            <a:p>
              <a:endParaRPr lang="en-US"/>
            </a:p>
          </p:txBody>
        </p:sp>
        <p:sp>
          <p:nvSpPr>
            <p:cNvPr id="88" name="Freeform: Shape 87">
              <a:extLst>
                <a:ext uri="{FF2B5EF4-FFF2-40B4-BE49-F238E27FC236}">
                  <a16:creationId xmlns:a16="http://schemas.microsoft.com/office/drawing/2014/main" id="{09801482-9D1D-6F4B-298C-0053DE8EA756}"/>
                </a:ext>
              </a:extLst>
            </p:cNvPr>
            <p:cNvSpPr/>
            <p:nvPr/>
          </p:nvSpPr>
          <p:spPr>
            <a:xfrm flipV="1">
              <a:off x="24936582" y="4008013"/>
              <a:ext cx="315852" cy="249175"/>
            </a:xfrm>
            <a:custGeom>
              <a:avLst/>
              <a:gdLst>
                <a:gd name="csX0" fmla="*/ 305914 w 315852"/>
                <a:gd name="csY0" fmla="*/ 243283 h 249175"/>
                <a:gd name="csX1" fmla="*/ -9939 w 315852"/>
                <a:gd name="csY1" fmla="*/ 206398 h 249175"/>
                <a:gd name="csX2" fmla="*/ 57325 w 315852"/>
                <a:gd name="csY2" fmla="*/ -5893 h 249175"/>
              </a:gdLst>
              <a:ahLst/>
              <a:cxnLst>
                <a:cxn ang="0">
                  <a:pos x="csX0" y="csY0"/>
                </a:cxn>
                <a:cxn ang="0">
                  <a:pos x="csX1" y="csY1"/>
                </a:cxn>
                <a:cxn ang="0">
                  <a:pos x="csX2" y="csY2"/>
                </a:cxn>
              </a:cxnLst>
              <a:rect l="l" t="t" r="r" b="b"/>
              <a:pathLst>
                <a:path w="315852" h="249175">
                  <a:moveTo>
                    <a:pt x="305914" y="243283"/>
                  </a:moveTo>
                  <a:lnTo>
                    <a:pt x="-9939" y="206398"/>
                  </a:lnTo>
                  <a:lnTo>
                    <a:pt x="57325" y="-5893"/>
                  </a:lnTo>
                  <a:close/>
                </a:path>
              </a:pathLst>
            </a:custGeom>
            <a:grpFill/>
            <a:ln w="548" cap="flat">
              <a:noFill/>
              <a:prstDash val="solid"/>
              <a:miter/>
            </a:ln>
          </p:spPr>
          <p:txBody>
            <a:bodyPr/>
            <a:lstStyle/>
            <a:p>
              <a:endParaRPr lang="en-US"/>
            </a:p>
          </p:txBody>
        </p:sp>
        <p:sp>
          <p:nvSpPr>
            <p:cNvPr id="89" name="Freeform: Shape 88">
              <a:extLst>
                <a:ext uri="{FF2B5EF4-FFF2-40B4-BE49-F238E27FC236}">
                  <a16:creationId xmlns:a16="http://schemas.microsoft.com/office/drawing/2014/main" id="{46146B96-4F89-4E0D-9573-48A8DB799492}"/>
                </a:ext>
              </a:extLst>
            </p:cNvPr>
            <p:cNvSpPr/>
            <p:nvPr/>
          </p:nvSpPr>
          <p:spPr>
            <a:xfrm flipV="1">
              <a:off x="24935485" y="4264189"/>
              <a:ext cx="326331" cy="197274"/>
            </a:xfrm>
            <a:custGeom>
              <a:avLst/>
              <a:gdLst>
                <a:gd name="csX0" fmla="*/ 316388 w 326331"/>
                <a:gd name="csY0" fmla="*/ 34520 h 197274"/>
                <a:gd name="csX1" fmla="*/ 316333 w 326331"/>
                <a:gd name="csY1" fmla="*/ 34520 h 197274"/>
                <a:gd name="csX2" fmla="*/ 314577 w 326331"/>
                <a:gd name="csY2" fmla="*/ 35025 h 197274"/>
                <a:gd name="csX3" fmla="*/ 58472 w 326331"/>
                <a:gd name="csY3" fmla="*/ 191936 h 197274"/>
                <a:gd name="csX4" fmla="*/ -9944 w 326331"/>
                <a:gd name="csY4" fmla="*/ -5339 h 197274"/>
                <a:gd name="csX5" fmla="*/ 316388 w 326331"/>
                <a:gd name="csY5" fmla="*/ -5339 h 197274"/>
                <a:gd name="csX6" fmla="*/ 316388 w 326331"/>
                <a:gd name="csY6" fmla="*/ 34520 h 197274"/>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26331" h="197274">
                  <a:moveTo>
                    <a:pt x="316388" y="34520"/>
                  </a:moveTo>
                  <a:lnTo>
                    <a:pt x="316333" y="34520"/>
                  </a:lnTo>
                  <a:cubicBezTo>
                    <a:pt x="315729" y="34520"/>
                    <a:pt x="315126" y="34679"/>
                    <a:pt x="314577" y="35025"/>
                  </a:cubicBezTo>
                  <a:lnTo>
                    <a:pt x="58472" y="191936"/>
                  </a:lnTo>
                  <a:lnTo>
                    <a:pt x="-9944" y="-5339"/>
                  </a:lnTo>
                  <a:lnTo>
                    <a:pt x="316388" y="-5339"/>
                  </a:lnTo>
                  <a:lnTo>
                    <a:pt x="316388" y="34520"/>
                  </a:lnTo>
                </a:path>
              </a:pathLst>
            </a:custGeom>
            <a:grpFill/>
            <a:ln w="548" cap="flat">
              <a:noFill/>
              <a:prstDash val="solid"/>
              <a:miter/>
            </a:ln>
          </p:spPr>
          <p:txBody>
            <a:bodyPr/>
            <a:lstStyle/>
            <a:p>
              <a:endParaRPr lang="en-US"/>
            </a:p>
          </p:txBody>
        </p:sp>
        <p:sp>
          <p:nvSpPr>
            <p:cNvPr id="90" name="Freeform: Shape 89">
              <a:extLst>
                <a:ext uri="{FF2B5EF4-FFF2-40B4-BE49-F238E27FC236}">
                  <a16:creationId xmlns:a16="http://schemas.microsoft.com/office/drawing/2014/main" id="{6E5E1A4B-3FDD-9AE6-D5F3-3CDD0D70F747}"/>
                </a:ext>
              </a:extLst>
            </p:cNvPr>
            <p:cNvSpPr/>
            <p:nvPr/>
          </p:nvSpPr>
          <p:spPr>
            <a:xfrm flipV="1">
              <a:off x="24988319" y="2878149"/>
              <a:ext cx="273497" cy="157289"/>
            </a:xfrm>
            <a:custGeom>
              <a:avLst/>
              <a:gdLst>
                <a:gd name="csX0" fmla="*/ 262204 w 273497"/>
                <a:gd name="csY0" fmla="*/ 90226 h 157289"/>
                <a:gd name="csX1" fmla="*/ 263521 w 273497"/>
                <a:gd name="csY1" fmla="*/ 90462 h 157289"/>
                <a:gd name="csX2" fmla="*/ 263521 w 273497"/>
                <a:gd name="csY2" fmla="*/ 148568 h 157289"/>
                <a:gd name="csX3" fmla="*/ -9976 w 273497"/>
                <a:gd name="csY3" fmla="*/ 82056 h 157289"/>
                <a:gd name="csX4" fmla="*/ 13066 w 273497"/>
                <a:gd name="csY4" fmla="*/ -8722 h 157289"/>
                <a:gd name="csX5" fmla="*/ 262204 w 273497"/>
                <a:gd name="csY5" fmla="*/ 90226 h 157289"/>
              </a:gdLst>
              <a:ahLst/>
              <a:cxnLst>
                <a:cxn ang="0">
                  <a:pos x="csX0" y="csY0"/>
                </a:cxn>
                <a:cxn ang="0">
                  <a:pos x="csX1" y="csY1"/>
                </a:cxn>
                <a:cxn ang="0">
                  <a:pos x="csX2" y="csY2"/>
                </a:cxn>
                <a:cxn ang="0">
                  <a:pos x="csX3" y="csY3"/>
                </a:cxn>
                <a:cxn ang="0">
                  <a:pos x="csX4" y="csY4"/>
                </a:cxn>
                <a:cxn ang="0">
                  <a:pos x="csX5" y="csY5"/>
                </a:cxn>
              </a:cxnLst>
              <a:rect l="l" t="t" r="r" b="b"/>
              <a:pathLst>
                <a:path w="273497" h="157289">
                  <a:moveTo>
                    <a:pt x="262204" y="90226"/>
                  </a:moveTo>
                  <a:cubicBezTo>
                    <a:pt x="262643" y="90390"/>
                    <a:pt x="263081" y="90462"/>
                    <a:pt x="263521" y="90462"/>
                  </a:cubicBezTo>
                  <a:lnTo>
                    <a:pt x="263521" y="148568"/>
                  </a:lnTo>
                  <a:lnTo>
                    <a:pt x="-9976" y="82056"/>
                  </a:lnTo>
                  <a:lnTo>
                    <a:pt x="13066" y="-8722"/>
                  </a:lnTo>
                  <a:lnTo>
                    <a:pt x="262204" y="90226"/>
                  </a:lnTo>
                </a:path>
              </a:pathLst>
            </a:custGeom>
            <a:grpFill/>
            <a:ln w="548" cap="flat">
              <a:noFill/>
              <a:prstDash val="solid"/>
              <a:miter/>
            </a:ln>
          </p:spPr>
          <p:txBody>
            <a:bodyPr/>
            <a:lstStyle/>
            <a:p>
              <a:endParaRPr lang="en-US"/>
            </a:p>
          </p:txBody>
        </p:sp>
        <p:sp>
          <p:nvSpPr>
            <p:cNvPr id="91" name="Freeform: Shape 90">
              <a:extLst>
                <a:ext uri="{FF2B5EF4-FFF2-40B4-BE49-F238E27FC236}">
                  <a16:creationId xmlns:a16="http://schemas.microsoft.com/office/drawing/2014/main" id="{C1435BF2-4AB8-8ADE-F151-C61FCC19738C}"/>
                </a:ext>
              </a:extLst>
            </p:cNvPr>
            <p:cNvSpPr/>
            <p:nvPr/>
          </p:nvSpPr>
          <p:spPr>
            <a:xfrm flipV="1">
              <a:off x="25013008" y="2943366"/>
              <a:ext cx="248808" cy="127673"/>
            </a:xfrm>
            <a:custGeom>
              <a:avLst/>
              <a:gdLst>
                <a:gd name="csX0" fmla="*/ 238817 w 248808"/>
                <a:gd name="csY0" fmla="*/ 119074 h 127673"/>
                <a:gd name="csX1" fmla="*/ -9553 w 248808"/>
                <a:gd name="csY1" fmla="*/ 20461 h 127673"/>
                <a:gd name="csX2" fmla="*/ -9992 w 248808"/>
                <a:gd name="csY2" fmla="*/ 20335 h 127673"/>
                <a:gd name="csX3" fmla="*/ -2640 w 248808"/>
                <a:gd name="csY3" fmla="*/ -8600 h 127673"/>
                <a:gd name="csX4" fmla="*/ 237554 w 248808"/>
                <a:gd name="csY4" fmla="*/ 86128 h 127673"/>
                <a:gd name="csX5" fmla="*/ 238817 w 248808"/>
                <a:gd name="csY5" fmla="*/ 86358 h 127673"/>
                <a:gd name="csX6" fmla="*/ 238817 w 248808"/>
                <a:gd name="csY6" fmla="*/ 119074 h 127673"/>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248808" h="127673">
                  <a:moveTo>
                    <a:pt x="238817" y="119074"/>
                  </a:moveTo>
                  <a:lnTo>
                    <a:pt x="-9553" y="20461"/>
                  </a:lnTo>
                  <a:cubicBezTo>
                    <a:pt x="-9663" y="20406"/>
                    <a:pt x="-9827" y="20373"/>
                    <a:pt x="-9992" y="20335"/>
                  </a:cubicBezTo>
                  <a:lnTo>
                    <a:pt x="-2640" y="-8600"/>
                  </a:lnTo>
                  <a:lnTo>
                    <a:pt x="237554" y="86128"/>
                  </a:lnTo>
                  <a:cubicBezTo>
                    <a:pt x="237938" y="86292"/>
                    <a:pt x="238377" y="86358"/>
                    <a:pt x="238817" y="86358"/>
                  </a:cubicBezTo>
                  <a:lnTo>
                    <a:pt x="238817" y="119074"/>
                  </a:lnTo>
                </a:path>
              </a:pathLst>
            </a:custGeom>
            <a:grpFill/>
            <a:ln w="548" cap="flat">
              <a:noFill/>
              <a:prstDash val="solid"/>
              <a:miter/>
            </a:ln>
          </p:spPr>
          <p:txBody>
            <a:bodyPr/>
            <a:lstStyle/>
            <a:p>
              <a:endParaRPr lang="en-US"/>
            </a:p>
          </p:txBody>
        </p:sp>
        <p:sp>
          <p:nvSpPr>
            <p:cNvPr id="92" name="Freeform: Shape 91">
              <a:extLst>
                <a:ext uri="{FF2B5EF4-FFF2-40B4-BE49-F238E27FC236}">
                  <a16:creationId xmlns:a16="http://schemas.microsoft.com/office/drawing/2014/main" id="{87B4358A-A6C7-B756-D9E9-70D74963F8A7}"/>
                </a:ext>
              </a:extLst>
            </p:cNvPr>
            <p:cNvSpPr/>
            <p:nvPr/>
          </p:nvSpPr>
          <p:spPr>
            <a:xfrm flipV="1">
              <a:off x="24960229" y="3077673"/>
              <a:ext cx="291382" cy="181413"/>
            </a:xfrm>
            <a:custGeom>
              <a:avLst/>
              <a:gdLst>
                <a:gd name="csX0" fmla="*/ 49959 w 291382"/>
                <a:gd name="csY0" fmla="*/ 173201 h 181413"/>
                <a:gd name="csX1" fmla="*/ -9953 w 291382"/>
                <a:gd name="csY1" fmla="*/ -8213 h 181413"/>
                <a:gd name="csX2" fmla="*/ 281430 w 291382"/>
                <a:gd name="csY2" fmla="*/ 64350 h 181413"/>
              </a:gdLst>
              <a:ahLst/>
              <a:cxnLst>
                <a:cxn ang="0">
                  <a:pos x="csX0" y="csY0"/>
                </a:cxn>
                <a:cxn ang="0">
                  <a:pos x="csX1" y="csY1"/>
                </a:cxn>
                <a:cxn ang="0">
                  <a:pos x="csX2" y="csY2"/>
                </a:cxn>
              </a:cxnLst>
              <a:rect l="l" t="t" r="r" b="b"/>
              <a:pathLst>
                <a:path w="291382" h="181413">
                  <a:moveTo>
                    <a:pt x="49959" y="173201"/>
                  </a:moveTo>
                  <a:lnTo>
                    <a:pt x="-9953" y="-8213"/>
                  </a:lnTo>
                  <a:lnTo>
                    <a:pt x="281430" y="64350"/>
                  </a:lnTo>
                  <a:close/>
                </a:path>
              </a:pathLst>
            </a:custGeom>
            <a:grpFill/>
            <a:ln w="548" cap="flat">
              <a:noFill/>
              <a:prstDash val="solid"/>
              <a:miter/>
            </a:ln>
          </p:spPr>
          <p:txBody>
            <a:bodyPr/>
            <a:lstStyle/>
            <a:p>
              <a:endParaRPr lang="en-US"/>
            </a:p>
          </p:txBody>
        </p:sp>
        <p:sp>
          <p:nvSpPr>
            <p:cNvPr id="93" name="Freeform: Shape 92">
              <a:extLst>
                <a:ext uri="{FF2B5EF4-FFF2-40B4-BE49-F238E27FC236}">
                  <a16:creationId xmlns:a16="http://schemas.microsoft.com/office/drawing/2014/main" id="{11DFF685-52C4-EC5F-CBDC-488A2EB9AD7F}"/>
                </a:ext>
              </a:extLst>
            </p:cNvPr>
            <p:cNvSpPr/>
            <p:nvPr/>
          </p:nvSpPr>
          <p:spPr>
            <a:xfrm flipV="1">
              <a:off x="24949859" y="3454753"/>
              <a:ext cx="301532" cy="179833"/>
            </a:xfrm>
            <a:custGeom>
              <a:avLst/>
              <a:gdLst>
                <a:gd name="csX0" fmla="*/ 53312 w 301532"/>
                <a:gd name="csY0" fmla="*/ 172526 h 179833"/>
                <a:gd name="csX1" fmla="*/ -9946 w 301532"/>
                <a:gd name="csY1" fmla="*/ -7307 h 179833"/>
                <a:gd name="csX2" fmla="*/ 291587 w 301532"/>
                <a:gd name="csY2" fmla="*/ 45571 h 179833"/>
              </a:gdLst>
              <a:ahLst/>
              <a:cxnLst>
                <a:cxn ang="0">
                  <a:pos x="csX0" y="csY0"/>
                </a:cxn>
                <a:cxn ang="0">
                  <a:pos x="csX1" y="csY1"/>
                </a:cxn>
                <a:cxn ang="0">
                  <a:pos x="csX2" y="csY2"/>
                </a:cxn>
              </a:cxnLst>
              <a:rect l="l" t="t" r="r" b="b"/>
              <a:pathLst>
                <a:path w="301532" h="179833">
                  <a:moveTo>
                    <a:pt x="53312" y="172526"/>
                  </a:moveTo>
                  <a:lnTo>
                    <a:pt x="-9946" y="-7307"/>
                  </a:lnTo>
                  <a:lnTo>
                    <a:pt x="291587" y="45571"/>
                  </a:lnTo>
                  <a:close/>
                </a:path>
              </a:pathLst>
            </a:custGeom>
            <a:grpFill/>
            <a:ln w="548" cap="flat">
              <a:noFill/>
              <a:prstDash val="solid"/>
              <a:miter/>
            </a:ln>
          </p:spPr>
          <p:txBody>
            <a:bodyPr/>
            <a:lstStyle/>
            <a:p>
              <a:endParaRPr lang="en-US"/>
            </a:p>
          </p:txBody>
        </p:sp>
        <p:sp>
          <p:nvSpPr>
            <p:cNvPr id="94" name="Freeform: Shape 93">
              <a:extLst>
                <a:ext uri="{FF2B5EF4-FFF2-40B4-BE49-F238E27FC236}">
                  <a16:creationId xmlns:a16="http://schemas.microsoft.com/office/drawing/2014/main" id="{9B0F7A11-81CB-9508-4066-32170919E017}"/>
                </a:ext>
              </a:extLst>
            </p:cNvPr>
            <p:cNvSpPr/>
            <p:nvPr/>
          </p:nvSpPr>
          <p:spPr>
            <a:xfrm flipV="1">
              <a:off x="25286505" y="3196108"/>
              <a:ext cx="341912" cy="293176"/>
            </a:xfrm>
            <a:custGeom>
              <a:avLst/>
              <a:gdLst>
                <a:gd name="csX0" fmla="*/ 279294 w 341912"/>
                <a:gd name="csY0" fmla="*/ -7793 h 293176"/>
                <a:gd name="csX1" fmla="*/ 331524 w 341912"/>
                <a:gd name="csY1" fmla="*/ 158741 h 293176"/>
                <a:gd name="csX2" fmla="*/ 331359 w 341912"/>
                <a:gd name="csY2" fmla="*/ 158774 h 293176"/>
                <a:gd name="csX3" fmla="*/ -10388 w 341912"/>
                <a:gd name="csY3" fmla="*/ 285384 h 293176"/>
                <a:gd name="csX4" fmla="*/ 279294 w 341912"/>
                <a:gd name="csY4" fmla="*/ -7793 h 293176"/>
              </a:gdLst>
              <a:ahLst/>
              <a:cxnLst>
                <a:cxn ang="0">
                  <a:pos x="csX0" y="csY0"/>
                </a:cxn>
                <a:cxn ang="0">
                  <a:pos x="csX1" y="csY1"/>
                </a:cxn>
                <a:cxn ang="0">
                  <a:pos x="csX2" y="csY2"/>
                </a:cxn>
                <a:cxn ang="0">
                  <a:pos x="csX3" y="csY3"/>
                </a:cxn>
                <a:cxn ang="0">
                  <a:pos x="csX4" y="csY4"/>
                </a:cxn>
              </a:cxnLst>
              <a:rect l="l" t="t" r="r" b="b"/>
              <a:pathLst>
                <a:path w="341912" h="293176">
                  <a:moveTo>
                    <a:pt x="279294" y="-7793"/>
                  </a:moveTo>
                  <a:lnTo>
                    <a:pt x="331524" y="158741"/>
                  </a:lnTo>
                  <a:cubicBezTo>
                    <a:pt x="331469" y="158758"/>
                    <a:pt x="331414" y="158752"/>
                    <a:pt x="331359" y="158774"/>
                  </a:cubicBezTo>
                  <a:lnTo>
                    <a:pt x="-10388" y="285384"/>
                  </a:lnTo>
                  <a:lnTo>
                    <a:pt x="279294" y="-7793"/>
                  </a:lnTo>
                </a:path>
              </a:pathLst>
            </a:custGeom>
            <a:grpFill/>
            <a:ln w="548" cap="flat">
              <a:noFill/>
              <a:prstDash val="solid"/>
              <a:miter/>
            </a:ln>
          </p:spPr>
          <p:txBody>
            <a:bodyPr/>
            <a:lstStyle/>
            <a:p>
              <a:endParaRPr lang="en-US"/>
            </a:p>
          </p:txBody>
        </p:sp>
        <p:sp>
          <p:nvSpPr>
            <p:cNvPr id="95" name="Freeform: Shape 94">
              <a:extLst>
                <a:ext uri="{FF2B5EF4-FFF2-40B4-BE49-F238E27FC236}">
                  <a16:creationId xmlns:a16="http://schemas.microsoft.com/office/drawing/2014/main" id="{85664DBF-BFDC-9296-2101-51161B3038F6}"/>
                </a:ext>
              </a:extLst>
            </p:cNvPr>
            <p:cNvSpPr/>
            <p:nvPr/>
          </p:nvSpPr>
          <p:spPr>
            <a:xfrm flipV="1">
              <a:off x="25532460" y="3072840"/>
              <a:ext cx="54205" cy="63236"/>
            </a:xfrm>
            <a:custGeom>
              <a:avLst/>
              <a:gdLst>
                <a:gd name="csX0" fmla="*/ 43691 w 54205"/>
                <a:gd name="csY0" fmla="*/ 27883 h 63236"/>
                <a:gd name="csX1" fmla="*/ 43197 w 54205"/>
                <a:gd name="csY1" fmla="*/ 28047 h 63236"/>
                <a:gd name="csX2" fmla="*/ -10515 w 54205"/>
                <a:gd name="csY2" fmla="*/ 54870 h 63236"/>
                <a:gd name="csX3" fmla="*/ 31785 w 54205"/>
                <a:gd name="csY3" fmla="*/ -8366 h 63236"/>
                <a:gd name="csX4" fmla="*/ 43691 w 54205"/>
                <a:gd name="csY4" fmla="*/ 27883 h 63236"/>
              </a:gdLst>
              <a:ahLst/>
              <a:cxnLst>
                <a:cxn ang="0">
                  <a:pos x="csX0" y="csY0"/>
                </a:cxn>
                <a:cxn ang="0">
                  <a:pos x="csX1" y="csY1"/>
                </a:cxn>
                <a:cxn ang="0">
                  <a:pos x="csX2" y="csY2"/>
                </a:cxn>
                <a:cxn ang="0">
                  <a:pos x="csX3" y="csY3"/>
                </a:cxn>
                <a:cxn ang="0">
                  <a:pos x="csX4" y="csY4"/>
                </a:cxn>
              </a:cxnLst>
              <a:rect l="l" t="t" r="r" b="b"/>
              <a:pathLst>
                <a:path w="54205" h="63236">
                  <a:moveTo>
                    <a:pt x="43691" y="27883"/>
                  </a:moveTo>
                  <a:cubicBezTo>
                    <a:pt x="43526" y="27932"/>
                    <a:pt x="43362" y="27970"/>
                    <a:pt x="43197" y="28047"/>
                  </a:cubicBezTo>
                  <a:lnTo>
                    <a:pt x="-10515" y="54870"/>
                  </a:lnTo>
                  <a:lnTo>
                    <a:pt x="31785" y="-8366"/>
                  </a:lnTo>
                  <a:cubicBezTo>
                    <a:pt x="34144" y="-1141"/>
                    <a:pt x="39137" y="14265"/>
                    <a:pt x="43691" y="27883"/>
                  </a:cubicBezTo>
                </a:path>
              </a:pathLst>
            </a:custGeom>
            <a:grpFill/>
            <a:ln w="548" cap="flat">
              <a:noFill/>
              <a:prstDash val="solid"/>
              <a:miter/>
            </a:ln>
          </p:spPr>
          <p:txBody>
            <a:bodyPr/>
            <a:lstStyle/>
            <a:p>
              <a:endParaRPr lang="en-US"/>
            </a:p>
          </p:txBody>
        </p:sp>
        <p:sp>
          <p:nvSpPr>
            <p:cNvPr id="96" name="Freeform: Shape 95">
              <a:extLst>
                <a:ext uri="{FF2B5EF4-FFF2-40B4-BE49-F238E27FC236}">
                  <a16:creationId xmlns:a16="http://schemas.microsoft.com/office/drawing/2014/main" id="{46BEF673-2C4A-FB4A-2336-0DD6E29F7FE1}"/>
                </a:ext>
              </a:extLst>
            </p:cNvPr>
            <p:cNvSpPr/>
            <p:nvPr/>
          </p:nvSpPr>
          <p:spPr>
            <a:xfrm flipV="1">
              <a:off x="25273228" y="2943514"/>
              <a:ext cx="289736" cy="187217"/>
            </a:xfrm>
            <a:custGeom>
              <a:avLst/>
              <a:gdLst>
                <a:gd name="csX0" fmla="*/ 279397 w 289736"/>
                <a:gd name="csY0" fmla="*/ -8528 h 187217"/>
                <a:gd name="csX1" fmla="*/ 236493 w 289736"/>
                <a:gd name="csY1" fmla="*/ 55541 h 187217"/>
                <a:gd name="csX2" fmla="*/ -10340 w 289736"/>
                <a:gd name="csY2" fmla="*/ 178689 h 187217"/>
                <a:gd name="csX3" fmla="*/ -10340 w 289736"/>
                <a:gd name="csY3" fmla="*/ 146117 h 187217"/>
                <a:gd name="csX4" fmla="*/ -8749 w 289736"/>
                <a:gd name="csY4" fmla="*/ 145722 h 187217"/>
                <a:gd name="csX5" fmla="*/ 279397 w 289736"/>
                <a:gd name="csY5" fmla="*/ -8528 h 187217"/>
              </a:gdLst>
              <a:ahLst/>
              <a:cxnLst>
                <a:cxn ang="0">
                  <a:pos x="csX0" y="csY0"/>
                </a:cxn>
                <a:cxn ang="0">
                  <a:pos x="csX1" y="csY1"/>
                </a:cxn>
                <a:cxn ang="0">
                  <a:pos x="csX2" y="csY2"/>
                </a:cxn>
                <a:cxn ang="0">
                  <a:pos x="csX3" y="csY3"/>
                </a:cxn>
                <a:cxn ang="0">
                  <a:pos x="csX4" y="csY4"/>
                </a:cxn>
                <a:cxn ang="0">
                  <a:pos x="csX5" y="csY5"/>
                </a:cxn>
              </a:cxnLst>
              <a:rect l="l" t="t" r="r" b="b"/>
              <a:pathLst>
                <a:path w="289736" h="187217">
                  <a:moveTo>
                    <a:pt x="279397" y="-8528"/>
                  </a:moveTo>
                  <a:lnTo>
                    <a:pt x="236493" y="55541"/>
                  </a:lnTo>
                  <a:lnTo>
                    <a:pt x="-10340" y="178689"/>
                  </a:lnTo>
                  <a:lnTo>
                    <a:pt x="-10340" y="146117"/>
                  </a:lnTo>
                  <a:cubicBezTo>
                    <a:pt x="-9791" y="146117"/>
                    <a:pt x="-9242" y="146002"/>
                    <a:pt x="-8749" y="145722"/>
                  </a:cubicBezTo>
                  <a:lnTo>
                    <a:pt x="279397" y="-8528"/>
                  </a:lnTo>
                </a:path>
              </a:pathLst>
            </a:custGeom>
            <a:grpFill/>
            <a:ln w="548" cap="flat">
              <a:noFill/>
              <a:prstDash val="solid"/>
              <a:miter/>
            </a:ln>
          </p:spPr>
          <p:txBody>
            <a:bodyPr/>
            <a:lstStyle/>
            <a:p>
              <a:endParaRPr lang="en-US"/>
            </a:p>
          </p:txBody>
        </p:sp>
        <p:sp>
          <p:nvSpPr>
            <p:cNvPr id="97" name="Freeform: Shape 96">
              <a:extLst>
                <a:ext uri="{FF2B5EF4-FFF2-40B4-BE49-F238E27FC236}">
                  <a16:creationId xmlns:a16="http://schemas.microsoft.com/office/drawing/2014/main" id="{6D614C8D-0A5C-66CF-99F3-E9965836AA38}"/>
                </a:ext>
              </a:extLst>
            </p:cNvPr>
            <p:cNvSpPr/>
            <p:nvPr/>
          </p:nvSpPr>
          <p:spPr>
            <a:xfrm flipV="1">
              <a:off x="25273228" y="3780075"/>
              <a:ext cx="309926" cy="219702"/>
            </a:xfrm>
            <a:custGeom>
              <a:avLst/>
              <a:gdLst>
                <a:gd name="csX0" fmla="*/ -10352 w 309926"/>
                <a:gd name="csY0" fmla="*/ 213226 h 219702"/>
                <a:gd name="csX1" fmla="*/ -10352 w 309926"/>
                <a:gd name="csY1" fmla="*/ -6477 h 219702"/>
                <a:gd name="csX2" fmla="*/ 299574 w 309926"/>
                <a:gd name="csY2" fmla="*/ 114427 h 219702"/>
              </a:gdLst>
              <a:ahLst/>
              <a:cxnLst>
                <a:cxn ang="0">
                  <a:pos x="csX0" y="csY0"/>
                </a:cxn>
                <a:cxn ang="0">
                  <a:pos x="csX1" y="csY1"/>
                </a:cxn>
                <a:cxn ang="0">
                  <a:pos x="csX2" y="csY2"/>
                </a:cxn>
              </a:cxnLst>
              <a:rect l="l" t="t" r="r" b="b"/>
              <a:pathLst>
                <a:path w="309926" h="219702">
                  <a:moveTo>
                    <a:pt x="-10352" y="213226"/>
                  </a:moveTo>
                  <a:lnTo>
                    <a:pt x="-10352" y="-6477"/>
                  </a:lnTo>
                  <a:lnTo>
                    <a:pt x="299574" y="114427"/>
                  </a:lnTo>
                  <a:close/>
                </a:path>
              </a:pathLst>
            </a:custGeom>
            <a:grpFill/>
            <a:ln w="548" cap="flat">
              <a:noFill/>
              <a:prstDash val="solid"/>
              <a:miter/>
            </a:ln>
          </p:spPr>
          <p:txBody>
            <a:bodyPr/>
            <a:lstStyle/>
            <a:p>
              <a:endParaRPr lang="en-US"/>
            </a:p>
          </p:txBody>
        </p:sp>
        <p:sp>
          <p:nvSpPr>
            <p:cNvPr id="98" name="Freeform: Shape 97">
              <a:extLst>
                <a:ext uri="{FF2B5EF4-FFF2-40B4-BE49-F238E27FC236}">
                  <a16:creationId xmlns:a16="http://schemas.microsoft.com/office/drawing/2014/main" id="{DD33A81F-24B1-9681-B1D1-147BB8EFC968}"/>
                </a:ext>
              </a:extLst>
            </p:cNvPr>
            <p:cNvSpPr/>
            <p:nvPr/>
          </p:nvSpPr>
          <p:spPr>
            <a:xfrm flipV="1">
              <a:off x="25273228" y="3192399"/>
              <a:ext cx="287213" cy="290718"/>
            </a:xfrm>
            <a:custGeom>
              <a:avLst/>
              <a:gdLst>
                <a:gd name="csX0" fmla="*/ 276875 w 287213"/>
                <a:gd name="csY0" fmla="*/ -7805 h 290718"/>
                <a:gd name="csX1" fmla="*/ -10338 w 287213"/>
                <a:gd name="csY1" fmla="*/ 282914 h 290718"/>
                <a:gd name="csX2" fmla="*/ -10338 w 287213"/>
                <a:gd name="csY2" fmla="*/ 113132 h 290718"/>
                <a:gd name="csX3" fmla="*/ -9022 w 287213"/>
                <a:gd name="csY3" fmla="*/ 112863 h 290718"/>
                <a:gd name="csX4" fmla="*/ 276875 w 287213"/>
                <a:gd name="csY4" fmla="*/ -7805 h 290718"/>
              </a:gdLst>
              <a:ahLst/>
              <a:cxnLst>
                <a:cxn ang="0">
                  <a:pos x="csX0" y="csY0"/>
                </a:cxn>
                <a:cxn ang="0">
                  <a:pos x="csX1" y="csY1"/>
                </a:cxn>
                <a:cxn ang="0">
                  <a:pos x="csX2" y="csY2"/>
                </a:cxn>
                <a:cxn ang="0">
                  <a:pos x="csX3" y="csY3"/>
                </a:cxn>
                <a:cxn ang="0">
                  <a:pos x="csX4" y="csY4"/>
                </a:cxn>
              </a:cxnLst>
              <a:rect l="l" t="t" r="r" b="b"/>
              <a:pathLst>
                <a:path w="287213" h="290718">
                  <a:moveTo>
                    <a:pt x="276875" y="-7805"/>
                  </a:moveTo>
                  <a:lnTo>
                    <a:pt x="-10338" y="282914"/>
                  </a:lnTo>
                  <a:lnTo>
                    <a:pt x="-10338" y="113132"/>
                  </a:lnTo>
                  <a:cubicBezTo>
                    <a:pt x="-9899" y="113132"/>
                    <a:pt x="-9460" y="113044"/>
                    <a:pt x="-9022" y="112863"/>
                  </a:cubicBezTo>
                  <a:lnTo>
                    <a:pt x="276875" y="-7805"/>
                  </a:lnTo>
                </a:path>
              </a:pathLst>
            </a:custGeom>
            <a:grpFill/>
            <a:ln w="548" cap="flat">
              <a:noFill/>
              <a:prstDash val="solid"/>
              <a:miter/>
            </a:ln>
          </p:spPr>
          <p:txBody>
            <a:bodyPr/>
            <a:lstStyle/>
            <a:p>
              <a:endParaRPr lang="en-US"/>
            </a:p>
          </p:txBody>
        </p:sp>
        <p:sp>
          <p:nvSpPr>
            <p:cNvPr id="99" name="Freeform: Shape 98">
              <a:extLst>
                <a:ext uri="{FF2B5EF4-FFF2-40B4-BE49-F238E27FC236}">
                  <a16:creationId xmlns:a16="http://schemas.microsoft.com/office/drawing/2014/main" id="{0D07C721-6F0C-E7B9-33DA-50E76798A02B}"/>
                </a:ext>
              </a:extLst>
            </p:cNvPr>
            <p:cNvSpPr/>
            <p:nvPr/>
          </p:nvSpPr>
          <p:spPr>
            <a:xfrm flipV="1">
              <a:off x="25273228" y="3588029"/>
              <a:ext cx="306525" cy="282554"/>
            </a:xfrm>
            <a:custGeom>
              <a:avLst/>
              <a:gdLst>
                <a:gd name="csX0" fmla="*/ 296175 w 306525"/>
                <a:gd name="csY0" fmla="*/ -6863 h 282554"/>
                <a:gd name="csX1" fmla="*/ -10350 w 306525"/>
                <a:gd name="csY1" fmla="*/ 275692 h 282554"/>
                <a:gd name="csX2" fmla="*/ -10350 w 306525"/>
                <a:gd name="csY2" fmla="*/ 90658 h 282554"/>
                <a:gd name="csX3" fmla="*/ -9308 w 306525"/>
                <a:gd name="csY3" fmla="*/ 90510 h 282554"/>
                <a:gd name="csX4" fmla="*/ 296175 w 306525"/>
                <a:gd name="csY4" fmla="*/ -6863 h 282554"/>
              </a:gdLst>
              <a:ahLst/>
              <a:cxnLst>
                <a:cxn ang="0">
                  <a:pos x="csX0" y="csY0"/>
                </a:cxn>
                <a:cxn ang="0">
                  <a:pos x="csX1" y="csY1"/>
                </a:cxn>
                <a:cxn ang="0">
                  <a:pos x="csX2" y="csY2"/>
                </a:cxn>
                <a:cxn ang="0">
                  <a:pos x="csX3" y="csY3"/>
                </a:cxn>
                <a:cxn ang="0">
                  <a:pos x="csX4" y="csY4"/>
                </a:cxn>
              </a:cxnLst>
              <a:rect l="l" t="t" r="r" b="b"/>
              <a:pathLst>
                <a:path w="306525" h="282554">
                  <a:moveTo>
                    <a:pt x="296175" y="-6863"/>
                  </a:moveTo>
                  <a:lnTo>
                    <a:pt x="-10350" y="275692"/>
                  </a:lnTo>
                  <a:lnTo>
                    <a:pt x="-10350" y="90658"/>
                  </a:lnTo>
                  <a:cubicBezTo>
                    <a:pt x="-10021" y="90658"/>
                    <a:pt x="-9637" y="90625"/>
                    <a:pt x="-9308" y="90510"/>
                  </a:cubicBezTo>
                  <a:lnTo>
                    <a:pt x="296175" y="-6863"/>
                  </a:lnTo>
                </a:path>
              </a:pathLst>
            </a:custGeom>
            <a:grpFill/>
            <a:ln w="548" cap="flat">
              <a:noFill/>
              <a:prstDash val="solid"/>
              <a:miter/>
            </a:ln>
          </p:spPr>
          <p:txBody>
            <a:bodyPr/>
            <a:lstStyle/>
            <a:p>
              <a:endParaRPr lang="en-US"/>
            </a:p>
          </p:txBody>
        </p:sp>
        <p:sp>
          <p:nvSpPr>
            <p:cNvPr id="100" name="Freeform: Shape 99">
              <a:extLst>
                <a:ext uri="{FF2B5EF4-FFF2-40B4-BE49-F238E27FC236}">
                  <a16:creationId xmlns:a16="http://schemas.microsoft.com/office/drawing/2014/main" id="{C6E2DF51-9499-124B-B5E7-6554A7032E5E}"/>
                </a:ext>
              </a:extLst>
            </p:cNvPr>
            <p:cNvSpPr/>
            <p:nvPr/>
          </p:nvSpPr>
          <p:spPr>
            <a:xfrm flipV="1">
              <a:off x="25273228" y="2983389"/>
              <a:ext cx="285567" cy="200692"/>
            </a:xfrm>
            <a:custGeom>
              <a:avLst/>
              <a:gdLst>
                <a:gd name="csX0" fmla="*/ -10337 w 285567"/>
                <a:gd name="csY0" fmla="*/ 192276 h 200692"/>
                <a:gd name="csX1" fmla="*/ -10337 w 285567"/>
                <a:gd name="csY1" fmla="*/ -8416 h 200692"/>
                <a:gd name="csX2" fmla="*/ 275230 w 285567"/>
                <a:gd name="csY2" fmla="*/ 39365 h 200692"/>
                <a:gd name="csX3" fmla="*/ -10337 w 285567"/>
                <a:gd name="csY3" fmla="*/ 192276 h 200692"/>
              </a:gdLst>
              <a:ahLst/>
              <a:cxnLst>
                <a:cxn ang="0">
                  <a:pos x="csX0" y="csY0"/>
                </a:cxn>
                <a:cxn ang="0">
                  <a:pos x="csX1" y="csY1"/>
                </a:cxn>
                <a:cxn ang="0">
                  <a:pos x="csX2" y="csY2"/>
                </a:cxn>
                <a:cxn ang="0">
                  <a:pos x="csX3" y="csY3"/>
                </a:cxn>
              </a:cxnLst>
              <a:rect l="l" t="t" r="r" b="b"/>
              <a:pathLst>
                <a:path w="285567" h="200692">
                  <a:moveTo>
                    <a:pt x="-10337" y="192276"/>
                  </a:moveTo>
                  <a:lnTo>
                    <a:pt x="-10337" y="-8416"/>
                  </a:lnTo>
                  <a:cubicBezTo>
                    <a:pt x="-2437" y="-7862"/>
                    <a:pt x="173073" y="21913"/>
                    <a:pt x="275230" y="39365"/>
                  </a:cubicBezTo>
                  <a:lnTo>
                    <a:pt x="-10337" y="192276"/>
                  </a:lnTo>
                </a:path>
              </a:pathLst>
            </a:custGeom>
            <a:grpFill/>
            <a:ln w="548" cap="flat">
              <a:noFill/>
              <a:prstDash val="solid"/>
              <a:miter/>
            </a:ln>
          </p:spPr>
          <p:txBody>
            <a:bodyPr/>
            <a:lstStyle/>
            <a:p>
              <a:endParaRPr lang="en-US"/>
            </a:p>
          </p:txBody>
        </p:sp>
        <p:sp>
          <p:nvSpPr>
            <p:cNvPr id="101" name="Freeform: Shape 100">
              <a:extLst>
                <a:ext uri="{FF2B5EF4-FFF2-40B4-BE49-F238E27FC236}">
                  <a16:creationId xmlns:a16="http://schemas.microsoft.com/office/drawing/2014/main" id="{CBA54B74-532A-DC18-3D71-7967146C6C4E}"/>
                </a:ext>
              </a:extLst>
            </p:cNvPr>
            <p:cNvSpPr/>
            <p:nvPr/>
          </p:nvSpPr>
          <p:spPr>
            <a:xfrm flipV="1">
              <a:off x="25273228" y="3369336"/>
              <a:ext cx="291712" cy="210452"/>
            </a:xfrm>
            <a:custGeom>
              <a:avLst/>
              <a:gdLst>
                <a:gd name="csX0" fmla="*/ -10341 w 291712"/>
                <a:gd name="csY0" fmla="*/ 202977 h 210452"/>
                <a:gd name="csX1" fmla="*/ -10341 w 291712"/>
                <a:gd name="csY1" fmla="*/ -7476 h 210452"/>
                <a:gd name="csX2" fmla="*/ 281371 w 291712"/>
                <a:gd name="csY2" fmla="*/ 79868 h 210452"/>
              </a:gdLst>
              <a:ahLst/>
              <a:cxnLst>
                <a:cxn ang="0">
                  <a:pos x="csX0" y="csY0"/>
                </a:cxn>
                <a:cxn ang="0">
                  <a:pos x="csX1" y="csY1"/>
                </a:cxn>
                <a:cxn ang="0">
                  <a:pos x="csX2" y="csY2"/>
                </a:cxn>
              </a:cxnLst>
              <a:rect l="l" t="t" r="r" b="b"/>
              <a:pathLst>
                <a:path w="291712" h="210452">
                  <a:moveTo>
                    <a:pt x="-10341" y="202977"/>
                  </a:moveTo>
                  <a:lnTo>
                    <a:pt x="-10341" y="-7476"/>
                  </a:lnTo>
                  <a:lnTo>
                    <a:pt x="281371" y="79868"/>
                  </a:lnTo>
                  <a:close/>
                </a:path>
              </a:pathLst>
            </a:custGeom>
            <a:grpFill/>
            <a:ln w="548" cap="flat">
              <a:noFill/>
              <a:prstDash val="solid"/>
              <a:miter/>
            </a:ln>
          </p:spPr>
          <p:txBody>
            <a:bodyPr/>
            <a:lstStyle/>
            <a:p>
              <a:endParaRPr lang="en-US"/>
            </a:p>
          </p:txBody>
        </p:sp>
        <p:sp>
          <p:nvSpPr>
            <p:cNvPr id="102" name="Freeform: Shape 101">
              <a:extLst>
                <a:ext uri="{FF2B5EF4-FFF2-40B4-BE49-F238E27FC236}">
                  <a16:creationId xmlns:a16="http://schemas.microsoft.com/office/drawing/2014/main" id="{F4B0780E-327E-9F48-AD96-2089D6B4CAE5}"/>
                </a:ext>
              </a:extLst>
            </p:cNvPr>
            <p:cNvSpPr/>
            <p:nvPr/>
          </p:nvSpPr>
          <p:spPr>
            <a:xfrm flipV="1">
              <a:off x="25285791" y="3590289"/>
              <a:ext cx="350087" cy="284382"/>
            </a:xfrm>
            <a:custGeom>
              <a:avLst/>
              <a:gdLst>
                <a:gd name="csX0" fmla="*/ 298108 w 350087"/>
                <a:gd name="csY0" fmla="*/ -6855 h 284382"/>
                <a:gd name="csX1" fmla="*/ 339695 w 350087"/>
                <a:gd name="csY1" fmla="*/ 183512 h 284382"/>
                <a:gd name="csX2" fmla="*/ 339531 w 350087"/>
                <a:gd name="csY2" fmla="*/ 183534 h 284382"/>
                <a:gd name="csX3" fmla="*/ -10393 w 350087"/>
                <a:gd name="csY3" fmla="*/ 277527 h 284382"/>
                <a:gd name="csX4" fmla="*/ 298108 w 350087"/>
                <a:gd name="csY4" fmla="*/ -6855 h 284382"/>
              </a:gdLst>
              <a:ahLst/>
              <a:cxnLst>
                <a:cxn ang="0">
                  <a:pos x="csX0" y="csY0"/>
                </a:cxn>
                <a:cxn ang="0">
                  <a:pos x="csX1" y="csY1"/>
                </a:cxn>
                <a:cxn ang="0">
                  <a:pos x="csX2" y="csY2"/>
                </a:cxn>
                <a:cxn ang="0">
                  <a:pos x="csX3" y="csY3"/>
                </a:cxn>
                <a:cxn ang="0">
                  <a:pos x="csX4" y="csY4"/>
                </a:cxn>
              </a:cxnLst>
              <a:rect l="l" t="t" r="r" b="b"/>
              <a:pathLst>
                <a:path w="350087" h="284382">
                  <a:moveTo>
                    <a:pt x="298108" y="-6855"/>
                  </a:moveTo>
                  <a:lnTo>
                    <a:pt x="339695" y="183512"/>
                  </a:lnTo>
                  <a:cubicBezTo>
                    <a:pt x="339640" y="183522"/>
                    <a:pt x="339585" y="183512"/>
                    <a:pt x="339531" y="183534"/>
                  </a:cubicBezTo>
                  <a:lnTo>
                    <a:pt x="-10393" y="277527"/>
                  </a:lnTo>
                  <a:lnTo>
                    <a:pt x="298108" y="-6855"/>
                  </a:lnTo>
                </a:path>
              </a:pathLst>
            </a:custGeom>
            <a:grpFill/>
            <a:ln w="548" cap="flat">
              <a:noFill/>
              <a:prstDash val="solid"/>
              <a:miter/>
            </a:ln>
          </p:spPr>
          <p:txBody>
            <a:bodyPr/>
            <a:lstStyle/>
            <a:p>
              <a:endParaRPr lang="en-US"/>
            </a:p>
          </p:txBody>
        </p:sp>
        <p:sp>
          <p:nvSpPr>
            <p:cNvPr id="103" name="Freeform: Shape 102">
              <a:extLst>
                <a:ext uri="{FF2B5EF4-FFF2-40B4-BE49-F238E27FC236}">
                  <a16:creationId xmlns:a16="http://schemas.microsoft.com/office/drawing/2014/main" id="{CA6F7850-D529-6EC2-823B-12A537420173}"/>
                </a:ext>
              </a:extLst>
            </p:cNvPr>
            <p:cNvSpPr/>
            <p:nvPr/>
          </p:nvSpPr>
          <p:spPr>
            <a:xfrm flipV="1">
              <a:off x="25285024" y="4008732"/>
              <a:ext cx="348221" cy="248429"/>
            </a:xfrm>
            <a:custGeom>
              <a:avLst/>
              <a:gdLst>
                <a:gd name="csX0" fmla="*/ 291691 w 348221"/>
                <a:gd name="csY0" fmla="*/ -5892 h 248429"/>
                <a:gd name="csX1" fmla="*/ 337832 w 348221"/>
                <a:gd name="csY1" fmla="*/ 189391 h 248429"/>
                <a:gd name="csX2" fmla="*/ -10390 w 348221"/>
                <a:gd name="csY2" fmla="*/ 242538 h 248429"/>
              </a:gdLst>
              <a:ahLst/>
              <a:cxnLst>
                <a:cxn ang="0">
                  <a:pos x="csX0" y="csY0"/>
                </a:cxn>
                <a:cxn ang="0">
                  <a:pos x="csX1" y="csY1"/>
                </a:cxn>
                <a:cxn ang="0">
                  <a:pos x="csX2" y="csY2"/>
                </a:cxn>
              </a:cxnLst>
              <a:rect l="l" t="t" r="r" b="b"/>
              <a:pathLst>
                <a:path w="348221" h="248429">
                  <a:moveTo>
                    <a:pt x="291691" y="-5892"/>
                  </a:moveTo>
                  <a:lnTo>
                    <a:pt x="337832" y="189391"/>
                  </a:lnTo>
                  <a:lnTo>
                    <a:pt x="-10390" y="242538"/>
                  </a:lnTo>
                  <a:close/>
                </a:path>
              </a:pathLst>
            </a:custGeom>
            <a:grpFill/>
            <a:ln w="548" cap="flat">
              <a:noFill/>
              <a:prstDash val="solid"/>
              <a:miter/>
            </a:ln>
          </p:spPr>
          <p:txBody>
            <a:bodyPr/>
            <a:lstStyle/>
            <a:p>
              <a:endParaRPr lang="en-US"/>
            </a:p>
          </p:txBody>
        </p:sp>
        <p:sp>
          <p:nvSpPr>
            <p:cNvPr id="104" name="Freeform: Shape 103">
              <a:extLst>
                <a:ext uri="{FF2B5EF4-FFF2-40B4-BE49-F238E27FC236}">
                  <a16:creationId xmlns:a16="http://schemas.microsoft.com/office/drawing/2014/main" id="{0AEC4A88-5BBB-B561-3FEA-7410B3367B49}"/>
                </a:ext>
              </a:extLst>
            </p:cNvPr>
            <p:cNvSpPr/>
            <p:nvPr/>
          </p:nvSpPr>
          <p:spPr>
            <a:xfrm flipV="1">
              <a:off x="25273228" y="2878149"/>
              <a:ext cx="322606" cy="215165"/>
            </a:xfrm>
            <a:custGeom>
              <a:avLst/>
              <a:gdLst>
                <a:gd name="csX0" fmla="*/ 305273 w 322606"/>
                <a:gd name="csY0" fmla="*/ -8652 h 215165"/>
                <a:gd name="csX1" fmla="*/ 312240 w 322606"/>
                <a:gd name="csY1" fmla="*/ 10270 h 215165"/>
                <a:gd name="csX2" fmla="*/ -10360 w 322606"/>
                <a:gd name="csY2" fmla="*/ 206514 h 215165"/>
                <a:gd name="csX3" fmla="*/ -10360 w 322606"/>
                <a:gd name="csY3" fmla="*/ 148396 h 215165"/>
                <a:gd name="csX4" fmla="*/ -8824 w 322606"/>
                <a:gd name="csY4" fmla="*/ 148050 h 215165"/>
                <a:gd name="csX5" fmla="*/ 305273 w 322606"/>
                <a:gd name="csY5" fmla="*/ -8652 h 215165"/>
              </a:gdLst>
              <a:ahLst/>
              <a:cxnLst>
                <a:cxn ang="0">
                  <a:pos x="csX0" y="csY0"/>
                </a:cxn>
                <a:cxn ang="0">
                  <a:pos x="csX1" y="csY1"/>
                </a:cxn>
                <a:cxn ang="0">
                  <a:pos x="csX2" y="csY2"/>
                </a:cxn>
                <a:cxn ang="0">
                  <a:pos x="csX3" y="csY3"/>
                </a:cxn>
                <a:cxn ang="0">
                  <a:pos x="csX4" y="csY4"/>
                </a:cxn>
                <a:cxn ang="0">
                  <a:pos x="csX5" y="csY5"/>
                </a:cxn>
              </a:cxnLst>
              <a:rect l="l" t="t" r="r" b="b"/>
              <a:pathLst>
                <a:path w="322606" h="215165">
                  <a:moveTo>
                    <a:pt x="305273" y="-8652"/>
                  </a:moveTo>
                  <a:cubicBezTo>
                    <a:pt x="308784" y="1772"/>
                    <a:pt x="311692" y="9903"/>
                    <a:pt x="312240" y="10270"/>
                  </a:cubicBezTo>
                  <a:cubicBezTo>
                    <a:pt x="313831" y="11329"/>
                    <a:pt x="-10360" y="206514"/>
                    <a:pt x="-10360" y="206514"/>
                  </a:cubicBezTo>
                  <a:lnTo>
                    <a:pt x="-10360" y="148396"/>
                  </a:lnTo>
                  <a:cubicBezTo>
                    <a:pt x="-9866" y="148396"/>
                    <a:pt x="-9318" y="148297"/>
                    <a:pt x="-8824" y="148050"/>
                  </a:cubicBezTo>
                  <a:lnTo>
                    <a:pt x="305273" y="-8652"/>
                  </a:lnTo>
                </a:path>
              </a:pathLst>
            </a:custGeom>
            <a:grpFill/>
            <a:ln w="548" cap="flat">
              <a:noFill/>
              <a:prstDash val="solid"/>
              <a:miter/>
            </a:ln>
          </p:spPr>
          <p:txBody>
            <a:bodyPr/>
            <a:lstStyle/>
            <a:p>
              <a:endParaRPr lang="en-US"/>
            </a:p>
          </p:txBody>
        </p:sp>
        <p:sp>
          <p:nvSpPr>
            <p:cNvPr id="105" name="Freeform: Shape 104">
              <a:extLst>
                <a:ext uri="{FF2B5EF4-FFF2-40B4-BE49-F238E27FC236}">
                  <a16:creationId xmlns:a16="http://schemas.microsoft.com/office/drawing/2014/main" id="{EA5E6E28-D647-B55F-3B2E-3E103374DF6A}"/>
                </a:ext>
              </a:extLst>
            </p:cNvPr>
            <p:cNvSpPr/>
            <p:nvPr/>
          </p:nvSpPr>
          <p:spPr>
            <a:xfrm flipV="1">
              <a:off x="25273228" y="4218899"/>
              <a:ext cx="301752" cy="195442"/>
            </a:xfrm>
            <a:custGeom>
              <a:avLst/>
              <a:gdLst>
                <a:gd name="csX0" fmla="*/ -10347 w 301752"/>
                <a:gd name="csY0" fmla="*/ 189992 h 195442"/>
                <a:gd name="csX1" fmla="*/ -10347 w 301752"/>
                <a:gd name="csY1" fmla="*/ -5450 h 195442"/>
                <a:gd name="csX2" fmla="*/ 291405 w 301752"/>
                <a:gd name="csY2" fmla="*/ 146189 h 195442"/>
              </a:gdLst>
              <a:ahLst/>
              <a:cxnLst>
                <a:cxn ang="0">
                  <a:pos x="csX0" y="csY0"/>
                </a:cxn>
                <a:cxn ang="0">
                  <a:pos x="csX1" y="csY1"/>
                </a:cxn>
                <a:cxn ang="0">
                  <a:pos x="csX2" y="csY2"/>
                </a:cxn>
              </a:cxnLst>
              <a:rect l="l" t="t" r="r" b="b"/>
              <a:pathLst>
                <a:path w="301752" h="195442">
                  <a:moveTo>
                    <a:pt x="-10347" y="189992"/>
                  </a:moveTo>
                  <a:lnTo>
                    <a:pt x="-10347" y="-5450"/>
                  </a:lnTo>
                  <a:lnTo>
                    <a:pt x="291405" y="146189"/>
                  </a:lnTo>
                  <a:close/>
                </a:path>
              </a:pathLst>
            </a:custGeom>
            <a:grpFill/>
            <a:ln w="548" cap="flat">
              <a:noFill/>
              <a:prstDash val="solid"/>
              <a:miter/>
            </a:ln>
          </p:spPr>
          <p:txBody>
            <a:bodyPr/>
            <a:lstStyle/>
            <a:p>
              <a:endParaRPr lang="en-US"/>
            </a:p>
          </p:txBody>
        </p:sp>
        <p:sp>
          <p:nvSpPr>
            <p:cNvPr id="106" name="Freeform: Shape 105">
              <a:extLst>
                <a:ext uri="{FF2B5EF4-FFF2-40B4-BE49-F238E27FC236}">
                  <a16:creationId xmlns:a16="http://schemas.microsoft.com/office/drawing/2014/main" id="{D6EC700D-A7BB-319C-D1ED-BFE347B0E62C}"/>
                </a:ext>
              </a:extLst>
            </p:cNvPr>
            <p:cNvSpPr/>
            <p:nvPr/>
          </p:nvSpPr>
          <p:spPr>
            <a:xfrm flipV="1">
              <a:off x="25273228" y="4007898"/>
              <a:ext cx="301313" cy="247820"/>
            </a:xfrm>
            <a:custGeom>
              <a:avLst/>
              <a:gdLst>
                <a:gd name="csX0" fmla="*/ 290966 w 301313"/>
                <a:gd name="csY0" fmla="*/ -5895 h 247820"/>
                <a:gd name="csX1" fmla="*/ -10347 w 301313"/>
                <a:gd name="csY1" fmla="*/ 241926 h 247820"/>
                <a:gd name="csX2" fmla="*/ -10347 w 301313"/>
                <a:gd name="csY2" fmla="*/ 37810 h 247820"/>
                <a:gd name="csX3" fmla="*/ -9853 w 301313"/>
                <a:gd name="csY3" fmla="*/ 37783 h 247820"/>
                <a:gd name="csX4" fmla="*/ 290966 w 301313"/>
                <a:gd name="csY4" fmla="*/ -5895 h 247820"/>
              </a:gdLst>
              <a:ahLst/>
              <a:cxnLst>
                <a:cxn ang="0">
                  <a:pos x="csX0" y="csY0"/>
                </a:cxn>
                <a:cxn ang="0">
                  <a:pos x="csX1" y="csY1"/>
                </a:cxn>
                <a:cxn ang="0">
                  <a:pos x="csX2" y="csY2"/>
                </a:cxn>
                <a:cxn ang="0">
                  <a:pos x="csX3" y="csY3"/>
                </a:cxn>
                <a:cxn ang="0">
                  <a:pos x="csX4" y="csY4"/>
                </a:cxn>
              </a:cxnLst>
              <a:rect l="l" t="t" r="r" b="b"/>
              <a:pathLst>
                <a:path w="301313" h="247820">
                  <a:moveTo>
                    <a:pt x="290966" y="-5895"/>
                  </a:moveTo>
                  <a:lnTo>
                    <a:pt x="-10347" y="241926"/>
                  </a:lnTo>
                  <a:lnTo>
                    <a:pt x="-10347" y="37810"/>
                  </a:lnTo>
                  <a:cubicBezTo>
                    <a:pt x="-10182" y="37810"/>
                    <a:pt x="-10018" y="37816"/>
                    <a:pt x="-9853" y="37783"/>
                  </a:cubicBezTo>
                  <a:lnTo>
                    <a:pt x="290966" y="-5895"/>
                  </a:lnTo>
                </a:path>
              </a:pathLst>
            </a:custGeom>
            <a:grpFill/>
            <a:ln w="548" cap="flat">
              <a:noFill/>
              <a:prstDash val="solid"/>
              <a:miter/>
            </a:ln>
          </p:spPr>
          <p:txBody>
            <a:bodyPr/>
            <a:lstStyle/>
            <a:p>
              <a:endParaRPr lang="en-US"/>
            </a:p>
          </p:txBody>
        </p:sp>
        <p:sp>
          <p:nvSpPr>
            <p:cNvPr id="107" name="Freeform: Shape 106">
              <a:extLst>
                <a:ext uri="{FF2B5EF4-FFF2-40B4-BE49-F238E27FC236}">
                  <a16:creationId xmlns:a16="http://schemas.microsoft.com/office/drawing/2014/main" id="{31481DF0-BF86-27C4-E8A4-396CD224B67F}"/>
                </a:ext>
              </a:extLst>
            </p:cNvPr>
            <p:cNvSpPr/>
            <p:nvPr/>
          </p:nvSpPr>
          <p:spPr>
            <a:xfrm flipV="1">
              <a:off x="25273228" y="4264090"/>
              <a:ext cx="389808" cy="197373"/>
            </a:xfrm>
            <a:custGeom>
              <a:avLst/>
              <a:gdLst>
                <a:gd name="csX0" fmla="*/ 303859 w 389808"/>
                <a:gd name="csY0" fmla="*/ 192034 h 197373"/>
                <a:gd name="csX1" fmla="*/ -8866 w 389808"/>
                <a:gd name="csY1" fmla="*/ 34887 h 197373"/>
                <a:gd name="csX2" fmla="*/ -10402 w 389808"/>
                <a:gd name="csY2" fmla="*/ 34520 h 197373"/>
                <a:gd name="csX3" fmla="*/ -10402 w 389808"/>
                <a:gd name="csY3" fmla="*/ 34520 h 197373"/>
                <a:gd name="csX4" fmla="*/ -10402 w 389808"/>
                <a:gd name="csY4" fmla="*/ -5339 h 197373"/>
                <a:gd name="csX5" fmla="*/ 379407 w 389808"/>
                <a:gd name="csY5" fmla="*/ -5339 h 197373"/>
                <a:gd name="csX6" fmla="*/ 303859 w 389808"/>
                <a:gd name="csY6" fmla="*/ 192034 h 197373"/>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89808" h="197373">
                  <a:moveTo>
                    <a:pt x="303859" y="192034"/>
                  </a:moveTo>
                  <a:lnTo>
                    <a:pt x="-8866" y="34887"/>
                  </a:lnTo>
                  <a:cubicBezTo>
                    <a:pt x="-9359" y="34635"/>
                    <a:pt x="-9908" y="34520"/>
                    <a:pt x="-10402" y="34520"/>
                  </a:cubicBezTo>
                  <a:lnTo>
                    <a:pt x="-10402" y="34520"/>
                  </a:lnTo>
                  <a:lnTo>
                    <a:pt x="-10402" y="-5339"/>
                  </a:lnTo>
                  <a:lnTo>
                    <a:pt x="379407" y="-5339"/>
                  </a:lnTo>
                  <a:lnTo>
                    <a:pt x="303859" y="192034"/>
                  </a:lnTo>
                </a:path>
              </a:pathLst>
            </a:custGeom>
            <a:grpFill/>
            <a:ln w="548" cap="flat">
              <a:noFill/>
              <a:prstDash val="solid"/>
              <a:miter/>
            </a:ln>
          </p:spPr>
          <p:txBody>
            <a:bodyPr/>
            <a:lstStyle/>
            <a:p>
              <a:endParaRPr lang="en-US"/>
            </a:p>
          </p:txBody>
        </p:sp>
        <p:sp>
          <p:nvSpPr>
            <p:cNvPr id="108" name="Freeform: Shape 107">
              <a:extLst>
                <a:ext uri="{FF2B5EF4-FFF2-40B4-BE49-F238E27FC236}">
                  <a16:creationId xmlns:a16="http://schemas.microsoft.com/office/drawing/2014/main" id="{5EAD6885-32A6-02A9-2907-7ECC570F92C0}"/>
                </a:ext>
              </a:extLst>
            </p:cNvPr>
            <p:cNvSpPr/>
            <p:nvPr/>
          </p:nvSpPr>
          <p:spPr>
            <a:xfrm flipV="1">
              <a:off x="25286999" y="3141573"/>
              <a:ext cx="341144" cy="173792"/>
            </a:xfrm>
            <a:custGeom>
              <a:avLst/>
              <a:gdLst>
                <a:gd name="csX0" fmla="*/ 276989 w 341144"/>
                <a:gd name="csY0" fmla="*/ 163766 h 173792"/>
                <a:gd name="csX1" fmla="*/ 276057 w 341144"/>
                <a:gd name="csY1" fmla="*/ 163629 h 173792"/>
                <a:gd name="csX2" fmla="*/ 275014 w 341144"/>
                <a:gd name="csY2" fmla="*/ 163804 h 173792"/>
                <a:gd name="csX3" fmla="*/ 274411 w 341144"/>
                <a:gd name="csY3" fmla="*/ 164035 h 173792"/>
                <a:gd name="csX4" fmla="*/ 274411 w 341144"/>
                <a:gd name="csY4" fmla="*/ 164041 h 173792"/>
                <a:gd name="csX5" fmla="*/ 271284 w 341144"/>
                <a:gd name="csY5" fmla="*/ 165724 h 173792"/>
                <a:gd name="csX6" fmla="*/ -10388 w 341144"/>
                <a:gd name="csY6" fmla="*/ 118333 h 173792"/>
                <a:gd name="csX7" fmla="*/ 330756 w 341144"/>
                <a:gd name="csY7" fmla="*/ -8068 h 173792"/>
                <a:gd name="csX8" fmla="*/ 277044 w 341144"/>
                <a:gd name="csY8" fmla="*/ 163794 h 173792"/>
                <a:gd name="csX9" fmla="*/ 276989 w 341144"/>
                <a:gd name="csY9" fmla="*/ 163766 h 17379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Lst>
              <a:rect l="l" t="t" r="r" b="b"/>
              <a:pathLst>
                <a:path w="341144" h="173792">
                  <a:moveTo>
                    <a:pt x="276989" y="163766"/>
                  </a:moveTo>
                  <a:cubicBezTo>
                    <a:pt x="276660" y="163678"/>
                    <a:pt x="276386" y="163629"/>
                    <a:pt x="276057" y="163629"/>
                  </a:cubicBezTo>
                  <a:cubicBezTo>
                    <a:pt x="275673" y="163629"/>
                    <a:pt x="275343" y="163700"/>
                    <a:pt x="275014" y="163804"/>
                  </a:cubicBezTo>
                  <a:cubicBezTo>
                    <a:pt x="274794" y="163870"/>
                    <a:pt x="274630" y="163936"/>
                    <a:pt x="274411" y="164035"/>
                  </a:cubicBezTo>
                  <a:cubicBezTo>
                    <a:pt x="274411" y="164035"/>
                    <a:pt x="274411" y="164035"/>
                    <a:pt x="274411" y="164041"/>
                  </a:cubicBezTo>
                  <a:lnTo>
                    <a:pt x="271284" y="165724"/>
                  </a:lnTo>
                  <a:cubicBezTo>
                    <a:pt x="234031" y="159360"/>
                    <a:pt x="42939" y="126744"/>
                    <a:pt x="-10388" y="118333"/>
                  </a:cubicBezTo>
                  <a:lnTo>
                    <a:pt x="330756" y="-8068"/>
                  </a:lnTo>
                  <a:lnTo>
                    <a:pt x="277044" y="163794"/>
                  </a:lnTo>
                  <a:cubicBezTo>
                    <a:pt x="277044" y="163783"/>
                    <a:pt x="276989" y="163777"/>
                    <a:pt x="276989" y="163766"/>
                  </a:cubicBezTo>
                </a:path>
              </a:pathLst>
            </a:custGeom>
            <a:grpFill/>
            <a:ln w="548" cap="flat">
              <a:noFill/>
              <a:prstDash val="solid"/>
              <a:miter/>
            </a:ln>
          </p:spPr>
          <p:txBody>
            <a:bodyPr/>
            <a:lstStyle/>
            <a:p>
              <a:endParaRPr lang="en-US"/>
            </a:p>
          </p:txBody>
        </p:sp>
        <p:sp>
          <p:nvSpPr>
            <p:cNvPr id="109" name="Freeform: Shape 108">
              <a:extLst>
                <a:ext uri="{FF2B5EF4-FFF2-40B4-BE49-F238E27FC236}">
                  <a16:creationId xmlns:a16="http://schemas.microsoft.com/office/drawing/2014/main" id="{D699E681-DDEE-DB22-C418-40AE950393CE}"/>
                </a:ext>
              </a:extLst>
            </p:cNvPr>
            <p:cNvSpPr/>
            <p:nvPr/>
          </p:nvSpPr>
          <p:spPr>
            <a:xfrm flipV="1">
              <a:off x="25286395" y="3881930"/>
              <a:ext cx="346795" cy="173008"/>
            </a:xfrm>
            <a:custGeom>
              <a:avLst/>
              <a:gdLst>
                <a:gd name="csX0" fmla="*/ -10391 w 346795"/>
                <a:gd name="csY0" fmla="*/ 46651 h 173008"/>
                <a:gd name="csX1" fmla="*/ 336404 w 346795"/>
                <a:gd name="csY1" fmla="*/ -6288 h 173008"/>
                <a:gd name="csX2" fmla="*/ 297396 w 346795"/>
                <a:gd name="csY2" fmla="*/ 166720 h 173008"/>
              </a:gdLst>
              <a:ahLst/>
              <a:cxnLst>
                <a:cxn ang="0">
                  <a:pos x="csX0" y="csY0"/>
                </a:cxn>
                <a:cxn ang="0">
                  <a:pos x="csX1" y="csY1"/>
                </a:cxn>
                <a:cxn ang="0">
                  <a:pos x="csX2" y="csY2"/>
                </a:cxn>
              </a:cxnLst>
              <a:rect l="l" t="t" r="r" b="b"/>
              <a:pathLst>
                <a:path w="346795" h="173008">
                  <a:moveTo>
                    <a:pt x="-10391" y="46651"/>
                  </a:moveTo>
                  <a:lnTo>
                    <a:pt x="336404" y="-6288"/>
                  </a:lnTo>
                  <a:lnTo>
                    <a:pt x="297396" y="166720"/>
                  </a:lnTo>
                  <a:close/>
                </a:path>
              </a:pathLst>
            </a:custGeom>
            <a:grpFill/>
            <a:ln w="548" cap="flat">
              <a:noFill/>
              <a:prstDash val="solid"/>
              <a:miter/>
            </a:ln>
          </p:spPr>
          <p:txBody>
            <a:bodyPr/>
            <a:lstStyle/>
            <a:p>
              <a:endParaRPr lang="en-US"/>
            </a:p>
          </p:txBody>
        </p:sp>
        <p:sp>
          <p:nvSpPr>
            <p:cNvPr id="110" name="Freeform: Shape 109">
              <a:extLst>
                <a:ext uri="{FF2B5EF4-FFF2-40B4-BE49-F238E27FC236}">
                  <a16:creationId xmlns:a16="http://schemas.microsoft.com/office/drawing/2014/main" id="{1745F26A-6ADA-808E-E330-5DBFD8D13274}"/>
                </a:ext>
              </a:extLst>
            </p:cNvPr>
            <p:cNvSpPr/>
            <p:nvPr/>
          </p:nvSpPr>
          <p:spPr>
            <a:xfrm flipV="1">
              <a:off x="25285791" y="3496241"/>
              <a:ext cx="349538" cy="180842"/>
            </a:xfrm>
            <a:custGeom>
              <a:avLst/>
              <a:gdLst>
                <a:gd name="csX0" fmla="*/ 279838 w 349538"/>
                <a:gd name="csY0" fmla="*/ 173598 h 180842"/>
                <a:gd name="csX1" fmla="*/ -10392 w 349538"/>
                <a:gd name="csY1" fmla="*/ 86693 h 180842"/>
                <a:gd name="csX2" fmla="*/ 339147 w 349538"/>
                <a:gd name="csY2" fmla="*/ -7206 h 180842"/>
                <a:gd name="csX3" fmla="*/ 279894 w 349538"/>
                <a:gd name="csY3" fmla="*/ 173637 h 180842"/>
                <a:gd name="csX4" fmla="*/ 279838 w 349538"/>
                <a:gd name="csY4" fmla="*/ 173598 h 180842"/>
              </a:gdLst>
              <a:ahLst/>
              <a:cxnLst>
                <a:cxn ang="0">
                  <a:pos x="csX0" y="csY0"/>
                </a:cxn>
                <a:cxn ang="0">
                  <a:pos x="csX1" y="csY1"/>
                </a:cxn>
                <a:cxn ang="0">
                  <a:pos x="csX2" y="csY2"/>
                </a:cxn>
                <a:cxn ang="0">
                  <a:pos x="csX3" y="csY3"/>
                </a:cxn>
                <a:cxn ang="0">
                  <a:pos x="csX4" y="csY4"/>
                </a:cxn>
              </a:cxnLst>
              <a:rect l="l" t="t" r="r" b="b"/>
              <a:pathLst>
                <a:path w="349538" h="180842">
                  <a:moveTo>
                    <a:pt x="279838" y="173598"/>
                  </a:moveTo>
                  <a:lnTo>
                    <a:pt x="-10392" y="86693"/>
                  </a:lnTo>
                  <a:lnTo>
                    <a:pt x="339147" y="-7206"/>
                  </a:lnTo>
                  <a:lnTo>
                    <a:pt x="279894" y="173637"/>
                  </a:lnTo>
                  <a:cubicBezTo>
                    <a:pt x="279894" y="173625"/>
                    <a:pt x="279838" y="173609"/>
                    <a:pt x="279838" y="173598"/>
                  </a:cubicBezTo>
                </a:path>
              </a:pathLst>
            </a:custGeom>
            <a:grpFill/>
            <a:ln w="548" cap="flat">
              <a:noFill/>
              <a:prstDash val="solid"/>
              <a:miter/>
            </a:ln>
          </p:spPr>
          <p:txBody>
            <a:bodyPr/>
            <a:lstStyle/>
            <a:p>
              <a:endParaRPr lang="en-US"/>
            </a:p>
          </p:txBody>
        </p:sp>
        <p:sp>
          <p:nvSpPr>
            <p:cNvPr id="111" name="Freeform: Shape 110">
              <a:extLst>
                <a:ext uri="{FF2B5EF4-FFF2-40B4-BE49-F238E27FC236}">
                  <a16:creationId xmlns:a16="http://schemas.microsoft.com/office/drawing/2014/main" id="{558B9553-A1E4-4D2C-60BA-33DCB42316D2}"/>
                </a:ext>
              </a:extLst>
            </p:cNvPr>
            <p:cNvSpPr/>
            <p:nvPr/>
          </p:nvSpPr>
          <p:spPr>
            <a:xfrm flipV="1">
              <a:off x="25240968" y="4477462"/>
              <a:ext cx="48663" cy="32040"/>
            </a:xfrm>
            <a:custGeom>
              <a:avLst/>
              <a:gdLst>
                <a:gd name="csX0" fmla="*/ 14209 w 48663"/>
                <a:gd name="csY0" fmla="*/ -5024 h 32040"/>
                <a:gd name="csX1" fmla="*/ 38514 w 48663"/>
                <a:gd name="csY1" fmla="*/ 27016 h 32040"/>
                <a:gd name="csX2" fmla="*/ -10150 w 48663"/>
                <a:gd name="csY2" fmla="*/ 27016 h 32040"/>
              </a:gdLst>
              <a:ahLst/>
              <a:cxnLst>
                <a:cxn ang="0">
                  <a:pos x="csX0" y="csY0"/>
                </a:cxn>
                <a:cxn ang="0">
                  <a:pos x="csX1" y="csY1"/>
                </a:cxn>
                <a:cxn ang="0">
                  <a:pos x="csX2" y="csY2"/>
                </a:cxn>
              </a:cxnLst>
              <a:rect l="l" t="t" r="r" b="b"/>
              <a:pathLst>
                <a:path w="48663" h="32040">
                  <a:moveTo>
                    <a:pt x="14209" y="-5024"/>
                  </a:moveTo>
                  <a:lnTo>
                    <a:pt x="38514" y="27016"/>
                  </a:lnTo>
                  <a:lnTo>
                    <a:pt x="-10150" y="27016"/>
                  </a:lnTo>
                  <a:close/>
                </a:path>
              </a:pathLst>
            </a:custGeom>
            <a:grpFill/>
            <a:ln w="548" cap="flat">
              <a:noFill/>
              <a:prstDash val="solid"/>
              <a:miter/>
            </a:ln>
          </p:spPr>
          <p:txBody>
            <a:bodyPr/>
            <a:lstStyle/>
            <a:p>
              <a:endParaRPr lang="en-US"/>
            </a:p>
          </p:txBody>
        </p:sp>
        <p:sp>
          <p:nvSpPr>
            <p:cNvPr id="112" name="Freeform: Shape 111">
              <a:extLst>
                <a:ext uri="{FF2B5EF4-FFF2-40B4-BE49-F238E27FC236}">
                  <a16:creationId xmlns:a16="http://schemas.microsoft.com/office/drawing/2014/main" id="{A4E1CDF9-4EC8-F8E6-F8B8-83E5351732C5}"/>
                </a:ext>
              </a:extLst>
            </p:cNvPr>
            <p:cNvSpPr/>
            <p:nvPr/>
          </p:nvSpPr>
          <p:spPr>
            <a:xfrm flipV="1">
              <a:off x="25742425" y="4477462"/>
              <a:ext cx="81363" cy="53590"/>
            </a:xfrm>
            <a:custGeom>
              <a:avLst/>
              <a:gdLst>
                <a:gd name="csX0" fmla="*/ 70571 w 81363"/>
                <a:gd name="csY0" fmla="*/ 48593 h 53590"/>
                <a:gd name="csX1" fmla="*/ -10792 w 81363"/>
                <a:gd name="csY1" fmla="*/ 48593 h 53590"/>
                <a:gd name="csX2" fmla="*/ 29917 w 81363"/>
                <a:gd name="csY2" fmla="*/ -4998 h 53590"/>
              </a:gdLst>
              <a:ahLst/>
              <a:cxnLst>
                <a:cxn ang="0">
                  <a:pos x="csX0" y="csY0"/>
                </a:cxn>
                <a:cxn ang="0">
                  <a:pos x="csX1" y="csY1"/>
                </a:cxn>
                <a:cxn ang="0">
                  <a:pos x="csX2" y="csY2"/>
                </a:cxn>
              </a:cxnLst>
              <a:rect l="l" t="t" r="r" b="b"/>
              <a:pathLst>
                <a:path w="81363" h="53590">
                  <a:moveTo>
                    <a:pt x="70571" y="48593"/>
                  </a:moveTo>
                  <a:lnTo>
                    <a:pt x="-10792" y="48593"/>
                  </a:lnTo>
                  <a:lnTo>
                    <a:pt x="29917" y="-4998"/>
                  </a:lnTo>
                  <a:close/>
                </a:path>
              </a:pathLst>
            </a:custGeom>
            <a:grpFill/>
            <a:ln w="548" cap="flat">
              <a:noFill/>
              <a:prstDash val="solid"/>
              <a:miter/>
            </a:ln>
          </p:spPr>
          <p:txBody>
            <a:bodyPr/>
            <a:lstStyle/>
            <a:p>
              <a:endParaRPr lang="en-US"/>
            </a:p>
          </p:txBody>
        </p:sp>
        <p:sp>
          <p:nvSpPr>
            <p:cNvPr id="113" name="Freeform: Shape 112">
              <a:extLst>
                <a:ext uri="{FF2B5EF4-FFF2-40B4-BE49-F238E27FC236}">
                  <a16:creationId xmlns:a16="http://schemas.microsoft.com/office/drawing/2014/main" id="{A7AD024B-B12F-DAA7-21F6-182E2A7D1065}"/>
                </a:ext>
              </a:extLst>
            </p:cNvPr>
            <p:cNvSpPr/>
            <p:nvPr/>
          </p:nvSpPr>
          <p:spPr>
            <a:xfrm flipV="1">
              <a:off x="25620627" y="4647776"/>
              <a:ext cx="185220" cy="244040"/>
            </a:xfrm>
            <a:custGeom>
              <a:avLst/>
              <a:gdLst>
                <a:gd name="csX0" fmla="*/ 174515 w 185220"/>
                <a:gd name="csY0" fmla="*/ 102444 h 244040"/>
                <a:gd name="csX1" fmla="*/ 70384 w 185220"/>
                <a:gd name="csY1" fmla="*/ 239681 h 244040"/>
                <a:gd name="csX2" fmla="*/ -10705 w 185220"/>
                <a:gd name="csY2" fmla="*/ 132866 h 244040"/>
                <a:gd name="csX3" fmla="*/ 93481 w 185220"/>
                <a:gd name="csY3" fmla="*/ -4360 h 244040"/>
                <a:gd name="csX4" fmla="*/ 174515 w 185220"/>
                <a:gd name="csY4" fmla="*/ 102444 h 244040"/>
              </a:gdLst>
              <a:ahLst/>
              <a:cxnLst>
                <a:cxn ang="0">
                  <a:pos x="csX0" y="csY0"/>
                </a:cxn>
                <a:cxn ang="0">
                  <a:pos x="csX1" y="csY1"/>
                </a:cxn>
                <a:cxn ang="0">
                  <a:pos x="csX2" y="csY2"/>
                </a:cxn>
                <a:cxn ang="0">
                  <a:pos x="csX3" y="csY3"/>
                </a:cxn>
                <a:cxn ang="0">
                  <a:pos x="csX4" y="csY4"/>
                </a:cxn>
              </a:cxnLst>
              <a:rect l="l" t="t" r="r" b="b"/>
              <a:pathLst>
                <a:path w="185220" h="244040">
                  <a:moveTo>
                    <a:pt x="174515" y="102444"/>
                  </a:moveTo>
                  <a:lnTo>
                    <a:pt x="70384" y="239681"/>
                  </a:lnTo>
                  <a:lnTo>
                    <a:pt x="-10705" y="132866"/>
                  </a:lnTo>
                  <a:lnTo>
                    <a:pt x="93481" y="-4360"/>
                  </a:lnTo>
                  <a:lnTo>
                    <a:pt x="174515" y="102444"/>
                  </a:lnTo>
                </a:path>
              </a:pathLst>
            </a:custGeom>
            <a:grpFill/>
            <a:ln w="548" cap="flat">
              <a:noFill/>
              <a:prstDash val="solid"/>
              <a:miter/>
            </a:ln>
          </p:spPr>
          <p:txBody>
            <a:bodyPr/>
            <a:lstStyle/>
            <a:p>
              <a:endParaRPr lang="en-US"/>
            </a:p>
          </p:txBody>
        </p:sp>
        <p:sp>
          <p:nvSpPr>
            <p:cNvPr id="114" name="Freeform: Shape 113">
              <a:extLst>
                <a:ext uri="{FF2B5EF4-FFF2-40B4-BE49-F238E27FC236}">
                  <a16:creationId xmlns:a16="http://schemas.microsoft.com/office/drawing/2014/main" id="{D3A65FEB-A25F-AF0E-672E-A12EE48B5230}"/>
                </a:ext>
              </a:extLst>
            </p:cNvPr>
            <p:cNvSpPr/>
            <p:nvPr/>
          </p:nvSpPr>
          <p:spPr>
            <a:xfrm flipV="1">
              <a:off x="25579588" y="4477462"/>
              <a:ext cx="66166" cy="43567"/>
            </a:xfrm>
            <a:custGeom>
              <a:avLst/>
              <a:gdLst>
                <a:gd name="csX0" fmla="*/ 55586 w 66166"/>
                <a:gd name="csY0" fmla="*/ 38557 h 43567"/>
                <a:gd name="csX1" fmla="*/ -10581 w 66166"/>
                <a:gd name="csY1" fmla="*/ 38557 h 43567"/>
                <a:gd name="csX2" fmla="*/ 22503 w 66166"/>
                <a:gd name="csY2" fmla="*/ -5011 h 43567"/>
              </a:gdLst>
              <a:ahLst/>
              <a:cxnLst>
                <a:cxn ang="0">
                  <a:pos x="csX0" y="csY0"/>
                </a:cxn>
                <a:cxn ang="0">
                  <a:pos x="csX1" y="csY1"/>
                </a:cxn>
                <a:cxn ang="0">
                  <a:pos x="csX2" y="csY2"/>
                </a:cxn>
              </a:cxnLst>
              <a:rect l="l" t="t" r="r" b="b"/>
              <a:pathLst>
                <a:path w="66166" h="43567">
                  <a:moveTo>
                    <a:pt x="55586" y="38557"/>
                  </a:moveTo>
                  <a:lnTo>
                    <a:pt x="-10581" y="38557"/>
                  </a:lnTo>
                  <a:lnTo>
                    <a:pt x="22503" y="-5011"/>
                  </a:lnTo>
                  <a:close/>
                </a:path>
              </a:pathLst>
            </a:custGeom>
            <a:grpFill/>
            <a:ln w="548" cap="flat">
              <a:noFill/>
              <a:prstDash val="solid"/>
              <a:miter/>
            </a:ln>
          </p:spPr>
          <p:txBody>
            <a:bodyPr/>
            <a:lstStyle/>
            <a:p>
              <a:endParaRPr lang="en-US"/>
            </a:p>
          </p:txBody>
        </p:sp>
        <p:sp>
          <p:nvSpPr>
            <p:cNvPr id="115" name="Freeform: Shape 114">
              <a:extLst>
                <a:ext uri="{FF2B5EF4-FFF2-40B4-BE49-F238E27FC236}">
                  <a16:creationId xmlns:a16="http://schemas.microsoft.com/office/drawing/2014/main" id="{BE542AB3-897A-72A1-9639-DFF39A0B8319}"/>
                </a:ext>
              </a:extLst>
            </p:cNvPr>
            <p:cNvSpPr/>
            <p:nvPr/>
          </p:nvSpPr>
          <p:spPr>
            <a:xfrm flipV="1">
              <a:off x="25081972" y="4477462"/>
              <a:ext cx="179734" cy="160998"/>
            </a:xfrm>
            <a:custGeom>
              <a:avLst/>
              <a:gdLst>
                <a:gd name="csX0" fmla="*/ 142597 w 179734"/>
                <a:gd name="csY0" fmla="*/ 156129 h 160998"/>
                <a:gd name="csX1" fmla="*/ 25957 w 179734"/>
                <a:gd name="csY1" fmla="*/ 156129 h 160998"/>
                <a:gd name="csX2" fmla="*/ 25408 w 179734"/>
                <a:gd name="csY2" fmla="*/ 154401 h 160998"/>
                <a:gd name="csX3" fmla="*/ -10034 w 179734"/>
                <a:gd name="csY3" fmla="*/ 107701 h 160998"/>
                <a:gd name="csX4" fmla="*/ 75444 w 179734"/>
                <a:gd name="csY4" fmla="*/ -4869 h 160998"/>
                <a:gd name="csX5" fmla="*/ 169700 w 179734"/>
                <a:gd name="csY5" fmla="*/ 119359 h 160998"/>
                <a:gd name="csX6" fmla="*/ 143091 w 179734"/>
                <a:gd name="csY6" fmla="*/ 154401 h 160998"/>
                <a:gd name="csX7" fmla="*/ 142597 w 179734"/>
                <a:gd name="csY7" fmla="*/ 156129 h 16099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179734" h="160998">
                  <a:moveTo>
                    <a:pt x="142597" y="156129"/>
                  </a:moveTo>
                  <a:lnTo>
                    <a:pt x="25957" y="156129"/>
                  </a:lnTo>
                  <a:cubicBezTo>
                    <a:pt x="25957" y="155525"/>
                    <a:pt x="25792" y="154917"/>
                    <a:pt x="25408" y="154401"/>
                  </a:cubicBezTo>
                  <a:lnTo>
                    <a:pt x="-10034" y="107701"/>
                  </a:lnTo>
                  <a:lnTo>
                    <a:pt x="75444" y="-4869"/>
                  </a:lnTo>
                  <a:lnTo>
                    <a:pt x="169700" y="119359"/>
                  </a:lnTo>
                  <a:lnTo>
                    <a:pt x="143091" y="154401"/>
                  </a:lnTo>
                  <a:cubicBezTo>
                    <a:pt x="142707" y="154917"/>
                    <a:pt x="142597" y="155525"/>
                    <a:pt x="142597" y="156129"/>
                  </a:cubicBezTo>
                </a:path>
              </a:pathLst>
            </a:custGeom>
            <a:grpFill/>
            <a:ln w="548" cap="flat">
              <a:noFill/>
              <a:prstDash val="solid"/>
              <a:miter/>
            </a:ln>
          </p:spPr>
          <p:txBody>
            <a:bodyPr/>
            <a:lstStyle/>
            <a:p>
              <a:endParaRPr lang="en-US"/>
            </a:p>
          </p:txBody>
        </p:sp>
        <p:sp>
          <p:nvSpPr>
            <p:cNvPr id="116" name="Freeform: Shape 115">
              <a:extLst>
                <a:ext uri="{FF2B5EF4-FFF2-40B4-BE49-F238E27FC236}">
                  <a16:creationId xmlns:a16="http://schemas.microsoft.com/office/drawing/2014/main" id="{DB134D7F-C6D5-5AFD-C60F-266307A168C6}"/>
                </a:ext>
              </a:extLst>
            </p:cNvPr>
            <p:cNvSpPr/>
            <p:nvPr/>
          </p:nvSpPr>
          <p:spPr>
            <a:xfrm flipV="1">
              <a:off x="25442593" y="4477462"/>
              <a:ext cx="166512" cy="155100"/>
            </a:xfrm>
            <a:custGeom>
              <a:avLst/>
              <a:gdLst>
                <a:gd name="csX0" fmla="*/ 120158 w 166512"/>
                <a:gd name="csY0" fmla="*/ 150224 h 155100"/>
                <a:gd name="csX1" fmla="*/ 21018 w 166512"/>
                <a:gd name="csY1" fmla="*/ 150224 h 155100"/>
                <a:gd name="csX2" fmla="*/ 20470 w 166512"/>
                <a:gd name="csY2" fmla="*/ 148496 h 155100"/>
                <a:gd name="csX3" fmla="*/ -10473 w 166512"/>
                <a:gd name="csY3" fmla="*/ 107693 h 155100"/>
                <a:gd name="csX4" fmla="*/ 74950 w 166512"/>
                <a:gd name="csY4" fmla="*/ -4876 h 155100"/>
                <a:gd name="csX5" fmla="*/ 156039 w 166512"/>
                <a:gd name="csY5" fmla="*/ 101933 h 155100"/>
                <a:gd name="csX6" fmla="*/ 120652 w 166512"/>
                <a:gd name="csY6" fmla="*/ 148496 h 155100"/>
                <a:gd name="csX7" fmla="*/ 120158 w 166512"/>
                <a:gd name="csY7" fmla="*/ 150224 h 15510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166512" h="155100">
                  <a:moveTo>
                    <a:pt x="120158" y="150224"/>
                  </a:moveTo>
                  <a:lnTo>
                    <a:pt x="21018" y="150224"/>
                  </a:lnTo>
                  <a:cubicBezTo>
                    <a:pt x="21018" y="149620"/>
                    <a:pt x="20854" y="149012"/>
                    <a:pt x="20470" y="148496"/>
                  </a:cubicBezTo>
                  <a:lnTo>
                    <a:pt x="-10473" y="107693"/>
                  </a:lnTo>
                  <a:lnTo>
                    <a:pt x="74950" y="-4876"/>
                  </a:lnTo>
                  <a:lnTo>
                    <a:pt x="156039" y="101933"/>
                  </a:lnTo>
                  <a:lnTo>
                    <a:pt x="120652" y="148496"/>
                  </a:lnTo>
                  <a:cubicBezTo>
                    <a:pt x="120268" y="149012"/>
                    <a:pt x="120158" y="149620"/>
                    <a:pt x="120158" y="150224"/>
                  </a:cubicBezTo>
                </a:path>
              </a:pathLst>
            </a:custGeom>
            <a:grpFill/>
            <a:ln w="548" cap="flat">
              <a:noFill/>
              <a:prstDash val="solid"/>
              <a:miter/>
            </a:ln>
          </p:spPr>
          <p:txBody>
            <a:bodyPr/>
            <a:lstStyle/>
            <a:p>
              <a:endParaRPr lang="en-US"/>
            </a:p>
          </p:txBody>
        </p:sp>
        <p:sp>
          <p:nvSpPr>
            <p:cNvPr id="117" name="Freeform: Shape 116">
              <a:extLst>
                <a:ext uri="{FF2B5EF4-FFF2-40B4-BE49-F238E27FC236}">
                  <a16:creationId xmlns:a16="http://schemas.microsoft.com/office/drawing/2014/main" id="{719723A8-2901-C205-8145-87E207EDA84B}"/>
                </a:ext>
              </a:extLst>
            </p:cNvPr>
            <p:cNvSpPr/>
            <p:nvPr/>
          </p:nvSpPr>
          <p:spPr>
            <a:xfrm flipV="1">
              <a:off x="25268893" y="4477462"/>
              <a:ext cx="166512" cy="149339"/>
            </a:xfrm>
            <a:custGeom>
              <a:avLst/>
              <a:gdLst>
                <a:gd name="csX0" fmla="*/ 124763 w 166512"/>
                <a:gd name="csY0" fmla="*/ 144456 h 149339"/>
                <a:gd name="csX1" fmla="*/ 16845 w 166512"/>
                <a:gd name="csY1" fmla="*/ 144456 h 149339"/>
                <a:gd name="csX2" fmla="*/ 16351 w 166512"/>
                <a:gd name="csY2" fmla="*/ 142728 h 149339"/>
                <a:gd name="csX3" fmla="*/ -10258 w 166512"/>
                <a:gd name="csY3" fmla="*/ 107687 h 149339"/>
                <a:gd name="csX4" fmla="*/ 75166 w 166512"/>
                <a:gd name="csY4" fmla="*/ -4883 h 149339"/>
                <a:gd name="csX5" fmla="*/ 156254 w 166512"/>
                <a:gd name="csY5" fmla="*/ 101926 h 149339"/>
                <a:gd name="csX6" fmla="*/ 125256 w 166512"/>
                <a:gd name="csY6" fmla="*/ 142728 h 149339"/>
                <a:gd name="csX7" fmla="*/ 124763 w 166512"/>
                <a:gd name="csY7" fmla="*/ 144456 h 14933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166512" h="149339">
                  <a:moveTo>
                    <a:pt x="124763" y="144456"/>
                  </a:moveTo>
                  <a:lnTo>
                    <a:pt x="16845" y="144456"/>
                  </a:lnTo>
                  <a:cubicBezTo>
                    <a:pt x="16845" y="143853"/>
                    <a:pt x="16735" y="143244"/>
                    <a:pt x="16351" y="142728"/>
                  </a:cubicBezTo>
                  <a:lnTo>
                    <a:pt x="-10258" y="107687"/>
                  </a:lnTo>
                  <a:lnTo>
                    <a:pt x="75166" y="-4883"/>
                  </a:lnTo>
                  <a:lnTo>
                    <a:pt x="156254" y="101926"/>
                  </a:lnTo>
                  <a:lnTo>
                    <a:pt x="125256" y="142728"/>
                  </a:lnTo>
                  <a:cubicBezTo>
                    <a:pt x="124872" y="143244"/>
                    <a:pt x="124763" y="143853"/>
                    <a:pt x="124763" y="144456"/>
                  </a:cubicBezTo>
                </a:path>
              </a:pathLst>
            </a:custGeom>
            <a:grpFill/>
            <a:ln w="548" cap="flat">
              <a:noFill/>
              <a:prstDash val="solid"/>
              <a:miter/>
            </a:ln>
          </p:spPr>
          <p:txBody>
            <a:bodyPr/>
            <a:lstStyle/>
            <a:p>
              <a:endParaRPr lang="en-US"/>
            </a:p>
          </p:txBody>
        </p:sp>
        <p:sp>
          <p:nvSpPr>
            <p:cNvPr id="118" name="Freeform: Shape 117">
              <a:extLst>
                <a:ext uri="{FF2B5EF4-FFF2-40B4-BE49-F238E27FC236}">
                  <a16:creationId xmlns:a16="http://schemas.microsoft.com/office/drawing/2014/main" id="{BE5EF2EE-5CF9-D2F1-F144-54165FDD0914}"/>
                </a:ext>
              </a:extLst>
            </p:cNvPr>
            <p:cNvSpPr/>
            <p:nvPr/>
          </p:nvSpPr>
          <p:spPr>
            <a:xfrm flipV="1">
              <a:off x="25410278" y="4477462"/>
              <a:ext cx="57387" cy="37806"/>
            </a:xfrm>
            <a:custGeom>
              <a:avLst/>
              <a:gdLst>
                <a:gd name="csX0" fmla="*/ 18328 w 57387"/>
                <a:gd name="csY0" fmla="*/ -5017 h 37806"/>
                <a:gd name="csX1" fmla="*/ 47022 w 57387"/>
                <a:gd name="csY1" fmla="*/ 32789 h 37806"/>
                <a:gd name="csX2" fmla="*/ -10365 w 57387"/>
                <a:gd name="csY2" fmla="*/ 32789 h 37806"/>
              </a:gdLst>
              <a:ahLst/>
              <a:cxnLst>
                <a:cxn ang="0">
                  <a:pos x="csX0" y="csY0"/>
                </a:cxn>
                <a:cxn ang="0">
                  <a:pos x="csX1" y="csY1"/>
                </a:cxn>
                <a:cxn ang="0">
                  <a:pos x="csX2" y="csY2"/>
                </a:cxn>
              </a:cxnLst>
              <a:rect l="l" t="t" r="r" b="b"/>
              <a:pathLst>
                <a:path w="57387" h="37806">
                  <a:moveTo>
                    <a:pt x="18328" y="-5017"/>
                  </a:moveTo>
                  <a:lnTo>
                    <a:pt x="47022" y="32789"/>
                  </a:lnTo>
                  <a:lnTo>
                    <a:pt x="-10365" y="32789"/>
                  </a:lnTo>
                  <a:close/>
                </a:path>
              </a:pathLst>
            </a:custGeom>
            <a:grpFill/>
            <a:ln w="548" cap="flat">
              <a:noFill/>
              <a:prstDash val="solid"/>
              <a:miter/>
            </a:ln>
          </p:spPr>
          <p:txBody>
            <a:bodyPr/>
            <a:lstStyle/>
            <a:p>
              <a:endParaRPr lang="en-US"/>
            </a:p>
          </p:txBody>
        </p:sp>
        <p:sp>
          <p:nvSpPr>
            <p:cNvPr id="119" name="Freeform: Shape 118">
              <a:extLst>
                <a:ext uri="{FF2B5EF4-FFF2-40B4-BE49-F238E27FC236}">
                  <a16:creationId xmlns:a16="http://schemas.microsoft.com/office/drawing/2014/main" id="{2615AE8D-F885-E4A4-99CF-D1539133486E}"/>
                </a:ext>
              </a:extLst>
            </p:cNvPr>
            <p:cNvSpPr/>
            <p:nvPr/>
          </p:nvSpPr>
          <p:spPr>
            <a:xfrm flipV="1">
              <a:off x="25616238" y="4477462"/>
              <a:ext cx="163275" cy="160866"/>
            </a:xfrm>
            <a:custGeom>
              <a:avLst/>
              <a:gdLst>
                <a:gd name="csX0" fmla="*/ 24701 w 163275"/>
                <a:gd name="csY0" fmla="*/ 154269 h 160866"/>
                <a:gd name="csX1" fmla="*/ -10686 w 163275"/>
                <a:gd name="csY1" fmla="*/ 107706 h 160866"/>
                <a:gd name="csX2" fmla="*/ 74792 w 163275"/>
                <a:gd name="csY2" fmla="*/ -4869 h 160866"/>
                <a:gd name="csX3" fmla="*/ 152589 w 163275"/>
                <a:gd name="csY3" fmla="*/ 97677 h 160866"/>
                <a:gd name="csX4" fmla="*/ 109630 w 163275"/>
                <a:gd name="csY4" fmla="*/ 154269 h 160866"/>
                <a:gd name="csX5" fmla="*/ 109136 w 163275"/>
                <a:gd name="csY5" fmla="*/ 155997 h 160866"/>
                <a:gd name="csX6" fmla="*/ 25194 w 163275"/>
                <a:gd name="csY6" fmla="*/ 155997 h 160866"/>
                <a:gd name="csX7" fmla="*/ 24701 w 163275"/>
                <a:gd name="csY7" fmla="*/ 154269 h 16086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163275" h="160866">
                  <a:moveTo>
                    <a:pt x="24701" y="154269"/>
                  </a:moveTo>
                  <a:lnTo>
                    <a:pt x="-10686" y="107706"/>
                  </a:lnTo>
                  <a:lnTo>
                    <a:pt x="74792" y="-4869"/>
                  </a:lnTo>
                  <a:lnTo>
                    <a:pt x="152589" y="97677"/>
                  </a:lnTo>
                  <a:lnTo>
                    <a:pt x="109630" y="154269"/>
                  </a:lnTo>
                  <a:cubicBezTo>
                    <a:pt x="109246" y="154785"/>
                    <a:pt x="109136" y="155394"/>
                    <a:pt x="109136" y="155997"/>
                  </a:cubicBezTo>
                  <a:lnTo>
                    <a:pt x="25194" y="155997"/>
                  </a:lnTo>
                  <a:cubicBezTo>
                    <a:pt x="25194" y="155394"/>
                    <a:pt x="25085" y="154785"/>
                    <a:pt x="24701" y="154269"/>
                  </a:cubicBezTo>
                </a:path>
              </a:pathLst>
            </a:custGeom>
            <a:grpFill/>
            <a:ln w="548" cap="flat">
              <a:noFill/>
              <a:prstDash val="solid"/>
              <a:miter/>
            </a:ln>
          </p:spPr>
          <p:txBody>
            <a:bodyPr/>
            <a:lstStyle/>
            <a:p>
              <a:endParaRPr lang="en-US"/>
            </a:p>
          </p:txBody>
        </p:sp>
        <p:sp>
          <p:nvSpPr>
            <p:cNvPr id="120" name="Freeform: Shape 119">
              <a:extLst>
                <a:ext uri="{FF2B5EF4-FFF2-40B4-BE49-F238E27FC236}">
                  <a16:creationId xmlns:a16="http://schemas.microsoft.com/office/drawing/2014/main" id="{CDA07229-A5CA-CDFD-69D7-45EC5B68E53C}"/>
                </a:ext>
              </a:extLst>
            </p:cNvPr>
            <p:cNvSpPr/>
            <p:nvPr/>
          </p:nvSpPr>
          <p:spPr>
            <a:xfrm flipV="1">
              <a:off x="25531582" y="4530483"/>
              <a:ext cx="166512" cy="219379"/>
            </a:xfrm>
            <a:custGeom>
              <a:avLst/>
              <a:gdLst>
                <a:gd name="csX0" fmla="*/ 155929 w 166512"/>
                <a:gd name="csY0" fmla="*/ 102138 h 219379"/>
                <a:gd name="csX1" fmla="*/ 70506 w 166512"/>
                <a:gd name="csY1" fmla="*/ 214708 h 219379"/>
                <a:gd name="csX2" fmla="*/ -10583 w 166512"/>
                <a:gd name="csY2" fmla="*/ 107899 h 219379"/>
                <a:gd name="csX3" fmla="*/ 74895 w 166512"/>
                <a:gd name="csY3" fmla="*/ -4671 h 219379"/>
                <a:gd name="csX4" fmla="*/ 155929 w 166512"/>
                <a:gd name="csY4" fmla="*/ 102138 h 219379"/>
              </a:gdLst>
              <a:ahLst/>
              <a:cxnLst>
                <a:cxn ang="0">
                  <a:pos x="csX0" y="csY0"/>
                </a:cxn>
                <a:cxn ang="0">
                  <a:pos x="csX1" y="csY1"/>
                </a:cxn>
                <a:cxn ang="0">
                  <a:pos x="csX2" y="csY2"/>
                </a:cxn>
                <a:cxn ang="0">
                  <a:pos x="csX3" y="csY3"/>
                </a:cxn>
                <a:cxn ang="0">
                  <a:pos x="csX4" y="csY4"/>
                </a:cxn>
              </a:cxnLst>
              <a:rect l="l" t="t" r="r" b="b"/>
              <a:pathLst>
                <a:path w="166512" h="219379">
                  <a:moveTo>
                    <a:pt x="155929" y="102138"/>
                  </a:moveTo>
                  <a:lnTo>
                    <a:pt x="70506" y="214708"/>
                  </a:lnTo>
                  <a:lnTo>
                    <a:pt x="-10583" y="107899"/>
                  </a:lnTo>
                  <a:lnTo>
                    <a:pt x="74895" y="-4671"/>
                  </a:lnTo>
                  <a:lnTo>
                    <a:pt x="155929" y="102138"/>
                  </a:lnTo>
                </a:path>
              </a:pathLst>
            </a:custGeom>
            <a:grpFill/>
            <a:ln w="548" cap="flat">
              <a:noFill/>
              <a:prstDash val="solid"/>
              <a:miter/>
            </a:ln>
          </p:spPr>
          <p:txBody>
            <a:bodyPr/>
            <a:lstStyle/>
            <a:p>
              <a:endParaRPr lang="en-US"/>
            </a:p>
          </p:txBody>
        </p:sp>
        <p:sp>
          <p:nvSpPr>
            <p:cNvPr id="121" name="Freeform: Shape 120">
              <a:extLst>
                <a:ext uri="{FF2B5EF4-FFF2-40B4-BE49-F238E27FC236}">
                  <a16:creationId xmlns:a16="http://schemas.microsoft.com/office/drawing/2014/main" id="{DB8C4827-732D-9BEB-C0FB-F7642EFD2B49}"/>
                </a:ext>
              </a:extLst>
            </p:cNvPr>
            <p:cNvSpPr/>
            <p:nvPr/>
          </p:nvSpPr>
          <p:spPr>
            <a:xfrm flipV="1">
              <a:off x="24766723" y="4543782"/>
              <a:ext cx="210238" cy="276245"/>
            </a:xfrm>
            <a:custGeom>
              <a:avLst/>
              <a:gdLst>
                <a:gd name="csX0" fmla="*/ -9663 w 210238"/>
                <a:gd name="csY0" fmla="*/ 105771 h 276245"/>
                <a:gd name="csX1" fmla="*/ 75157 w 210238"/>
                <a:gd name="csY1" fmla="*/ -4571 h 276245"/>
                <a:gd name="csX2" fmla="*/ 200576 w 210238"/>
                <a:gd name="csY2" fmla="*/ 160657 h 276245"/>
                <a:gd name="csX3" fmla="*/ 116305 w 210238"/>
                <a:gd name="csY3" fmla="*/ 271675 h 276245"/>
                <a:gd name="csX4" fmla="*/ -9663 w 210238"/>
                <a:gd name="csY4" fmla="*/ 105771 h 276245"/>
              </a:gdLst>
              <a:ahLst/>
              <a:cxnLst>
                <a:cxn ang="0">
                  <a:pos x="csX0" y="csY0"/>
                </a:cxn>
                <a:cxn ang="0">
                  <a:pos x="csX1" y="csY1"/>
                </a:cxn>
                <a:cxn ang="0">
                  <a:pos x="csX2" y="csY2"/>
                </a:cxn>
                <a:cxn ang="0">
                  <a:pos x="csX3" y="csY3"/>
                </a:cxn>
                <a:cxn ang="0">
                  <a:pos x="csX4" y="csY4"/>
                </a:cxn>
              </a:cxnLst>
              <a:rect l="l" t="t" r="r" b="b"/>
              <a:pathLst>
                <a:path w="210238" h="276245">
                  <a:moveTo>
                    <a:pt x="-9663" y="105771"/>
                  </a:moveTo>
                  <a:lnTo>
                    <a:pt x="75157" y="-4571"/>
                  </a:lnTo>
                  <a:lnTo>
                    <a:pt x="200576" y="160657"/>
                  </a:lnTo>
                  <a:lnTo>
                    <a:pt x="116305" y="271675"/>
                  </a:lnTo>
                  <a:lnTo>
                    <a:pt x="-9663" y="105771"/>
                  </a:lnTo>
                </a:path>
              </a:pathLst>
            </a:custGeom>
            <a:grpFill/>
            <a:ln w="548" cap="flat">
              <a:noFill/>
              <a:prstDash val="solid"/>
              <a:miter/>
            </a:ln>
          </p:spPr>
          <p:txBody>
            <a:bodyPr/>
            <a:lstStyle/>
            <a:p>
              <a:endParaRPr lang="en-US"/>
            </a:p>
          </p:txBody>
        </p:sp>
        <p:sp>
          <p:nvSpPr>
            <p:cNvPr id="122" name="Freeform: Shape 121">
              <a:extLst>
                <a:ext uri="{FF2B5EF4-FFF2-40B4-BE49-F238E27FC236}">
                  <a16:creationId xmlns:a16="http://schemas.microsoft.com/office/drawing/2014/main" id="{7A61D8AB-7CF2-09C0-0074-C49B0785F808}"/>
                </a:ext>
              </a:extLst>
            </p:cNvPr>
            <p:cNvSpPr/>
            <p:nvPr/>
          </p:nvSpPr>
          <p:spPr>
            <a:xfrm flipV="1">
              <a:off x="24984149" y="4530620"/>
              <a:ext cx="179679" cy="236749"/>
            </a:xfrm>
            <a:custGeom>
              <a:avLst/>
              <a:gdLst>
                <a:gd name="csX0" fmla="*/ 169767 w 179679"/>
                <a:gd name="csY0" fmla="*/ 119529 h 236749"/>
                <a:gd name="csX1" fmla="*/ 84343 w 179679"/>
                <a:gd name="csY1" fmla="*/ 232099 h 236749"/>
                <a:gd name="csX2" fmla="*/ -9913 w 179679"/>
                <a:gd name="csY2" fmla="*/ 107920 h 236749"/>
                <a:gd name="csX3" fmla="*/ 75510 w 179679"/>
                <a:gd name="csY3" fmla="*/ -4650 h 236749"/>
                <a:gd name="csX4" fmla="*/ 169767 w 179679"/>
                <a:gd name="csY4" fmla="*/ 119529 h 236749"/>
              </a:gdLst>
              <a:ahLst/>
              <a:cxnLst>
                <a:cxn ang="0">
                  <a:pos x="csX0" y="csY0"/>
                </a:cxn>
                <a:cxn ang="0">
                  <a:pos x="csX1" y="csY1"/>
                </a:cxn>
                <a:cxn ang="0">
                  <a:pos x="csX2" y="csY2"/>
                </a:cxn>
                <a:cxn ang="0">
                  <a:pos x="csX3" y="csY3"/>
                </a:cxn>
                <a:cxn ang="0">
                  <a:pos x="csX4" y="csY4"/>
                </a:cxn>
              </a:cxnLst>
              <a:rect l="l" t="t" r="r" b="b"/>
              <a:pathLst>
                <a:path w="179679" h="236749">
                  <a:moveTo>
                    <a:pt x="169767" y="119529"/>
                  </a:moveTo>
                  <a:lnTo>
                    <a:pt x="84343" y="232099"/>
                  </a:lnTo>
                  <a:lnTo>
                    <a:pt x="-9913" y="107920"/>
                  </a:lnTo>
                  <a:lnTo>
                    <a:pt x="75510" y="-4650"/>
                  </a:lnTo>
                  <a:lnTo>
                    <a:pt x="169767" y="119529"/>
                  </a:lnTo>
                </a:path>
              </a:pathLst>
            </a:custGeom>
            <a:grpFill/>
            <a:ln w="548" cap="flat">
              <a:noFill/>
              <a:prstDash val="solid"/>
              <a:miter/>
            </a:ln>
          </p:spPr>
          <p:txBody>
            <a:bodyPr/>
            <a:lstStyle/>
            <a:p>
              <a:endParaRPr lang="en-US"/>
            </a:p>
          </p:txBody>
        </p:sp>
        <p:sp>
          <p:nvSpPr>
            <p:cNvPr id="123" name="Freeform: Shape 122">
              <a:extLst>
                <a:ext uri="{FF2B5EF4-FFF2-40B4-BE49-F238E27FC236}">
                  <a16:creationId xmlns:a16="http://schemas.microsoft.com/office/drawing/2014/main" id="{C6D550EC-AD08-1E3B-947C-CF6A2C883747}"/>
                </a:ext>
              </a:extLst>
            </p:cNvPr>
            <p:cNvSpPr/>
            <p:nvPr/>
          </p:nvSpPr>
          <p:spPr>
            <a:xfrm flipV="1">
              <a:off x="24651619" y="4569387"/>
              <a:ext cx="107917" cy="282396"/>
            </a:xfrm>
            <a:custGeom>
              <a:avLst/>
              <a:gdLst>
                <a:gd name="csX0" fmla="*/ -9456 w 107917"/>
                <a:gd name="csY0" fmla="*/ 277894 h 282396"/>
                <a:gd name="csX1" fmla="*/ -9456 w 107917"/>
                <a:gd name="csY1" fmla="*/ -4502 h 282396"/>
                <a:gd name="csX2" fmla="*/ 98461 w 107917"/>
                <a:gd name="csY2" fmla="*/ 137574 h 282396"/>
              </a:gdLst>
              <a:ahLst/>
              <a:cxnLst>
                <a:cxn ang="0">
                  <a:pos x="csX0" y="csY0"/>
                </a:cxn>
                <a:cxn ang="0">
                  <a:pos x="csX1" y="csY1"/>
                </a:cxn>
                <a:cxn ang="0">
                  <a:pos x="csX2" y="csY2"/>
                </a:cxn>
              </a:cxnLst>
              <a:rect l="l" t="t" r="r" b="b"/>
              <a:pathLst>
                <a:path w="107917" h="282396">
                  <a:moveTo>
                    <a:pt x="-9456" y="277894"/>
                  </a:moveTo>
                  <a:lnTo>
                    <a:pt x="-9456" y="-4502"/>
                  </a:lnTo>
                  <a:lnTo>
                    <a:pt x="98461" y="137574"/>
                  </a:lnTo>
                  <a:close/>
                </a:path>
              </a:pathLst>
            </a:custGeom>
            <a:grpFill/>
            <a:ln w="548" cap="flat">
              <a:noFill/>
              <a:prstDash val="solid"/>
              <a:miter/>
            </a:ln>
          </p:spPr>
          <p:txBody>
            <a:bodyPr/>
            <a:lstStyle/>
            <a:p>
              <a:endParaRPr lang="en-US"/>
            </a:p>
          </p:txBody>
        </p:sp>
        <p:sp>
          <p:nvSpPr>
            <p:cNvPr id="124" name="Freeform: Shape 123">
              <a:extLst>
                <a:ext uri="{FF2B5EF4-FFF2-40B4-BE49-F238E27FC236}">
                  <a16:creationId xmlns:a16="http://schemas.microsoft.com/office/drawing/2014/main" id="{4611DDF8-E24B-8EDC-5441-33ED5211DDA7}"/>
                </a:ext>
              </a:extLst>
            </p:cNvPr>
            <p:cNvSpPr/>
            <p:nvPr/>
          </p:nvSpPr>
          <p:spPr>
            <a:xfrm flipV="1">
              <a:off x="25073193" y="4647913"/>
              <a:ext cx="179679" cy="236749"/>
            </a:xfrm>
            <a:custGeom>
              <a:avLst/>
              <a:gdLst>
                <a:gd name="csX0" fmla="*/ 169656 w 179679"/>
                <a:gd name="csY0" fmla="*/ 119811 h 236749"/>
                <a:gd name="csX1" fmla="*/ 84233 w 179679"/>
                <a:gd name="csY1" fmla="*/ 232381 h 236749"/>
                <a:gd name="csX2" fmla="*/ -10023 w 179679"/>
                <a:gd name="csY2" fmla="*/ 108196 h 236749"/>
                <a:gd name="csX3" fmla="*/ 75400 w 179679"/>
                <a:gd name="csY3" fmla="*/ -4368 h 236749"/>
                <a:gd name="csX4" fmla="*/ 169656 w 179679"/>
                <a:gd name="csY4" fmla="*/ 119811 h 236749"/>
              </a:gdLst>
              <a:ahLst/>
              <a:cxnLst>
                <a:cxn ang="0">
                  <a:pos x="csX0" y="csY0"/>
                </a:cxn>
                <a:cxn ang="0">
                  <a:pos x="csX1" y="csY1"/>
                </a:cxn>
                <a:cxn ang="0">
                  <a:pos x="csX2" y="csY2"/>
                </a:cxn>
                <a:cxn ang="0">
                  <a:pos x="csX3" y="csY3"/>
                </a:cxn>
                <a:cxn ang="0">
                  <a:pos x="csX4" y="csY4"/>
                </a:cxn>
              </a:cxnLst>
              <a:rect l="l" t="t" r="r" b="b"/>
              <a:pathLst>
                <a:path w="179679" h="236749">
                  <a:moveTo>
                    <a:pt x="169656" y="119811"/>
                  </a:moveTo>
                  <a:lnTo>
                    <a:pt x="84233" y="232381"/>
                  </a:lnTo>
                  <a:lnTo>
                    <a:pt x="-10023" y="108196"/>
                  </a:lnTo>
                  <a:lnTo>
                    <a:pt x="75400" y="-4368"/>
                  </a:lnTo>
                  <a:lnTo>
                    <a:pt x="169656" y="119811"/>
                  </a:lnTo>
                </a:path>
              </a:pathLst>
            </a:custGeom>
            <a:grpFill/>
            <a:ln w="548" cap="flat">
              <a:noFill/>
              <a:prstDash val="solid"/>
              <a:miter/>
            </a:ln>
          </p:spPr>
          <p:txBody>
            <a:bodyPr/>
            <a:lstStyle/>
            <a:p>
              <a:endParaRPr lang="en-US"/>
            </a:p>
          </p:txBody>
        </p:sp>
        <p:sp>
          <p:nvSpPr>
            <p:cNvPr id="125" name="Freeform: Shape 124">
              <a:extLst>
                <a:ext uri="{FF2B5EF4-FFF2-40B4-BE49-F238E27FC236}">
                  <a16:creationId xmlns:a16="http://schemas.microsoft.com/office/drawing/2014/main" id="{76764E22-690E-1BEE-48EB-E38E5BC03C45}"/>
                </a:ext>
              </a:extLst>
            </p:cNvPr>
            <p:cNvSpPr/>
            <p:nvPr/>
          </p:nvSpPr>
          <p:spPr>
            <a:xfrm flipV="1">
              <a:off x="25357938" y="4524727"/>
              <a:ext cx="166512" cy="219373"/>
            </a:xfrm>
            <a:custGeom>
              <a:avLst/>
              <a:gdLst>
                <a:gd name="csX0" fmla="*/ 156144 w 166512"/>
                <a:gd name="csY0" fmla="*/ 102124 h 219373"/>
                <a:gd name="csX1" fmla="*/ 70666 w 166512"/>
                <a:gd name="csY1" fmla="*/ 214688 h 219373"/>
                <a:gd name="csX2" fmla="*/ -10368 w 166512"/>
                <a:gd name="csY2" fmla="*/ 107890 h 219373"/>
                <a:gd name="csX3" fmla="*/ 75055 w 166512"/>
                <a:gd name="csY3" fmla="*/ -4685 h 219373"/>
                <a:gd name="csX4" fmla="*/ 156144 w 166512"/>
                <a:gd name="csY4" fmla="*/ 102124 h 219373"/>
              </a:gdLst>
              <a:ahLst/>
              <a:cxnLst>
                <a:cxn ang="0">
                  <a:pos x="csX0" y="csY0"/>
                </a:cxn>
                <a:cxn ang="0">
                  <a:pos x="csX1" y="csY1"/>
                </a:cxn>
                <a:cxn ang="0">
                  <a:pos x="csX2" y="csY2"/>
                </a:cxn>
                <a:cxn ang="0">
                  <a:pos x="csX3" y="csY3"/>
                </a:cxn>
                <a:cxn ang="0">
                  <a:pos x="csX4" y="csY4"/>
                </a:cxn>
              </a:cxnLst>
              <a:rect l="l" t="t" r="r" b="b"/>
              <a:pathLst>
                <a:path w="166512" h="219373">
                  <a:moveTo>
                    <a:pt x="156144" y="102124"/>
                  </a:moveTo>
                  <a:lnTo>
                    <a:pt x="70666" y="214688"/>
                  </a:lnTo>
                  <a:lnTo>
                    <a:pt x="-10368" y="107890"/>
                  </a:lnTo>
                  <a:lnTo>
                    <a:pt x="75055" y="-4685"/>
                  </a:lnTo>
                  <a:lnTo>
                    <a:pt x="156144" y="102124"/>
                  </a:lnTo>
                </a:path>
              </a:pathLst>
            </a:custGeom>
            <a:grpFill/>
            <a:ln w="548" cap="flat">
              <a:noFill/>
              <a:prstDash val="solid"/>
              <a:miter/>
            </a:ln>
          </p:spPr>
          <p:txBody>
            <a:bodyPr/>
            <a:lstStyle/>
            <a:p>
              <a:endParaRPr lang="en-US"/>
            </a:p>
          </p:txBody>
        </p:sp>
        <p:sp>
          <p:nvSpPr>
            <p:cNvPr id="126" name="Freeform: Shape 125">
              <a:extLst>
                <a:ext uri="{FF2B5EF4-FFF2-40B4-BE49-F238E27FC236}">
                  <a16:creationId xmlns:a16="http://schemas.microsoft.com/office/drawing/2014/main" id="{B85D4C79-F88B-CE7E-C4B5-EA7C4B155D83}"/>
                </a:ext>
              </a:extLst>
            </p:cNvPr>
            <p:cNvSpPr/>
            <p:nvPr/>
          </p:nvSpPr>
          <p:spPr>
            <a:xfrm flipV="1">
              <a:off x="25171016" y="4518961"/>
              <a:ext cx="179734" cy="236793"/>
            </a:xfrm>
            <a:custGeom>
              <a:avLst/>
              <a:gdLst>
                <a:gd name="csX0" fmla="*/ 169590 w 179734"/>
                <a:gd name="csY0" fmla="*/ 119550 h 236793"/>
                <a:gd name="csX1" fmla="*/ 84166 w 179734"/>
                <a:gd name="csY1" fmla="*/ 232115 h 236793"/>
                <a:gd name="csX2" fmla="*/ -10145 w 179734"/>
                <a:gd name="csY2" fmla="*/ 107886 h 236793"/>
                <a:gd name="csX3" fmla="*/ 75278 w 179734"/>
                <a:gd name="csY3" fmla="*/ -4678 h 236793"/>
                <a:gd name="csX4" fmla="*/ 169590 w 179734"/>
                <a:gd name="csY4" fmla="*/ 119550 h 236793"/>
              </a:gdLst>
              <a:ahLst/>
              <a:cxnLst>
                <a:cxn ang="0">
                  <a:pos x="csX0" y="csY0"/>
                </a:cxn>
                <a:cxn ang="0">
                  <a:pos x="csX1" y="csY1"/>
                </a:cxn>
                <a:cxn ang="0">
                  <a:pos x="csX2" y="csY2"/>
                </a:cxn>
                <a:cxn ang="0">
                  <a:pos x="csX3" y="csY3"/>
                </a:cxn>
                <a:cxn ang="0">
                  <a:pos x="csX4" y="csY4"/>
                </a:cxn>
              </a:cxnLst>
              <a:rect l="l" t="t" r="r" b="b"/>
              <a:pathLst>
                <a:path w="179734" h="236793">
                  <a:moveTo>
                    <a:pt x="169590" y="119550"/>
                  </a:moveTo>
                  <a:lnTo>
                    <a:pt x="84166" y="232115"/>
                  </a:lnTo>
                  <a:lnTo>
                    <a:pt x="-10145" y="107886"/>
                  </a:lnTo>
                  <a:lnTo>
                    <a:pt x="75278" y="-4678"/>
                  </a:lnTo>
                  <a:lnTo>
                    <a:pt x="169590" y="119550"/>
                  </a:lnTo>
                </a:path>
              </a:pathLst>
            </a:custGeom>
            <a:grpFill/>
            <a:ln w="548" cap="flat">
              <a:noFill/>
              <a:prstDash val="solid"/>
              <a:miter/>
            </a:ln>
          </p:spPr>
          <p:txBody>
            <a:bodyPr/>
            <a:lstStyle/>
            <a:p>
              <a:endParaRPr lang="en-US"/>
            </a:p>
          </p:txBody>
        </p:sp>
        <p:sp>
          <p:nvSpPr>
            <p:cNvPr id="127" name="Freeform: Shape 126">
              <a:extLst>
                <a:ext uri="{FF2B5EF4-FFF2-40B4-BE49-F238E27FC236}">
                  <a16:creationId xmlns:a16="http://schemas.microsoft.com/office/drawing/2014/main" id="{07AE255A-AE65-369A-75DC-DFF8CFC391B2}"/>
                </a:ext>
              </a:extLst>
            </p:cNvPr>
            <p:cNvSpPr/>
            <p:nvPr/>
          </p:nvSpPr>
          <p:spPr>
            <a:xfrm flipV="1">
              <a:off x="25446927" y="4642021"/>
              <a:ext cx="166512" cy="219379"/>
            </a:xfrm>
            <a:custGeom>
              <a:avLst/>
              <a:gdLst>
                <a:gd name="csX0" fmla="*/ 156034 w 166512"/>
                <a:gd name="csY0" fmla="*/ 102406 h 219379"/>
                <a:gd name="csX1" fmla="*/ 70610 w 166512"/>
                <a:gd name="csY1" fmla="*/ 214976 h 219379"/>
                <a:gd name="csX2" fmla="*/ -10478 w 166512"/>
                <a:gd name="csY2" fmla="*/ 108172 h 219379"/>
                <a:gd name="csX3" fmla="*/ 75000 w 166512"/>
                <a:gd name="csY3" fmla="*/ -4403 h 219379"/>
                <a:gd name="csX4" fmla="*/ 156034 w 166512"/>
                <a:gd name="csY4" fmla="*/ 102406 h 219379"/>
              </a:gdLst>
              <a:ahLst/>
              <a:cxnLst>
                <a:cxn ang="0">
                  <a:pos x="csX0" y="csY0"/>
                </a:cxn>
                <a:cxn ang="0">
                  <a:pos x="csX1" y="csY1"/>
                </a:cxn>
                <a:cxn ang="0">
                  <a:pos x="csX2" y="csY2"/>
                </a:cxn>
                <a:cxn ang="0">
                  <a:pos x="csX3" y="csY3"/>
                </a:cxn>
                <a:cxn ang="0">
                  <a:pos x="csX4" y="csY4"/>
                </a:cxn>
              </a:cxnLst>
              <a:rect l="l" t="t" r="r" b="b"/>
              <a:pathLst>
                <a:path w="166512" h="219379">
                  <a:moveTo>
                    <a:pt x="156034" y="102406"/>
                  </a:moveTo>
                  <a:lnTo>
                    <a:pt x="70610" y="214976"/>
                  </a:lnTo>
                  <a:lnTo>
                    <a:pt x="-10478" y="108172"/>
                  </a:lnTo>
                  <a:lnTo>
                    <a:pt x="75000" y="-4403"/>
                  </a:lnTo>
                  <a:lnTo>
                    <a:pt x="156034" y="102406"/>
                  </a:lnTo>
                </a:path>
              </a:pathLst>
            </a:custGeom>
            <a:grpFill/>
            <a:ln w="548" cap="flat">
              <a:noFill/>
              <a:prstDash val="solid"/>
              <a:miter/>
            </a:ln>
          </p:spPr>
          <p:txBody>
            <a:bodyPr/>
            <a:lstStyle/>
            <a:p>
              <a:endParaRPr lang="en-US"/>
            </a:p>
          </p:txBody>
        </p:sp>
        <p:sp>
          <p:nvSpPr>
            <p:cNvPr id="128" name="Freeform: Shape 127">
              <a:extLst>
                <a:ext uri="{FF2B5EF4-FFF2-40B4-BE49-F238E27FC236}">
                  <a16:creationId xmlns:a16="http://schemas.microsoft.com/office/drawing/2014/main" id="{749C6944-25CD-ED99-99C0-0BD3F22854CA}"/>
                </a:ext>
              </a:extLst>
            </p:cNvPr>
            <p:cNvSpPr/>
            <p:nvPr/>
          </p:nvSpPr>
          <p:spPr>
            <a:xfrm flipV="1">
              <a:off x="25260061" y="4636255"/>
              <a:ext cx="179734" cy="236798"/>
            </a:xfrm>
            <a:custGeom>
              <a:avLst/>
              <a:gdLst>
                <a:gd name="csX0" fmla="*/ 169479 w 179734"/>
                <a:gd name="csY0" fmla="*/ 119833 h 236798"/>
                <a:gd name="csX1" fmla="*/ 84001 w 179734"/>
                <a:gd name="csY1" fmla="*/ 232403 h 236798"/>
                <a:gd name="csX2" fmla="*/ -10255 w 179734"/>
                <a:gd name="csY2" fmla="*/ 108174 h 236798"/>
                <a:gd name="csX3" fmla="*/ 75168 w 179734"/>
                <a:gd name="csY3" fmla="*/ -4396 h 236798"/>
                <a:gd name="csX4" fmla="*/ 169479 w 179734"/>
                <a:gd name="csY4" fmla="*/ 119833 h 236798"/>
              </a:gdLst>
              <a:ahLst/>
              <a:cxnLst>
                <a:cxn ang="0">
                  <a:pos x="csX0" y="csY0"/>
                </a:cxn>
                <a:cxn ang="0">
                  <a:pos x="csX1" y="csY1"/>
                </a:cxn>
                <a:cxn ang="0">
                  <a:pos x="csX2" y="csY2"/>
                </a:cxn>
                <a:cxn ang="0">
                  <a:pos x="csX3" y="csY3"/>
                </a:cxn>
                <a:cxn ang="0">
                  <a:pos x="csX4" y="csY4"/>
                </a:cxn>
              </a:cxnLst>
              <a:rect l="l" t="t" r="r" b="b"/>
              <a:pathLst>
                <a:path w="179734" h="236798">
                  <a:moveTo>
                    <a:pt x="169479" y="119833"/>
                  </a:moveTo>
                  <a:lnTo>
                    <a:pt x="84001" y="232403"/>
                  </a:lnTo>
                  <a:lnTo>
                    <a:pt x="-10255" y="108174"/>
                  </a:lnTo>
                  <a:lnTo>
                    <a:pt x="75168" y="-4396"/>
                  </a:lnTo>
                  <a:lnTo>
                    <a:pt x="169479" y="119833"/>
                  </a:lnTo>
                </a:path>
              </a:pathLst>
            </a:custGeom>
            <a:grpFill/>
            <a:ln w="548" cap="flat">
              <a:noFill/>
              <a:prstDash val="solid"/>
              <a:miter/>
            </a:ln>
          </p:spPr>
          <p:txBody>
            <a:bodyPr/>
            <a:lstStyle/>
            <a:p>
              <a:endParaRPr lang="en-US"/>
            </a:p>
          </p:txBody>
        </p:sp>
        <p:sp>
          <p:nvSpPr>
            <p:cNvPr id="129" name="Freeform: Shape 128">
              <a:extLst>
                <a:ext uri="{FF2B5EF4-FFF2-40B4-BE49-F238E27FC236}">
                  <a16:creationId xmlns:a16="http://schemas.microsoft.com/office/drawing/2014/main" id="{F21D2FBC-3C51-AFC1-2E1F-9807123CCBA4}"/>
                </a:ext>
              </a:extLst>
            </p:cNvPr>
            <p:cNvSpPr/>
            <p:nvPr/>
          </p:nvSpPr>
          <p:spPr>
            <a:xfrm flipV="1">
              <a:off x="25705282" y="4540512"/>
              <a:ext cx="181984" cy="239772"/>
            </a:xfrm>
            <a:custGeom>
              <a:avLst/>
              <a:gdLst>
                <a:gd name="csX0" fmla="*/ 171176 w 181984"/>
                <a:gd name="csY0" fmla="*/ 97918 h 239772"/>
                <a:gd name="csX1" fmla="*/ 67043 w 181984"/>
                <a:gd name="csY1" fmla="*/ 235149 h 239772"/>
                <a:gd name="csX2" fmla="*/ -10808 w 181984"/>
                <a:gd name="csY2" fmla="*/ 132608 h 239772"/>
                <a:gd name="csX3" fmla="*/ 93378 w 181984"/>
                <a:gd name="csY3" fmla="*/ -4623 h 239772"/>
                <a:gd name="csX4" fmla="*/ 171176 w 181984"/>
                <a:gd name="csY4" fmla="*/ 97918 h 239772"/>
              </a:gdLst>
              <a:ahLst/>
              <a:cxnLst>
                <a:cxn ang="0">
                  <a:pos x="csX0" y="csY0"/>
                </a:cxn>
                <a:cxn ang="0">
                  <a:pos x="csX1" y="csY1"/>
                </a:cxn>
                <a:cxn ang="0">
                  <a:pos x="csX2" y="csY2"/>
                </a:cxn>
                <a:cxn ang="0">
                  <a:pos x="csX3" y="csY3"/>
                </a:cxn>
                <a:cxn ang="0">
                  <a:pos x="csX4" y="csY4"/>
                </a:cxn>
              </a:cxnLst>
              <a:rect l="l" t="t" r="r" b="b"/>
              <a:pathLst>
                <a:path w="181984" h="239772">
                  <a:moveTo>
                    <a:pt x="171176" y="97918"/>
                  </a:moveTo>
                  <a:lnTo>
                    <a:pt x="67043" y="235149"/>
                  </a:lnTo>
                  <a:lnTo>
                    <a:pt x="-10808" y="132608"/>
                  </a:lnTo>
                  <a:lnTo>
                    <a:pt x="93378" y="-4623"/>
                  </a:lnTo>
                  <a:lnTo>
                    <a:pt x="171176" y="97918"/>
                  </a:lnTo>
                </a:path>
              </a:pathLst>
            </a:custGeom>
            <a:grpFill/>
            <a:ln w="548" cap="flat">
              <a:noFill/>
              <a:prstDash val="solid"/>
              <a:miter/>
            </a:ln>
          </p:spPr>
          <p:txBody>
            <a:bodyPr/>
            <a:lstStyle/>
            <a:p>
              <a:endParaRPr lang="en-US"/>
            </a:p>
          </p:txBody>
        </p:sp>
        <p:sp>
          <p:nvSpPr>
            <p:cNvPr id="130" name="Freeform: Shape 129">
              <a:extLst>
                <a:ext uri="{FF2B5EF4-FFF2-40B4-BE49-F238E27FC236}">
                  <a16:creationId xmlns:a16="http://schemas.microsoft.com/office/drawing/2014/main" id="{ADCB4B6E-BAF6-1F05-F407-564E01B9418E}"/>
                </a:ext>
              </a:extLst>
            </p:cNvPr>
            <p:cNvSpPr/>
            <p:nvPr/>
          </p:nvSpPr>
          <p:spPr>
            <a:xfrm flipV="1">
              <a:off x="25894453" y="4569425"/>
              <a:ext cx="82186" cy="216636"/>
            </a:xfrm>
            <a:custGeom>
              <a:avLst/>
              <a:gdLst>
                <a:gd name="csX0" fmla="*/ 71205 w 82186"/>
                <a:gd name="csY0" fmla="*/ -4581 h 216636"/>
                <a:gd name="csX1" fmla="*/ 71205 w 82186"/>
                <a:gd name="csY1" fmla="*/ 212055 h 216636"/>
                <a:gd name="csX2" fmla="*/ -10981 w 82186"/>
                <a:gd name="csY2" fmla="*/ 103737 h 216636"/>
              </a:gdLst>
              <a:ahLst/>
              <a:cxnLst>
                <a:cxn ang="0">
                  <a:pos x="csX0" y="csY0"/>
                </a:cxn>
                <a:cxn ang="0">
                  <a:pos x="csX1" y="csY1"/>
                </a:cxn>
                <a:cxn ang="0">
                  <a:pos x="csX2" y="csY2"/>
                </a:cxn>
              </a:cxnLst>
              <a:rect l="l" t="t" r="r" b="b"/>
              <a:pathLst>
                <a:path w="82186" h="216636">
                  <a:moveTo>
                    <a:pt x="71205" y="-4581"/>
                  </a:moveTo>
                  <a:lnTo>
                    <a:pt x="71205" y="212055"/>
                  </a:lnTo>
                  <a:lnTo>
                    <a:pt x="-10981" y="103737"/>
                  </a:lnTo>
                  <a:close/>
                </a:path>
              </a:pathLst>
            </a:custGeom>
            <a:grpFill/>
            <a:ln w="548" cap="flat">
              <a:noFill/>
              <a:prstDash val="solid"/>
              <a:miter/>
            </a:ln>
          </p:spPr>
          <p:txBody>
            <a:bodyPr/>
            <a:lstStyle/>
            <a:p>
              <a:endParaRPr lang="en-US"/>
            </a:p>
          </p:txBody>
        </p:sp>
        <p:sp>
          <p:nvSpPr>
            <p:cNvPr id="131" name="Freeform: Shape 130">
              <a:extLst>
                <a:ext uri="{FF2B5EF4-FFF2-40B4-BE49-F238E27FC236}">
                  <a16:creationId xmlns:a16="http://schemas.microsoft.com/office/drawing/2014/main" id="{4A1AD54A-D5DC-EED6-1FE2-BF713E5AA3E9}"/>
                </a:ext>
              </a:extLst>
            </p:cNvPr>
            <p:cNvSpPr/>
            <p:nvPr/>
          </p:nvSpPr>
          <p:spPr>
            <a:xfrm flipV="1">
              <a:off x="25707861" y="4901276"/>
              <a:ext cx="33850" cy="22335"/>
            </a:xfrm>
            <a:custGeom>
              <a:avLst/>
              <a:gdLst>
                <a:gd name="csX0" fmla="*/ -10720 w 33850"/>
                <a:gd name="csY0" fmla="*/ -4016 h 22335"/>
                <a:gd name="csX1" fmla="*/ 23131 w 33850"/>
                <a:gd name="csY1" fmla="*/ -4016 h 22335"/>
                <a:gd name="csX2" fmla="*/ 6233 w 33850"/>
                <a:gd name="csY2" fmla="*/ 18319 h 22335"/>
              </a:gdLst>
              <a:ahLst/>
              <a:cxnLst>
                <a:cxn ang="0">
                  <a:pos x="csX0" y="csY0"/>
                </a:cxn>
                <a:cxn ang="0">
                  <a:pos x="csX1" y="csY1"/>
                </a:cxn>
                <a:cxn ang="0">
                  <a:pos x="csX2" y="csY2"/>
                </a:cxn>
              </a:cxnLst>
              <a:rect l="l" t="t" r="r" b="b"/>
              <a:pathLst>
                <a:path w="33850" h="22335">
                  <a:moveTo>
                    <a:pt x="-10720" y="-4016"/>
                  </a:moveTo>
                  <a:lnTo>
                    <a:pt x="23131" y="-4016"/>
                  </a:lnTo>
                  <a:lnTo>
                    <a:pt x="6233" y="18319"/>
                  </a:lnTo>
                  <a:close/>
                </a:path>
              </a:pathLst>
            </a:custGeom>
            <a:grpFill/>
            <a:ln w="548" cap="flat">
              <a:noFill/>
              <a:prstDash val="solid"/>
              <a:miter/>
            </a:ln>
          </p:spPr>
          <p:txBody>
            <a:bodyPr/>
            <a:lstStyle/>
            <a:p>
              <a:endParaRPr lang="en-US"/>
            </a:p>
          </p:txBody>
        </p:sp>
        <p:sp>
          <p:nvSpPr>
            <p:cNvPr id="132" name="Freeform: Shape 131">
              <a:extLst>
                <a:ext uri="{FF2B5EF4-FFF2-40B4-BE49-F238E27FC236}">
                  <a16:creationId xmlns:a16="http://schemas.microsoft.com/office/drawing/2014/main" id="{7C98F996-7308-3117-AEA5-B03507556B5E}"/>
                </a:ext>
              </a:extLst>
            </p:cNvPr>
            <p:cNvSpPr/>
            <p:nvPr/>
          </p:nvSpPr>
          <p:spPr>
            <a:xfrm flipV="1">
              <a:off x="25728379" y="4789737"/>
              <a:ext cx="182697" cy="133873"/>
            </a:xfrm>
            <a:custGeom>
              <a:avLst/>
              <a:gdLst>
                <a:gd name="csX0" fmla="*/ -10837 w 182697"/>
                <a:gd name="csY0" fmla="*/ 22914 h 133873"/>
                <a:gd name="csX1" fmla="*/ 8365 w 182697"/>
                <a:gd name="csY1" fmla="*/ -2422 h 133873"/>
                <a:gd name="csX2" fmla="*/ 8914 w 182697"/>
                <a:gd name="csY2" fmla="*/ -4151 h 133873"/>
                <a:gd name="csX3" fmla="*/ 171860 w 182697"/>
                <a:gd name="csY3" fmla="*/ -4151 h 133873"/>
                <a:gd name="csX4" fmla="*/ 70252 w 182697"/>
                <a:gd name="csY4" fmla="*/ 129723 h 133873"/>
                <a:gd name="csX5" fmla="*/ -10837 w 182697"/>
                <a:gd name="csY5" fmla="*/ 22914 h 133873"/>
              </a:gdLst>
              <a:ahLst/>
              <a:cxnLst>
                <a:cxn ang="0">
                  <a:pos x="csX0" y="csY0"/>
                </a:cxn>
                <a:cxn ang="0">
                  <a:pos x="csX1" y="csY1"/>
                </a:cxn>
                <a:cxn ang="0">
                  <a:pos x="csX2" y="csY2"/>
                </a:cxn>
                <a:cxn ang="0">
                  <a:pos x="csX3" y="csY3"/>
                </a:cxn>
                <a:cxn ang="0">
                  <a:pos x="csX4" y="csY4"/>
                </a:cxn>
                <a:cxn ang="0">
                  <a:pos x="csX5" y="csY5"/>
                </a:cxn>
              </a:cxnLst>
              <a:rect l="l" t="t" r="r" b="b"/>
              <a:pathLst>
                <a:path w="182697" h="133873">
                  <a:moveTo>
                    <a:pt x="-10837" y="22914"/>
                  </a:moveTo>
                  <a:lnTo>
                    <a:pt x="8365" y="-2422"/>
                  </a:lnTo>
                  <a:cubicBezTo>
                    <a:pt x="8804" y="-2938"/>
                    <a:pt x="8914" y="-3547"/>
                    <a:pt x="8914" y="-4151"/>
                  </a:cubicBezTo>
                  <a:lnTo>
                    <a:pt x="171860" y="-4151"/>
                  </a:lnTo>
                  <a:lnTo>
                    <a:pt x="70252" y="129723"/>
                  </a:lnTo>
                  <a:lnTo>
                    <a:pt x="-10837" y="22914"/>
                  </a:lnTo>
                </a:path>
              </a:pathLst>
            </a:custGeom>
            <a:grpFill/>
            <a:ln w="548" cap="flat">
              <a:noFill/>
              <a:prstDash val="solid"/>
              <a:miter/>
            </a:ln>
          </p:spPr>
          <p:txBody>
            <a:bodyPr/>
            <a:lstStyle/>
            <a:p>
              <a:endParaRPr lang="en-US"/>
            </a:p>
          </p:txBody>
        </p:sp>
        <p:sp>
          <p:nvSpPr>
            <p:cNvPr id="133" name="Freeform: Shape 132">
              <a:extLst>
                <a:ext uri="{FF2B5EF4-FFF2-40B4-BE49-F238E27FC236}">
                  <a16:creationId xmlns:a16="http://schemas.microsoft.com/office/drawing/2014/main" id="{6252B10D-4641-CCD6-3113-AC24362119A3}"/>
                </a:ext>
              </a:extLst>
            </p:cNvPr>
            <p:cNvSpPr/>
            <p:nvPr/>
          </p:nvSpPr>
          <p:spPr>
            <a:xfrm flipV="1">
              <a:off x="25535971" y="4759320"/>
              <a:ext cx="185221" cy="164290"/>
            </a:xfrm>
            <a:custGeom>
              <a:avLst/>
              <a:gdLst>
                <a:gd name="csX0" fmla="*/ 70489 w 185221"/>
                <a:gd name="csY0" fmla="*/ 160103 h 164290"/>
                <a:gd name="csX1" fmla="*/ -10600 w 185221"/>
                <a:gd name="csY1" fmla="*/ 53294 h 164290"/>
                <a:gd name="csX2" fmla="*/ 31700 w 185221"/>
                <a:gd name="csY2" fmla="*/ -2459 h 164290"/>
                <a:gd name="csX3" fmla="*/ 32249 w 185221"/>
                <a:gd name="csY3" fmla="*/ -4187 h 164290"/>
                <a:gd name="csX4" fmla="*/ 154870 w 185221"/>
                <a:gd name="csY4" fmla="*/ -4187 h 164290"/>
                <a:gd name="csX5" fmla="*/ 155418 w 185221"/>
                <a:gd name="csY5" fmla="*/ -2459 h 164290"/>
                <a:gd name="csX6" fmla="*/ 174621 w 185221"/>
                <a:gd name="csY6" fmla="*/ 22877 h 164290"/>
                <a:gd name="csX7" fmla="*/ 70489 w 185221"/>
                <a:gd name="csY7" fmla="*/ 160103 h 16429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185221" h="164290">
                  <a:moveTo>
                    <a:pt x="70489" y="160103"/>
                  </a:moveTo>
                  <a:lnTo>
                    <a:pt x="-10600" y="53294"/>
                  </a:lnTo>
                  <a:lnTo>
                    <a:pt x="31700" y="-2459"/>
                  </a:lnTo>
                  <a:cubicBezTo>
                    <a:pt x="32139" y="-2975"/>
                    <a:pt x="32249" y="-3584"/>
                    <a:pt x="32249" y="-4187"/>
                  </a:cubicBezTo>
                  <a:lnTo>
                    <a:pt x="154870" y="-4187"/>
                  </a:lnTo>
                  <a:cubicBezTo>
                    <a:pt x="154870" y="-3584"/>
                    <a:pt x="155034" y="-2975"/>
                    <a:pt x="155418" y="-2459"/>
                  </a:cubicBezTo>
                  <a:lnTo>
                    <a:pt x="174621" y="22877"/>
                  </a:lnTo>
                  <a:lnTo>
                    <a:pt x="70489" y="160103"/>
                  </a:lnTo>
                </a:path>
              </a:pathLst>
            </a:custGeom>
            <a:grpFill/>
            <a:ln w="548" cap="flat">
              <a:noFill/>
              <a:prstDash val="solid"/>
              <a:miter/>
            </a:ln>
          </p:spPr>
          <p:txBody>
            <a:bodyPr/>
            <a:lstStyle/>
            <a:p>
              <a:endParaRPr lang="en-US"/>
            </a:p>
          </p:txBody>
        </p:sp>
        <p:sp>
          <p:nvSpPr>
            <p:cNvPr id="134" name="Freeform: Shape 133">
              <a:extLst>
                <a:ext uri="{FF2B5EF4-FFF2-40B4-BE49-F238E27FC236}">
                  <a16:creationId xmlns:a16="http://schemas.microsoft.com/office/drawing/2014/main" id="{578AE317-4C1B-C769-5018-1AC82CD801CA}"/>
                </a:ext>
              </a:extLst>
            </p:cNvPr>
            <p:cNvSpPr/>
            <p:nvPr/>
          </p:nvSpPr>
          <p:spPr>
            <a:xfrm flipV="1">
              <a:off x="25045213" y="4477462"/>
              <a:ext cx="66330" cy="43699"/>
            </a:xfrm>
            <a:custGeom>
              <a:avLst/>
              <a:gdLst>
                <a:gd name="csX0" fmla="*/ 23274 w 66330"/>
                <a:gd name="csY0" fmla="*/ -5010 h 43699"/>
                <a:gd name="csX1" fmla="*/ 56412 w 66330"/>
                <a:gd name="csY1" fmla="*/ 38689 h 43699"/>
                <a:gd name="csX2" fmla="*/ -9919 w 66330"/>
                <a:gd name="csY2" fmla="*/ 38689 h 43699"/>
              </a:gdLst>
              <a:ahLst/>
              <a:cxnLst>
                <a:cxn ang="0">
                  <a:pos x="csX0" y="csY0"/>
                </a:cxn>
                <a:cxn ang="0">
                  <a:pos x="csX1" y="csY1"/>
                </a:cxn>
                <a:cxn ang="0">
                  <a:pos x="csX2" y="csY2"/>
                </a:cxn>
              </a:cxnLst>
              <a:rect l="l" t="t" r="r" b="b"/>
              <a:pathLst>
                <a:path w="66330" h="43699">
                  <a:moveTo>
                    <a:pt x="23274" y="-5010"/>
                  </a:moveTo>
                  <a:lnTo>
                    <a:pt x="56412" y="38689"/>
                  </a:lnTo>
                  <a:lnTo>
                    <a:pt x="-9919" y="38689"/>
                  </a:lnTo>
                  <a:close/>
                </a:path>
              </a:pathLst>
            </a:custGeom>
            <a:grpFill/>
            <a:ln w="548" cap="flat">
              <a:noFill/>
              <a:prstDash val="solid"/>
              <a:miter/>
            </a:ln>
          </p:spPr>
          <p:txBody>
            <a:bodyPr/>
            <a:lstStyle/>
            <a:p>
              <a:endParaRPr lang="en-US"/>
            </a:p>
          </p:txBody>
        </p:sp>
        <p:sp>
          <p:nvSpPr>
            <p:cNvPr id="135" name="Freeform: Shape 134">
              <a:extLst>
                <a:ext uri="{FF2B5EF4-FFF2-40B4-BE49-F238E27FC236}">
                  <a16:creationId xmlns:a16="http://schemas.microsoft.com/office/drawing/2014/main" id="{62C28F53-6AEB-6A99-77F9-DE778D380C14}"/>
                </a:ext>
              </a:extLst>
            </p:cNvPr>
            <p:cNvSpPr/>
            <p:nvPr/>
          </p:nvSpPr>
          <p:spPr>
            <a:xfrm flipV="1">
              <a:off x="25492354" y="4870859"/>
              <a:ext cx="80046" cy="52751"/>
            </a:xfrm>
            <a:custGeom>
              <a:avLst/>
              <a:gdLst>
                <a:gd name="csX0" fmla="*/ -10481 w 80046"/>
                <a:gd name="csY0" fmla="*/ -4053 h 52751"/>
                <a:gd name="csX1" fmla="*/ 69566 w 80046"/>
                <a:gd name="csY1" fmla="*/ -4053 h 52751"/>
                <a:gd name="csX2" fmla="*/ 29570 w 80046"/>
                <a:gd name="csY2" fmla="*/ 48699 h 52751"/>
              </a:gdLst>
              <a:ahLst/>
              <a:cxnLst>
                <a:cxn ang="0">
                  <a:pos x="csX0" y="csY0"/>
                </a:cxn>
                <a:cxn ang="0">
                  <a:pos x="csX1" y="csY1"/>
                </a:cxn>
                <a:cxn ang="0">
                  <a:pos x="csX2" y="csY2"/>
                </a:cxn>
              </a:cxnLst>
              <a:rect l="l" t="t" r="r" b="b"/>
              <a:pathLst>
                <a:path w="80046" h="52751">
                  <a:moveTo>
                    <a:pt x="-10481" y="-4053"/>
                  </a:moveTo>
                  <a:lnTo>
                    <a:pt x="69566" y="-4053"/>
                  </a:lnTo>
                  <a:lnTo>
                    <a:pt x="29570" y="48699"/>
                  </a:lnTo>
                  <a:close/>
                </a:path>
              </a:pathLst>
            </a:custGeom>
            <a:grpFill/>
            <a:ln w="548" cap="flat">
              <a:noFill/>
              <a:prstDash val="solid"/>
              <a:miter/>
            </a:ln>
          </p:spPr>
          <p:txBody>
            <a:bodyPr/>
            <a:lstStyle/>
            <a:p>
              <a:endParaRPr lang="en-US"/>
            </a:p>
          </p:txBody>
        </p:sp>
        <p:sp>
          <p:nvSpPr>
            <p:cNvPr id="136" name="Freeform: Shape 135">
              <a:extLst>
                <a:ext uri="{FF2B5EF4-FFF2-40B4-BE49-F238E27FC236}">
                  <a16:creationId xmlns:a16="http://schemas.microsoft.com/office/drawing/2014/main" id="{3FDC1B46-3E53-249C-F9D4-5556AD286DE3}"/>
                </a:ext>
              </a:extLst>
            </p:cNvPr>
            <p:cNvSpPr/>
            <p:nvPr/>
          </p:nvSpPr>
          <p:spPr>
            <a:xfrm flipV="1">
              <a:off x="24651619" y="4714398"/>
              <a:ext cx="196357" cy="209212"/>
            </a:xfrm>
            <a:custGeom>
              <a:avLst/>
              <a:gdLst>
                <a:gd name="csX0" fmla="*/ 101973 w 196357"/>
                <a:gd name="csY0" fmla="*/ 204972 h 209212"/>
                <a:gd name="csX1" fmla="*/ -7262 w 196357"/>
                <a:gd name="csY1" fmla="*/ 61135 h 209212"/>
                <a:gd name="csX2" fmla="*/ -9511 w 196357"/>
                <a:gd name="csY2" fmla="*/ 60005 h 209212"/>
                <a:gd name="csX3" fmla="*/ -9511 w 196357"/>
                <a:gd name="csY3" fmla="*/ -4241 h 209212"/>
                <a:gd name="csX4" fmla="*/ 112616 w 196357"/>
                <a:gd name="csY4" fmla="*/ -4241 h 209212"/>
                <a:gd name="csX5" fmla="*/ 113110 w 196357"/>
                <a:gd name="csY5" fmla="*/ -2513 h 209212"/>
                <a:gd name="csX6" fmla="*/ 186847 w 196357"/>
                <a:gd name="csY6" fmla="*/ 94624 h 209212"/>
                <a:gd name="csX7" fmla="*/ 101973 w 196357"/>
                <a:gd name="csY7" fmla="*/ 204972 h 20921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196357" h="209212">
                  <a:moveTo>
                    <a:pt x="101973" y="204972"/>
                  </a:moveTo>
                  <a:lnTo>
                    <a:pt x="-7262" y="61135"/>
                  </a:lnTo>
                  <a:cubicBezTo>
                    <a:pt x="-7811" y="60394"/>
                    <a:pt x="-8634" y="60005"/>
                    <a:pt x="-9511" y="60005"/>
                  </a:cubicBezTo>
                  <a:lnTo>
                    <a:pt x="-9511" y="-4241"/>
                  </a:lnTo>
                  <a:lnTo>
                    <a:pt x="112616" y="-4241"/>
                  </a:lnTo>
                  <a:cubicBezTo>
                    <a:pt x="112616" y="-3638"/>
                    <a:pt x="112726" y="-3029"/>
                    <a:pt x="113110" y="-2513"/>
                  </a:cubicBezTo>
                  <a:lnTo>
                    <a:pt x="186847" y="94624"/>
                  </a:lnTo>
                  <a:lnTo>
                    <a:pt x="101973" y="204972"/>
                  </a:lnTo>
                </a:path>
              </a:pathLst>
            </a:custGeom>
            <a:grpFill/>
            <a:ln w="548" cap="flat">
              <a:noFill/>
              <a:prstDash val="solid"/>
              <a:miter/>
            </a:ln>
          </p:spPr>
          <p:txBody>
            <a:bodyPr/>
            <a:lstStyle/>
            <a:p>
              <a:endParaRPr lang="en-US"/>
            </a:p>
          </p:txBody>
        </p:sp>
        <p:sp>
          <p:nvSpPr>
            <p:cNvPr id="137" name="Freeform: Shape 136">
              <a:extLst>
                <a:ext uri="{FF2B5EF4-FFF2-40B4-BE49-F238E27FC236}">
                  <a16:creationId xmlns:a16="http://schemas.microsoft.com/office/drawing/2014/main" id="{6F09DB61-A902-593A-96FC-43A36B0701CC}"/>
                </a:ext>
              </a:extLst>
            </p:cNvPr>
            <p:cNvSpPr/>
            <p:nvPr/>
          </p:nvSpPr>
          <p:spPr>
            <a:xfrm flipV="1">
              <a:off x="24651619" y="4477462"/>
              <a:ext cx="237505" cy="227526"/>
            </a:xfrm>
            <a:custGeom>
              <a:avLst/>
              <a:gdLst>
                <a:gd name="csX0" fmla="*/ -7288 w 237505"/>
                <a:gd name="csY0" fmla="*/ 137243 h 227526"/>
                <a:gd name="csX1" fmla="*/ 101947 w 237505"/>
                <a:gd name="csY1" fmla="*/ -4789 h 227526"/>
                <a:gd name="csX2" fmla="*/ 227969 w 237505"/>
                <a:gd name="csY2" fmla="*/ 161141 h 227526"/>
                <a:gd name="csX3" fmla="*/ 182542 w 237505"/>
                <a:gd name="csY3" fmla="*/ 221009 h 227526"/>
                <a:gd name="csX4" fmla="*/ 181993 w 237505"/>
                <a:gd name="csY4" fmla="*/ 222737 h 227526"/>
                <a:gd name="csX5" fmla="*/ -9537 w 237505"/>
                <a:gd name="csY5" fmla="*/ 222737 h 227526"/>
                <a:gd name="csX6" fmla="*/ -9537 w 237505"/>
                <a:gd name="csY6" fmla="*/ 138313 h 227526"/>
                <a:gd name="csX7" fmla="*/ -7288 w 237505"/>
                <a:gd name="csY7" fmla="*/ 137243 h 22752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237505" h="227526">
                  <a:moveTo>
                    <a:pt x="-7288" y="137243"/>
                  </a:moveTo>
                  <a:lnTo>
                    <a:pt x="101947" y="-4789"/>
                  </a:lnTo>
                  <a:lnTo>
                    <a:pt x="227969" y="161141"/>
                  </a:lnTo>
                  <a:lnTo>
                    <a:pt x="182542" y="221009"/>
                  </a:lnTo>
                  <a:cubicBezTo>
                    <a:pt x="182158" y="221525"/>
                    <a:pt x="181993" y="222134"/>
                    <a:pt x="181993" y="222737"/>
                  </a:cubicBezTo>
                  <a:lnTo>
                    <a:pt x="-9537" y="222737"/>
                  </a:lnTo>
                  <a:lnTo>
                    <a:pt x="-9537" y="138313"/>
                  </a:lnTo>
                  <a:cubicBezTo>
                    <a:pt x="-8714" y="138313"/>
                    <a:pt x="-7836" y="137972"/>
                    <a:pt x="-7288" y="137243"/>
                  </a:cubicBezTo>
                </a:path>
              </a:pathLst>
            </a:custGeom>
            <a:grpFill/>
            <a:ln w="548" cap="flat">
              <a:noFill/>
              <a:prstDash val="solid"/>
              <a:miter/>
            </a:ln>
          </p:spPr>
          <p:txBody>
            <a:bodyPr/>
            <a:lstStyle/>
            <a:p>
              <a:endParaRPr lang="en-US"/>
            </a:p>
          </p:txBody>
        </p:sp>
        <p:sp>
          <p:nvSpPr>
            <p:cNvPr id="138" name="Freeform: Shape 137">
              <a:extLst>
                <a:ext uri="{FF2B5EF4-FFF2-40B4-BE49-F238E27FC236}">
                  <a16:creationId xmlns:a16="http://schemas.microsoft.com/office/drawing/2014/main" id="{259D9922-ADA2-D81A-18DA-99A38075A556}"/>
                </a:ext>
              </a:extLst>
            </p:cNvPr>
            <p:cNvSpPr/>
            <p:nvPr/>
          </p:nvSpPr>
          <p:spPr>
            <a:xfrm flipV="1">
              <a:off x="25786700" y="4477462"/>
              <a:ext cx="189939" cy="195551"/>
            </a:xfrm>
            <a:custGeom>
              <a:avLst/>
              <a:gdLst>
                <a:gd name="csX0" fmla="*/ 32593 w 189939"/>
                <a:gd name="csY0" fmla="*/ 190724 h 195551"/>
                <a:gd name="csX1" fmla="*/ 32045 w 189939"/>
                <a:gd name="csY1" fmla="*/ 188996 h 195551"/>
                <a:gd name="csX2" fmla="*/ -10914 w 189939"/>
                <a:gd name="csY2" fmla="*/ 132404 h 195551"/>
                <a:gd name="csX3" fmla="*/ 93273 w 189939"/>
                <a:gd name="csY3" fmla="*/ -4828 h 195551"/>
                <a:gd name="csX4" fmla="*/ 176776 w 189939"/>
                <a:gd name="csY4" fmla="*/ 105218 h 195551"/>
                <a:gd name="csX5" fmla="*/ 179025 w 189939"/>
                <a:gd name="csY5" fmla="*/ 106299 h 195551"/>
                <a:gd name="csX6" fmla="*/ 179025 w 189939"/>
                <a:gd name="csY6" fmla="*/ 190724 h 195551"/>
                <a:gd name="csX7" fmla="*/ 32593 w 189939"/>
                <a:gd name="csY7" fmla="*/ 190724 h 195551"/>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189939" h="195551">
                  <a:moveTo>
                    <a:pt x="32593" y="190724"/>
                  </a:moveTo>
                  <a:cubicBezTo>
                    <a:pt x="32593" y="190120"/>
                    <a:pt x="32428" y="189511"/>
                    <a:pt x="32045" y="188996"/>
                  </a:cubicBezTo>
                  <a:lnTo>
                    <a:pt x="-10914" y="132404"/>
                  </a:lnTo>
                  <a:lnTo>
                    <a:pt x="93273" y="-4828"/>
                  </a:lnTo>
                  <a:lnTo>
                    <a:pt x="176776" y="105218"/>
                  </a:lnTo>
                  <a:cubicBezTo>
                    <a:pt x="177325" y="105959"/>
                    <a:pt x="178202" y="106299"/>
                    <a:pt x="179025" y="106299"/>
                  </a:cubicBezTo>
                  <a:lnTo>
                    <a:pt x="179025" y="190724"/>
                  </a:lnTo>
                  <a:lnTo>
                    <a:pt x="32593" y="190724"/>
                  </a:lnTo>
                </a:path>
              </a:pathLst>
            </a:custGeom>
            <a:grpFill/>
            <a:ln w="548" cap="flat">
              <a:noFill/>
              <a:prstDash val="solid"/>
              <a:miter/>
            </a:ln>
          </p:spPr>
          <p:txBody>
            <a:bodyPr/>
            <a:lstStyle/>
            <a:p>
              <a:endParaRPr lang="en-US"/>
            </a:p>
          </p:txBody>
        </p:sp>
        <p:sp>
          <p:nvSpPr>
            <p:cNvPr id="139" name="Freeform: Shape 138">
              <a:extLst>
                <a:ext uri="{FF2B5EF4-FFF2-40B4-BE49-F238E27FC236}">
                  <a16:creationId xmlns:a16="http://schemas.microsoft.com/office/drawing/2014/main" id="{0D09616A-FCC8-7DBB-7876-48B99837D278}"/>
                </a:ext>
              </a:extLst>
            </p:cNvPr>
            <p:cNvSpPr/>
            <p:nvPr/>
          </p:nvSpPr>
          <p:spPr>
            <a:xfrm flipV="1">
              <a:off x="25813035" y="4682472"/>
              <a:ext cx="163604" cy="241138"/>
            </a:xfrm>
            <a:custGeom>
              <a:avLst/>
              <a:gdLst>
                <a:gd name="csX0" fmla="*/ 150425 w 163604"/>
                <a:gd name="csY0" fmla="*/ 126812 h 241138"/>
                <a:gd name="csX1" fmla="*/ 66922 w 163604"/>
                <a:gd name="csY1" fmla="*/ 236859 h 241138"/>
                <a:gd name="csX2" fmla="*/ -10930 w 163604"/>
                <a:gd name="csY2" fmla="*/ 134318 h 241138"/>
                <a:gd name="csX3" fmla="*/ 92928 w 163604"/>
                <a:gd name="csY3" fmla="*/ -2551 h 241138"/>
                <a:gd name="csX4" fmla="*/ 93476 w 163604"/>
                <a:gd name="csY4" fmla="*/ -4280 h 241138"/>
                <a:gd name="csX5" fmla="*/ 152674 w 163604"/>
                <a:gd name="csY5" fmla="*/ -4280 h 241138"/>
                <a:gd name="csX6" fmla="*/ 152674 w 163604"/>
                <a:gd name="csY6" fmla="*/ 125682 h 241138"/>
                <a:gd name="csX7" fmla="*/ 150425 w 163604"/>
                <a:gd name="csY7" fmla="*/ 126812 h 24113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163604" h="241138">
                  <a:moveTo>
                    <a:pt x="150425" y="126812"/>
                  </a:moveTo>
                  <a:lnTo>
                    <a:pt x="66922" y="236859"/>
                  </a:lnTo>
                  <a:lnTo>
                    <a:pt x="-10930" y="134318"/>
                  </a:lnTo>
                  <a:lnTo>
                    <a:pt x="92928" y="-2551"/>
                  </a:lnTo>
                  <a:cubicBezTo>
                    <a:pt x="93366" y="-3067"/>
                    <a:pt x="93476" y="-3676"/>
                    <a:pt x="93476" y="-4280"/>
                  </a:cubicBezTo>
                  <a:lnTo>
                    <a:pt x="152674" y="-4280"/>
                  </a:lnTo>
                  <a:lnTo>
                    <a:pt x="152674" y="125682"/>
                  </a:lnTo>
                  <a:cubicBezTo>
                    <a:pt x="151851" y="125682"/>
                    <a:pt x="150974" y="126072"/>
                    <a:pt x="150425" y="126812"/>
                  </a:cubicBezTo>
                </a:path>
              </a:pathLst>
            </a:custGeom>
            <a:grpFill/>
            <a:ln w="548" cap="flat">
              <a:noFill/>
              <a:prstDash val="solid"/>
              <a:miter/>
            </a:ln>
          </p:spPr>
          <p:txBody>
            <a:bodyPr/>
            <a:lstStyle/>
            <a:p>
              <a:endParaRPr lang="en-US"/>
            </a:p>
          </p:txBody>
        </p:sp>
        <p:sp>
          <p:nvSpPr>
            <p:cNvPr id="140" name="Freeform: Shape 139">
              <a:extLst>
                <a:ext uri="{FF2B5EF4-FFF2-40B4-BE49-F238E27FC236}">
                  <a16:creationId xmlns:a16="http://schemas.microsoft.com/office/drawing/2014/main" id="{407F3DD9-89AE-AC0D-BB01-AE11B31C9C8D}"/>
                </a:ext>
              </a:extLst>
            </p:cNvPr>
            <p:cNvSpPr/>
            <p:nvPr/>
          </p:nvSpPr>
          <p:spPr>
            <a:xfrm flipV="1">
              <a:off x="24849568" y="4477462"/>
              <a:ext cx="86356" cy="56871"/>
            </a:xfrm>
            <a:custGeom>
              <a:avLst/>
              <a:gdLst>
                <a:gd name="csX0" fmla="*/ 76668 w 86356"/>
                <a:gd name="csY0" fmla="*/ 51877 h 56871"/>
                <a:gd name="csX1" fmla="*/ -9688 w 86356"/>
                <a:gd name="csY1" fmla="*/ 51877 h 56871"/>
                <a:gd name="csX2" fmla="*/ 33434 w 86356"/>
                <a:gd name="csY2" fmla="*/ -4995 h 56871"/>
              </a:gdLst>
              <a:ahLst/>
              <a:cxnLst>
                <a:cxn ang="0">
                  <a:pos x="csX0" y="csY0"/>
                </a:cxn>
                <a:cxn ang="0">
                  <a:pos x="csX1" y="csY1"/>
                </a:cxn>
                <a:cxn ang="0">
                  <a:pos x="csX2" y="csY2"/>
                </a:cxn>
              </a:cxnLst>
              <a:rect l="l" t="t" r="r" b="b"/>
              <a:pathLst>
                <a:path w="86356" h="56871">
                  <a:moveTo>
                    <a:pt x="76668" y="51877"/>
                  </a:moveTo>
                  <a:lnTo>
                    <a:pt x="-9688" y="51877"/>
                  </a:lnTo>
                  <a:lnTo>
                    <a:pt x="33434" y="-4995"/>
                  </a:lnTo>
                  <a:close/>
                </a:path>
              </a:pathLst>
            </a:custGeom>
            <a:grpFill/>
            <a:ln w="548" cap="flat">
              <a:noFill/>
              <a:prstDash val="solid"/>
              <a:miter/>
            </a:ln>
          </p:spPr>
          <p:txBody>
            <a:bodyPr/>
            <a:lstStyle/>
            <a:p>
              <a:endParaRPr lang="en-US"/>
            </a:p>
          </p:txBody>
        </p:sp>
        <p:sp>
          <p:nvSpPr>
            <p:cNvPr id="141" name="Freeform: Shape 140">
              <a:extLst>
                <a:ext uri="{FF2B5EF4-FFF2-40B4-BE49-F238E27FC236}">
                  <a16:creationId xmlns:a16="http://schemas.microsoft.com/office/drawing/2014/main" id="{6F2A62B4-2738-6F68-77EC-30D381FC9603}"/>
                </a:ext>
              </a:extLst>
            </p:cNvPr>
            <p:cNvSpPr/>
            <p:nvPr/>
          </p:nvSpPr>
          <p:spPr>
            <a:xfrm flipV="1">
              <a:off x="24855164" y="4659528"/>
              <a:ext cx="210842" cy="264082"/>
            </a:xfrm>
            <a:custGeom>
              <a:avLst/>
              <a:gdLst>
                <a:gd name="csX0" fmla="*/ 115592 w 210842"/>
                <a:gd name="csY0" fmla="*/ 259775 h 264082"/>
                <a:gd name="csX1" fmla="*/ -9773 w 210842"/>
                <a:gd name="csY1" fmla="*/ 94580 h 264082"/>
                <a:gd name="csX2" fmla="*/ 64952 w 210842"/>
                <a:gd name="csY2" fmla="*/ -2562 h 264082"/>
                <a:gd name="csX3" fmla="*/ 65501 w 210842"/>
                <a:gd name="csY3" fmla="*/ -4307 h 264082"/>
                <a:gd name="csX4" fmla="*/ 86843 w 210842"/>
                <a:gd name="csY4" fmla="*/ -4307 h 264082"/>
                <a:gd name="csX5" fmla="*/ 87391 w 210842"/>
                <a:gd name="csY5" fmla="*/ -2579 h 264082"/>
                <a:gd name="csX6" fmla="*/ 201070 w 210842"/>
                <a:gd name="csY6" fmla="*/ 147205 h 264082"/>
                <a:gd name="csX7" fmla="*/ 115592 w 210842"/>
                <a:gd name="csY7" fmla="*/ 259775 h 26408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210842" h="264082">
                  <a:moveTo>
                    <a:pt x="115592" y="259775"/>
                  </a:moveTo>
                  <a:lnTo>
                    <a:pt x="-9773" y="94580"/>
                  </a:lnTo>
                  <a:lnTo>
                    <a:pt x="64952" y="-2562"/>
                  </a:lnTo>
                  <a:cubicBezTo>
                    <a:pt x="65336" y="-3089"/>
                    <a:pt x="65501" y="-3698"/>
                    <a:pt x="65501" y="-4307"/>
                  </a:cubicBezTo>
                  <a:lnTo>
                    <a:pt x="86843" y="-4307"/>
                  </a:lnTo>
                  <a:cubicBezTo>
                    <a:pt x="86843" y="-3704"/>
                    <a:pt x="87007" y="-3095"/>
                    <a:pt x="87391" y="-2579"/>
                  </a:cubicBezTo>
                  <a:lnTo>
                    <a:pt x="201070" y="147205"/>
                  </a:lnTo>
                  <a:lnTo>
                    <a:pt x="115592" y="259775"/>
                  </a:lnTo>
                </a:path>
              </a:pathLst>
            </a:custGeom>
            <a:grpFill/>
            <a:ln w="548" cap="flat">
              <a:noFill/>
              <a:prstDash val="solid"/>
              <a:miter/>
            </a:ln>
          </p:spPr>
          <p:txBody>
            <a:bodyPr/>
            <a:lstStyle/>
            <a:p>
              <a:endParaRPr lang="en-US"/>
            </a:p>
          </p:txBody>
        </p:sp>
        <p:sp>
          <p:nvSpPr>
            <p:cNvPr id="142" name="Freeform: Shape 141">
              <a:extLst>
                <a:ext uri="{FF2B5EF4-FFF2-40B4-BE49-F238E27FC236}">
                  <a16:creationId xmlns:a16="http://schemas.microsoft.com/office/drawing/2014/main" id="{B7907EC6-0F02-2ACF-017F-B6602CEC50C1}"/>
                </a:ext>
              </a:extLst>
            </p:cNvPr>
            <p:cNvSpPr/>
            <p:nvPr/>
          </p:nvSpPr>
          <p:spPr>
            <a:xfrm flipV="1">
              <a:off x="24780110" y="4829448"/>
              <a:ext cx="143908" cy="94163"/>
            </a:xfrm>
            <a:custGeom>
              <a:avLst/>
              <a:gdLst>
                <a:gd name="csX0" fmla="*/ -9638 w 143908"/>
                <a:gd name="csY0" fmla="*/ -4103 h 94163"/>
                <a:gd name="csX1" fmla="*/ 134270 w 143908"/>
                <a:gd name="csY1" fmla="*/ -4103 h 94163"/>
                <a:gd name="csX2" fmla="*/ 61850 w 143908"/>
                <a:gd name="csY2" fmla="*/ 90060 h 94163"/>
              </a:gdLst>
              <a:ahLst/>
              <a:cxnLst>
                <a:cxn ang="0">
                  <a:pos x="csX0" y="csY0"/>
                </a:cxn>
                <a:cxn ang="0">
                  <a:pos x="csX1" y="csY1"/>
                </a:cxn>
                <a:cxn ang="0">
                  <a:pos x="csX2" y="csY2"/>
                </a:cxn>
              </a:cxnLst>
              <a:rect l="l" t="t" r="r" b="b"/>
              <a:pathLst>
                <a:path w="143908" h="94163">
                  <a:moveTo>
                    <a:pt x="-9638" y="-4103"/>
                  </a:moveTo>
                  <a:lnTo>
                    <a:pt x="134270" y="-4103"/>
                  </a:lnTo>
                  <a:lnTo>
                    <a:pt x="61850" y="90060"/>
                  </a:lnTo>
                  <a:close/>
                </a:path>
              </a:pathLst>
            </a:custGeom>
            <a:grpFill/>
            <a:ln w="548" cap="flat">
              <a:noFill/>
              <a:prstDash val="solid"/>
              <a:miter/>
            </a:ln>
          </p:spPr>
          <p:txBody>
            <a:bodyPr/>
            <a:lstStyle/>
            <a:p>
              <a:endParaRPr lang="en-US"/>
            </a:p>
          </p:txBody>
        </p:sp>
        <p:sp>
          <p:nvSpPr>
            <p:cNvPr id="143" name="Freeform: Shape 142">
              <a:extLst>
                <a:ext uri="{FF2B5EF4-FFF2-40B4-BE49-F238E27FC236}">
                  <a16:creationId xmlns:a16="http://schemas.microsoft.com/office/drawing/2014/main" id="{BC4960D5-76F2-F479-E29C-40235815B02B}"/>
                </a:ext>
              </a:extLst>
            </p:cNvPr>
            <p:cNvSpPr/>
            <p:nvPr/>
          </p:nvSpPr>
          <p:spPr>
            <a:xfrm flipV="1">
              <a:off x="24896312" y="4477462"/>
              <a:ext cx="178472" cy="172607"/>
            </a:xfrm>
            <a:custGeom>
              <a:avLst/>
              <a:gdLst>
                <a:gd name="csX0" fmla="*/ 168669 w 178472"/>
                <a:gd name="csY0" fmla="*/ 119324 h 172607"/>
                <a:gd name="csX1" fmla="*/ 133227 w 178472"/>
                <a:gd name="csY1" fmla="*/ 166024 h 172607"/>
                <a:gd name="csX2" fmla="*/ 132733 w 178472"/>
                <a:gd name="csY2" fmla="*/ 167752 h 172607"/>
                <a:gd name="csX3" fmla="*/ 36172 w 178472"/>
                <a:gd name="csY3" fmla="*/ 167752 h 172607"/>
                <a:gd name="csX4" fmla="*/ 35624 w 178472"/>
                <a:gd name="csY4" fmla="*/ 166024 h 172607"/>
                <a:gd name="csX5" fmla="*/ -9803 w 178472"/>
                <a:gd name="csY5" fmla="*/ 106156 h 172607"/>
                <a:gd name="csX6" fmla="*/ 74413 w 178472"/>
                <a:gd name="csY6" fmla="*/ -4855 h 172607"/>
                <a:gd name="csX7" fmla="*/ 168669 w 178472"/>
                <a:gd name="csY7" fmla="*/ 119324 h 172607"/>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178472" h="172607">
                  <a:moveTo>
                    <a:pt x="168669" y="119324"/>
                  </a:moveTo>
                  <a:lnTo>
                    <a:pt x="133227" y="166024"/>
                  </a:lnTo>
                  <a:cubicBezTo>
                    <a:pt x="132843" y="166540"/>
                    <a:pt x="132733" y="167149"/>
                    <a:pt x="132733" y="167752"/>
                  </a:cubicBezTo>
                  <a:lnTo>
                    <a:pt x="36172" y="167752"/>
                  </a:lnTo>
                  <a:cubicBezTo>
                    <a:pt x="36172" y="167149"/>
                    <a:pt x="36063" y="166540"/>
                    <a:pt x="35624" y="166024"/>
                  </a:cubicBezTo>
                  <a:lnTo>
                    <a:pt x="-9803" y="106156"/>
                  </a:lnTo>
                  <a:lnTo>
                    <a:pt x="74413" y="-4855"/>
                  </a:lnTo>
                  <a:lnTo>
                    <a:pt x="168669" y="119324"/>
                  </a:lnTo>
                </a:path>
              </a:pathLst>
            </a:custGeom>
            <a:grpFill/>
            <a:ln w="548" cap="flat">
              <a:noFill/>
              <a:prstDash val="solid"/>
              <a:miter/>
            </a:ln>
          </p:spPr>
          <p:txBody>
            <a:bodyPr/>
            <a:lstStyle/>
            <a:p>
              <a:endParaRPr lang="en-US"/>
            </a:p>
          </p:txBody>
        </p:sp>
        <p:sp>
          <p:nvSpPr>
            <p:cNvPr id="144" name="Freeform: Shape 143">
              <a:extLst>
                <a:ext uri="{FF2B5EF4-FFF2-40B4-BE49-F238E27FC236}">
                  <a16:creationId xmlns:a16="http://schemas.microsoft.com/office/drawing/2014/main" id="{C833AA0C-74F1-11E7-1311-4280463E370A}"/>
                </a:ext>
              </a:extLst>
            </p:cNvPr>
            <p:cNvSpPr/>
            <p:nvPr/>
          </p:nvSpPr>
          <p:spPr>
            <a:xfrm flipV="1">
              <a:off x="25136232" y="4894116"/>
              <a:ext cx="44768" cy="29495"/>
            </a:xfrm>
            <a:custGeom>
              <a:avLst/>
              <a:gdLst>
                <a:gd name="csX0" fmla="*/ -10018 w 44768"/>
                <a:gd name="csY0" fmla="*/ -4025 h 29495"/>
                <a:gd name="csX1" fmla="*/ 34751 w 44768"/>
                <a:gd name="csY1" fmla="*/ -4025 h 29495"/>
                <a:gd name="csX2" fmla="*/ 12366 w 44768"/>
                <a:gd name="csY2" fmla="*/ 25470 h 29495"/>
              </a:gdLst>
              <a:ahLst/>
              <a:cxnLst>
                <a:cxn ang="0">
                  <a:pos x="csX0" y="csY0"/>
                </a:cxn>
                <a:cxn ang="0">
                  <a:pos x="csX1" y="csY1"/>
                </a:cxn>
                <a:cxn ang="0">
                  <a:pos x="csX2" y="csY2"/>
                </a:cxn>
              </a:cxnLst>
              <a:rect l="l" t="t" r="r" b="b"/>
              <a:pathLst>
                <a:path w="44768" h="29495">
                  <a:moveTo>
                    <a:pt x="-10018" y="-4025"/>
                  </a:moveTo>
                  <a:lnTo>
                    <a:pt x="34751" y="-4025"/>
                  </a:lnTo>
                  <a:lnTo>
                    <a:pt x="12366" y="25470"/>
                  </a:lnTo>
                  <a:close/>
                </a:path>
              </a:pathLst>
            </a:custGeom>
            <a:grpFill/>
            <a:ln w="548" cap="flat">
              <a:noFill/>
              <a:prstDash val="solid"/>
              <a:miter/>
            </a:ln>
          </p:spPr>
          <p:txBody>
            <a:bodyPr/>
            <a:lstStyle/>
            <a:p>
              <a:endParaRPr lang="en-US"/>
            </a:p>
          </p:txBody>
        </p:sp>
        <p:sp>
          <p:nvSpPr>
            <p:cNvPr id="145" name="Freeform: Shape 144">
              <a:extLst>
                <a:ext uri="{FF2B5EF4-FFF2-40B4-BE49-F238E27FC236}">
                  <a16:creationId xmlns:a16="http://schemas.microsoft.com/office/drawing/2014/main" id="{A960B24D-FDDF-A32D-FB67-4EE0D2DA714C}"/>
                </a:ext>
              </a:extLst>
            </p:cNvPr>
            <p:cNvSpPr/>
            <p:nvPr/>
          </p:nvSpPr>
          <p:spPr>
            <a:xfrm flipV="1">
              <a:off x="25314266" y="4882512"/>
              <a:ext cx="62435" cy="41098"/>
            </a:xfrm>
            <a:custGeom>
              <a:avLst/>
              <a:gdLst>
                <a:gd name="csX0" fmla="*/ -10250 w 62435"/>
                <a:gd name="csY0" fmla="*/ -4039 h 41098"/>
                <a:gd name="csX1" fmla="*/ 52186 w 62435"/>
                <a:gd name="csY1" fmla="*/ -4039 h 41098"/>
                <a:gd name="csX2" fmla="*/ 20968 w 62435"/>
                <a:gd name="csY2" fmla="*/ 37060 h 41098"/>
              </a:gdLst>
              <a:ahLst/>
              <a:cxnLst>
                <a:cxn ang="0">
                  <a:pos x="csX0" y="csY0"/>
                </a:cxn>
                <a:cxn ang="0">
                  <a:pos x="csX1" y="csY1"/>
                </a:cxn>
                <a:cxn ang="0">
                  <a:pos x="csX2" y="csY2"/>
                </a:cxn>
              </a:cxnLst>
              <a:rect l="l" t="t" r="r" b="b"/>
              <a:pathLst>
                <a:path w="62435" h="41098">
                  <a:moveTo>
                    <a:pt x="-10250" y="-4039"/>
                  </a:moveTo>
                  <a:lnTo>
                    <a:pt x="52186" y="-4039"/>
                  </a:lnTo>
                  <a:lnTo>
                    <a:pt x="20968" y="37060"/>
                  </a:lnTo>
                  <a:close/>
                </a:path>
              </a:pathLst>
            </a:custGeom>
            <a:grpFill/>
            <a:ln w="548" cap="flat">
              <a:noFill/>
              <a:prstDash val="solid"/>
              <a:miter/>
            </a:ln>
          </p:spPr>
          <p:txBody>
            <a:bodyPr/>
            <a:lstStyle/>
            <a:p>
              <a:endParaRPr lang="en-US"/>
            </a:p>
          </p:txBody>
        </p:sp>
        <p:sp>
          <p:nvSpPr>
            <p:cNvPr id="146" name="Freeform: Shape 145">
              <a:extLst>
                <a:ext uri="{FF2B5EF4-FFF2-40B4-BE49-F238E27FC236}">
                  <a16:creationId xmlns:a16="http://schemas.microsoft.com/office/drawing/2014/main" id="{D9263741-D9CB-C257-BB3E-DF2AE28D48EB}"/>
                </a:ext>
              </a:extLst>
            </p:cNvPr>
            <p:cNvSpPr/>
            <p:nvPr/>
          </p:nvSpPr>
          <p:spPr>
            <a:xfrm flipV="1">
              <a:off x="25162183" y="4765207"/>
              <a:ext cx="179734" cy="158403"/>
            </a:xfrm>
            <a:custGeom>
              <a:avLst/>
              <a:gdLst>
                <a:gd name="csX0" fmla="*/ 84122 w 179734"/>
                <a:gd name="csY0" fmla="*/ 154223 h 158403"/>
                <a:gd name="csX1" fmla="*/ -10134 w 179734"/>
                <a:gd name="csY1" fmla="*/ 30039 h 158403"/>
                <a:gd name="csX2" fmla="*/ 14555 w 179734"/>
                <a:gd name="csY2" fmla="*/ -2452 h 158403"/>
                <a:gd name="csX3" fmla="*/ 15049 w 179734"/>
                <a:gd name="csY3" fmla="*/ -4180 h 158403"/>
                <a:gd name="csX4" fmla="*/ 135585 w 179734"/>
                <a:gd name="csY4" fmla="*/ -4180 h 158403"/>
                <a:gd name="csX5" fmla="*/ 136079 w 179734"/>
                <a:gd name="csY5" fmla="*/ -2452 h 158403"/>
                <a:gd name="csX6" fmla="*/ 169601 w 179734"/>
                <a:gd name="csY6" fmla="*/ 41648 h 158403"/>
                <a:gd name="csX7" fmla="*/ 84122 w 179734"/>
                <a:gd name="csY7" fmla="*/ 154223 h 158403"/>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179734" h="158403">
                  <a:moveTo>
                    <a:pt x="84122" y="154223"/>
                  </a:moveTo>
                  <a:lnTo>
                    <a:pt x="-10134" y="30039"/>
                  </a:lnTo>
                  <a:lnTo>
                    <a:pt x="14555" y="-2452"/>
                  </a:lnTo>
                  <a:cubicBezTo>
                    <a:pt x="14939" y="-2968"/>
                    <a:pt x="15049" y="-3577"/>
                    <a:pt x="15049" y="-4180"/>
                  </a:cubicBezTo>
                  <a:lnTo>
                    <a:pt x="135585" y="-4180"/>
                  </a:lnTo>
                  <a:cubicBezTo>
                    <a:pt x="135585" y="-3577"/>
                    <a:pt x="135695" y="-2968"/>
                    <a:pt x="136079" y="-2452"/>
                  </a:cubicBezTo>
                  <a:lnTo>
                    <a:pt x="169601" y="41648"/>
                  </a:lnTo>
                  <a:lnTo>
                    <a:pt x="84122" y="154223"/>
                  </a:lnTo>
                </a:path>
              </a:pathLst>
            </a:custGeom>
            <a:grpFill/>
            <a:ln w="548" cap="flat">
              <a:noFill/>
              <a:prstDash val="solid"/>
              <a:miter/>
            </a:ln>
          </p:spPr>
          <p:txBody>
            <a:bodyPr/>
            <a:lstStyle/>
            <a:p>
              <a:endParaRPr lang="en-US"/>
            </a:p>
          </p:txBody>
        </p:sp>
        <p:sp>
          <p:nvSpPr>
            <p:cNvPr id="147" name="Freeform: Shape 146">
              <a:extLst>
                <a:ext uri="{FF2B5EF4-FFF2-40B4-BE49-F238E27FC236}">
                  <a16:creationId xmlns:a16="http://schemas.microsoft.com/office/drawing/2014/main" id="{9D2F3A52-A22E-9470-11B8-FF6F004B2EB0}"/>
                </a:ext>
              </a:extLst>
            </p:cNvPr>
            <p:cNvSpPr/>
            <p:nvPr/>
          </p:nvSpPr>
          <p:spPr>
            <a:xfrm flipV="1">
              <a:off x="24958199" y="4776828"/>
              <a:ext cx="196797" cy="146783"/>
            </a:xfrm>
            <a:custGeom>
              <a:avLst/>
              <a:gdLst>
                <a:gd name="csX0" fmla="*/ 101482 w 196797"/>
                <a:gd name="csY0" fmla="*/ 142617 h 146783"/>
                <a:gd name="csX1" fmla="*/ -9892 w 196797"/>
                <a:gd name="csY1" fmla="*/ -4166 h 146783"/>
                <a:gd name="csX2" fmla="*/ 161723 w 196797"/>
                <a:gd name="csY2" fmla="*/ -4166 h 146783"/>
                <a:gd name="csX3" fmla="*/ 162272 w 196797"/>
                <a:gd name="csY3" fmla="*/ -2438 h 146783"/>
                <a:gd name="csX4" fmla="*/ 186906 w 196797"/>
                <a:gd name="csY4" fmla="*/ 30053 h 146783"/>
                <a:gd name="csX5" fmla="*/ 101482 w 196797"/>
                <a:gd name="csY5" fmla="*/ 142617 h 146783"/>
              </a:gdLst>
              <a:ahLst/>
              <a:cxnLst>
                <a:cxn ang="0">
                  <a:pos x="csX0" y="csY0"/>
                </a:cxn>
                <a:cxn ang="0">
                  <a:pos x="csX1" y="csY1"/>
                </a:cxn>
                <a:cxn ang="0">
                  <a:pos x="csX2" y="csY2"/>
                </a:cxn>
                <a:cxn ang="0">
                  <a:pos x="csX3" y="csY3"/>
                </a:cxn>
                <a:cxn ang="0">
                  <a:pos x="csX4" y="csY4"/>
                </a:cxn>
                <a:cxn ang="0">
                  <a:pos x="csX5" y="csY5"/>
                </a:cxn>
              </a:cxnLst>
              <a:rect l="l" t="t" r="r" b="b"/>
              <a:pathLst>
                <a:path w="196797" h="146783">
                  <a:moveTo>
                    <a:pt x="101482" y="142617"/>
                  </a:moveTo>
                  <a:lnTo>
                    <a:pt x="-9892" y="-4166"/>
                  </a:lnTo>
                  <a:lnTo>
                    <a:pt x="161723" y="-4166"/>
                  </a:lnTo>
                  <a:cubicBezTo>
                    <a:pt x="161723" y="-3563"/>
                    <a:pt x="161887" y="-2954"/>
                    <a:pt x="162272" y="-2438"/>
                  </a:cubicBezTo>
                  <a:lnTo>
                    <a:pt x="186906" y="30053"/>
                  </a:lnTo>
                  <a:lnTo>
                    <a:pt x="101482" y="142617"/>
                  </a:lnTo>
                </a:path>
              </a:pathLst>
            </a:custGeom>
            <a:grpFill/>
            <a:ln w="548" cap="flat">
              <a:noFill/>
              <a:prstDash val="solid"/>
              <a:miter/>
            </a:ln>
          </p:spPr>
          <p:txBody>
            <a:bodyPr/>
            <a:lstStyle/>
            <a:p>
              <a:endParaRPr lang="en-US"/>
            </a:p>
          </p:txBody>
        </p:sp>
        <p:sp>
          <p:nvSpPr>
            <p:cNvPr id="148" name="Freeform: Shape 147">
              <a:extLst>
                <a:ext uri="{FF2B5EF4-FFF2-40B4-BE49-F238E27FC236}">
                  <a16:creationId xmlns:a16="http://schemas.microsoft.com/office/drawing/2014/main" id="{84D601F9-9C31-A826-7DED-20C5BD5FF33E}"/>
                </a:ext>
              </a:extLst>
            </p:cNvPr>
            <p:cNvSpPr/>
            <p:nvPr/>
          </p:nvSpPr>
          <p:spPr>
            <a:xfrm flipV="1">
              <a:off x="25349050" y="4753554"/>
              <a:ext cx="179734" cy="170056"/>
            </a:xfrm>
            <a:custGeom>
              <a:avLst/>
              <a:gdLst>
                <a:gd name="csX0" fmla="*/ 83946 w 179734"/>
                <a:gd name="csY0" fmla="*/ 165862 h 170056"/>
                <a:gd name="csX1" fmla="*/ -10365 w 179734"/>
                <a:gd name="csY1" fmla="*/ 41634 h 170056"/>
                <a:gd name="csX2" fmla="*/ 23102 w 179734"/>
                <a:gd name="csY2" fmla="*/ -2466 h 170056"/>
                <a:gd name="csX3" fmla="*/ 23650 w 179734"/>
                <a:gd name="csY3" fmla="*/ -4194 h 170056"/>
                <a:gd name="csX4" fmla="*/ 126520 w 179734"/>
                <a:gd name="csY4" fmla="*/ -4194 h 170056"/>
                <a:gd name="csX5" fmla="*/ 127069 w 179734"/>
                <a:gd name="csY5" fmla="*/ -2466 h 170056"/>
                <a:gd name="csX6" fmla="*/ 169369 w 179734"/>
                <a:gd name="csY6" fmla="*/ 53287 h 170056"/>
                <a:gd name="csX7" fmla="*/ 83946 w 179734"/>
                <a:gd name="csY7" fmla="*/ 165862 h 17005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179734" h="170056">
                  <a:moveTo>
                    <a:pt x="83946" y="165862"/>
                  </a:moveTo>
                  <a:lnTo>
                    <a:pt x="-10365" y="41634"/>
                  </a:lnTo>
                  <a:lnTo>
                    <a:pt x="23102" y="-2466"/>
                  </a:lnTo>
                  <a:cubicBezTo>
                    <a:pt x="23540" y="-2982"/>
                    <a:pt x="23650" y="-3591"/>
                    <a:pt x="23650" y="-4194"/>
                  </a:cubicBezTo>
                  <a:lnTo>
                    <a:pt x="126520" y="-4194"/>
                  </a:lnTo>
                  <a:cubicBezTo>
                    <a:pt x="126520" y="-3591"/>
                    <a:pt x="126685" y="-2982"/>
                    <a:pt x="127069" y="-2466"/>
                  </a:cubicBezTo>
                  <a:lnTo>
                    <a:pt x="169369" y="53287"/>
                  </a:lnTo>
                  <a:lnTo>
                    <a:pt x="83946" y="165862"/>
                  </a:lnTo>
                </a:path>
              </a:pathLst>
            </a:custGeom>
            <a:grpFill/>
            <a:ln w="548" cap="flat">
              <a:noFill/>
              <a:prstDash val="solid"/>
              <a:miter/>
            </a:ln>
          </p:spPr>
          <p:txBody>
            <a:bodyPr/>
            <a:lstStyle/>
            <a:p>
              <a:endParaRPr lang="en-US"/>
            </a:p>
          </p:txBody>
        </p:sp>
        <p:sp>
          <p:nvSpPr>
            <p:cNvPr id="149" name="Freeform: Shape 148">
              <a:extLst>
                <a:ext uri="{FF2B5EF4-FFF2-40B4-BE49-F238E27FC236}">
                  <a16:creationId xmlns:a16="http://schemas.microsoft.com/office/drawing/2014/main" id="{2A67D3D6-1E2E-31E5-A3F8-7D9249DE57BB}"/>
                </a:ext>
              </a:extLst>
            </p:cNvPr>
            <p:cNvSpPr/>
            <p:nvPr/>
          </p:nvSpPr>
          <p:spPr>
            <a:xfrm flipV="1">
              <a:off x="26928145" y="4806805"/>
              <a:ext cx="13003" cy="48488"/>
            </a:xfrm>
            <a:custGeom>
              <a:avLst/>
              <a:gdLst>
                <a:gd name="csX0" fmla="*/ -12219 w 13003"/>
                <a:gd name="csY0" fmla="*/ -4212 h 48488"/>
                <a:gd name="csX1" fmla="*/ 784 w 13003"/>
                <a:gd name="csY1" fmla="*/ -4212 h 48488"/>
                <a:gd name="csX2" fmla="*/ 784 w 13003"/>
                <a:gd name="csY2" fmla="*/ 44277 h 48488"/>
                <a:gd name="csX3" fmla="*/ -12219 w 13003"/>
                <a:gd name="csY3" fmla="*/ 44277 h 48488"/>
                <a:gd name="csX4" fmla="*/ -12219 w 13003"/>
                <a:gd name="csY4" fmla="*/ -4212 h 48488"/>
              </a:gdLst>
              <a:ahLst/>
              <a:cxnLst>
                <a:cxn ang="0">
                  <a:pos x="csX0" y="csY0"/>
                </a:cxn>
                <a:cxn ang="0">
                  <a:pos x="csX1" y="csY1"/>
                </a:cxn>
                <a:cxn ang="0">
                  <a:pos x="csX2" y="csY2"/>
                </a:cxn>
                <a:cxn ang="0">
                  <a:pos x="csX3" y="csY3"/>
                </a:cxn>
                <a:cxn ang="0">
                  <a:pos x="csX4" y="csY4"/>
                </a:cxn>
              </a:cxnLst>
              <a:rect l="l" t="t" r="r" b="b"/>
              <a:pathLst>
                <a:path w="13003" h="48488">
                  <a:moveTo>
                    <a:pt x="-12219" y="-4212"/>
                  </a:moveTo>
                  <a:lnTo>
                    <a:pt x="784" y="-4212"/>
                  </a:lnTo>
                  <a:lnTo>
                    <a:pt x="784" y="44277"/>
                  </a:lnTo>
                  <a:lnTo>
                    <a:pt x="-12219" y="44277"/>
                  </a:lnTo>
                  <a:lnTo>
                    <a:pt x="-12219" y="-4212"/>
                  </a:lnTo>
                </a:path>
              </a:pathLst>
            </a:custGeom>
            <a:grpFill/>
            <a:ln w="548" cap="flat">
              <a:noFill/>
              <a:prstDash val="solid"/>
              <a:miter/>
            </a:ln>
          </p:spPr>
          <p:txBody>
            <a:bodyPr/>
            <a:lstStyle/>
            <a:p>
              <a:endParaRPr lang="en-US"/>
            </a:p>
          </p:txBody>
        </p:sp>
        <p:sp>
          <p:nvSpPr>
            <p:cNvPr id="150" name="Freeform: Shape 149">
              <a:extLst>
                <a:ext uri="{FF2B5EF4-FFF2-40B4-BE49-F238E27FC236}">
                  <a16:creationId xmlns:a16="http://schemas.microsoft.com/office/drawing/2014/main" id="{2433C807-B687-BAF8-47A9-3BFCE35385DD}"/>
                </a:ext>
              </a:extLst>
            </p:cNvPr>
            <p:cNvSpPr/>
            <p:nvPr/>
          </p:nvSpPr>
          <p:spPr>
            <a:xfrm flipV="1">
              <a:off x="27373970" y="4806805"/>
              <a:ext cx="12948" cy="48488"/>
            </a:xfrm>
            <a:custGeom>
              <a:avLst/>
              <a:gdLst>
                <a:gd name="csX0" fmla="*/ -12772 w 12948"/>
                <a:gd name="csY0" fmla="*/ -4212 h 48488"/>
                <a:gd name="csX1" fmla="*/ 177 w 12948"/>
                <a:gd name="csY1" fmla="*/ -4212 h 48488"/>
                <a:gd name="csX2" fmla="*/ 177 w 12948"/>
                <a:gd name="csY2" fmla="*/ 44277 h 48488"/>
                <a:gd name="csX3" fmla="*/ -12772 w 12948"/>
                <a:gd name="csY3" fmla="*/ 44277 h 48488"/>
                <a:gd name="csX4" fmla="*/ -12772 w 12948"/>
                <a:gd name="csY4" fmla="*/ -4212 h 48488"/>
              </a:gdLst>
              <a:ahLst/>
              <a:cxnLst>
                <a:cxn ang="0">
                  <a:pos x="csX0" y="csY0"/>
                </a:cxn>
                <a:cxn ang="0">
                  <a:pos x="csX1" y="csY1"/>
                </a:cxn>
                <a:cxn ang="0">
                  <a:pos x="csX2" y="csY2"/>
                </a:cxn>
                <a:cxn ang="0">
                  <a:pos x="csX3" y="csY3"/>
                </a:cxn>
                <a:cxn ang="0">
                  <a:pos x="csX4" y="csY4"/>
                </a:cxn>
              </a:cxnLst>
              <a:rect l="l" t="t" r="r" b="b"/>
              <a:pathLst>
                <a:path w="12948" h="48488">
                  <a:moveTo>
                    <a:pt x="-12772" y="-4212"/>
                  </a:moveTo>
                  <a:lnTo>
                    <a:pt x="177" y="-4212"/>
                  </a:lnTo>
                  <a:lnTo>
                    <a:pt x="177" y="44277"/>
                  </a:lnTo>
                  <a:lnTo>
                    <a:pt x="-12772" y="44277"/>
                  </a:lnTo>
                  <a:lnTo>
                    <a:pt x="-12772" y="-4212"/>
                  </a:lnTo>
                </a:path>
              </a:pathLst>
            </a:custGeom>
            <a:grpFill/>
            <a:ln w="548" cap="flat">
              <a:noFill/>
              <a:prstDash val="solid"/>
              <a:miter/>
            </a:ln>
          </p:spPr>
          <p:txBody>
            <a:bodyPr/>
            <a:lstStyle/>
            <a:p>
              <a:endParaRPr lang="en-US"/>
            </a:p>
          </p:txBody>
        </p:sp>
        <p:sp>
          <p:nvSpPr>
            <p:cNvPr id="151" name="Freeform: Shape 150">
              <a:extLst>
                <a:ext uri="{FF2B5EF4-FFF2-40B4-BE49-F238E27FC236}">
                  <a16:creationId xmlns:a16="http://schemas.microsoft.com/office/drawing/2014/main" id="{37F62FE1-ABBA-674F-33B1-5511E2AEC23B}"/>
                </a:ext>
              </a:extLst>
            </p:cNvPr>
            <p:cNvSpPr/>
            <p:nvPr/>
          </p:nvSpPr>
          <p:spPr>
            <a:xfrm flipV="1">
              <a:off x="26368204" y="4030836"/>
              <a:ext cx="1578711" cy="892774"/>
            </a:xfrm>
            <a:custGeom>
              <a:avLst/>
              <a:gdLst>
                <a:gd name="csX0" fmla="*/ 1515467 w 1578711"/>
                <a:gd name="csY0" fmla="*/ 860339 h 892774"/>
                <a:gd name="csX1" fmla="*/ 1534066 w 1578711"/>
                <a:gd name="csY1" fmla="*/ 860339 h 892774"/>
                <a:gd name="csX2" fmla="*/ 1534066 w 1578711"/>
                <a:gd name="csY2" fmla="*/ 887711 h 892774"/>
                <a:gd name="csX3" fmla="*/ 1309618 w 1578711"/>
                <a:gd name="csY3" fmla="*/ 887711 h 892774"/>
                <a:gd name="csX4" fmla="*/ 1309618 w 1578711"/>
                <a:gd name="csY4" fmla="*/ 860339 h 892774"/>
                <a:gd name="csX5" fmla="*/ 1328271 w 1578711"/>
                <a:gd name="csY5" fmla="*/ 860339 h 892774"/>
                <a:gd name="csX6" fmla="*/ 1328271 w 1578711"/>
                <a:gd name="csY6" fmla="*/ 498177 h 892774"/>
                <a:gd name="csX7" fmla="*/ 1283996 w 1578711"/>
                <a:gd name="csY7" fmla="*/ 498177 h 892774"/>
                <a:gd name="csX8" fmla="*/ 1209161 w 1578711"/>
                <a:gd name="csY8" fmla="*/ 572687 h 892774"/>
                <a:gd name="csX9" fmla="*/ 1163843 w 1578711"/>
                <a:gd name="csY9" fmla="*/ 643851 h 892774"/>
                <a:gd name="csX10" fmla="*/ 1118526 w 1578711"/>
                <a:gd name="csY10" fmla="*/ 572687 h 892774"/>
                <a:gd name="csX11" fmla="*/ 1030250 w 1578711"/>
                <a:gd name="csY11" fmla="*/ 472522 h 892774"/>
                <a:gd name="csX12" fmla="*/ 1030250 w 1578711"/>
                <a:gd name="csY12" fmla="*/ 507388 h 892774"/>
                <a:gd name="csX13" fmla="*/ 1049343 w 1578711"/>
                <a:gd name="csY13" fmla="*/ 527523 h 892774"/>
                <a:gd name="csX14" fmla="*/ 1049343 w 1578711"/>
                <a:gd name="csY14" fmla="*/ 537816 h 892774"/>
                <a:gd name="csX15" fmla="*/ 1034364 w 1578711"/>
                <a:gd name="csY15" fmla="*/ 537816 h 892774"/>
                <a:gd name="csX16" fmla="*/ 1034364 w 1578711"/>
                <a:gd name="csY16" fmla="*/ 609896 h 892774"/>
                <a:gd name="csX17" fmla="*/ 1049232 w 1578711"/>
                <a:gd name="csY17" fmla="*/ 609896 h 892774"/>
                <a:gd name="csX18" fmla="*/ 1038096 w 1578711"/>
                <a:gd name="csY18" fmla="*/ 625154 h 892774"/>
                <a:gd name="csX19" fmla="*/ 1027232 w 1578711"/>
                <a:gd name="csY19" fmla="*/ 625154 h 892774"/>
                <a:gd name="csX20" fmla="*/ 1037162 w 1578711"/>
                <a:gd name="csY20" fmla="*/ 647335 h 892774"/>
                <a:gd name="csX21" fmla="*/ 1004189 w 1578711"/>
                <a:gd name="csY21" fmla="*/ 681176 h 892774"/>
                <a:gd name="csX22" fmla="*/ 1004409 w 1578711"/>
                <a:gd name="csY22" fmla="*/ 681894 h 892774"/>
                <a:gd name="csX23" fmla="*/ 1004409 w 1578711"/>
                <a:gd name="csY23" fmla="*/ 713732 h 892774"/>
                <a:gd name="csX24" fmla="*/ 1003202 w 1578711"/>
                <a:gd name="csY24" fmla="*/ 714955 h 892774"/>
                <a:gd name="csX25" fmla="*/ 1001995 w 1578711"/>
                <a:gd name="csY25" fmla="*/ 713732 h 892774"/>
                <a:gd name="csX26" fmla="*/ 1001995 w 1578711"/>
                <a:gd name="csY26" fmla="*/ 681894 h 892774"/>
                <a:gd name="csX27" fmla="*/ 1002214 w 1578711"/>
                <a:gd name="csY27" fmla="*/ 681176 h 892774"/>
                <a:gd name="csX28" fmla="*/ 969241 w 1578711"/>
                <a:gd name="csY28" fmla="*/ 647335 h 892774"/>
                <a:gd name="csX29" fmla="*/ 979171 w 1578711"/>
                <a:gd name="csY29" fmla="*/ 625154 h 892774"/>
                <a:gd name="csX30" fmla="*/ 961176 w 1578711"/>
                <a:gd name="csY30" fmla="*/ 625154 h 892774"/>
                <a:gd name="csX31" fmla="*/ 950039 w 1578711"/>
                <a:gd name="csY31" fmla="*/ 609896 h 892774"/>
                <a:gd name="csX32" fmla="*/ 965126 w 1578711"/>
                <a:gd name="csY32" fmla="*/ 609896 h 892774"/>
                <a:gd name="csX33" fmla="*/ 965126 w 1578711"/>
                <a:gd name="csY33" fmla="*/ 537816 h 892774"/>
                <a:gd name="csX34" fmla="*/ 950148 w 1578711"/>
                <a:gd name="csY34" fmla="*/ 537816 h 892774"/>
                <a:gd name="csX35" fmla="*/ 950148 w 1578711"/>
                <a:gd name="csY35" fmla="*/ 527523 h 892774"/>
                <a:gd name="csX36" fmla="*/ 969241 w 1578711"/>
                <a:gd name="csY36" fmla="*/ 507388 h 892774"/>
                <a:gd name="csX37" fmla="*/ 969241 w 1578711"/>
                <a:gd name="csY37" fmla="*/ 465659 h 892774"/>
                <a:gd name="csX38" fmla="*/ 810410 w 1578711"/>
                <a:gd name="csY38" fmla="*/ 465659 h 892774"/>
                <a:gd name="csX39" fmla="*/ 810300 w 1578711"/>
                <a:gd name="csY39" fmla="*/ 465966 h 892774"/>
                <a:gd name="csX40" fmla="*/ 828241 w 1578711"/>
                <a:gd name="csY40" fmla="*/ 465966 h 892774"/>
                <a:gd name="csX41" fmla="*/ 828241 w 1578711"/>
                <a:gd name="csY41" fmla="*/ 489020 h 892774"/>
                <a:gd name="csX42" fmla="*/ 827472 w 1578711"/>
                <a:gd name="csY42" fmla="*/ 489020 h 892774"/>
                <a:gd name="csX43" fmla="*/ 824346 w 1578711"/>
                <a:gd name="csY43" fmla="*/ 496053 h 892774"/>
                <a:gd name="csX44" fmla="*/ 835099 w 1578711"/>
                <a:gd name="csY44" fmla="*/ 507388 h 892774"/>
                <a:gd name="csX45" fmla="*/ 845906 w 1578711"/>
                <a:gd name="csY45" fmla="*/ 496053 h 892774"/>
                <a:gd name="csX46" fmla="*/ 842725 w 1578711"/>
                <a:gd name="csY46" fmla="*/ 489020 h 892774"/>
                <a:gd name="csX47" fmla="*/ 841957 w 1578711"/>
                <a:gd name="csY47" fmla="*/ 489020 h 892774"/>
                <a:gd name="csX48" fmla="*/ 841957 w 1578711"/>
                <a:gd name="csY48" fmla="*/ 465966 h 892774"/>
                <a:gd name="csX49" fmla="*/ 863025 w 1578711"/>
                <a:gd name="csY49" fmla="*/ 465966 h 892774"/>
                <a:gd name="csX50" fmla="*/ 863025 w 1578711"/>
                <a:gd name="csY50" fmla="*/ 489020 h 892774"/>
                <a:gd name="csX51" fmla="*/ 862256 w 1578711"/>
                <a:gd name="csY51" fmla="*/ 489020 h 892774"/>
                <a:gd name="csX52" fmla="*/ 859074 w 1578711"/>
                <a:gd name="csY52" fmla="*/ 496053 h 892774"/>
                <a:gd name="csX53" fmla="*/ 869883 w 1578711"/>
                <a:gd name="csY53" fmla="*/ 507388 h 892774"/>
                <a:gd name="csX54" fmla="*/ 880636 w 1578711"/>
                <a:gd name="csY54" fmla="*/ 496053 h 892774"/>
                <a:gd name="csX55" fmla="*/ 877508 w 1578711"/>
                <a:gd name="csY55" fmla="*/ 489020 h 892774"/>
                <a:gd name="csX56" fmla="*/ 876741 w 1578711"/>
                <a:gd name="csY56" fmla="*/ 489020 h 892774"/>
                <a:gd name="csX57" fmla="*/ 876741 w 1578711"/>
                <a:gd name="csY57" fmla="*/ 465966 h 892774"/>
                <a:gd name="csX58" fmla="*/ 897753 w 1578711"/>
                <a:gd name="csY58" fmla="*/ 465966 h 892774"/>
                <a:gd name="csX59" fmla="*/ 897753 w 1578711"/>
                <a:gd name="csY59" fmla="*/ 489020 h 892774"/>
                <a:gd name="csX60" fmla="*/ 897040 w 1578711"/>
                <a:gd name="csY60" fmla="*/ 489020 h 892774"/>
                <a:gd name="csX61" fmla="*/ 893858 w 1578711"/>
                <a:gd name="csY61" fmla="*/ 496053 h 892774"/>
                <a:gd name="csX62" fmla="*/ 904611 w 1578711"/>
                <a:gd name="csY62" fmla="*/ 507388 h 892774"/>
                <a:gd name="csX63" fmla="*/ 915420 w 1578711"/>
                <a:gd name="csY63" fmla="*/ 496053 h 892774"/>
                <a:gd name="csX64" fmla="*/ 912237 w 1578711"/>
                <a:gd name="csY64" fmla="*/ 489020 h 892774"/>
                <a:gd name="csX65" fmla="*/ 911524 w 1578711"/>
                <a:gd name="csY65" fmla="*/ 489020 h 892774"/>
                <a:gd name="csX66" fmla="*/ 911524 w 1578711"/>
                <a:gd name="csY66" fmla="*/ 465966 h 892774"/>
                <a:gd name="csX67" fmla="*/ 923649 w 1578711"/>
                <a:gd name="csY67" fmla="*/ 465966 h 892774"/>
                <a:gd name="csX68" fmla="*/ 932537 w 1578711"/>
                <a:gd name="csY68" fmla="*/ 480159 h 892774"/>
                <a:gd name="csX69" fmla="*/ 932537 w 1578711"/>
                <a:gd name="csY69" fmla="*/ 465966 h 892774"/>
                <a:gd name="csX70" fmla="*/ 946253 w 1578711"/>
                <a:gd name="csY70" fmla="*/ 465966 h 892774"/>
                <a:gd name="csX71" fmla="*/ 946253 w 1578711"/>
                <a:gd name="csY71" fmla="*/ 489020 h 892774"/>
                <a:gd name="csX72" fmla="*/ 947021 w 1578711"/>
                <a:gd name="csY72" fmla="*/ 489020 h 892774"/>
                <a:gd name="csX73" fmla="*/ 950148 w 1578711"/>
                <a:gd name="csY73" fmla="*/ 496053 h 892774"/>
                <a:gd name="csX74" fmla="*/ 941315 w 1578711"/>
                <a:gd name="csY74" fmla="*/ 505512 h 892774"/>
                <a:gd name="csX75" fmla="*/ 944113 w 1578711"/>
                <a:gd name="csY75" fmla="*/ 531962 h 892774"/>
                <a:gd name="csX76" fmla="*/ 847992 w 1578711"/>
                <a:gd name="csY76" fmla="*/ 679409 h 892774"/>
                <a:gd name="csX77" fmla="*/ 846675 w 1578711"/>
                <a:gd name="csY77" fmla="*/ 680023 h 892774"/>
                <a:gd name="csX78" fmla="*/ 845468 w 1578711"/>
                <a:gd name="csY78" fmla="*/ 680539 h 892774"/>
                <a:gd name="csX79" fmla="*/ 776832 w 1578711"/>
                <a:gd name="csY79" fmla="*/ 805530 h 892774"/>
                <a:gd name="csX80" fmla="*/ 708252 w 1578711"/>
                <a:gd name="csY80" fmla="*/ 680539 h 892774"/>
                <a:gd name="csX81" fmla="*/ 707046 w 1578711"/>
                <a:gd name="csY81" fmla="*/ 680023 h 892774"/>
                <a:gd name="csX82" fmla="*/ 705729 w 1578711"/>
                <a:gd name="csY82" fmla="*/ 679409 h 892774"/>
                <a:gd name="csX83" fmla="*/ 609608 w 1578711"/>
                <a:gd name="csY83" fmla="*/ 531962 h 892774"/>
                <a:gd name="csX84" fmla="*/ 612240 w 1578711"/>
                <a:gd name="csY84" fmla="*/ 506439 h 892774"/>
                <a:gd name="csX85" fmla="*/ 617947 w 1578711"/>
                <a:gd name="csY85" fmla="*/ 502385 h 892774"/>
                <a:gd name="csX86" fmla="*/ 611583 w 1578711"/>
                <a:gd name="csY86" fmla="*/ 507388 h 892774"/>
                <a:gd name="csX87" fmla="*/ 600775 w 1578711"/>
                <a:gd name="csY87" fmla="*/ 496053 h 892774"/>
                <a:gd name="csX88" fmla="*/ 603956 w 1578711"/>
                <a:gd name="csY88" fmla="*/ 489020 h 892774"/>
                <a:gd name="csX89" fmla="*/ 604670 w 1578711"/>
                <a:gd name="csY89" fmla="*/ 489020 h 892774"/>
                <a:gd name="csX90" fmla="*/ 604670 w 1578711"/>
                <a:gd name="csY90" fmla="*/ 465966 h 892774"/>
                <a:gd name="csX91" fmla="*/ 618441 w 1578711"/>
                <a:gd name="csY91" fmla="*/ 465966 h 892774"/>
                <a:gd name="csX92" fmla="*/ 618441 w 1578711"/>
                <a:gd name="csY92" fmla="*/ 486194 h 892774"/>
                <a:gd name="csX93" fmla="*/ 630071 w 1578711"/>
                <a:gd name="csY93" fmla="*/ 465966 h 892774"/>
                <a:gd name="csX94" fmla="*/ 639454 w 1578711"/>
                <a:gd name="csY94" fmla="*/ 465966 h 892774"/>
                <a:gd name="csX95" fmla="*/ 639454 w 1578711"/>
                <a:gd name="csY95" fmla="*/ 489020 h 892774"/>
                <a:gd name="csX96" fmla="*/ 638686 w 1578711"/>
                <a:gd name="csY96" fmla="*/ 489020 h 892774"/>
                <a:gd name="csX97" fmla="*/ 635558 w 1578711"/>
                <a:gd name="csY97" fmla="*/ 496053 h 892774"/>
                <a:gd name="csX98" fmla="*/ 646312 w 1578711"/>
                <a:gd name="csY98" fmla="*/ 507388 h 892774"/>
                <a:gd name="csX99" fmla="*/ 657120 w 1578711"/>
                <a:gd name="csY99" fmla="*/ 496053 h 892774"/>
                <a:gd name="csX100" fmla="*/ 653937 w 1578711"/>
                <a:gd name="csY100" fmla="*/ 489020 h 892774"/>
                <a:gd name="csX101" fmla="*/ 653225 w 1578711"/>
                <a:gd name="csY101" fmla="*/ 489020 h 892774"/>
                <a:gd name="csX102" fmla="*/ 653225 w 1578711"/>
                <a:gd name="csY102" fmla="*/ 465966 h 892774"/>
                <a:gd name="csX103" fmla="*/ 674237 w 1578711"/>
                <a:gd name="csY103" fmla="*/ 465966 h 892774"/>
                <a:gd name="csX104" fmla="*/ 674237 w 1578711"/>
                <a:gd name="csY104" fmla="*/ 489020 h 892774"/>
                <a:gd name="csX105" fmla="*/ 673470 w 1578711"/>
                <a:gd name="csY105" fmla="*/ 489020 h 892774"/>
                <a:gd name="csX106" fmla="*/ 670287 w 1578711"/>
                <a:gd name="csY106" fmla="*/ 496053 h 892774"/>
                <a:gd name="csX107" fmla="*/ 681095 w 1578711"/>
                <a:gd name="csY107" fmla="*/ 507388 h 892774"/>
                <a:gd name="csX108" fmla="*/ 691849 w 1578711"/>
                <a:gd name="csY108" fmla="*/ 496053 h 892774"/>
                <a:gd name="csX109" fmla="*/ 688721 w 1578711"/>
                <a:gd name="csY109" fmla="*/ 489020 h 892774"/>
                <a:gd name="csX110" fmla="*/ 687953 w 1578711"/>
                <a:gd name="csY110" fmla="*/ 489020 h 892774"/>
                <a:gd name="csX111" fmla="*/ 687953 w 1578711"/>
                <a:gd name="csY111" fmla="*/ 465966 h 892774"/>
                <a:gd name="csX112" fmla="*/ 708966 w 1578711"/>
                <a:gd name="csY112" fmla="*/ 465966 h 892774"/>
                <a:gd name="csX113" fmla="*/ 708966 w 1578711"/>
                <a:gd name="csY113" fmla="*/ 489020 h 892774"/>
                <a:gd name="csX114" fmla="*/ 708252 w 1578711"/>
                <a:gd name="csY114" fmla="*/ 489020 h 892774"/>
                <a:gd name="csX115" fmla="*/ 705071 w 1578711"/>
                <a:gd name="csY115" fmla="*/ 496053 h 892774"/>
                <a:gd name="csX116" fmla="*/ 715879 w 1578711"/>
                <a:gd name="csY116" fmla="*/ 507388 h 892774"/>
                <a:gd name="csX117" fmla="*/ 726632 w 1578711"/>
                <a:gd name="csY117" fmla="*/ 496053 h 892774"/>
                <a:gd name="csX118" fmla="*/ 723450 w 1578711"/>
                <a:gd name="csY118" fmla="*/ 489020 h 892774"/>
                <a:gd name="csX119" fmla="*/ 722737 w 1578711"/>
                <a:gd name="csY119" fmla="*/ 489020 h 892774"/>
                <a:gd name="csX120" fmla="*/ 722737 w 1578711"/>
                <a:gd name="csY120" fmla="*/ 465966 h 892774"/>
                <a:gd name="csX121" fmla="*/ 743421 w 1578711"/>
                <a:gd name="csY121" fmla="*/ 465966 h 892774"/>
                <a:gd name="csX122" fmla="*/ 743256 w 1578711"/>
                <a:gd name="csY122" fmla="*/ 465659 h 892774"/>
                <a:gd name="csX123" fmla="*/ 584480 w 1578711"/>
                <a:gd name="csY123" fmla="*/ 465659 h 892774"/>
                <a:gd name="csX124" fmla="*/ 584480 w 1578711"/>
                <a:gd name="csY124" fmla="*/ 507388 h 892774"/>
                <a:gd name="csX125" fmla="*/ 584480 w 1578711"/>
                <a:gd name="csY125" fmla="*/ 507388 h 892774"/>
                <a:gd name="csX126" fmla="*/ 603518 w 1578711"/>
                <a:gd name="csY126" fmla="*/ 527523 h 892774"/>
                <a:gd name="csX127" fmla="*/ 603518 w 1578711"/>
                <a:gd name="csY127" fmla="*/ 537816 h 892774"/>
                <a:gd name="csX128" fmla="*/ 588594 w 1578711"/>
                <a:gd name="csY128" fmla="*/ 537816 h 892774"/>
                <a:gd name="csX129" fmla="*/ 588594 w 1578711"/>
                <a:gd name="csY129" fmla="*/ 609896 h 892774"/>
                <a:gd name="csX130" fmla="*/ 603408 w 1578711"/>
                <a:gd name="csY130" fmla="*/ 609896 h 892774"/>
                <a:gd name="csX131" fmla="*/ 592271 w 1578711"/>
                <a:gd name="csY131" fmla="*/ 625154 h 892774"/>
                <a:gd name="csX132" fmla="*/ 581407 w 1578711"/>
                <a:gd name="csY132" fmla="*/ 625154 h 892774"/>
                <a:gd name="csX133" fmla="*/ 591392 w 1578711"/>
                <a:gd name="csY133" fmla="*/ 647335 h 892774"/>
                <a:gd name="csX134" fmla="*/ 558364 w 1578711"/>
                <a:gd name="csY134" fmla="*/ 681176 h 892774"/>
                <a:gd name="csX135" fmla="*/ 558639 w 1578711"/>
                <a:gd name="csY135" fmla="*/ 681894 h 892774"/>
                <a:gd name="csX136" fmla="*/ 558639 w 1578711"/>
                <a:gd name="csY136" fmla="*/ 713732 h 892774"/>
                <a:gd name="csX137" fmla="*/ 557432 w 1578711"/>
                <a:gd name="csY137" fmla="*/ 714955 h 892774"/>
                <a:gd name="csX138" fmla="*/ 556170 w 1578711"/>
                <a:gd name="csY138" fmla="*/ 713732 h 892774"/>
                <a:gd name="csX139" fmla="*/ 556170 w 1578711"/>
                <a:gd name="csY139" fmla="*/ 681894 h 892774"/>
                <a:gd name="csX140" fmla="*/ 556444 w 1578711"/>
                <a:gd name="csY140" fmla="*/ 681176 h 892774"/>
                <a:gd name="csX141" fmla="*/ 523417 w 1578711"/>
                <a:gd name="csY141" fmla="*/ 647335 h 892774"/>
                <a:gd name="csX142" fmla="*/ 533347 w 1578711"/>
                <a:gd name="csY142" fmla="*/ 625154 h 892774"/>
                <a:gd name="csX143" fmla="*/ 515406 w 1578711"/>
                <a:gd name="csY143" fmla="*/ 625154 h 892774"/>
                <a:gd name="csX144" fmla="*/ 504269 w 1578711"/>
                <a:gd name="csY144" fmla="*/ 609896 h 892774"/>
                <a:gd name="csX145" fmla="*/ 519356 w 1578711"/>
                <a:gd name="csY145" fmla="*/ 609896 h 892774"/>
                <a:gd name="csX146" fmla="*/ 519356 w 1578711"/>
                <a:gd name="csY146" fmla="*/ 537816 h 892774"/>
                <a:gd name="csX147" fmla="*/ 504378 w 1578711"/>
                <a:gd name="csY147" fmla="*/ 537816 h 892774"/>
                <a:gd name="csX148" fmla="*/ 504378 w 1578711"/>
                <a:gd name="csY148" fmla="*/ 527523 h 892774"/>
                <a:gd name="csX149" fmla="*/ 523417 w 1578711"/>
                <a:gd name="csY149" fmla="*/ 507388 h 892774"/>
                <a:gd name="csX150" fmla="*/ 523417 w 1578711"/>
                <a:gd name="csY150" fmla="*/ 472522 h 892774"/>
                <a:gd name="csX151" fmla="*/ 435195 w 1578711"/>
                <a:gd name="csY151" fmla="*/ 572687 h 892774"/>
                <a:gd name="csX152" fmla="*/ 389877 w 1578711"/>
                <a:gd name="csY152" fmla="*/ 643851 h 892774"/>
                <a:gd name="csX153" fmla="*/ 344560 w 1578711"/>
                <a:gd name="csY153" fmla="*/ 572687 h 892774"/>
                <a:gd name="csX154" fmla="*/ 269725 w 1578711"/>
                <a:gd name="csY154" fmla="*/ 498177 h 892774"/>
                <a:gd name="csX155" fmla="*/ 225449 w 1578711"/>
                <a:gd name="csY155" fmla="*/ 498177 h 892774"/>
                <a:gd name="csX156" fmla="*/ 225449 w 1578711"/>
                <a:gd name="csY156" fmla="*/ 860339 h 892774"/>
                <a:gd name="csX157" fmla="*/ 244048 w 1578711"/>
                <a:gd name="csY157" fmla="*/ 860339 h 892774"/>
                <a:gd name="csX158" fmla="*/ 244048 w 1578711"/>
                <a:gd name="csY158" fmla="*/ 887711 h 892774"/>
                <a:gd name="csX159" fmla="*/ 169269 w 1578711"/>
                <a:gd name="csY159" fmla="*/ 887711 h 892774"/>
                <a:gd name="csX160" fmla="*/ 94435 w 1578711"/>
                <a:gd name="csY160" fmla="*/ 887711 h 892774"/>
                <a:gd name="csX161" fmla="*/ 19600 w 1578711"/>
                <a:gd name="csY161" fmla="*/ 887711 h 892774"/>
                <a:gd name="csX162" fmla="*/ 19600 w 1578711"/>
                <a:gd name="csY162" fmla="*/ 860339 h 892774"/>
                <a:gd name="csX163" fmla="*/ 38254 w 1578711"/>
                <a:gd name="csY163" fmla="*/ 860339 h 892774"/>
                <a:gd name="csX164" fmla="*/ 38254 w 1578711"/>
                <a:gd name="csY164" fmla="*/ 498177 h 892774"/>
                <a:gd name="csX165" fmla="*/ -12496 w 1578711"/>
                <a:gd name="csY165" fmla="*/ 498177 h 892774"/>
                <a:gd name="csX166" fmla="*/ -12496 w 1578711"/>
                <a:gd name="csY166" fmla="*/ 444070 h 892774"/>
                <a:gd name="csX167" fmla="*/ 38254 w 1578711"/>
                <a:gd name="csY167" fmla="*/ 444070 h 892774"/>
                <a:gd name="csX168" fmla="*/ 38254 w 1578711"/>
                <a:gd name="csY168" fmla="*/ -5064 h 892774"/>
                <a:gd name="csX169" fmla="*/ 100634 w 1578711"/>
                <a:gd name="csY169" fmla="*/ -5064 h 892774"/>
                <a:gd name="csX170" fmla="*/ 100634 w 1578711"/>
                <a:gd name="csY170" fmla="*/ 444070 h 892774"/>
                <a:gd name="csX171" fmla="*/ 106394 w 1578711"/>
                <a:gd name="csY171" fmla="*/ 444070 h 892774"/>
                <a:gd name="csX172" fmla="*/ 106394 w 1578711"/>
                <a:gd name="csY172" fmla="*/ -5064 h 892774"/>
                <a:gd name="csX173" fmla="*/ 157309 w 1578711"/>
                <a:gd name="csY173" fmla="*/ -5064 h 892774"/>
                <a:gd name="csX174" fmla="*/ 157309 w 1578711"/>
                <a:gd name="csY174" fmla="*/ 444070 h 892774"/>
                <a:gd name="csX175" fmla="*/ 163015 w 1578711"/>
                <a:gd name="csY175" fmla="*/ 444070 h 892774"/>
                <a:gd name="csX176" fmla="*/ 163015 w 1578711"/>
                <a:gd name="csY176" fmla="*/ -5064 h 892774"/>
                <a:gd name="csX177" fmla="*/ 225449 w 1578711"/>
                <a:gd name="csY177" fmla="*/ -5064 h 892774"/>
                <a:gd name="csX178" fmla="*/ 241196 w 1578711"/>
                <a:gd name="csY178" fmla="*/ -5064 h 892774"/>
                <a:gd name="csX179" fmla="*/ 270109 w 1578711"/>
                <a:gd name="csY179" fmla="*/ -5064 h 892774"/>
                <a:gd name="csX180" fmla="*/ 357837 w 1578711"/>
                <a:gd name="csY180" fmla="*/ -5064 h 892774"/>
                <a:gd name="csX181" fmla="*/ 386749 w 1578711"/>
                <a:gd name="csY181" fmla="*/ -5064 h 892774"/>
                <a:gd name="csX182" fmla="*/ 478757 w 1578711"/>
                <a:gd name="csY182" fmla="*/ -5064 h 892774"/>
                <a:gd name="csX183" fmla="*/ 507670 w 1578711"/>
                <a:gd name="csY183" fmla="*/ -5064 h 892774"/>
                <a:gd name="csX184" fmla="*/ 523417 w 1578711"/>
                <a:gd name="csY184" fmla="*/ -5064 h 892774"/>
                <a:gd name="csX185" fmla="*/ 584480 w 1578711"/>
                <a:gd name="csY185" fmla="*/ -5064 h 892774"/>
                <a:gd name="csX186" fmla="*/ 614600 w 1578711"/>
                <a:gd name="csY186" fmla="*/ -5064 h 892774"/>
                <a:gd name="csX187" fmla="*/ 647628 w 1578711"/>
                <a:gd name="csY187" fmla="*/ -5064 h 892774"/>
                <a:gd name="csX188" fmla="*/ 653554 w 1578711"/>
                <a:gd name="csY188" fmla="*/ -5064 h 892774"/>
                <a:gd name="csX189" fmla="*/ 696182 w 1578711"/>
                <a:gd name="csY189" fmla="*/ -5064 h 892774"/>
                <a:gd name="csX190" fmla="*/ 702437 w 1578711"/>
                <a:gd name="csY190" fmla="*/ -5064 h 892774"/>
                <a:gd name="csX191" fmla="*/ 735466 w 1578711"/>
                <a:gd name="csY191" fmla="*/ -5064 h 892774"/>
                <a:gd name="csX192" fmla="*/ 742817 w 1578711"/>
                <a:gd name="csY192" fmla="*/ -5064 h 892774"/>
                <a:gd name="csX193" fmla="*/ 775626 w 1578711"/>
                <a:gd name="csY193" fmla="*/ -5064 h 892774"/>
                <a:gd name="csX194" fmla="*/ 778095 w 1578711"/>
                <a:gd name="csY194" fmla="*/ -5064 h 892774"/>
                <a:gd name="csX195" fmla="*/ 810848 w 1578711"/>
                <a:gd name="csY195" fmla="*/ -5064 h 892774"/>
                <a:gd name="csX196" fmla="*/ 817871 w 1578711"/>
                <a:gd name="csY196" fmla="*/ -5064 h 892774"/>
                <a:gd name="csX197" fmla="*/ 850899 w 1578711"/>
                <a:gd name="csY197" fmla="*/ -5064 h 892774"/>
                <a:gd name="csX198" fmla="*/ 857208 w 1578711"/>
                <a:gd name="csY198" fmla="*/ -5064 h 892774"/>
                <a:gd name="csX199" fmla="*/ 899838 w 1578711"/>
                <a:gd name="csY199" fmla="*/ -5064 h 892774"/>
                <a:gd name="csX200" fmla="*/ 906093 w 1578711"/>
                <a:gd name="csY200" fmla="*/ -5064 h 892774"/>
                <a:gd name="csX201" fmla="*/ 939066 w 1578711"/>
                <a:gd name="csY201" fmla="*/ -5064 h 892774"/>
                <a:gd name="csX202" fmla="*/ 969241 w 1578711"/>
                <a:gd name="csY202" fmla="*/ -5064 h 892774"/>
                <a:gd name="csX203" fmla="*/ 1030250 w 1578711"/>
                <a:gd name="csY203" fmla="*/ -5064 h 892774"/>
                <a:gd name="csX204" fmla="*/ 1046051 w 1578711"/>
                <a:gd name="csY204" fmla="*/ -5064 h 892774"/>
                <a:gd name="csX205" fmla="*/ 1074964 w 1578711"/>
                <a:gd name="csY205" fmla="*/ -5064 h 892774"/>
                <a:gd name="csX206" fmla="*/ 1166971 w 1578711"/>
                <a:gd name="csY206" fmla="*/ -5064 h 892774"/>
                <a:gd name="csX207" fmla="*/ 1195884 w 1578711"/>
                <a:gd name="csY207" fmla="*/ -5064 h 892774"/>
                <a:gd name="csX208" fmla="*/ 1283557 w 1578711"/>
                <a:gd name="csY208" fmla="*/ -5064 h 892774"/>
                <a:gd name="csX209" fmla="*/ 1312470 w 1578711"/>
                <a:gd name="csY209" fmla="*/ -5064 h 892774"/>
                <a:gd name="csX210" fmla="*/ 1328271 w 1578711"/>
                <a:gd name="csY210" fmla="*/ -5064 h 892774"/>
                <a:gd name="csX211" fmla="*/ 1390651 w 1578711"/>
                <a:gd name="csY211" fmla="*/ -5064 h 892774"/>
                <a:gd name="csX212" fmla="*/ 1390651 w 1578711"/>
                <a:gd name="csY212" fmla="*/ 444070 h 892774"/>
                <a:gd name="csX213" fmla="*/ 1396412 w 1578711"/>
                <a:gd name="csY213" fmla="*/ 444070 h 892774"/>
                <a:gd name="csX214" fmla="*/ 1396412 w 1578711"/>
                <a:gd name="csY214" fmla="*/ -5064 h 892774"/>
                <a:gd name="csX215" fmla="*/ 1447326 w 1578711"/>
                <a:gd name="csY215" fmla="*/ -5064 h 892774"/>
                <a:gd name="csX216" fmla="*/ 1447326 w 1578711"/>
                <a:gd name="csY216" fmla="*/ 444070 h 892774"/>
                <a:gd name="csX217" fmla="*/ 1453031 w 1578711"/>
                <a:gd name="csY217" fmla="*/ 444070 h 892774"/>
                <a:gd name="csX218" fmla="*/ 1453031 w 1578711"/>
                <a:gd name="csY218" fmla="*/ -5064 h 892774"/>
                <a:gd name="csX219" fmla="*/ 1515467 w 1578711"/>
                <a:gd name="csY219" fmla="*/ -5064 h 892774"/>
                <a:gd name="csX220" fmla="*/ 1515467 w 1578711"/>
                <a:gd name="csY220" fmla="*/ 444070 h 892774"/>
                <a:gd name="csX221" fmla="*/ 1566216 w 1578711"/>
                <a:gd name="csY221" fmla="*/ 444070 h 892774"/>
                <a:gd name="csX222" fmla="*/ 1566216 w 1578711"/>
                <a:gd name="csY222" fmla="*/ 498177 h 892774"/>
                <a:gd name="csX223" fmla="*/ 1515467 w 1578711"/>
                <a:gd name="csY223" fmla="*/ 498177 h 892774"/>
                <a:gd name="csX224" fmla="*/ 939615 w 1578711"/>
                <a:gd name="csY224" fmla="*/ 506895 h 892774"/>
                <a:gd name="csX225" fmla="*/ 939889 w 1578711"/>
                <a:gd name="csY225" fmla="*/ 506582 h 892774"/>
                <a:gd name="csX226" fmla="*/ 939615 w 1578711"/>
                <a:gd name="csY226" fmla="*/ 506895 h 892774"/>
                <a:gd name="csX227" fmla="*/ 940657 w 1578711"/>
                <a:gd name="csY227" fmla="*/ 505951 h 892774"/>
                <a:gd name="csX228" fmla="*/ 941261 w 1578711"/>
                <a:gd name="csY228" fmla="*/ 505539 h 892774"/>
                <a:gd name="csX229" fmla="*/ 940657 w 1578711"/>
                <a:gd name="csY229" fmla="*/ 505951 h 892774"/>
                <a:gd name="csX230" fmla="*/ 940053 w 1578711"/>
                <a:gd name="csY230" fmla="*/ 506445 h 892774"/>
                <a:gd name="csX231" fmla="*/ 940492 w 1578711"/>
                <a:gd name="csY231" fmla="*/ 506088 h 892774"/>
                <a:gd name="csX232" fmla="*/ 940053 w 1578711"/>
                <a:gd name="csY232" fmla="*/ 506445 h 892774"/>
                <a:gd name="csX233" fmla="*/ 939560 w 1578711"/>
                <a:gd name="csY233" fmla="*/ 507015 h 892774"/>
                <a:gd name="csX234" fmla="*/ 939395 w 1578711"/>
                <a:gd name="csY234" fmla="*/ 507388 h 892774"/>
                <a:gd name="csX235" fmla="*/ 939560 w 1578711"/>
                <a:gd name="csY235" fmla="*/ 507015 h 892774"/>
                <a:gd name="csX236" fmla="*/ 617947 w 1578711"/>
                <a:gd name="csY236" fmla="*/ 502374 h 892774"/>
                <a:gd name="csX237" fmla="*/ 619812 w 1578711"/>
                <a:gd name="csY237" fmla="*/ 500777 h 892774"/>
                <a:gd name="csX238" fmla="*/ 617947 w 1578711"/>
                <a:gd name="csY238" fmla="*/ 502374 h 892774"/>
                <a:gd name="csX239" fmla="*/ 622226 w 1578711"/>
                <a:gd name="csY239" fmla="*/ 497002 h 892774"/>
                <a:gd name="csX240" fmla="*/ 622336 w 1578711"/>
                <a:gd name="csY240" fmla="*/ 496053 h 892774"/>
                <a:gd name="csX241" fmla="*/ 622226 w 1578711"/>
                <a:gd name="csY241" fmla="*/ 497002 h 892774"/>
                <a:gd name="csX242" fmla="*/ 619921 w 1578711"/>
                <a:gd name="csY242" fmla="*/ 500700 h 892774"/>
                <a:gd name="csX243" fmla="*/ 620580 w 1578711"/>
                <a:gd name="csY243" fmla="*/ 499976 h 892774"/>
                <a:gd name="csX244" fmla="*/ 619921 w 1578711"/>
                <a:gd name="csY244" fmla="*/ 500700 h 892774"/>
                <a:gd name="csX245" fmla="*/ 620800 w 1578711"/>
                <a:gd name="csY245" fmla="*/ 499735 h 892774"/>
                <a:gd name="csX246" fmla="*/ 621238 w 1578711"/>
                <a:gd name="csY246" fmla="*/ 499137 h 892774"/>
                <a:gd name="csX247" fmla="*/ 620800 w 1578711"/>
                <a:gd name="csY247" fmla="*/ 499735 h 892774"/>
                <a:gd name="csX248" fmla="*/ 621403 w 1578711"/>
                <a:gd name="csY248" fmla="*/ 498829 h 892774"/>
                <a:gd name="csX249" fmla="*/ 621732 w 1578711"/>
                <a:gd name="csY249" fmla="*/ 498248 h 892774"/>
                <a:gd name="csX250" fmla="*/ 621403 w 1578711"/>
                <a:gd name="csY250" fmla="*/ 498829 h 892774"/>
                <a:gd name="csX251" fmla="*/ 621897 w 1578711"/>
                <a:gd name="csY251" fmla="*/ 497924 h 892774"/>
                <a:gd name="csX252" fmla="*/ 622116 w 1578711"/>
                <a:gd name="csY252" fmla="*/ 497299 h 892774"/>
                <a:gd name="csX253" fmla="*/ 621897 w 1578711"/>
                <a:gd name="csY253" fmla="*/ 497924 h 892774"/>
                <a:gd name="csX254" fmla="*/ 106394 w 1578711"/>
                <a:gd name="csY254" fmla="*/ 498177 h 892774"/>
                <a:gd name="csX255" fmla="*/ 100634 w 1578711"/>
                <a:gd name="csY255" fmla="*/ 498177 h 892774"/>
                <a:gd name="csX256" fmla="*/ 100634 w 1578711"/>
                <a:gd name="csY256" fmla="*/ 860339 h 892774"/>
                <a:gd name="csX257" fmla="*/ 106394 w 1578711"/>
                <a:gd name="csY257" fmla="*/ 860339 h 892774"/>
                <a:gd name="csX258" fmla="*/ 147433 w 1578711"/>
                <a:gd name="csY258" fmla="*/ 498177 h 892774"/>
                <a:gd name="csX259" fmla="*/ 116270 w 1578711"/>
                <a:gd name="csY259" fmla="*/ 498177 h 892774"/>
                <a:gd name="csX260" fmla="*/ 116270 w 1578711"/>
                <a:gd name="csY260" fmla="*/ 552695 h 892774"/>
                <a:gd name="csX261" fmla="*/ 147433 w 1578711"/>
                <a:gd name="csY261" fmla="*/ 552695 h 892774"/>
                <a:gd name="csX262" fmla="*/ 163015 w 1578711"/>
                <a:gd name="csY262" fmla="*/ 498177 h 892774"/>
                <a:gd name="csX263" fmla="*/ 157309 w 1578711"/>
                <a:gd name="csY263" fmla="*/ 498177 h 892774"/>
                <a:gd name="csX264" fmla="*/ 157309 w 1578711"/>
                <a:gd name="csY264" fmla="*/ 860339 h 892774"/>
                <a:gd name="csX265" fmla="*/ 163015 w 1578711"/>
                <a:gd name="csY265" fmla="*/ 860339 h 892774"/>
                <a:gd name="csX266" fmla="*/ 216727 w 1578711"/>
                <a:gd name="csY266" fmla="*/ 10216 h 892774"/>
                <a:gd name="csX267" fmla="*/ 180406 w 1578711"/>
                <a:gd name="csY267" fmla="*/ 10216 h 892774"/>
                <a:gd name="csX268" fmla="*/ 180406 w 1578711"/>
                <a:gd name="csY268" fmla="*/ 101806 h 892774"/>
                <a:gd name="csX269" fmla="*/ 216727 w 1578711"/>
                <a:gd name="csY269" fmla="*/ 101806 h 892774"/>
                <a:gd name="csX270" fmla="*/ 1252668 w 1578711"/>
                <a:gd name="csY270" fmla="*/ 410822 h 892774"/>
                <a:gd name="csX271" fmla="*/ 1263422 w 1578711"/>
                <a:gd name="csY271" fmla="*/ 399487 h 892774"/>
                <a:gd name="csX272" fmla="*/ 1260240 w 1578711"/>
                <a:gd name="csY272" fmla="*/ 392454 h 892774"/>
                <a:gd name="csX273" fmla="*/ 1259526 w 1578711"/>
                <a:gd name="csY273" fmla="*/ 392454 h 892774"/>
                <a:gd name="csX274" fmla="*/ 1259526 w 1578711"/>
                <a:gd name="csY274" fmla="*/ 369405 h 892774"/>
                <a:gd name="csX275" fmla="*/ 1245756 w 1578711"/>
                <a:gd name="csY275" fmla="*/ 369405 h 892774"/>
                <a:gd name="csX276" fmla="*/ 1245756 w 1578711"/>
                <a:gd name="csY276" fmla="*/ 392454 h 892774"/>
                <a:gd name="csX277" fmla="*/ 1245042 w 1578711"/>
                <a:gd name="csY277" fmla="*/ 392454 h 892774"/>
                <a:gd name="csX278" fmla="*/ 1241861 w 1578711"/>
                <a:gd name="csY278" fmla="*/ 399487 h 892774"/>
                <a:gd name="csX279" fmla="*/ 1252668 w 1578711"/>
                <a:gd name="csY279" fmla="*/ 410822 h 892774"/>
                <a:gd name="csX280" fmla="*/ 1214703 w 1578711"/>
                <a:gd name="csY280" fmla="*/ 410822 h 892774"/>
                <a:gd name="csX281" fmla="*/ 1225456 w 1578711"/>
                <a:gd name="csY281" fmla="*/ 399487 h 892774"/>
                <a:gd name="csX282" fmla="*/ 1222328 w 1578711"/>
                <a:gd name="csY282" fmla="*/ 392454 h 892774"/>
                <a:gd name="csX283" fmla="*/ 1221561 w 1578711"/>
                <a:gd name="csY283" fmla="*/ 392454 h 892774"/>
                <a:gd name="csX284" fmla="*/ 1221561 w 1578711"/>
                <a:gd name="csY284" fmla="*/ 369405 h 892774"/>
                <a:gd name="csX285" fmla="*/ 1207845 w 1578711"/>
                <a:gd name="csY285" fmla="*/ 369405 h 892774"/>
                <a:gd name="csX286" fmla="*/ 1207845 w 1578711"/>
                <a:gd name="csY286" fmla="*/ 392454 h 892774"/>
                <a:gd name="csX287" fmla="*/ 1207077 w 1578711"/>
                <a:gd name="csY287" fmla="*/ 392454 h 892774"/>
                <a:gd name="csX288" fmla="*/ 1203894 w 1578711"/>
                <a:gd name="csY288" fmla="*/ 399487 h 892774"/>
                <a:gd name="csX289" fmla="*/ 1214703 w 1578711"/>
                <a:gd name="csY289" fmla="*/ 410822 h 892774"/>
                <a:gd name="csX290" fmla="*/ 1176736 w 1578711"/>
                <a:gd name="csY290" fmla="*/ 410822 h 892774"/>
                <a:gd name="csX291" fmla="*/ 1187545 w 1578711"/>
                <a:gd name="csY291" fmla="*/ 399487 h 892774"/>
                <a:gd name="csX292" fmla="*/ 1184363 w 1578711"/>
                <a:gd name="csY292" fmla="*/ 392454 h 892774"/>
                <a:gd name="csX293" fmla="*/ 1183649 w 1578711"/>
                <a:gd name="csY293" fmla="*/ 392454 h 892774"/>
                <a:gd name="csX294" fmla="*/ 1183649 w 1578711"/>
                <a:gd name="csY294" fmla="*/ 369405 h 892774"/>
                <a:gd name="csX295" fmla="*/ 1169878 w 1578711"/>
                <a:gd name="csY295" fmla="*/ 369405 h 892774"/>
                <a:gd name="csX296" fmla="*/ 1169878 w 1578711"/>
                <a:gd name="csY296" fmla="*/ 392454 h 892774"/>
                <a:gd name="csX297" fmla="*/ 1169110 w 1578711"/>
                <a:gd name="csY297" fmla="*/ 392454 h 892774"/>
                <a:gd name="csX298" fmla="*/ 1165983 w 1578711"/>
                <a:gd name="csY298" fmla="*/ 399487 h 892774"/>
                <a:gd name="csX299" fmla="*/ 1176736 w 1578711"/>
                <a:gd name="csY299" fmla="*/ 410822 h 892774"/>
                <a:gd name="csX300" fmla="*/ 1138826 w 1578711"/>
                <a:gd name="csY300" fmla="*/ 410822 h 892774"/>
                <a:gd name="csX301" fmla="*/ 1149579 w 1578711"/>
                <a:gd name="csY301" fmla="*/ 399487 h 892774"/>
                <a:gd name="csX302" fmla="*/ 1146452 w 1578711"/>
                <a:gd name="csY302" fmla="*/ 392454 h 892774"/>
                <a:gd name="csX303" fmla="*/ 1145684 w 1578711"/>
                <a:gd name="csY303" fmla="*/ 392454 h 892774"/>
                <a:gd name="csX304" fmla="*/ 1145684 w 1578711"/>
                <a:gd name="csY304" fmla="*/ 369405 h 892774"/>
                <a:gd name="csX305" fmla="*/ 1131913 w 1578711"/>
                <a:gd name="csY305" fmla="*/ 369405 h 892774"/>
                <a:gd name="csX306" fmla="*/ 1131913 w 1578711"/>
                <a:gd name="csY306" fmla="*/ 392454 h 892774"/>
                <a:gd name="csX307" fmla="*/ 1131199 w 1578711"/>
                <a:gd name="csY307" fmla="*/ 392454 h 892774"/>
                <a:gd name="csX308" fmla="*/ 1128018 w 1578711"/>
                <a:gd name="csY308" fmla="*/ 399487 h 892774"/>
                <a:gd name="csX309" fmla="*/ 1138826 w 1578711"/>
                <a:gd name="csY309" fmla="*/ 410822 h 892774"/>
                <a:gd name="csX310" fmla="*/ 1100860 w 1578711"/>
                <a:gd name="csY310" fmla="*/ 410822 h 892774"/>
                <a:gd name="csX311" fmla="*/ 1111613 w 1578711"/>
                <a:gd name="csY311" fmla="*/ 399487 h 892774"/>
                <a:gd name="csX312" fmla="*/ 1108485 w 1578711"/>
                <a:gd name="csY312" fmla="*/ 392454 h 892774"/>
                <a:gd name="csX313" fmla="*/ 1107718 w 1578711"/>
                <a:gd name="csY313" fmla="*/ 392454 h 892774"/>
                <a:gd name="csX314" fmla="*/ 1107718 w 1578711"/>
                <a:gd name="csY314" fmla="*/ 369405 h 892774"/>
                <a:gd name="csX315" fmla="*/ 1094002 w 1578711"/>
                <a:gd name="csY315" fmla="*/ 369405 h 892774"/>
                <a:gd name="csX316" fmla="*/ 1094002 w 1578711"/>
                <a:gd name="csY316" fmla="*/ 392454 h 892774"/>
                <a:gd name="csX317" fmla="*/ 1093234 w 1578711"/>
                <a:gd name="csY317" fmla="*/ 392454 h 892774"/>
                <a:gd name="csX318" fmla="*/ 1090106 w 1578711"/>
                <a:gd name="csY318" fmla="*/ 399487 h 892774"/>
                <a:gd name="csX319" fmla="*/ 1100860 w 1578711"/>
                <a:gd name="csY319" fmla="*/ 410822 h 892774"/>
                <a:gd name="csX320" fmla="*/ 1062894 w 1578711"/>
                <a:gd name="csY320" fmla="*/ 410822 h 892774"/>
                <a:gd name="csX321" fmla="*/ 1073703 w 1578711"/>
                <a:gd name="csY321" fmla="*/ 399487 h 892774"/>
                <a:gd name="csX322" fmla="*/ 1070520 w 1578711"/>
                <a:gd name="csY322" fmla="*/ 392454 h 892774"/>
                <a:gd name="csX323" fmla="*/ 1069806 w 1578711"/>
                <a:gd name="csY323" fmla="*/ 392454 h 892774"/>
                <a:gd name="csX324" fmla="*/ 1069806 w 1578711"/>
                <a:gd name="csY324" fmla="*/ 369405 h 892774"/>
                <a:gd name="csX325" fmla="*/ 1056036 w 1578711"/>
                <a:gd name="csY325" fmla="*/ 369405 h 892774"/>
                <a:gd name="csX326" fmla="*/ 1056036 w 1578711"/>
                <a:gd name="csY326" fmla="*/ 392454 h 892774"/>
                <a:gd name="csX327" fmla="*/ 1055323 w 1578711"/>
                <a:gd name="csY327" fmla="*/ 392454 h 892774"/>
                <a:gd name="csX328" fmla="*/ 1052141 w 1578711"/>
                <a:gd name="csY328" fmla="*/ 399487 h 892774"/>
                <a:gd name="csX329" fmla="*/ 1062894 w 1578711"/>
                <a:gd name="csY329" fmla="*/ 410822 h 892774"/>
                <a:gd name="csX330" fmla="*/ 1043417 w 1578711"/>
                <a:gd name="csY330" fmla="*/ 367699 h 892774"/>
                <a:gd name="csX331" fmla="*/ 1030250 w 1578711"/>
                <a:gd name="csY331" fmla="*/ 367699 h 892774"/>
                <a:gd name="csX332" fmla="*/ 1030250 w 1578711"/>
                <a:gd name="csY332" fmla="*/ 396278 h 892774"/>
                <a:gd name="csX333" fmla="*/ 1043417 w 1578711"/>
                <a:gd name="csY333" fmla="*/ 367699 h 892774"/>
                <a:gd name="csX334" fmla="*/ 987566 w 1578711"/>
                <a:gd name="csY334" fmla="*/ 583709 h 892774"/>
                <a:gd name="csX335" fmla="*/ 999745 w 1578711"/>
                <a:gd name="csY335" fmla="*/ 595917 h 892774"/>
                <a:gd name="csX336" fmla="*/ 1011980 w 1578711"/>
                <a:gd name="csY336" fmla="*/ 583709 h 892774"/>
                <a:gd name="csX337" fmla="*/ 1011980 w 1578711"/>
                <a:gd name="csY337" fmla="*/ 537816 h 892774"/>
                <a:gd name="csX338" fmla="*/ 987566 w 1578711"/>
                <a:gd name="csY338" fmla="*/ 537816 h 892774"/>
                <a:gd name="csX339" fmla="*/ 794280 w 1578711"/>
                <a:gd name="csY339" fmla="*/ 492037 h 892774"/>
                <a:gd name="csX340" fmla="*/ 792579 w 1578711"/>
                <a:gd name="csY340" fmla="*/ 492037 h 892774"/>
                <a:gd name="csX341" fmla="*/ 792579 w 1578711"/>
                <a:gd name="csY341" fmla="*/ 484746 h 892774"/>
                <a:gd name="csX342" fmla="*/ 792579 w 1578711"/>
                <a:gd name="csY342" fmla="*/ 484757 h 892774"/>
                <a:gd name="csX343" fmla="*/ 776832 w 1578711"/>
                <a:gd name="csY343" fmla="*/ 488340 h 892774"/>
                <a:gd name="csX344" fmla="*/ 761142 w 1578711"/>
                <a:gd name="csY344" fmla="*/ 484740 h 892774"/>
                <a:gd name="csX345" fmla="*/ 761142 w 1578711"/>
                <a:gd name="csY345" fmla="*/ 484746 h 892774"/>
                <a:gd name="csX346" fmla="*/ 761142 w 1578711"/>
                <a:gd name="csY346" fmla="*/ 492037 h 892774"/>
                <a:gd name="csX347" fmla="*/ 759441 w 1578711"/>
                <a:gd name="csY347" fmla="*/ 492037 h 892774"/>
                <a:gd name="csX348" fmla="*/ 752199 w 1578711"/>
                <a:gd name="csY348" fmla="*/ 508123 h 892774"/>
                <a:gd name="csX349" fmla="*/ 776832 w 1578711"/>
                <a:gd name="csY349" fmla="*/ 534030 h 892774"/>
                <a:gd name="csX350" fmla="*/ 801467 w 1578711"/>
                <a:gd name="csY350" fmla="*/ 508123 h 892774"/>
                <a:gd name="csX351" fmla="*/ 794280 w 1578711"/>
                <a:gd name="csY351" fmla="*/ 492037 h 892774"/>
                <a:gd name="csX352" fmla="*/ 800918 w 1578711"/>
                <a:gd name="csY352" fmla="*/ 479144 h 892774"/>
                <a:gd name="csX353" fmla="*/ 800480 w 1578711"/>
                <a:gd name="csY353" fmla="*/ 479517 h 892774"/>
                <a:gd name="csX354" fmla="*/ 800918 w 1578711"/>
                <a:gd name="csY354" fmla="*/ 479144 h 892774"/>
                <a:gd name="csX355" fmla="*/ 798504 w 1578711"/>
                <a:gd name="csY355" fmla="*/ 481130 h 892774"/>
                <a:gd name="csX356" fmla="*/ 797955 w 1578711"/>
                <a:gd name="csY356" fmla="*/ 481509 h 892774"/>
                <a:gd name="csX357" fmla="*/ 798504 w 1578711"/>
                <a:gd name="csY357" fmla="*/ 481130 h 892774"/>
                <a:gd name="csX358" fmla="*/ 795597 w 1578711"/>
                <a:gd name="csY358" fmla="*/ 483084 h 892774"/>
                <a:gd name="csX359" fmla="*/ 795432 w 1578711"/>
                <a:gd name="csY359" fmla="*/ 483215 h 892774"/>
                <a:gd name="csX360" fmla="*/ 795597 w 1578711"/>
                <a:gd name="csY360" fmla="*/ 483084 h 892774"/>
                <a:gd name="csX361" fmla="*/ 758344 w 1578711"/>
                <a:gd name="csY361" fmla="*/ 483226 h 892774"/>
                <a:gd name="csX362" fmla="*/ 757904 w 1578711"/>
                <a:gd name="csY362" fmla="*/ 482974 h 892774"/>
                <a:gd name="csX363" fmla="*/ 758344 w 1578711"/>
                <a:gd name="csY363" fmla="*/ 483226 h 892774"/>
                <a:gd name="csX364" fmla="*/ 753241 w 1578711"/>
                <a:gd name="csY364" fmla="*/ 479528 h 892774"/>
                <a:gd name="csX365" fmla="*/ 752748 w 1578711"/>
                <a:gd name="csY365" fmla="*/ 479117 h 892774"/>
                <a:gd name="csX366" fmla="*/ 753241 w 1578711"/>
                <a:gd name="csY366" fmla="*/ 479528 h 892774"/>
                <a:gd name="csX367" fmla="*/ 755766 w 1578711"/>
                <a:gd name="csY367" fmla="*/ 481520 h 892774"/>
                <a:gd name="csX368" fmla="*/ 755161 w 1578711"/>
                <a:gd name="csY368" fmla="*/ 481086 h 892774"/>
                <a:gd name="csX369" fmla="*/ 755766 w 1578711"/>
                <a:gd name="csY369" fmla="*/ 481520 h 892774"/>
                <a:gd name="csX370" fmla="*/ 808764 w 1578711"/>
                <a:gd name="csY370" fmla="*/ 469176 h 892774"/>
                <a:gd name="csX371" fmla="*/ 808928 w 1578711"/>
                <a:gd name="csY371" fmla="*/ 468846 h 892774"/>
                <a:gd name="csX372" fmla="*/ 808764 w 1578711"/>
                <a:gd name="csY372" fmla="*/ 469176 h 892774"/>
                <a:gd name="csX373" fmla="*/ 807118 w 1578711"/>
                <a:gd name="csY373" fmla="*/ 471985 h 892774"/>
                <a:gd name="csX374" fmla="*/ 807338 w 1578711"/>
                <a:gd name="csY374" fmla="*/ 471617 h 892774"/>
                <a:gd name="csX375" fmla="*/ 807118 w 1578711"/>
                <a:gd name="csY375" fmla="*/ 471985 h 892774"/>
                <a:gd name="csX376" fmla="*/ 744957 w 1578711"/>
                <a:gd name="csY376" fmla="*/ 469159 h 892774"/>
                <a:gd name="csX377" fmla="*/ 744793 w 1578711"/>
                <a:gd name="csY377" fmla="*/ 468852 h 892774"/>
                <a:gd name="csX378" fmla="*/ 744957 w 1578711"/>
                <a:gd name="csY378" fmla="*/ 469159 h 892774"/>
                <a:gd name="csX379" fmla="*/ 746603 w 1578711"/>
                <a:gd name="csY379" fmla="*/ 471968 h 892774"/>
                <a:gd name="csX380" fmla="*/ 746383 w 1578711"/>
                <a:gd name="csY380" fmla="*/ 471622 h 892774"/>
                <a:gd name="csX381" fmla="*/ 746603 w 1578711"/>
                <a:gd name="csY381" fmla="*/ 471968 h 892774"/>
                <a:gd name="csX382" fmla="*/ 541740 w 1578711"/>
                <a:gd name="csY382" fmla="*/ 583709 h 892774"/>
                <a:gd name="csX383" fmla="*/ 553975 w 1578711"/>
                <a:gd name="csY383" fmla="*/ 595917 h 892774"/>
                <a:gd name="csX384" fmla="*/ 566155 w 1578711"/>
                <a:gd name="csY384" fmla="*/ 583709 h 892774"/>
                <a:gd name="csX385" fmla="*/ 566155 w 1578711"/>
                <a:gd name="csY385" fmla="*/ 537816 h 892774"/>
                <a:gd name="csX386" fmla="*/ 541740 w 1578711"/>
                <a:gd name="csY386" fmla="*/ 537816 h 892774"/>
                <a:gd name="csX387" fmla="*/ 523417 w 1578711"/>
                <a:gd name="csY387" fmla="*/ 396278 h 892774"/>
                <a:gd name="csX388" fmla="*/ 523417 w 1578711"/>
                <a:gd name="csY388" fmla="*/ 367699 h 892774"/>
                <a:gd name="csX389" fmla="*/ 510249 w 1578711"/>
                <a:gd name="csY389" fmla="*/ 367699 h 892774"/>
                <a:gd name="csX390" fmla="*/ 523417 w 1578711"/>
                <a:gd name="csY390" fmla="*/ 396278 h 892774"/>
                <a:gd name="csX391" fmla="*/ 490772 w 1578711"/>
                <a:gd name="csY391" fmla="*/ 410822 h 892774"/>
                <a:gd name="csX392" fmla="*/ 501580 w 1578711"/>
                <a:gd name="csY392" fmla="*/ 399487 h 892774"/>
                <a:gd name="csX393" fmla="*/ 498398 w 1578711"/>
                <a:gd name="csY393" fmla="*/ 392454 h 892774"/>
                <a:gd name="csX394" fmla="*/ 497685 w 1578711"/>
                <a:gd name="csY394" fmla="*/ 392454 h 892774"/>
                <a:gd name="csX395" fmla="*/ 497685 w 1578711"/>
                <a:gd name="csY395" fmla="*/ 369405 h 892774"/>
                <a:gd name="csX396" fmla="*/ 483914 w 1578711"/>
                <a:gd name="csY396" fmla="*/ 369405 h 892774"/>
                <a:gd name="csX397" fmla="*/ 483914 w 1578711"/>
                <a:gd name="csY397" fmla="*/ 392454 h 892774"/>
                <a:gd name="csX398" fmla="*/ 483146 w 1578711"/>
                <a:gd name="csY398" fmla="*/ 392454 h 892774"/>
                <a:gd name="csX399" fmla="*/ 480018 w 1578711"/>
                <a:gd name="csY399" fmla="*/ 399487 h 892774"/>
                <a:gd name="csX400" fmla="*/ 490772 w 1578711"/>
                <a:gd name="csY400" fmla="*/ 410822 h 892774"/>
                <a:gd name="csX401" fmla="*/ 452861 w 1578711"/>
                <a:gd name="csY401" fmla="*/ 410822 h 892774"/>
                <a:gd name="csX402" fmla="*/ 463615 w 1578711"/>
                <a:gd name="csY402" fmla="*/ 399487 h 892774"/>
                <a:gd name="csX403" fmla="*/ 460487 w 1578711"/>
                <a:gd name="csY403" fmla="*/ 392454 h 892774"/>
                <a:gd name="csX404" fmla="*/ 459719 w 1578711"/>
                <a:gd name="csY404" fmla="*/ 392454 h 892774"/>
                <a:gd name="csX405" fmla="*/ 459719 w 1578711"/>
                <a:gd name="csY405" fmla="*/ 369405 h 892774"/>
                <a:gd name="csX406" fmla="*/ 445948 w 1578711"/>
                <a:gd name="csY406" fmla="*/ 369405 h 892774"/>
                <a:gd name="csX407" fmla="*/ 445948 w 1578711"/>
                <a:gd name="csY407" fmla="*/ 392454 h 892774"/>
                <a:gd name="csX408" fmla="*/ 445235 w 1578711"/>
                <a:gd name="csY408" fmla="*/ 392454 h 892774"/>
                <a:gd name="csX409" fmla="*/ 442053 w 1578711"/>
                <a:gd name="csY409" fmla="*/ 399487 h 892774"/>
                <a:gd name="csX410" fmla="*/ 452861 w 1578711"/>
                <a:gd name="csY410" fmla="*/ 410822 h 892774"/>
                <a:gd name="csX411" fmla="*/ 414895 w 1578711"/>
                <a:gd name="csY411" fmla="*/ 410822 h 892774"/>
                <a:gd name="csX412" fmla="*/ 425648 w 1578711"/>
                <a:gd name="csY412" fmla="*/ 399487 h 892774"/>
                <a:gd name="csX413" fmla="*/ 422521 w 1578711"/>
                <a:gd name="csY413" fmla="*/ 392454 h 892774"/>
                <a:gd name="csX414" fmla="*/ 421753 w 1578711"/>
                <a:gd name="csY414" fmla="*/ 392454 h 892774"/>
                <a:gd name="csX415" fmla="*/ 421753 w 1578711"/>
                <a:gd name="csY415" fmla="*/ 369405 h 892774"/>
                <a:gd name="csX416" fmla="*/ 408037 w 1578711"/>
                <a:gd name="csY416" fmla="*/ 369405 h 892774"/>
                <a:gd name="csX417" fmla="*/ 408037 w 1578711"/>
                <a:gd name="csY417" fmla="*/ 392454 h 892774"/>
                <a:gd name="csX418" fmla="*/ 407269 w 1578711"/>
                <a:gd name="csY418" fmla="*/ 392454 h 892774"/>
                <a:gd name="csX419" fmla="*/ 404142 w 1578711"/>
                <a:gd name="csY419" fmla="*/ 399487 h 892774"/>
                <a:gd name="csX420" fmla="*/ 414895 w 1578711"/>
                <a:gd name="csY420" fmla="*/ 410822 h 892774"/>
                <a:gd name="csX421" fmla="*/ 376984 w 1578711"/>
                <a:gd name="csY421" fmla="*/ 410822 h 892774"/>
                <a:gd name="csX422" fmla="*/ 387737 w 1578711"/>
                <a:gd name="csY422" fmla="*/ 399487 h 892774"/>
                <a:gd name="csX423" fmla="*/ 384555 w 1578711"/>
                <a:gd name="csY423" fmla="*/ 392454 h 892774"/>
                <a:gd name="csX424" fmla="*/ 383842 w 1578711"/>
                <a:gd name="csY424" fmla="*/ 392454 h 892774"/>
                <a:gd name="csX425" fmla="*/ 383842 w 1578711"/>
                <a:gd name="csY425" fmla="*/ 369405 h 892774"/>
                <a:gd name="csX426" fmla="*/ 370072 w 1578711"/>
                <a:gd name="csY426" fmla="*/ 369405 h 892774"/>
                <a:gd name="csX427" fmla="*/ 370072 w 1578711"/>
                <a:gd name="csY427" fmla="*/ 392454 h 892774"/>
                <a:gd name="csX428" fmla="*/ 369303 w 1578711"/>
                <a:gd name="csY428" fmla="*/ 392454 h 892774"/>
                <a:gd name="csX429" fmla="*/ 366175 w 1578711"/>
                <a:gd name="csY429" fmla="*/ 399487 h 892774"/>
                <a:gd name="csX430" fmla="*/ 376984 w 1578711"/>
                <a:gd name="csY430" fmla="*/ 410822 h 892774"/>
                <a:gd name="csX431" fmla="*/ 339018 w 1578711"/>
                <a:gd name="csY431" fmla="*/ 410822 h 892774"/>
                <a:gd name="csX432" fmla="*/ 349772 w 1578711"/>
                <a:gd name="csY432" fmla="*/ 399487 h 892774"/>
                <a:gd name="csX433" fmla="*/ 346644 w 1578711"/>
                <a:gd name="csY433" fmla="*/ 392454 h 892774"/>
                <a:gd name="csX434" fmla="*/ 345876 w 1578711"/>
                <a:gd name="csY434" fmla="*/ 392454 h 892774"/>
                <a:gd name="csX435" fmla="*/ 345876 w 1578711"/>
                <a:gd name="csY435" fmla="*/ 369405 h 892774"/>
                <a:gd name="csX436" fmla="*/ 332160 w 1578711"/>
                <a:gd name="csY436" fmla="*/ 369405 h 892774"/>
                <a:gd name="csX437" fmla="*/ 332160 w 1578711"/>
                <a:gd name="csY437" fmla="*/ 392454 h 892774"/>
                <a:gd name="csX438" fmla="*/ 331393 w 1578711"/>
                <a:gd name="csY438" fmla="*/ 392454 h 892774"/>
                <a:gd name="csX439" fmla="*/ 328210 w 1578711"/>
                <a:gd name="csY439" fmla="*/ 399487 h 892774"/>
                <a:gd name="csX440" fmla="*/ 339018 w 1578711"/>
                <a:gd name="csY440" fmla="*/ 410822 h 892774"/>
                <a:gd name="csX441" fmla="*/ 301052 w 1578711"/>
                <a:gd name="csY441" fmla="*/ 410822 h 892774"/>
                <a:gd name="csX442" fmla="*/ 311860 w 1578711"/>
                <a:gd name="csY442" fmla="*/ 399487 h 892774"/>
                <a:gd name="csX443" fmla="*/ 308679 w 1578711"/>
                <a:gd name="csY443" fmla="*/ 392454 h 892774"/>
                <a:gd name="csX444" fmla="*/ 307965 w 1578711"/>
                <a:gd name="csY444" fmla="*/ 392454 h 892774"/>
                <a:gd name="csX445" fmla="*/ 307965 w 1578711"/>
                <a:gd name="csY445" fmla="*/ 369405 h 892774"/>
                <a:gd name="csX446" fmla="*/ 294194 w 1578711"/>
                <a:gd name="csY446" fmla="*/ 369405 h 892774"/>
                <a:gd name="csX447" fmla="*/ 294194 w 1578711"/>
                <a:gd name="csY447" fmla="*/ 392454 h 892774"/>
                <a:gd name="csX448" fmla="*/ 293426 w 1578711"/>
                <a:gd name="csY448" fmla="*/ 392454 h 892774"/>
                <a:gd name="csX449" fmla="*/ 290299 w 1578711"/>
                <a:gd name="csY449" fmla="*/ 399487 h 892774"/>
                <a:gd name="csX450" fmla="*/ 301052 w 1578711"/>
                <a:gd name="csY450" fmla="*/ 410822 h 892774"/>
                <a:gd name="csX451" fmla="*/ 225449 w 1578711"/>
                <a:gd name="csY451" fmla="*/ 444070 h 892774"/>
                <a:gd name="csX452" fmla="*/ 251017 w 1578711"/>
                <a:gd name="csY452" fmla="*/ 444070 h 892774"/>
                <a:gd name="csX453" fmla="*/ 251017 w 1578711"/>
                <a:gd name="csY453" fmla="*/ 442786 h 892774"/>
                <a:gd name="csX454" fmla="*/ 254527 w 1578711"/>
                <a:gd name="csY454" fmla="*/ 403882 h 892774"/>
                <a:gd name="csX455" fmla="*/ 263141 w 1578711"/>
                <a:gd name="csY455" fmla="*/ 410822 h 892774"/>
                <a:gd name="csX456" fmla="*/ 273895 w 1578711"/>
                <a:gd name="csY456" fmla="*/ 399487 h 892774"/>
                <a:gd name="csX457" fmla="*/ 270768 w 1578711"/>
                <a:gd name="csY457" fmla="*/ 392454 h 892774"/>
                <a:gd name="csX458" fmla="*/ 269999 w 1578711"/>
                <a:gd name="csY458" fmla="*/ 392454 h 892774"/>
                <a:gd name="csX459" fmla="*/ 269999 w 1578711"/>
                <a:gd name="csY459" fmla="*/ 369405 h 892774"/>
                <a:gd name="csX460" fmla="*/ 268079 w 1578711"/>
                <a:gd name="csY460" fmla="*/ 369405 h 892774"/>
                <a:gd name="csX461" fmla="*/ 269505 w 1578711"/>
                <a:gd name="csY461" fmla="*/ 367699 h 892774"/>
                <a:gd name="csX462" fmla="*/ 225449 w 1578711"/>
                <a:gd name="csY462" fmla="*/ 367699 h 892774"/>
                <a:gd name="csX463" fmla="*/ 289091 w 1578711"/>
                <a:gd name="csY463" fmla="*/ 28936 h 892774"/>
                <a:gd name="csX464" fmla="*/ 276363 w 1578711"/>
                <a:gd name="csY464" fmla="*/ 28936 h 892774"/>
                <a:gd name="csX465" fmla="*/ 276363 w 1578711"/>
                <a:gd name="csY465" fmla="*/ 6573 h 892774"/>
                <a:gd name="csX466" fmla="*/ 270109 w 1578711"/>
                <a:gd name="csY466" fmla="*/ 6573 h 892774"/>
                <a:gd name="csX467" fmla="*/ 270109 w 1578711"/>
                <a:gd name="csY467" fmla="*/ 148693 h 892774"/>
                <a:gd name="csX468" fmla="*/ 276363 w 1578711"/>
                <a:gd name="csY468" fmla="*/ 148693 h 892774"/>
                <a:gd name="csX469" fmla="*/ 276363 w 1578711"/>
                <a:gd name="csY469" fmla="*/ 121277 h 892774"/>
                <a:gd name="csX470" fmla="*/ 289091 w 1578711"/>
                <a:gd name="csY470" fmla="*/ 121277 h 892774"/>
                <a:gd name="csX471" fmla="*/ 312739 w 1578711"/>
                <a:gd name="csY471" fmla="*/ 28936 h 892774"/>
                <a:gd name="csX472" fmla="*/ 291506 w 1578711"/>
                <a:gd name="csY472" fmla="*/ 28936 h 892774"/>
                <a:gd name="csX473" fmla="*/ 291506 w 1578711"/>
                <a:gd name="csY473" fmla="*/ 121277 h 892774"/>
                <a:gd name="csX474" fmla="*/ 312739 w 1578711"/>
                <a:gd name="csY474" fmla="*/ 121277 h 892774"/>
                <a:gd name="csX475" fmla="*/ 336440 w 1578711"/>
                <a:gd name="csY475" fmla="*/ 28936 h 892774"/>
                <a:gd name="csX476" fmla="*/ 315208 w 1578711"/>
                <a:gd name="csY476" fmla="*/ 28936 h 892774"/>
                <a:gd name="csX477" fmla="*/ 315208 w 1578711"/>
                <a:gd name="csY477" fmla="*/ 121277 h 892774"/>
                <a:gd name="csX478" fmla="*/ 336440 w 1578711"/>
                <a:gd name="csY478" fmla="*/ 121277 h 892774"/>
                <a:gd name="csX479" fmla="*/ 357837 w 1578711"/>
                <a:gd name="csY479" fmla="*/ 6573 h 892774"/>
                <a:gd name="csX480" fmla="*/ 351636 w 1578711"/>
                <a:gd name="csY480" fmla="*/ 6573 h 892774"/>
                <a:gd name="csX481" fmla="*/ 351636 w 1578711"/>
                <a:gd name="csY481" fmla="*/ 28936 h 892774"/>
                <a:gd name="csX482" fmla="*/ 338908 w 1578711"/>
                <a:gd name="csY482" fmla="*/ 28936 h 892774"/>
                <a:gd name="csX483" fmla="*/ 338908 w 1578711"/>
                <a:gd name="csY483" fmla="*/ 121277 h 892774"/>
                <a:gd name="csX484" fmla="*/ 351636 w 1578711"/>
                <a:gd name="csY484" fmla="*/ 121277 h 892774"/>
                <a:gd name="csX485" fmla="*/ 351636 w 1578711"/>
                <a:gd name="csY485" fmla="*/ 148693 h 892774"/>
                <a:gd name="csX486" fmla="*/ 357837 w 1578711"/>
                <a:gd name="csY486" fmla="*/ 148693 h 892774"/>
                <a:gd name="csX487" fmla="*/ 353447 w 1578711"/>
                <a:gd name="csY487" fmla="*/ 154437 h 892774"/>
                <a:gd name="csX488" fmla="*/ 270109 w 1578711"/>
                <a:gd name="csY488" fmla="*/ 154437 h 892774"/>
                <a:gd name="csX489" fmla="*/ 261385 w 1578711"/>
                <a:gd name="csY489" fmla="*/ 182813 h 892774"/>
                <a:gd name="csX490" fmla="*/ 311805 w 1578711"/>
                <a:gd name="csY490" fmla="*/ 233233 h 892774"/>
                <a:gd name="csX491" fmla="*/ 362226 w 1578711"/>
                <a:gd name="csY491" fmla="*/ 182813 h 892774"/>
                <a:gd name="csX492" fmla="*/ 353447 w 1578711"/>
                <a:gd name="csY492" fmla="*/ 154437 h 892774"/>
                <a:gd name="csX493" fmla="*/ 406665 w 1578711"/>
                <a:gd name="csY493" fmla="*/ 28936 h 892774"/>
                <a:gd name="csX494" fmla="*/ 392127 w 1578711"/>
                <a:gd name="csY494" fmla="*/ 28936 h 892774"/>
                <a:gd name="csX495" fmla="*/ 392127 w 1578711"/>
                <a:gd name="csY495" fmla="*/ 6573 h 892774"/>
                <a:gd name="csX496" fmla="*/ 387079 w 1578711"/>
                <a:gd name="csY496" fmla="*/ 6573 h 892774"/>
                <a:gd name="csX497" fmla="*/ 387079 w 1578711"/>
                <a:gd name="csY497" fmla="*/ 823 h 892774"/>
                <a:gd name="csX498" fmla="*/ 386749 w 1578711"/>
                <a:gd name="csY498" fmla="*/ 823 h 892774"/>
                <a:gd name="csX499" fmla="*/ 386749 w 1578711"/>
                <a:gd name="csY499" fmla="*/ 154437 h 892774"/>
                <a:gd name="csX500" fmla="*/ 387079 w 1578711"/>
                <a:gd name="csY500" fmla="*/ 154437 h 892774"/>
                <a:gd name="csX501" fmla="*/ 387079 w 1578711"/>
                <a:gd name="csY501" fmla="*/ 148693 h 892774"/>
                <a:gd name="csX502" fmla="*/ 392127 w 1578711"/>
                <a:gd name="csY502" fmla="*/ 148693 h 892774"/>
                <a:gd name="csX503" fmla="*/ 392127 w 1578711"/>
                <a:gd name="csY503" fmla="*/ 121277 h 892774"/>
                <a:gd name="csX504" fmla="*/ 406665 w 1578711"/>
                <a:gd name="csY504" fmla="*/ 121277 h 892774"/>
                <a:gd name="csX505" fmla="*/ 431519 w 1578711"/>
                <a:gd name="csY505" fmla="*/ 28936 h 892774"/>
                <a:gd name="csX506" fmla="*/ 409080 w 1578711"/>
                <a:gd name="csY506" fmla="*/ 28936 h 892774"/>
                <a:gd name="csX507" fmla="*/ 409080 w 1578711"/>
                <a:gd name="csY507" fmla="*/ 121277 h 892774"/>
                <a:gd name="csX508" fmla="*/ 431519 w 1578711"/>
                <a:gd name="csY508" fmla="*/ 121277 h 892774"/>
                <a:gd name="csX509" fmla="*/ 456372 w 1578711"/>
                <a:gd name="csY509" fmla="*/ 28936 h 892774"/>
                <a:gd name="csX510" fmla="*/ 433932 w 1578711"/>
                <a:gd name="csY510" fmla="*/ 28936 h 892774"/>
                <a:gd name="csX511" fmla="*/ 433932 w 1578711"/>
                <a:gd name="csY511" fmla="*/ 121277 h 892774"/>
                <a:gd name="csX512" fmla="*/ 456372 w 1578711"/>
                <a:gd name="csY512" fmla="*/ 121277 h 892774"/>
                <a:gd name="csX513" fmla="*/ 478757 w 1578711"/>
                <a:gd name="csY513" fmla="*/ 6573 h 892774"/>
                <a:gd name="csX514" fmla="*/ 473325 w 1578711"/>
                <a:gd name="csY514" fmla="*/ 6573 h 892774"/>
                <a:gd name="csX515" fmla="*/ 473325 w 1578711"/>
                <a:gd name="csY515" fmla="*/ 28936 h 892774"/>
                <a:gd name="csX516" fmla="*/ 458786 w 1578711"/>
                <a:gd name="csY516" fmla="*/ 28936 h 892774"/>
                <a:gd name="csX517" fmla="*/ 458786 w 1578711"/>
                <a:gd name="csY517" fmla="*/ 121277 h 892774"/>
                <a:gd name="csX518" fmla="*/ 473325 w 1578711"/>
                <a:gd name="csY518" fmla="*/ 121277 h 892774"/>
                <a:gd name="csX519" fmla="*/ 473325 w 1578711"/>
                <a:gd name="csY519" fmla="*/ 148693 h 892774"/>
                <a:gd name="csX520" fmla="*/ 478757 w 1578711"/>
                <a:gd name="csY520" fmla="*/ 148693 h 892774"/>
                <a:gd name="csX521" fmla="*/ 473600 w 1578711"/>
                <a:gd name="csY521" fmla="*/ 154437 h 892774"/>
                <a:gd name="csX522" fmla="*/ 390261 w 1578711"/>
                <a:gd name="csY522" fmla="*/ 154437 h 892774"/>
                <a:gd name="csX523" fmla="*/ 381537 w 1578711"/>
                <a:gd name="csY523" fmla="*/ 182813 h 892774"/>
                <a:gd name="csX524" fmla="*/ 431958 w 1578711"/>
                <a:gd name="csY524" fmla="*/ 233233 h 892774"/>
                <a:gd name="csX525" fmla="*/ 482378 w 1578711"/>
                <a:gd name="csY525" fmla="*/ 182813 h 892774"/>
                <a:gd name="csX526" fmla="*/ 473600 w 1578711"/>
                <a:gd name="csY526" fmla="*/ 154437 h 892774"/>
                <a:gd name="csX527" fmla="*/ 523417 w 1578711"/>
                <a:gd name="csY527" fmla="*/ 823 h 892774"/>
                <a:gd name="csX528" fmla="*/ 507670 w 1578711"/>
                <a:gd name="csY528" fmla="*/ 823 h 892774"/>
                <a:gd name="csX529" fmla="*/ 507670 w 1578711"/>
                <a:gd name="csY529" fmla="*/ 260210 h 892774"/>
                <a:gd name="csX530" fmla="*/ 241196 w 1578711"/>
                <a:gd name="csY530" fmla="*/ 260210 h 892774"/>
                <a:gd name="csX531" fmla="*/ 241196 w 1578711"/>
                <a:gd name="csY531" fmla="*/ 154437 h 892774"/>
                <a:gd name="csX532" fmla="*/ 241196 w 1578711"/>
                <a:gd name="csY532" fmla="*/ 823 h 892774"/>
                <a:gd name="csX533" fmla="*/ 225449 w 1578711"/>
                <a:gd name="csY533" fmla="*/ 823 h 892774"/>
                <a:gd name="csX534" fmla="*/ 225449 w 1578711"/>
                <a:gd name="csY534" fmla="*/ 320708 h 892774"/>
                <a:gd name="csX535" fmla="*/ 238672 w 1578711"/>
                <a:gd name="csY535" fmla="*/ 320708 h 892774"/>
                <a:gd name="csX536" fmla="*/ 238672 w 1578711"/>
                <a:gd name="csY536" fmla="*/ 345600 h 892774"/>
                <a:gd name="csX537" fmla="*/ 249041 w 1578711"/>
                <a:gd name="csY537" fmla="*/ 355975 h 892774"/>
                <a:gd name="csX538" fmla="*/ 259465 w 1578711"/>
                <a:gd name="csY538" fmla="*/ 345600 h 892774"/>
                <a:gd name="csX539" fmla="*/ 259465 w 1578711"/>
                <a:gd name="csY539" fmla="*/ 320708 h 892774"/>
                <a:gd name="csX540" fmla="*/ 273895 w 1578711"/>
                <a:gd name="csY540" fmla="*/ 320708 h 892774"/>
                <a:gd name="csX541" fmla="*/ 273895 w 1578711"/>
                <a:gd name="csY541" fmla="*/ 345600 h 892774"/>
                <a:gd name="csX542" fmla="*/ 284264 w 1578711"/>
                <a:gd name="csY542" fmla="*/ 355975 h 892774"/>
                <a:gd name="csX543" fmla="*/ 294634 w 1578711"/>
                <a:gd name="csY543" fmla="*/ 345600 h 892774"/>
                <a:gd name="csX544" fmla="*/ 294634 w 1578711"/>
                <a:gd name="csY544" fmla="*/ 320708 h 892774"/>
                <a:gd name="csX545" fmla="*/ 309117 w 1578711"/>
                <a:gd name="csY545" fmla="*/ 320708 h 892774"/>
                <a:gd name="csX546" fmla="*/ 309117 w 1578711"/>
                <a:gd name="csY546" fmla="*/ 345600 h 892774"/>
                <a:gd name="csX547" fmla="*/ 319486 w 1578711"/>
                <a:gd name="csY547" fmla="*/ 355975 h 892774"/>
                <a:gd name="csX548" fmla="*/ 329856 w 1578711"/>
                <a:gd name="csY548" fmla="*/ 345600 h 892774"/>
                <a:gd name="csX549" fmla="*/ 329856 w 1578711"/>
                <a:gd name="csY549" fmla="*/ 320708 h 892774"/>
                <a:gd name="csX550" fmla="*/ 344286 w 1578711"/>
                <a:gd name="csY550" fmla="*/ 320708 h 892774"/>
                <a:gd name="csX551" fmla="*/ 344286 w 1578711"/>
                <a:gd name="csY551" fmla="*/ 345600 h 892774"/>
                <a:gd name="csX552" fmla="*/ 354654 w 1578711"/>
                <a:gd name="csY552" fmla="*/ 355975 h 892774"/>
                <a:gd name="csX553" fmla="*/ 365023 w 1578711"/>
                <a:gd name="csY553" fmla="*/ 345600 h 892774"/>
                <a:gd name="csX554" fmla="*/ 365023 w 1578711"/>
                <a:gd name="csY554" fmla="*/ 320708 h 892774"/>
                <a:gd name="csX555" fmla="*/ 379508 w 1578711"/>
                <a:gd name="csY555" fmla="*/ 320708 h 892774"/>
                <a:gd name="csX556" fmla="*/ 379508 w 1578711"/>
                <a:gd name="csY556" fmla="*/ 345600 h 892774"/>
                <a:gd name="csX557" fmla="*/ 389877 w 1578711"/>
                <a:gd name="csY557" fmla="*/ 355975 h 892774"/>
                <a:gd name="csX558" fmla="*/ 400247 w 1578711"/>
                <a:gd name="csY558" fmla="*/ 345600 h 892774"/>
                <a:gd name="csX559" fmla="*/ 400247 w 1578711"/>
                <a:gd name="csY559" fmla="*/ 320708 h 892774"/>
                <a:gd name="csX560" fmla="*/ 414730 w 1578711"/>
                <a:gd name="csY560" fmla="*/ 320708 h 892774"/>
                <a:gd name="csX561" fmla="*/ 414730 w 1578711"/>
                <a:gd name="csY561" fmla="*/ 345600 h 892774"/>
                <a:gd name="csX562" fmla="*/ 425100 w 1578711"/>
                <a:gd name="csY562" fmla="*/ 355975 h 892774"/>
                <a:gd name="csX563" fmla="*/ 435469 w 1578711"/>
                <a:gd name="csY563" fmla="*/ 345600 h 892774"/>
                <a:gd name="csX564" fmla="*/ 435469 w 1578711"/>
                <a:gd name="csY564" fmla="*/ 320708 h 892774"/>
                <a:gd name="csX565" fmla="*/ 449899 w 1578711"/>
                <a:gd name="csY565" fmla="*/ 320708 h 892774"/>
                <a:gd name="csX566" fmla="*/ 449899 w 1578711"/>
                <a:gd name="csY566" fmla="*/ 345600 h 892774"/>
                <a:gd name="csX567" fmla="*/ 460267 w 1578711"/>
                <a:gd name="csY567" fmla="*/ 355975 h 892774"/>
                <a:gd name="csX568" fmla="*/ 470637 w 1578711"/>
                <a:gd name="csY568" fmla="*/ 345600 h 892774"/>
                <a:gd name="csX569" fmla="*/ 470637 w 1578711"/>
                <a:gd name="csY569" fmla="*/ 320708 h 892774"/>
                <a:gd name="csX570" fmla="*/ 485121 w 1578711"/>
                <a:gd name="csY570" fmla="*/ 320708 h 892774"/>
                <a:gd name="csX571" fmla="*/ 485121 w 1578711"/>
                <a:gd name="csY571" fmla="*/ 345600 h 892774"/>
                <a:gd name="csX572" fmla="*/ 495491 w 1578711"/>
                <a:gd name="csY572" fmla="*/ 355975 h 892774"/>
                <a:gd name="csX573" fmla="*/ 505860 w 1578711"/>
                <a:gd name="csY573" fmla="*/ 345600 h 892774"/>
                <a:gd name="csX574" fmla="*/ 505860 w 1578711"/>
                <a:gd name="csY574" fmla="*/ 320708 h 892774"/>
                <a:gd name="csX575" fmla="*/ 523417 w 1578711"/>
                <a:gd name="csY575" fmla="*/ 320708 h 892774"/>
                <a:gd name="csX576" fmla="*/ 523417 w 1578711"/>
                <a:gd name="csY576" fmla="*/ 48478 h 892774"/>
                <a:gd name="csX577" fmla="*/ 537022 w 1578711"/>
                <a:gd name="csY577" fmla="*/ 48478 h 892774"/>
                <a:gd name="csX578" fmla="*/ 537022 w 1578711"/>
                <a:gd name="csY578" fmla="*/ 507388 h 892774"/>
                <a:gd name="csX579" fmla="*/ 570929 w 1578711"/>
                <a:gd name="csY579" fmla="*/ 507388 h 892774"/>
                <a:gd name="csX580" fmla="*/ 570929 w 1578711"/>
                <a:gd name="csY580" fmla="*/ 48478 h 892774"/>
                <a:gd name="csX581" fmla="*/ 661180 w 1578711"/>
                <a:gd name="csY581" fmla="*/ 140057 h 892774"/>
                <a:gd name="csX582" fmla="*/ 661180 w 1578711"/>
                <a:gd name="csY582" fmla="*/ 154437 h 892774"/>
                <a:gd name="csX583" fmla="*/ 688557 w 1578711"/>
                <a:gd name="csY583" fmla="*/ 154437 h 892774"/>
                <a:gd name="csX584" fmla="*/ 688557 w 1578711"/>
                <a:gd name="csY584" fmla="*/ 140057 h 892774"/>
                <a:gd name="csX585" fmla="*/ 686417 w 1578711"/>
                <a:gd name="csY585" fmla="*/ 126127 h 892774"/>
                <a:gd name="csX586" fmla="*/ 686417 w 1578711"/>
                <a:gd name="csY586" fmla="*/ 27586 h 892774"/>
                <a:gd name="csX587" fmla="*/ 663374 w 1578711"/>
                <a:gd name="csY587" fmla="*/ 27586 h 892774"/>
                <a:gd name="csX588" fmla="*/ 663374 w 1578711"/>
                <a:gd name="csY588" fmla="*/ 126127 h 892774"/>
                <a:gd name="csX589" fmla="*/ 775626 w 1578711"/>
                <a:gd name="csY589" fmla="*/ 955 h 892774"/>
                <a:gd name="csX590" fmla="*/ 775626 w 1578711"/>
                <a:gd name="csY590" fmla="*/ 125672 h 892774"/>
                <a:gd name="csX591" fmla="*/ 746603 w 1578711"/>
                <a:gd name="csY591" fmla="*/ 125672 h 892774"/>
                <a:gd name="csX592" fmla="*/ 746603 w 1578711"/>
                <a:gd name="csY592" fmla="*/ 140057 h 892774"/>
                <a:gd name="csX593" fmla="*/ 807118 w 1578711"/>
                <a:gd name="csY593" fmla="*/ 140057 h 892774"/>
                <a:gd name="csX594" fmla="*/ 807118 w 1578711"/>
                <a:gd name="csY594" fmla="*/ 125672 h 892774"/>
                <a:gd name="csX595" fmla="*/ 778095 w 1578711"/>
                <a:gd name="csY595" fmla="*/ 125672 h 892774"/>
                <a:gd name="csX596" fmla="*/ 778095 w 1578711"/>
                <a:gd name="csY596" fmla="*/ 955 h 892774"/>
                <a:gd name="csX597" fmla="*/ 807118 w 1578711"/>
                <a:gd name="csY597" fmla="*/ 144254 h 892774"/>
                <a:gd name="csX598" fmla="*/ 746603 w 1578711"/>
                <a:gd name="csY598" fmla="*/ 144254 h 892774"/>
                <a:gd name="csX599" fmla="*/ 746603 w 1578711"/>
                <a:gd name="csY599" fmla="*/ 154437 h 892774"/>
                <a:gd name="csX600" fmla="*/ 807118 w 1578711"/>
                <a:gd name="csY600" fmla="*/ 154437 h 892774"/>
                <a:gd name="csX601" fmla="*/ 863957 w 1578711"/>
                <a:gd name="csY601" fmla="*/ 140057 h 892774"/>
                <a:gd name="csX602" fmla="*/ 863957 w 1578711"/>
                <a:gd name="csY602" fmla="*/ 154437 h 892774"/>
                <a:gd name="csX603" fmla="*/ 893035 w 1578711"/>
                <a:gd name="csY603" fmla="*/ 154437 h 892774"/>
                <a:gd name="csX604" fmla="*/ 893035 w 1578711"/>
                <a:gd name="csY604" fmla="*/ 140057 h 892774"/>
                <a:gd name="csX605" fmla="*/ 890017 w 1578711"/>
                <a:gd name="csY605" fmla="*/ 126127 h 892774"/>
                <a:gd name="csX606" fmla="*/ 890017 w 1578711"/>
                <a:gd name="csY606" fmla="*/ 27586 h 892774"/>
                <a:gd name="csX607" fmla="*/ 866974 w 1578711"/>
                <a:gd name="csY607" fmla="*/ 27586 h 892774"/>
                <a:gd name="csX608" fmla="*/ 866974 w 1578711"/>
                <a:gd name="csY608" fmla="*/ 126127 h 892774"/>
                <a:gd name="csX609" fmla="*/ 899838 w 1578711"/>
                <a:gd name="csY609" fmla="*/ 955 h 892774"/>
                <a:gd name="csX610" fmla="*/ 899838 w 1578711"/>
                <a:gd name="csY610" fmla="*/ 168043 h 892774"/>
                <a:gd name="csX611" fmla="*/ 878496 w 1578711"/>
                <a:gd name="csY611" fmla="*/ 189363 h 892774"/>
                <a:gd name="csX612" fmla="*/ 857208 w 1578711"/>
                <a:gd name="csY612" fmla="*/ 168043 h 892774"/>
                <a:gd name="csX613" fmla="*/ 857208 w 1578711"/>
                <a:gd name="csY613" fmla="*/ 955 h 892774"/>
                <a:gd name="csX614" fmla="*/ 850899 w 1578711"/>
                <a:gd name="csY614" fmla="*/ 955 h 892774"/>
                <a:gd name="csX615" fmla="*/ 850899 w 1578711"/>
                <a:gd name="csY615" fmla="*/ 12356 h 892774"/>
                <a:gd name="csX616" fmla="*/ 845523 w 1578711"/>
                <a:gd name="csY616" fmla="*/ 12356 h 892774"/>
                <a:gd name="csX617" fmla="*/ 845523 w 1578711"/>
                <a:gd name="csY617" fmla="*/ 140057 h 892774"/>
                <a:gd name="csX618" fmla="*/ 850899 w 1578711"/>
                <a:gd name="csY618" fmla="*/ 140057 h 892774"/>
                <a:gd name="csX619" fmla="*/ 850899 w 1578711"/>
                <a:gd name="csY619" fmla="*/ 157477 h 892774"/>
                <a:gd name="csX620" fmla="*/ 817871 w 1578711"/>
                <a:gd name="csY620" fmla="*/ 157477 h 892774"/>
                <a:gd name="csX621" fmla="*/ 817871 w 1578711"/>
                <a:gd name="csY621" fmla="*/ 140057 h 892774"/>
                <a:gd name="csX622" fmla="*/ 823248 w 1578711"/>
                <a:gd name="csY622" fmla="*/ 140057 h 892774"/>
                <a:gd name="csX623" fmla="*/ 823248 w 1578711"/>
                <a:gd name="csY623" fmla="*/ 12356 h 892774"/>
                <a:gd name="csX624" fmla="*/ 817871 w 1578711"/>
                <a:gd name="csY624" fmla="*/ 12356 h 892774"/>
                <a:gd name="csX625" fmla="*/ 817871 w 1578711"/>
                <a:gd name="csY625" fmla="*/ 955 h 892774"/>
                <a:gd name="csX626" fmla="*/ 810848 w 1578711"/>
                <a:gd name="csY626" fmla="*/ 955 h 892774"/>
                <a:gd name="csX627" fmla="*/ 810848 w 1578711"/>
                <a:gd name="csY627" fmla="*/ 181496 h 892774"/>
                <a:gd name="csX628" fmla="*/ 776832 w 1578711"/>
                <a:gd name="csY628" fmla="*/ 215506 h 892774"/>
                <a:gd name="csX629" fmla="*/ 742817 w 1578711"/>
                <a:gd name="csY629" fmla="*/ 181496 h 892774"/>
                <a:gd name="csX630" fmla="*/ 742817 w 1578711"/>
                <a:gd name="csY630" fmla="*/ 955 h 892774"/>
                <a:gd name="csX631" fmla="*/ 735466 w 1578711"/>
                <a:gd name="csY631" fmla="*/ 955 h 892774"/>
                <a:gd name="csX632" fmla="*/ 735466 w 1578711"/>
                <a:gd name="csY632" fmla="*/ 12356 h 892774"/>
                <a:gd name="csX633" fmla="*/ 730089 w 1578711"/>
                <a:gd name="csY633" fmla="*/ 12356 h 892774"/>
                <a:gd name="csX634" fmla="*/ 730089 w 1578711"/>
                <a:gd name="csY634" fmla="*/ 140057 h 892774"/>
                <a:gd name="csX635" fmla="*/ 735466 w 1578711"/>
                <a:gd name="csY635" fmla="*/ 140057 h 892774"/>
                <a:gd name="csX636" fmla="*/ 735466 w 1578711"/>
                <a:gd name="csY636" fmla="*/ 157477 h 892774"/>
                <a:gd name="csX637" fmla="*/ 702437 w 1578711"/>
                <a:gd name="csY637" fmla="*/ 157477 h 892774"/>
                <a:gd name="csX638" fmla="*/ 702437 w 1578711"/>
                <a:gd name="csY638" fmla="*/ 140057 h 892774"/>
                <a:gd name="csX639" fmla="*/ 707814 w 1578711"/>
                <a:gd name="csY639" fmla="*/ 140057 h 892774"/>
                <a:gd name="csX640" fmla="*/ 707814 w 1578711"/>
                <a:gd name="csY640" fmla="*/ 12356 h 892774"/>
                <a:gd name="csX641" fmla="*/ 702437 w 1578711"/>
                <a:gd name="csY641" fmla="*/ 12356 h 892774"/>
                <a:gd name="csX642" fmla="*/ 702437 w 1578711"/>
                <a:gd name="csY642" fmla="*/ 955 h 892774"/>
                <a:gd name="csX643" fmla="*/ 696182 w 1578711"/>
                <a:gd name="csY643" fmla="*/ 955 h 892774"/>
                <a:gd name="csX644" fmla="*/ 696182 w 1578711"/>
                <a:gd name="csY644" fmla="*/ 168043 h 892774"/>
                <a:gd name="csX645" fmla="*/ 674896 w 1578711"/>
                <a:gd name="csY645" fmla="*/ 189363 h 892774"/>
                <a:gd name="csX646" fmla="*/ 653554 w 1578711"/>
                <a:gd name="csY646" fmla="*/ 168043 h 892774"/>
                <a:gd name="csX647" fmla="*/ 653554 w 1578711"/>
                <a:gd name="csY647" fmla="*/ 955 h 892774"/>
                <a:gd name="csX648" fmla="*/ 647628 w 1578711"/>
                <a:gd name="csY648" fmla="*/ 955 h 892774"/>
                <a:gd name="csX649" fmla="*/ 647628 w 1578711"/>
                <a:gd name="csY649" fmla="*/ 12356 h 892774"/>
                <a:gd name="csX650" fmla="*/ 642252 w 1578711"/>
                <a:gd name="csY650" fmla="*/ 12356 h 892774"/>
                <a:gd name="csX651" fmla="*/ 642252 w 1578711"/>
                <a:gd name="csY651" fmla="*/ 140057 h 892774"/>
                <a:gd name="csX652" fmla="*/ 647628 w 1578711"/>
                <a:gd name="csY652" fmla="*/ 140057 h 892774"/>
                <a:gd name="csX653" fmla="*/ 647628 w 1578711"/>
                <a:gd name="csY653" fmla="*/ 157477 h 892774"/>
                <a:gd name="csX654" fmla="*/ 632870 w 1578711"/>
                <a:gd name="csY654" fmla="*/ 157477 h 892774"/>
                <a:gd name="csX655" fmla="*/ 632870 w 1578711"/>
                <a:gd name="csY655" fmla="*/ 192304 h 892774"/>
                <a:gd name="csX656" fmla="*/ 633034 w 1578711"/>
                <a:gd name="csY656" fmla="*/ 192304 h 892774"/>
                <a:gd name="csX657" fmla="*/ 776832 w 1578711"/>
                <a:gd name="csY657" fmla="*/ 330485 h 892774"/>
                <a:gd name="csX658" fmla="*/ 920687 w 1578711"/>
                <a:gd name="csY658" fmla="*/ 192304 h 892774"/>
                <a:gd name="csX659" fmla="*/ 920851 w 1578711"/>
                <a:gd name="csY659" fmla="*/ 192304 h 892774"/>
                <a:gd name="csX660" fmla="*/ 920851 w 1578711"/>
                <a:gd name="csY660" fmla="*/ 157477 h 892774"/>
                <a:gd name="csX661" fmla="*/ 906093 w 1578711"/>
                <a:gd name="csY661" fmla="*/ 157477 h 892774"/>
                <a:gd name="csX662" fmla="*/ 906093 w 1578711"/>
                <a:gd name="csY662" fmla="*/ 140057 h 892774"/>
                <a:gd name="csX663" fmla="*/ 911414 w 1578711"/>
                <a:gd name="csY663" fmla="*/ 140057 h 892774"/>
                <a:gd name="csX664" fmla="*/ 911414 w 1578711"/>
                <a:gd name="csY664" fmla="*/ 12356 h 892774"/>
                <a:gd name="csX665" fmla="*/ 906093 w 1578711"/>
                <a:gd name="csY665" fmla="*/ 12356 h 892774"/>
                <a:gd name="csX666" fmla="*/ 906093 w 1578711"/>
                <a:gd name="csY666" fmla="*/ 955 h 892774"/>
                <a:gd name="csX667" fmla="*/ 969241 w 1578711"/>
                <a:gd name="csY667" fmla="*/ 955 h 892774"/>
                <a:gd name="csX668" fmla="*/ 939066 w 1578711"/>
                <a:gd name="csY668" fmla="*/ 955 h 892774"/>
                <a:gd name="csX669" fmla="*/ 939066 w 1578711"/>
                <a:gd name="csY669" fmla="*/ 12356 h 892774"/>
                <a:gd name="csX670" fmla="*/ 933744 w 1578711"/>
                <a:gd name="csY670" fmla="*/ 12356 h 892774"/>
                <a:gd name="csX671" fmla="*/ 933744 w 1578711"/>
                <a:gd name="csY671" fmla="*/ 140057 h 892774"/>
                <a:gd name="csX672" fmla="*/ 939066 w 1578711"/>
                <a:gd name="csY672" fmla="*/ 140057 h 892774"/>
                <a:gd name="csX673" fmla="*/ 939066 w 1578711"/>
                <a:gd name="csY673" fmla="*/ 157477 h 892774"/>
                <a:gd name="csX674" fmla="*/ 939066 w 1578711"/>
                <a:gd name="csY674" fmla="*/ 378046 h 892774"/>
                <a:gd name="csX675" fmla="*/ 614600 w 1578711"/>
                <a:gd name="csY675" fmla="*/ 378046 h 892774"/>
                <a:gd name="csX676" fmla="*/ 614600 w 1578711"/>
                <a:gd name="csY676" fmla="*/ 157477 h 892774"/>
                <a:gd name="csX677" fmla="*/ 614600 w 1578711"/>
                <a:gd name="csY677" fmla="*/ 140057 h 892774"/>
                <a:gd name="csX678" fmla="*/ 619977 w 1578711"/>
                <a:gd name="csY678" fmla="*/ 140057 h 892774"/>
                <a:gd name="csX679" fmla="*/ 619977 w 1578711"/>
                <a:gd name="csY679" fmla="*/ 12356 h 892774"/>
                <a:gd name="csX680" fmla="*/ 614600 w 1578711"/>
                <a:gd name="csY680" fmla="*/ 12356 h 892774"/>
                <a:gd name="csX681" fmla="*/ 614600 w 1578711"/>
                <a:gd name="csY681" fmla="*/ 955 h 892774"/>
                <a:gd name="csX682" fmla="*/ 584480 w 1578711"/>
                <a:gd name="csY682" fmla="*/ 955 h 892774"/>
                <a:gd name="csX683" fmla="*/ 584480 w 1578711"/>
                <a:gd name="csY683" fmla="*/ 48478 h 892774"/>
                <a:gd name="csX684" fmla="*/ 584480 w 1578711"/>
                <a:gd name="csY684" fmla="*/ 399646 h 892774"/>
                <a:gd name="csX685" fmla="*/ 969241 w 1578711"/>
                <a:gd name="csY685" fmla="*/ 399646 h 892774"/>
                <a:gd name="csX686" fmla="*/ 969241 w 1578711"/>
                <a:gd name="csY686" fmla="*/ 48478 h 892774"/>
                <a:gd name="csX687" fmla="*/ 982792 w 1578711"/>
                <a:gd name="csY687" fmla="*/ 48478 h 892774"/>
                <a:gd name="csX688" fmla="*/ 982792 w 1578711"/>
                <a:gd name="csY688" fmla="*/ 507388 h 892774"/>
                <a:gd name="csX689" fmla="*/ 1016699 w 1578711"/>
                <a:gd name="csY689" fmla="*/ 507388 h 892774"/>
                <a:gd name="csX690" fmla="*/ 1016699 w 1578711"/>
                <a:gd name="csY690" fmla="*/ 48478 h 892774"/>
                <a:gd name="csX691" fmla="*/ 1094880 w 1578711"/>
                <a:gd name="csY691" fmla="*/ 28936 h 892774"/>
                <a:gd name="csX692" fmla="*/ 1080395 w 1578711"/>
                <a:gd name="csY692" fmla="*/ 28936 h 892774"/>
                <a:gd name="csX693" fmla="*/ 1080395 w 1578711"/>
                <a:gd name="csY693" fmla="*/ 6573 h 892774"/>
                <a:gd name="csX694" fmla="*/ 1074964 w 1578711"/>
                <a:gd name="csY694" fmla="*/ 6573 h 892774"/>
                <a:gd name="csX695" fmla="*/ 1074964 w 1578711"/>
                <a:gd name="csY695" fmla="*/ 148693 h 892774"/>
                <a:gd name="csX696" fmla="*/ 1080395 w 1578711"/>
                <a:gd name="csY696" fmla="*/ 148693 h 892774"/>
                <a:gd name="csX697" fmla="*/ 1080395 w 1578711"/>
                <a:gd name="csY697" fmla="*/ 121277 h 892774"/>
                <a:gd name="csX698" fmla="*/ 1094880 w 1578711"/>
                <a:gd name="csY698" fmla="*/ 121277 h 892774"/>
                <a:gd name="csX699" fmla="*/ 1119733 w 1578711"/>
                <a:gd name="csY699" fmla="*/ 28936 h 892774"/>
                <a:gd name="csX700" fmla="*/ 1097349 w 1578711"/>
                <a:gd name="csY700" fmla="*/ 28936 h 892774"/>
                <a:gd name="csX701" fmla="*/ 1097349 w 1578711"/>
                <a:gd name="csY701" fmla="*/ 121277 h 892774"/>
                <a:gd name="csX702" fmla="*/ 1119733 w 1578711"/>
                <a:gd name="csY702" fmla="*/ 121277 h 892774"/>
                <a:gd name="csX703" fmla="*/ 1144586 w 1578711"/>
                <a:gd name="csY703" fmla="*/ 28936 h 892774"/>
                <a:gd name="csX704" fmla="*/ 1122201 w 1578711"/>
                <a:gd name="csY704" fmla="*/ 28936 h 892774"/>
                <a:gd name="csX705" fmla="*/ 1122201 w 1578711"/>
                <a:gd name="csY705" fmla="*/ 121277 h 892774"/>
                <a:gd name="csX706" fmla="*/ 1144586 w 1578711"/>
                <a:gd name="csY706" fmla="*/ 121277 h 892774"/>
                <a:gd name="csX707" fmla="*/ 1166971 w 1578711"/>
                <a:gd name="csY707" fmla="*/ 823 h 892774"/>
                <a:gd name="csX708" fmla="*/ 1166641 w 1578711"/>
                <a:gd name="csY708" fmla="*/ 823 h 892774"/>
                <a:gd name="csX709" fmla="*/ 1166641 w 1578711"/>
                <a:gd name="csY709" fmla="*/ 6573 h 892774"/>
                <a:gd name="csX710" fmla="*/ 1161594 w 1578711"/>
                <a:gd name="csY710" fmla="*/ 6573 h 892774"/>
                <a:gd name="csX711" fmla="*/ 1161594 w 1578711"/>
                <a:gd name="csY711" fmla="*/ 28936 h 892774"/>
                <a:gd name="csX712" fmla="*/ 1147055 w 1578711"/>
                <a:gd name="csY712" fmla="*/ 28936 h 892774"/>
                <a:gd name="csX713" fmla="*/ 1147055 w 1578711"/>
                <a:gd name="csY713" fmla="*/ 121277 h 892774"/>
                <a:gd name="csX714" fmla="*/ 1161594 w 1578711"/>
                <a:gd name="csY714" fmla="*/ 121277 h 892774"/>
                <a:gd name="csX715" fmla="*/ 1161594 w 1578711"/>
                <a:gd name="csY715" fmla="*/ 148693 h 892774"/>
                <a:gd name="csX716" fmla="*/ 1166641 w 1578711"/>
                <a:gd name="csY716" fmla="*/ 148693 h 892774"/>
                <a:gd name="csX717" fmla="*/ 1166641 w 1578711"/>
                <a:gd name="csY717" fmla="*/ 154437 h 892774"/>
                <a:gd name="csX718" fmla="*/ 1166971 w 1578711"/>
                <a:gd name="csY718" fmla="*/ 154437 h 892774"/>
                <a:gd name="csX719" fmla="*/ 1163460 w 1578711"/>
                <a:gd name="csY719" fmla="*/ 154437 h 892774"/>
                <a:gd name="csX720" fmla="*/ 1080121 w 1578711"/>
                <a:gd name="csY720" fmla="*/ 154437 h 892774"/>
                <a:gd name="csX721" fmla="*/ 1071343 w 1578711"/>
                <a:gd name="csY721" fmla="*/ 182813 h 892774"/>
                <a:gd name="csX722" fmla="*/ 1121763 w 1578711"/>
                <a:gd name="csY722" fmla="*/ 233233 h 892774"/>
                <a:gd name="csX723" fmla="*/ 1172183 w 1578711"/>
                <a:gd name="csY723" fmla="*/ 182813 h 892774"/>
                <a:gd name="csX724" fmla="*/ 1163460 w 1578711"/>
                <a:gd name="csY724" fmla="*/ 154437 h 892774"/>
                <a:gd name="csX725" fmla="*/ 1214812 w 1578711"/>
                <a:gd name="csY725" fmla="*/ 28936 h 892774"/>
                <a:gd name="csX726" fmla="*/ 1202084 w 1578711"/>
                <a:gd name="csY726" fmla="*/ 28936 h 892774"/>
                <a:gd name="csX727" fmla="*/ 1202084 w 1578711"/>
                <a:gd name="csY727" fmla="*/ 6573 h 892774"/>
                <a:gd name="csX728" fmla="*/ 1195884 w 1578711"/>
                <a:gd name="csY728" fmla="*/ 6573 h 892774"/>
                <a:gd name="csX729" fmla="*/ 1195884 w 1578711"/>
                <a:gd name="csY729" fmla="*/ 148693 h 892774"/>
                <a:gd name="csX730" fmla="*/ 1202084 w 1578711"/>
                <a:gd name="csY730" fmla="*/ 148693 h 892774"/>
                <a:gd name="csX731" fmla="*/ 1202084 w 1578711"/>
                <a:gd name="csY731" fmla="*/ 121277 h 892774"/>
                <a:gd name="csX732" fmla="*/ 1214812 w 1578711"/>
                <a:gd name="csY732" fmla="*/ 121277 h 892774"/>
                <a:gd name="csX733" fmla="*/ 1238513 w 1578711"/>
                <a:gd name="csY733" fmla="*/ 28936 h 892774"/>
                <a:gd name="csX734" fmla="*/ 1217281 w 1578711"/>
                <a:gd name="csY734" fmla="*/ 28936 h 892774"/>
                <a:gd name="csX735" fmla="*/ 1217281 w 1578711"/>
                <a:gd name="csY735" fmla="*/ 121277 h 892774"/>
                <a:gd name="csX736" fmla="*/ 1238513 w 1578711"/>
                <a:gd name="csY736" fmla="*/ 121277 h 892774"/>
                <a:gd name="csX737" fmla="*/ 1262215 w 1578711"/>
                <a:gd name="csY737" fmla="*/ 28936 h 892774"/>
                <a:gd name="csX738" fmla="*/ 1240927 w 1578711"/>
                <a:gd name="csY738" fmla="*/ 28936 h 892774"/>
                <a:gd name="csX739" fmla="*/ 1240927 w 1578711"/>
                <a:gd name="csY739" fmla="*/ 121277 h 892774"/>
                <a:gd name="csX740" fmla="*/ 1262215 w 1578711"/>
                <a:gd name="csY740" fmla="*/ 121277 h 892774"/>
                <a:gd name="csX741" fmla="*/ 1283557 w 1578711"/>
                <a:gd name="csY741" fmla="*/ 6573 h 892774"/>
                <a:gd name="csX742" fmla="*/ 1277357 w 1578711"/>
                <a:gd name="csY742" fmla="*/ 6573 h 892774"/>
                <a:gd name="csX743" fmla="*/ 1277357 w 1578711"/>
                <a:gd name="csY743" fmla="*/ 28936 h 892774"/>
                <a:gd name="csX744" fmla="*/ 1264629 w 1578711"/>
                <a:gd name="csY744" fmla="*/ 28936 h 892774"/>
                <a:gd name="csX745" fmla="*/ 1264629 w 1578711"/>
                <a:gd name="csY745" fmla="*/ 121277 h 892774"/>
                <a:gd name="csX746" fmla="*/ 1277357 w 1578711"/>
                <a:gd name="csY746" fmla="*/ 121277 h 892774"/>
                <a:gd name="csX747" fmla="*/ 1277357 w 1578711"/>
                <a:gd name="csY747" fmla="*/ 148693 h 892774"/>
                <a:gd name="csX748" fmla="*/ 1283557 w 1578711"/>
                <a:gd name="csY748" fmla="*/ 148693 h 892774"/>
                <a:gd name="csX749" fmla="*/ 1283557 w 1578711"/>
                <a:gd name="csY749" fmla="*/ 154437 h 892774"/>
                <a:gd name="csX750" fmla="*/ 1200219 w 1578711"/>
                <a:gd name="csY750" fmla="*/ 154437 h 892774"/>
                <a:gd name="csX751" fmla="*/ 1191495 w 1578711"/>
                <a:gd name="csY751" fmla="*/ 182813 h 892774"/>
                <a:gd name="csX752" fmla="*/ 1241915 w 1578711"/>
                <a:gd name="csY752" fmla="*/ 233233 h 892774"/>
                <a:gd name="csX753" fmla="*/ 1292336 w 1578711"/>
                <a:gd name="csY753" fmla="*/ 182813 h 892774"/>
                <a:gd name="csX754" fmla="*/ 1283557 w 1578711"/>
                <a:gd name="csY754" fmla="*/ 154437 h 892774"/>
                <a:gd name="csX755" fmla="*/ 1328271 w 1578711"/>
                <a:gd name="csY755" fmla="*/ 823 h 892774"/>
                <a:gd name="csX756" fmla="*/ 1312470 w 1578711"/>
                <a:gd name="csY756" fmla="*/ 823 h 892774"/>
                <a:gd name="csX757" fmla="*/ 1312470 w 1578711"/>
                <a:gd name="csY757" fmla="*/ 260210 h 892774"/>
                <a:gd name="csX758" fmla="*/ 1046051 w 1578711"/>
                <a:gd name="csY758" fmla="*/ 260210 h 892774"/>
                <a:gd name="csX759" fmla="*/ 1046051 w 1578711"/>
                <a:gd name="csY759" fmla="*/ 154437 h 892774"/>
                <a:gd name="csX760" fmla="*/ 1046051 w 1578711"/>
                <a:gd name="csY760" fmla="*/ 823 h 892774"/>
                <a:gd name="csX761" fmla="*/ 1030250 w 1578711"/>
                <a:gd name="csY761" fmla="*/ 823 h 892774"/>
                <a:gd name="csX762" fmla="*/ 1030250 w 1578711"/>
                <a:gd name="csY762" fmla="*/ 48478 h 892774"/>
                <a:gd name="csX763" fmla="*/ 1030250 w 1578711"/>
                <a:gd name="csY763" fmla="*/ 320708 h 892774"/>
                <a:gd name="csX764" fmla="*/ 1047861 w 1578711"/>
                <a:gd name="csY764" fmla="*/ 320708 h 892774"/>
                <a:gd name="csX765" fmla="*/ 1047861 w 1578711"/>
                <a:gd name="csY765" fmla="*/ 345600 h 892774"/>
                <a:gd name="csX766" fmla="*/ 1058230 w 1578711"/>
                <a:gd name="csY766" fmla="*/ 355975 h 892774"/>
                <a:gd name="csX767" fmla="*/ 1068600 w 1578711"/>
                <a:gd name="csY767" fmla="*/ 345600 h 892774"/>
                <a:gd name="csX768" fmla="*/ 1068600 w 1578711"/>
                <a:gd name="csY768" fmla="*/ 320708 h 892774"/>
                <a:gd name="csX769" fmla="*/ 1083029 w 1578711"/>
                <a:gd name="csY769" fmla="*/ 320708 h 892774"/>
                <a:gd name="csX770" fmla="*/ 1083029 w 1578711"/>
                <a:gd name="csY770" fmla="*/ 345600 h 892774"/>
                <a:gd name="csX771" fmla="*/ 1093398 w 1578711"/>
                <a:gd name="csY771" fmla="*/ 355975 h 892774"/>
                <a:gd name="csX772" fmla="*/ 1103822 w 1578711"/>
                <a:gd name="csY772" fmla="*/ 345600 h 892774"/>
                <a:gd name="csX773" fmla="*/ 1103822 w 1578711"/>
                <a:gd name="csY773" fmla="*/ 320708 h 892774"/>
                <a:gd name="csX774" fmla="*/ 1118252 w 1578711"/>
                <a:gd name="csY774" fmla="*/ 320708 h 892774"/>
                <a:gd name="csX775" fmla="*/ 1118252 w 1578711"/>
                <a:gd name="csY775" fmla="*/ 345600 h 892774"/>
                <a:gd name="csX776" fmla="*/ 1128621 w 1578711"/>
                <a:gd name="csY776" fmla="*/ 355975 h 892774"/>
                <a:gd name="csX777" fmla="*/ 1138991 w 1578711"/>
                <a:gd name="csY777" fmla="*/ 345600 h 892774"/>
                <a:gd name="csX778" fmla="*/ 1138991 w 1578711"/>
                <a:gd name="csY778" fmla="*/ 320708 h 892774"/>
                <a:gd name="csX779" fmla="*/ 1153474 w 1578711"/>
                <a:gd name="csY779" fmla="*/ 320708 h 892774"/>
                <a:gd name="csX780" fmla="*/ 1153474 w 1578711"/>
                <a:gd name="csY780" fmla="*/ 345600 h 892774"/>
                <a:gd name="csX781" fmla="*/ 1163843 w 1578711"/>
                <a:gd name="csY781" fmla="*/ 355975 h 892774"/>
                <a:gd name="csX782" fmla="*/ 1174213 w 1578711"/>
                <a:gd name="csY782" fmla="*/ 345600 h 892774"/>
                <a:gd name="csX783" fmla="*/ 1174213 w 1578711"/>
                <a:gd name="csY783" fmla="*/ 320708 h 892774"/>
                <a:gd name="csX784" fmla="*/ 1188643 w 1578711"/>
                <a:gd name="csY784" fmla="*/ 320708 h 892774"/>
                <a:gd name="csX785" fmla="*/ 1188643 w 1578711"/>
                <a:gd name="csY785" fmla="*/ 345600 h 892774"/>
                <a:gd name="csX786" fmla="*/ 1199011 w 1578711"/>
                <a:gd name="csY786" fmla="*/ 355975 h 892774"/>
                <a:gd name="csX787" fmla="*/ 1209381 w 1578711"/>
                <a:gd name="csY787" fmla="*/ 345600 h 892774"/>
                <a:gd name="csX788" fmla="*/ 1209381 w 1578711"/>
                <a:gd name="csY788" fmla="*/ 320708 h 892774"/>
                <a:gd name="csX789" fmla="*/ 1223865 w 1578711"/>
                <a:gd name="csY789" fmla="*/ 320708 h 892774"/>
                <a:gd name="csX790" fmla="*/ 1223865 w 1578711"/>
                <a:gd name="csY790" fmla="*/ 345600 h 892774"/>
                <a:gd name="csX791" fmla="*/ 1234234 w 1578711"/>
                <a:gd name="csY791" fmla="*/ 355975 h 892774"/>
                <a:gd name="csX792" fmla="*/ 1244604 w 1578711"/>
                <a:gd name="csY792" fmla="*/ 345600 h 892774"/>
                <a:gd name="csX793" fmla="*/ 1244604 w 1578711"/>
                <a:gd name="csY793" fmla="*/ 320708 h 892774"/>
                <a:gd name="csX794" fmla="*/ 1259087 w 1578711"/>
                <a:gd name="csY794" fmla="*/ 320708 h 892774"/>
                <a:gd name="csX795" fmla="*/ 1259087 w 1578711"/>
                <a:gd name="csY795" fmla="*/ 345600 h 892774"/>
                <a:gd name="csX796" fmla="*/ 1269457 w 1578711"/>
                <a:gd name="csY796" fmla="*/ 355975 h 892774"/>
                <a:gd name="csX797" fmla="*/ 1279826 w 1578711"/>
                <a:gd name="csY797" fmla="*/ 345600 h 892774"/>
                <a:gd name="csX798" fmla="*/ 1279826 w 1578711"/>
                <a:gd name="csY798" fmla="*/ 320708 h 892774"/>
                <a:gd name="csX799" fmla="*/ 1294256 w 1578711"/>
                <a:gd name="csY799" fmla="*/ 320708 h 892774"/>
                <a:gd name="csX800" fmla="*/ 1294256 w 1578711"/>
                <a:gd name="csY800" fmla="*/ 345600 h 892774"/>
                <a:gd name="csX801" fmla="*/ 1304624 w 1578711"/>
                <a:gd name="csY801" fmla="*/ 355975 h 892774"/>
                <a:gd name="csX802" fmla="*/ 1314994 w 1578711"/>
                <a:gd name="csY802" fmla="*/ 345600 h 892774"/>
                <a:gd name="csX803" fmla="*/ 1314994 w 1578711"/>
                <a:gd name="csY803" fmla="*/ 320708 h 892774"/>
                <a:gd name="csX804" fmla="*/ 1328271 w 1578711"/>
                <a:gd name="csY804" fmla="*/ 320708 h 892774"/>
                <a:gd name="csX805" fmla="*/ 1328271 w 1578711"/>
                <a:gd name="csY805" fmla="*/ 367699 h 892774"/>
                <a:gd name="csX806" fmla="*/ 1284215 w 1578711"/>
                <a:gd name="csY806" fmla="*/ 367699 h 892774"/>
                <a:gd name="csX807" fmla="*/ 1285641 w 1578711"/>
                <a:gd name="csY807" fmla="*/ 369405 h 892774"/>
                <a:gd name="csX808" fmla="*/ 1283721 w 1578711"/>
                <a:gd name="csY808" fmla="*/ 369405 h 892774"/>
                <a:gd name="csX809" fmla="*/ 1283721 w 1578711"/>
                <a:gd name="csY809" fmla="*/ 392454 h 892774"/>
                <a:gd name="csX810" fmla="*/ 1282953 w 1578711"/>
                <a:gd name="csY810" fmla="*/ 392454 h 892774"/>
                <a:gd name="csX811" fmla="*/ 1279826 w 1578711"/>
                <a:gd name="csY811" fmla="*/ 399487 h 892774"/>
                <a:gd name="csX812" fmla="*/ 1290579 w 1578711"/>
                <a:gd name="csY812" fmla="*/ 410822 h 892774"/>
                <a:gd name="csX813" fmla="*/ 1299138 w 1578711"/>
                <a:gd name="csY813" fmla="*/ 403882 h 892774"/>
                <a:gd name="csX814" fmla="*/ 1302704 w 1578711"/>
                <a:gd name="csY814" fmla="*/ 442786 h 892774"/>
                <a:gd name="csX815" fmla="*/ 1302649 w 1578711"/>
                <a:gd name="csY815" fmla="*/ 444070 h 892774"/>
                <a:gd name="csX816" fmla="*/ 1328271 w 1578711"/>
                <a:gd name="csY816" fmla="*/ 444070 h 892774"/>
                <a:gd name="csX817" fmla="*/ 1373315 w 1578711"/>
                <a:gd name="csY817" fmla="*/ 10216 h 892774"/>
                <a:gd name="csX818" fmla="*/ 1336994 w 1578711"/>
                <a:gd name="csY818" fmla="*/ 10216 h 892774"/>
                <a:gd name="csX819" fmla="*/ 1336994 w 1578711"/>
                <a:gd name="csY819" fmla="*/ 101806 h 892774"/>
                <a:gd name="csX820" fmla="*/ 1373315 w 1578711"/>
                <a:gd name="csY820" fmla="*/ 101806 h 892774"/>
                <a:gd name="csX821" fmla="*/ 1396412 w 1578711"/>
                <a:gd name="csY821" fmla="*/ 498177 h 892774"/>
                <a:gd name="csX822" fmla="*/ 1390651 w 1578711"/>
                <a:gd name="csY822" fmla="*/ 498177 h 892774"/>
                <a:gd name="csX823" fmla="*/ 1390651 w 1578711"/>
                <a:gd name="csY823" fmla="*/ 860339 h 892774"/>
                <a:gd name="csX824" fmla="*/ 1396412 w 1578711"/>
                <a:gd name="csY824" fmla="*/ 860339 h 892774"/>
                <a:gd name="csX825" fmla="*/ 1437451 w 1578711"/>
                <a:gd name="csY825" fmla="*/ 498177 h 892774"/>
                <a:gd name="csX826" fmla="*/ 1406288 w 1578711"/>
                <a:gd name="csY826" fmla="*/ 498177 h 892774"/>
                <a:gd name="csX827" fmla="*/ 1406288 w 1578711"/>
                <a:gd name="csY827" fmla="*/ 552695 h 892774"/>
                <a:gd name="csX828" fmla="*/ 1437451 w 1578711"/>
                <a:gd name="csY828" fmla="*/ 552695 h 892774"/>
                <a:gd name="csX829" fmla="*/ 1453031 w 1578711"/>
                <a:gd name="csY829" fmla="*/ 498177 h 892774"/>
                <a:gd name="csX830" fmla="*/ 1447326 w 1578711"/>
                <a:gd name="csY830" fmla="*/ 498177 h 892774"/>
                <a:gd name="csX831" fmla="*/ 1447326 w 1578711"/>
                <a:gd name="csY831" fmla="*/ 860339 h 892774"/>
                <a:gd name="csX832" fmla="*/ 1453031 w 1578711"/>
                <a:gd name="csY832" fmla="*/ 860339 h 892774"/>
                <a:gd name="csX833" fmla="*/ 1453031 w 1578711"/>
                <a:gd name="csY833" fmla="*/ 498177 h 89277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 ang="0">
                  <a:pos x="csX97" y="csY97"/>
                </a:cxn>
                <a:cxn ang="0">
                  <a:pos x="csX98" y="csY98"/>
                </a:cxn>
                <a:cxn ang="0">
                  <a:pos x="csX99" y="csY99"/>
                </a:cxn>
                <a:cxn ang="0">
                  <a:pos x="csX100" y="csY100"/>
                </a:cxn>
                <a:cxn ang="0">
                  <a:pos x="csX101" y="csY101"/>
                </a:cxn>
                <a:cxn ang="0">
                  <a:pos x="csX102" y="csY102"/>
                </a:cxn>
                <a:cxn ang="0">
                  <a:pos x="csX103" y="csY103"/>
                </a:cxn>
                <a:cxn ang="0">
                  <a:pos x="csX104" y="csY104"/>
                </a:cxn>
                <a:cxn ang="0">
                  <a:pos x="csX105" y="csY105"/>
                </a:cxn>
                <a:cxn ang="0">
                  <a:pos x="csX106" y="csY106"/>
                </a:cxn>
                <a:cxn ang="0">
                  <a:pos x="csX107" y="csY107"/>
                </a:cxn>
                <a:cxn ang="0">
                  <a:pos x="csX108" y="csY108"/>
                </a:cxn>
                <a:cxn ang="0">
                  <a:pos x="csX109" y="csY109"/>
                </a:cxn>
                <a:cxn ang="0">
                  <a:pos x="csX110" y="csY110"/>
                </a:cxn>
                <a:cxn ang="0">
                  <a:pos x="csX111" y="csY111"/>
                </a:cxn>
                <a:cxn ang="0">
                  <a:pos x="csX112" y="csY112"/>
                </a:cxn>
                <a:cxn ang="0">
                  <a:pos x="csX113" y="csY113"/>
                </a:cxn>
                <a:cxn ang="0">
                  <a:pos x="csX114" y="csY114"/>
                </a:cxn>
                <a:cxn ang="0">
                  <a:pos x="csX115" y="csY115"/>
                </a:cxn>
                <a:cxn ang="0">
                  <a:pos x="csX116" y="csY116"/>
                </a:cxn>
                <a:cxn ang="0">
                  <a:pos x="csX117" y="csY117"/>
                </a:cxn>
                <a:cxn ang="0">
                  <a:pos x="csX118" y="csY118"/>
                </a:cxn>
                <a:cxn ang="0">
                  <a:pos x="csX119" y="csY119"/>
                </a:cxn>
                <a:cxn ang="0">
                  <a:pos x="csX120" y="csY120"/>
                </a:cxn>
                <a:cxn ang="0">
                  <a:pos x="csX121" y="csY121"/>
                </a:cxn>
                <a:cxn ang="0">
                  <a:pos x="csX122" y="csY122"/>
                </a:cxn>
                <a:cxn ang="0">
                  <a:pos x="csX123" y="csY123"/>
                </a:cxn>
                <a:cxn ang="0">
                  <a:pos x="csX124" y="csY124"/>
                </a:cxn>
                <a:cxn ang="0">
                  <a:pos x="csX125" y="csY125"/>
                </a:cxn>
                <a:cxn ang="0">
                  <a:pos x="csX126" y="csY126"/>
                </a:cxn>
                <a:cxn ang="0">
                  <a:pos x="csX127" y="csY127"/>
                </a:cxn>
                <a:cxn ang="0">
                  <a:pos x="csX128" y="csY128"/>
                </a:cxn>
                <a:cxn ang="0">
                  <a:pos x="csX129" y="csY129"/>
                </a:cxn>
                <a:cxn ang="0">
                  <a:pos x="csX130" y="csY130"/>
                </a:cxn>
                <a:cxn ang="0">
                  <a:pos x="csX131" y="csY131"/>
                </a:cxn>
                <a:cxn ang="0">
                  <a:pos x="csX132" y="csY132"/>
                </a:cxn>
                <a:cxn ang="0">
                  <a:pos x="csX133" y="csY133"/>
                </a:cxn>
                <a:cxn ang="0">
                  <a:pos x="csX134" y="csY134"/>
                </a:cxn>
                <a:cxn ang="0">
                  <a:pos x="csX135" y="csY135"/>
                </a:cxn>
                <a:cxn ang="0">
                  <a:pos x="csX136" y="csY136"/>
                </a:cxn>
                <a:cxn ang="0">
                  <a:pos x="csX137" y="csY137"/>
                </a:cxn>
                <a:cxn ang="0">
                  <a:pos x="csX138" y="csY138"/>
                </a:cxn>
                <a:cxn ang="0">
                  <a:pos x="csX139" y="csY139"/>
                </a:cxn>
                <a:cxn ang="0">
                  <a:pos x="csX140" y="csY140"/>
                </a:cxn>
                <a:cxn ang="0">
                  <a:pos x="csX141" y="csY141"/>
                </a:cxn>
                <a:cxn ang="0">
                  <a:pos x="csX142" y="csY142"/>
                </a:cxn>
                <a:cxn ang="0">
                  <a:pos x="csX143" y="csY143"/>
                </a:cxn>
                <a:cxn ang="0">
                  <a:pos x="csX144" y="csY144"/>
                </a:cxn>
                <a:cxn ang="0">
                  <a:pos x="csX145" y="csY145"/>
                </a:cxn>
                <a:cxn ang="0">
                  <a:pos x="csX146" y="csY146"/>
                </a:cxn>
                <a:cxn ang="0">
                  <a:pos x="csX147" y="csY147"/>
                </a:cxn>
                <a:cxn ang="0">
                  <a:pos x="csX148" y="csY148"/>
                </a:cxn>
                <a:cxn ang="0">
                  <a:pos x="csX149" y="csY149"/>
                </a:cxn>
                <a:cxn ang="0">
                  <a:pos x="csX150" y="csY150"/>
                </a:cxn>
                <a:cxn ang="0">
                  <a:pos x="csX151" y="csY151"/>
                </a:cxn>
                <a:cxn ang="0">
                  <a:pos x="csX152" y="csY152"/>
                </a:cxn>
                <a:cxn ang="0">
                  <a:pos x="csX153" y="csY153"/>
                </a:cxn>
                <a:cxn ang="0">
                  <a:pos x="csX154" y="csY154"/>
                </a:cxn>
                <a:cxn ang="0">
                  <a:pos x="csX155" y="csY155"/>
                </a:cxn>
                <a:cxn ang="0">
                  <a:pos x="csX156" y="csY156"/>
                </a:cxn>
                <a:cxn ang="0">
                  <a:pos x="csX157" y="csY157"/>
                </a:cxn>
                <a:cxn ang="0">
                  <a:pos x="csX158" y="csY158"/>
                </a:cxn>
                <a:cxn ang="0">
                  <a:pos x="csX159" y="csY159"/>
                </a:cxn>
                <a:cxn ang="0">
                  <a:pos x="csX160" y="csY160"/>
                </a:cxn>
                <a:cxn ang="0">
                  <a:pos x="csX161" y="csY161"/>
                </a:cxn>
                <a:cxn ang="0">
                  <a:pos x="csX162" y="csY162"/>
                </a:cxn>
                <a:cxn ang="0">
                  <a:pos x="csX163" y="csY163"/>
                </a:cxn>
                <a:cxn ang="0">
                  <a:pos x="csX164" y="csY164"/>
                </a:cxn>
                <a:cxn ang="0">
                  <a:pos x="csX165" y="csY165"/>
                </a:cxn>
                <a:cxn ang="0">
                  <a:pos x="csX166" y="csY166"/>
                </a:cxn>
                <a:cxn ang="0">
                  <a:pos x="csX167" y="csY167"/>
                </a:cxn>
                <a:cxn ang="0">
                  <a:pos x="csX168" y="csY168"/>
                </a:cxn>
                <a:cxn ang="0">
                  <a:pos x="csX169" y="csY169"/>
                </a:cxn>
                <a:cxn ang="0">
                  <a:pos x="csX170" y="csY170"/>
                </a:cxn>
                <a:cxn ang="0">
                  <a:pos x="csX171" y="csY171"/>
                </a:cxn>
                <a:cxn ang="0">
                  <a:pos x="csX172" y="csY172"/>
                </a:cxn>
                <a:cxn ang="0">
                  <a:pos x="csX173" y="csY173"/>
                </a:cxn>
                <a:cxn ang="0">
                  <a:pos x="csX174" y="csY174"/>
                </a:cxn>
                <a:cxn ang="0">
                  <a:pos x="csX175" y="csY175"/>
                </a:cxn>
                <a:cxn ang="0">
                  <a:pos x="csX176" y="csY176"/>
                </a:cxn>
                <a:cxn ang="0">
                  <a:pos x="csX177" y="csY177"/>
                </a:cxn>
                <a:cxn ang="0">
                  <a:pos x="csX178" y="csY178"/>
                </a:cxn>
                <a:cxn ang="0">
                  <a:pos x="csX179" y="csY179"/>
                </a:cxn>
                <a:cxn ang="0">
                  <a:pos x="csX180" y="csY180"/>
                </a:cxn>
                <a:cxn ang="0">
                  <a:pos x="csX181" y="csY181"/>
                </a:cxn>
                <a:cxn ang="0">
                  <a:pos x="csX182" y="csY182"/>
                </a:cxn>
                <a:cxn ang="0">
                  <a:pos x="csX183" y="csY183"/>
                </a:cxn>
                <a:cxn ang="0">
                  <a:pos x="csX184" y="csY184"/>
                </a:cxn>
                <a:cxn ang="0">
                  <a:pos x="csX185" y="csY185"/>
                </a:cxn>
                <a:cxn ang="0">
                  <a:pos x="csX186" y="csY186"/>
                </a:cxn>
                <a:cxn ang="0">
                  <a:pos x="csX187" y="csY187"/>
                </a:cxn>
                <a:cxn ang="0">
                  <a:pos x="csX188" y="csY188"/>
                </a:cxn>
                <a:cxn ang="0">
                  <a:pos x="csX189" y="csY189"/>
                </a:cxn>
                <a:cxn ang="0">
                  <a:pos x="csX190" y="csY190"/>
                </a:cxn>
                <a:cxn ang="0">
                  <a:pos x="csX191" y="csY191"/>
                </a:cxn>
                <a:cxn ang="0">
                  <a:pos x="csX192" y="csY192"/>
                </a:cxn>
                <a:cxn ang="0">
                  <a:pos x="csX193" y="csY193"/>
                </a:cxn>
                <a:cxn ang="0">
                  <a:pos x="csX194" y="csY194"/>
                </a:cxn>
                <a:cxn ang="0">
                  <a:pos x="csX195" y="csY195"/>
                </a:cxn>
                <a:cxn ang="0">
                  <a:pos x="csX196" y="csY196"/>
                </a:cxn>
                <a:cxn ang="0">
                  <a:pos x="csX197" y="csY197"/>
                </a:cxn>
                <a:cxn ang="0">
                  <a:pos x="csX198" y="csY198"/>
                </a:cxn>
                <a:cxn ang="0">
                  <a:pos x="csX199" y="csY199"/>
                </a:cxn>
                <a:cxn ang="0">
                  <a:pos x="csX200" y="csY200"/>
                </a:cxn>
                <a:cxn ang="0">
                  <a:pos x="csX201" y="csY201"/>
                </a:cxn>
                <a:cxn ang="0">
                  <a:pos x="csX202" y="csY202"/>
                </a:cxn>
                <a:cxn ang="0">
                  <a:pos x="csX203" y="csY203"/>
                </a:cxn>
                <a:cxn ang="0">
                  <a:pos x="csX204" y="csY204"/>
                </a:cxn>
                <a:cxn ang="0">
                  <a:pos x="csX205" y="csY205"/>
                </a:cxn>
                <a:cxn ang="0">
                  <a:pos x="csX206" y="csY206"/>
                </a:cxn>
                <a:cxn ang="0">
                  <a:pos x="csX207" y="csY207"/>
                </a:cxn>
                <a:cxn ang="0">
                  <a:pos x="csX208" y="csY208"/>
                </a:cxn>
                <a:cxn ang="0">
                  <a:pos x="csX209" y="csY209"/>
                </a:cxn>
                <a:cxn ang="0">
                  <a:pos x="csX210" y="csY210"/>
                </a:cxn>
                <a:cxn ang="0">
                  <a:pos x="csX211" y="csY211"/>
                </a:cxn>
                <a:cxn ang="0">
                  <a:pos x="csX212" y="csY212"/>
                </a:cxn>
                <a:cxn ang="0">
                  <a:pos x="csX213" y="csY213"/>
                </a:cxn>
                <a:cxn ang="0">
                  <a:pos x="csX214" y="csY214"/>
                </a:cxn>
                <a:cxn ang="0">
                  <a:pos x="csX215" y="csY215"/>
                </a:cxn>
                <a:cxn ang="0">
                  <a:pos x="csX216" y="csY216"/>
                </a:cxn>
                <a:cxn ang="0">
                  <a:pos x="csX217" y="csY217"/>
                </a:cxn>
                <a:cxn ang="0">
                  <a:pos x="csX218" y="csY218"/>
                </a:cxn>
                <a:cxn ang="0">
                  <a:pos x="csX219" y="csY219"/>
                </a:cxn>
                <a:cxn ang="0">
                  <a:pos x="csX220" y="csY220"/>
                </a:cxn>
                <a:cxn ang="0">
                  <a:pos x="csX221" y="csY221"/>
                </a:cxn>
                <a:cxn ang="0">
                  <a:pos x="csX222" y="csY222"/>
                </a:cxn>
                <a:cxn ang="0">
                  <a:pos x="csX223" y="csY223"/>
                </a:cxn>
                <a:cxn ang="0">
                  <a:pos x="csX224" y="csY224"/>
                </a:cxn>
                <a:cxn ang="0">
                  <a:pos x="csX225" y="csY225"/>
                </a:cxn>
                <a:cxn ang="0">
                  <a:pos x="csX226" y="csY226"/>
                </a:cxn>
                <a:cxn ang="0">
                  <a:pos x="csX227" y="csY227"/>
                </a:cxn>
                <a:cxn ang="0">
                  <a:pos x="csX228" y="csY228"/>
                </a:cxn>
                <a:cxn ang="0">
                  <a:pos x="csX229" y="csY229"/>
                </a:cxn>
                <a:cxn ang="0">
                  <a:pos x="csX230" y="csY230"/>
                </a:cxn>
                <a:cxn ang="0">
                  <a:pos x="csX231" y="csY231"/>
                </a:cxn>
                <a:cxn ang="0">
                  <a:pos x="csX232" y="csY232"/>
                </a:cxn>
                <a:cxn ang="0">
                  <a:pos x="csX233" y="csY233"/>
                </a:cxn>
                <a:cxn ang="0">
                  <a:pos x="csX234" y="csY234"/>
                </a:cxn>
                <a:cxn ang="0">
                  <a:pos x="csX235" y="csY235"/>
                </a:cxn>
                <a:cxn ang="0">
                  <a:pos x="csX236" y="csY236"/>
                </a:cxn>
                <a:cxn ang="0">
                  <a:pos x="csX237" y="csY237"/>
                </a:cxn>
                <a:cxn ang="0">
                  <a:pos x="csX238" y="csY238"/>
                </a:cxn>
                <a:cxn ang="0">
                  <a:pos x="csX239" y="csY239"/>
                </a:cxn>
                <a:cxn ang="0">
                  <a:pos x="csX240" y="csY240"/>
                </a:cxn>
                <a:cxn ang="0">
                  <a:pos x="csX241" y="csY241"/>
                </a:cxn>
                <a:cxn ang="0">
                  <a:pos x="csX242" y="csY242"/>
                </a:cxn>
                <a:cxn ang="0">
                  <a:pos x="csX243" y="csY243"/>
                </a:cxn>
                <a:cxn ang="0">
                  <a:pos x="csX244" y="csY244"/>
                </a:cxn>
                <a:cxn ang="0">
                  <a:pos x="csX245" y="csY245"/>
                </a:cxn>
                <a:cxn ang="0">
                  <a:pos x="csX246" y="csY246"/>
                </a:cxn>
                <a:cxn ang="0">
                  <a:pos x="csX247" y="csY247"/>
                </a:cxn>
                <a:cxn ang="0">
                  <a:pos x="csX248" y="csY248"/>
                </a:cxn>
                <a:cxn ang="0">
                  <a:pos x="csX249" y="csY249"/>
                </a:cxn>
                <a:cxn ang="0">
                  <a:pos x="csX250" y="csY250"/>
                </a:cxn>
                <a:cxn ang="0">
                  <a:pos x="csX251" y="csY251"/>
                </a:cxn>
                <a:cxn ang="0">
                  <a:pos x="csX252" y="csY252"/>
                </a:cxn>
                <a:cxn ang="0">
                  <a:pos x="csX253" y="csY253"/>
                </a:cxn>
                <a:cxn ang="0">
                  <a:pos x="csX254" y="csY254"/>
                </a:cxn>
                <a:cxn ang="0">
                  <a:pos x="csX255" y="csY255"/>
                </a:cxn>
                <a:cxn ang="0">
                  <a:pos x="csX256" y="csY256"/>
                </a:cxn>
                <a:cxn ang="0">
                  <a:pos x="csX257" y="csY257"/>
                </a:cxn>
                <a:cxn ang="0">
                  <a:pos x="csX258" y="csY258"/>
                </a:cxn>
                <a:cxn ang="0">
                  <a:pos x="csX259" y="csY259"/>
                </a:cxn>
                <a:cxn ang="0">
                  <a:pos x="csX260" y="csY260"/>
                </a:cxn>
                <a:cxn ang="0">
                  <a:pos x="csX261" y="csY261"/>
                </a:cxn>
                <a:cxn ang="0">
                  <a:pos x="csX262" y="csY262"/>
                </a:cxn>
                <a:cxn ang="0">
                  <a:pos x="csX263" y="csY263"/>
                </a:cxn>
                <a:cxn ang="0">
                  <a:pos x="csX264" y="csY264"/>
                </a:cxn>
                <a:cxn ang="0">
                  <a:pos x="csX265" y="csY265"/>
                </a:cxn>
                <a:cxn ang="0">
                  <a:pos x="csX266" y="csY266"/>
                </a:cxn>
                <a:cxn ang="0">
                  <a:pos x="csX267" y="csY267"/>
                </a:cxn>
                <a:cxn ang="0">
                  <a:pos x="csX268" y="csY268"/>
                </a:cxn>
                <a:cxn ang="0">
                  <a:pos x="csX269" y="csY269"/>
                </a:cxn>
                <a:cxn ang="0">
                  <a:pos x="csX270" y="csY270"/>
                </a:cxn>
                <a:cxn ang="0">
                  <a:pos x="csX271" y="csY271"/>
                </a:cxn>
                <a:cxn ang="0">
                  <a:pos x="csX272" y="csY272"/>
                </a:cxn>
                <a:cxn ang="0">
                  <a:pos x="csX273" y="csY273"/>
                </a:cxn>
                <a:cxn ang="0">
                  <a:pos x="csX274" y="csY274"/>
                </a:cxn>
                <a:cxn ang="0">
                  <a:pos x="csX275" y="csY275"/>
                </a:cxn>
                <a:cxn ang="0">
                  <a:pos x="csX276" y="csY276"/>
                </a:cxn>
                <a:cxn ang="0">
                  <a:pos x="csX277" y="csY277"/>
                </a:cxn>
                <a:cxn ang="0">
                  <a:pos x="csX278" y="csY278"/>
                </a:cxn>
                <a:cxn ang="0">
                  <a:pos x="csX279" y="csY279"/>
                </a:cxn>
                <a:cxn ang="0">
                  <a:pos x="csX280" y="csY280"/>
                </a:cxn>
                <a:cxn ang="0">
                  <a:pos x="csX281" y="csY281"/>
                </a:cxn>
                <a:cxn ang="0">
                  <a:pos x="csX282" y="csY282"/>
                </a:cxn>
                <a:cxn ang="0">
                  <a:pos x="csX283" y="csY283"/>
                </a:cxn>
                <a:cxn ang="0">
                  <a:pos x="csX284" y="csY284"/>
                </a:cxn>
                <a:cxn ang="0">
                  <a:pos x="csX285" y="csY285"/>
                </a:cxn>
                <a:cxn ang="0">
                  <a:pos x="csX286" y="csY286"/>
                </a:cxn>
                <a:cxn ang="0">
                  <a:pos x="csX287" y="csY287"/>
                </a:cxn>
                <a:cxn ang="0">
                  <a:pos x="csX288" y="csY288"/>
                </a:cxn>
                <a:cxn ang="0">
                  <a:pos x="csX289" y="csY289"/>
                </a:cxn>
                <a:cxn ang="0">
                  <a:pos x="csX290" y="csY290"/>
                </a:cxn>
                <a:cxn ang="0">
                  <a:pos x="csX291" y="csY291"/>
                </a:cxn>
                <a:cxn ang="0">
                  <a:pos x="csX292" y="csY292"/>
                </a:cxn>
                <a:cxn ang="0">
                  <a:pos x="csX293" y="csY293"/>
                </a:cxn>
                <a:cxn ang="0">
                  <a:pos x="csX294" y="csY294"/>
                </a:cxn>
                <a:cxn ang="0">
                  <a:pos x="csX295" y="csY295"/>
                </a:cxn>
                <a:cxn ang="0">
                  <a:pos x="csX296" y="csY296"/>
                </a:cxn>
                <a:cxn ang="0">
                  <a:pos x="csX297" y="csY297"/>
                </a:cxn>
                <a:cxn ang="0">
                  <a:pos x="csX298" y="csY298"/>
                </a:cxn>
                <a:cxn ang="0">
                  <a:pos x="csX299" y="csY299"/>
                </a:cxn>
                <a:cxn ang="0">
                  <a:pos x="csX300" y="csY300"/>
                </a:cxn>
                <a:cxn ang="0">
                  <a:pos x="csX301" y="csY301"/>
                </a:cxn>
                <a:cxn ang="0">
                  <a:pos x="csX302" y="csY302"/>
                </a:cxn>
                <a:cxn ang="0">
                  <a:pos x="csX303" y="csY303"/>
                </a:cxn>
                <a:cxn ang="0">
                  <a:pos x="csX304" y="csY304"/>
                </a:cxn>
                <a:cxn ang="0">
                  <a:pos x="csX305" y="csY305"/>
                </a:cxn>
                <a:cxn ang="0">
                  <a:pos x="csX306" y="csY306"/>
                </a:cxn>
                <a:cxn ang="0">
                  <a:pos x="csX307" y="csY307"/>
                </a:cxn>
                <a:cxn ang="0">
                  <a:pos x="csX308" y="csY308"/>
                </a:cxn>
                <a:cxn ang="0">
                  <a:pos x="csX309" y="csY309"/>
                </a:cxn>
                <a:cxn ang="0">
                  <a:pos x="csX310" y="csY310"/>
                </a:cxn>
                <a:cxn ang="0">
                  <a:pos x="csX311" y="csY311"/>
                </a:cxn>
                <a:cxn ang="0">
                  <a:pos x="csX312" y="csY312"/>
                </a:cxn>
                <a:cxn ang="0">
                  <a:pos x="csX313" y="csY313"/>
                </a:cxn>
                <a:cxn ang="0">
                  <a:pos x="csX314" y="csY314"/>
                </a:cxn>
                <a:cxn ang="0">
                  <a:pos x="csX315" y="csY315"/>
                </a:cxn>
                <a:cxn ang="0">
                  <a:pos x="csX316" y="csY316"/>
                </a:cxn>
                <a:cxn ang="0">
                  <a:pos x="csX317" y="csY317"/>
                </a:cxn>
                <a:cxn ang="0">
                  <a:pos x="csX318" y="csY318"/>
                </a:cxn>
                <a:cxn ang="0">
                  <a:pos x="csX319" y="csY319"/>
                </a:cxn>
                <a:cxn ang="0">
                  <a:pos x="csX320" y="csY320"/>
                </a:cxn>
                <a:cxn ang="0">
                  <a:pos x="csX321" y="csY321"/>
                </a:cxn>
                <a:cxn ang="0">
                  <a:pos x="csX322" y="csY322"/>
                </a:cxn>
                <a:cxn ang="0">
                  <a:pos x="csX323" y="csY323"/>
                </a:cxn>
                <a:cxn ang="0">
                  <a:pos x="csX324" y="csY324"/>
                </a:cxn>
                <a:cxn ang="0">
                  <a:pos x="csX325" y="csY325"/>
                </a:cxn>
                <a:cxn ang="0">
                  <a:pos x="csX326" y="csY326"/>
                </a:cxn>
                <a:cxn ang="0">
                  <a:pos x="csX327" y="csY327"/>
                </a:cxn>
                <a:cxn ang="0">
                  <a:pos x="csX328" y="csY328"/>
                </a:cxn>
                <a:cxn ang="0">
                  <a:pos x="csX329" y="csY329"/>
                </a:cxn>
                <a:cxn ang="0">
                  <a:pos x="csX330" y="csY330"/>
                </a:cxn>
                <a:cxn ang="0">
                  <a:pos x="csX331" y="csY331"/>
                </a:cxn>
                <a:cxn ang="0">
                  <a:pos x="csX332" y="csY332"/>
                </a:cxn>
                <a:cxn ang="0">
                  <a:pos x="csX333" y="csY333"/>
                </a:cxn>
                <a:cxn ang="0">
                  <a:pos x="csX334" y="csY334"/>
                </a:cxn>
                <a:cxn ang="0">
                  <a:pos x="csX335" y="csY335"/>
                </a:cxn>
                <a:cxn ang="0">
                  <a:pos x="csX336" y="csY336"/>
                </a:cxn>
                <a:cxn ang="0">
                  <a:pos x="csX337" y="csY337"/>
                </a:cxn>
                <a:cxn ang="0">
                  <a:pos x="csX338" y="csY338"/>
                </a:cxn>
                <a:cxn ang="0">
                  <a:pos x="csX339" y="csY339"/>
                </a:cxn>
                <a:cxn ang="0">
                  <a:pos x="csX340" y="csY340"/>
                </a:cxn>
                <a:cxn ang="0">
                  <a:pos x="csX341" y="csY341"/>
                </a:cxn>
                <a:cxn ang="0">
                  <a:pos x="csX342" y="csY342"/>
                </a:cxn>
                <a:cxn ang="0">
                  <a:pos x="csX343" y="csY343"/>
                </a:cxn>
                <a:cxn ang="0">
                  <a:pos x="csX344" y="csY344"/>
                </a:cxn>
                <a:cxn ang="0">
                  <a:pos x="csX345" y="csY345"/>
                </a:cxn>
                <a:cxn ang="0">
                  <a:pos x="csX346" y="csY346"/>
                </a:cxn>
                <a:cxn ang="0">
                  <a:pos x="csX347" y="csY347"/>
                </a:cxn>
                <a:cxn ang="0">
                  <a:pos x="csX348" y="csY348"/>
                </a:cxn>
                <a:cxn ang="0">
                  <a:pos x="csX349" y="csY349"/>
                </a:cxn>
                <a:cxn ang="0">
                  <a:pos x="csX350" y="csY350"/>
                </a:cxn>
                <a:cxn ang="0">
                  <a:pos x="csX351" y="csY351"/>
                </a:cxn>
                <a:cxn ang="0">
                  <a:pos x="csX352" y="csY352"/>
                </a:cxn>
                <a:cxn ang="0">
                  <a:pos x="csX353" y="csY353"/>
                </a:cxn>
                <a:cxn ang="0">
                  <a:pos x="csX354" y="csY354"/>
                </a:cxn>
                <a:cxn ang="0">
                  <a:pos x="csX355" y="csY355"/>
                </a:cxn>
                <a:cxn ang="0">
                  <a:pos x="csX356" y="csY356"/>
                </a:cxn>
                <a:cxn ang="0">
                  <a:pos x="csX357" y="csY357"/>
                </a:cxn>
                <a:cxn ang="0">
                  <a:pos x="csX358" y="csY358"/>
                </a:cxn>
                <a:cxn ang="0">
                  <a:pos x="csX359" y="csY359"/>
                </a:cxn>
                <a:cxn ang="0">
                  <a:pos x="csX360" y="csY360"/>
                </a:cxn>
                <a:cxn ang="0">
                  <a:pos x="csX361" y="csY361"/>
                </a:cxn>
                <a:cxn ang="0">
                  <a:pos x="csX362" y="csY362"/>
                </a:cxn>
                <a:cxn ang="0">
                  <a:pos x="csX363" y="csY363"/>
                </a:cxn>
                <a:cxn ang="0">
                  <a:pos x="csX364" y="csY364"/>
                </a:cxn>
                <a:cxn ang="0">
                  <a:pos x="csX365" y="csY365"/>
                </a:cxn>
                <a:cxn ang="0">
                  <a:pos x="csX366" y="csY366"/>
                </a:cxn>
                <a:cxn ang="0">
                  <a:pos x="csX367" y="csY367"/>
                </a:cxn>
                <a:cxn ang="0">
                  <a:pos x="csX368" y="csY368"/>
                </a:cxn>
                <a:cxn ang="0">
                  <a:pos x="csX369" y="csY369"/>
                </a:cxn>
                <a:cxn ang="0">
                  <a:pos x="csX370" y="csY370"/>
                </a:cxn>
                <a:cxn ang="0">
                  <a:pos x="csX371" y="csY371"/>
                </a:cxn>
                <a:cxn ang="0">
                  <a:pos x="csX372" y="csY372"/>
                </a:cxn>
                <a:cxn ang="0">
                  <a:pos x="csX373" y="csY373"/>
                </a:cxn>
                <a:cxn ang="0">
                  <a:pos x="csX374" y="csY374"/>
                </a:cxn>
                <a:cxn ang="0">
                  <a:pos x="csX375" y="csY375"/>
                </a:cxn>
                <a:cxn ang="0">
                  <a:pos x="csX376" y="csY376"/>
                </a:cxn>
                <a:cxn ang="0">
                  <a:pos x="csX377" y="csY377"/>
                </a:cxn>
                <a:cxn ang="0">
                  <a:pos x="csX378" y="csY378"/>
                </a:cxn>
                <a:cxn ang="0">
                  <a:pos x="csX379" y="csY379"/>
                </a:cxn>
                <a:cxn ang="0">
                  <a:pos x="csX380" y="csY380"/>
                </a:cxn>
                <a:cxn ang="0">
                  <a:pos x="csX381" y="csY381"/>
                </a:cxn>
                <a:cxn ang="0">
                  <a:pos x="csX382" y="csY382"/>
                </a:cxn>
                <a:cxn ang="0">
                  <a:pos x="csX383" y="csY383"/>
                </a:cxn>
                <a:cxn ang="0">
                  <a:pos x="csX384" y="csY384"/>
                </a:cxn>
                <a:cxn ang="0">
                  <a:pos x="csX385" y="csY385"/>
                </a:cxn>
                <a:cxn ang="0">
                  <a:pos x="csX386" y="csY386"/>
                </a:cxn>
                <a:cxn ang="0">
                  <a:pos x="csX387" y="csY387"/>
                </a:cxn>
                <a:cxn ang="0">
                  <a:pos x="csX388" y="csY388"/>
                </a:cxn>
                <a:cxn ang="0">
                  <a:pos x="csX389" y="csY389"/>
                </a:cxn>
                <a:cxn ang="0">
                  <a:pos x="csX390" y="csY390"/>
                </a:cxn>
                <a:cxn ang="0">
                  <a:pos x="csX391" y="csY391"/>
                </a:cxn>
                <a:cxn ang="0">
                  <a:pos x="csX392" y="csY392"/>
                </a:cxn>
                <a:cxn ang="0">
                  <a:pos x="csX393" y="csY393"/>
                </a:cxn>
                <a:cxn ang="0">
                  <a:pos x="csX394" y="csY394"/>
                </a:cxn>
                <a:cxn ang="0">
                  <a:pos x="csX395" y="csY395"/>
                </a:cxn>
                <a:cxn ang="0">
                  <a:pos x="csX396" y="csY396"/>
                </a:cxn>
                <a:cxn ang="0">
                  <a:pos x="csX397" y="csY397"/>
                </a:cxn>
                <a:cxn ang="0">
                  <a:pos x="csX398" y="csY398"/>
                </a:cxn>
                <a:cxn ang="0">
                  <a:pos x="csX399" y="csY399"/>
                </a:cxn>
                <a:cxn ang="0">
                  <a:pos x="csX400" y="csY400"/>
                </a:cxn>
                <a:cxn ang="0">
                  <a:pos x="csX401" y="csY401"/>
                </a:cxn>
                <a:cxn ang="0">
                  <a:pos x="csX402" y="csY402"/>
                </a:cxn>
                <a:cxn ang="0">
                  <a:pos x="csX403" y="csY403"/>
                </a:cxn>
                <a:cxn ang="0">
                  <a:pos x="csX404" y="csY404"/>
                </a:cxn>
                <a:cxn ang="0">
                  <a:pos x="csX405" y="csY405"/>
                </a:cxn>
                <a:cxn ang="0">
                  <a:pos x="csX406" y="csY406"/>
                </a:cxn>
                <a:cxn ang="0">
                  <a:pos x="csX407" y="csY407"/>
                </a:cxn>
                <a:cxn ang="0">
                  <a:pos x="csX408" y="csY408"/>
                </a:cxn>
                <a:cxn ang="0">
                  <a:pos x="csX409" y="csY409"/>
                </a:cxn>
                <a:cxn ang="0">
                  <a:pos x="csX410" y="csY410"/>
                </a:cxn>
                <a:cxn ang="0">
                  <a:pos x="csX411" y="csY411"/>
                </a:cxn>
                <a:cxn ang="0">
                  <a:pos x="csX412" y="csY412"/>
                </a:cxn>
                <a:cxn ang="0">
                  <a:pos x="csX413" y="csY413"/>
                </a:cxn>
                <a:cxn ang="0">
                  <a:pos x="csX414" y="csY414"/>
                </a:cxn>
                <a:cxn ang="0">
                  <a:pos x="csX415" y="csY415"/>
                </a:cxn>
                <a:cxn ang="0">
                  <a:pos x="csX416" y="csY416"/>
                </a:cxn>
                <a:cxn ang="0">
                  <a:pos x="csX417" y="csY417"/>
                </a:cxn>
                <a:cxn ang="0">
                  <a:pos x="csX418" y="csY418"/>
                </a:cxn>
                <a:cxn ang="0">
                  <a:pos x="csX419" y="csY419"/>
                </a:cxn>
                <a:cxn ang="0">
                  <a:pos x="csX420" y="csY420"/>
                </a:cxn>
                <a:cxn ang="0">
                  <a:pos x="csX421" y="csY421"/>
                </a:cxn>
                <a:cxn ang="0">
                  <a:pos x="csX422" y="csY422"/>
                </a:cxn>
                <a:cxn ang="0">
                  <a:pos x="csX423" y="csY423"/>
                </a:cxn>
                <a:cxn ang="0">
                  <a:pos x="csX424" y="csY424"/>
                </a:cxn>
                <a:cxn ang="0">
                  <a:pos x="csX425" y="csY425"/>
                </a:cxn>
                <a:cxn ang="0">
                  <a:pos x="csX426" y="csY426"/>
                </a:cxn>
                <a:cxn ang="0">
                  <a:pos x="csX427" y="csY427"/>
                </a:cxn>
                <a:cxn ang="0">
                  <a:pos x="csX428" y="csY428"/>
                </a:cxn>
                <a:cxn ang="0">
                  <a:pos x="csX429" y="csY429"/>
                </a:cxn>
                <a:cxn ang="0">
                  <a:pos x="csX430" y="csY430"/>
                </a:cxn>
                <a:cxn ang="0">
                  <a:pos x="csX431" y="csY431"/>
                </a:cxn>
                <a:cxn ang="0">
                  <a:pos x="csX432" y="csY432"/>
                </a:cxn>
                <a:cxn ang="0">
                  <a:pos x="csX433" y="csY433"/>
                </a:cxn>
                <a:cxn ang="0">
                  <a:pos x="csX434" y="csY434"/>
                </a:cxn>
                <a:cxn ang="0">
                  <a:pos x="csX435" y="csY435"/>
                </a:cxn>
                <a:cxn ang="0">
                  <a:pos x="csX436" y="csY436"/>
                </a:cxn>
                <a:cxn ang="0">
                  <a:pos x="csX437" y="csY437"/>
                </a:cxn>
                <a:cxn ang="0">
                  <a:pos x="csX438" y="csY438"/>
                </a:cxn>
                <a:cxn ang="0">
                  <a:pos x="csX439" y="csY439"/>
                </a:cxn>
                <a:cxn ang="0">
                  <a:pos x="csX440" y="csY440"/>
                </a:cxn>
                <a:cxn ang="0">
                  <a:pos x="csX441" y="csY441"/>
                </a:cxn>
                <a:cxn ang="0">
                  <a:pos x="csX442" y="csY442"/>
                </a:cxn>
                <a:cxn ang="0">
                  <a:pos x="csX443" y="csY443"/>
                </a:cxn>
                <a:cxn ang="0">
                  <a:pos x="csX444" y="csY444"/>
                </a:cxn>
                <a:cxn ang="0">
                  <a:pos x="csX445" y="csY445"/>
                </a:cxn>
                <a:cxn ang="0">
                  <a:pos x="csX446" y="csY446"/>
                </a:cxn>
                <a:cxn ang="0">
                  <a:pos x="csX447" y="csY447"/>
                </a:cxn>
                <a:cxn ang="0">
                  <a:pos x="csX448" y="csY448"/>
                </a:cxn>
                <a:cxn ang="0">
                  <a:pos x="csX449" y="csY449"/>
                </a:cxn>
                <a:cxn ang="0">
                  <a:pos x="csX450" y="csY450"/>
                </a:cxn>
                <a:cxn ang="0">
                  <a:pos x="csX451" y="csY451"/>
                </a:cxn>
                <a:cxn ang="0">
                  <a:pos x="csX452" y="csY452"/>
                </a:cxn>
                <a:cxn ang="0">
                  <a:pos x="csX453" y="csY453"/>
                </a:cxn>
                <a:cxn ang="0">
                  <a:pos x="csX454" y="csY454"/>
                </a:cxn>
                <a:cxn ang="0">
                  <a:pos x="csX455" y="csY455"/>
                </a:cxn>
                <a:cxn ang="0">
                  <a:pos x="csX456" y="csY456"/>
                </a:cxn>
                <a:cxn ang="0">
                  <a:pos x="csX457" y="csY457"/>
                </a:cxn>
                <a:cxn ang="0">
                  <a:pos x="csX458" y="csY458"/>
                </a:cxn>
                <a:cxn ang="0">
                  <a:pos x="csX459" y="csY459"/>
                </a:cxn>
                <a:cxn ang="0">
                  <a:pos x="csX460" y="csY460"/>
                </a:cxn>
                <a:cxn ang="0">
                  <a:pos x="csX461" y="csY461"/>
                </a:cxn>
                <a:cxn ang="0">
                  <a:pos x="csX462" y="csY462"/>
                </a:cxn>
                <a:cxn ang="0">
                  <a:pos x="csX463" y="csY463"/>
                </a:cxn>
                <a:cxn ang="0">
                  <a:pos x="csX464" y="csY464"/>
                </a:cxn>
                <a:cxn ang="0">
                  <a:pos x="csX465" y="csY465"/>
                </a:cxn>
                <a:cxn ang="0">
                  <a:pos x="csX466" y="csY466"/>
                </a:cxn>
                <a:cxn ang="0">
                  <a:pos x="csX467" y="csY467"/>
                </a:cxn>
                <a:cxn ang="0">
                  <a:pos x="csX468" y="csY468"/>
                </a:cxn>
                <a:cxn ang="0">
                  <a:pos x="csX469" y="csY469"/>
                </a:cxn>
                <a:cxn ang="0">
                  <a:pos x="csX470" y="csY470"/>
                </a:cxn>
                <a:cxn ang="0">
                  <a:pos x="csX471" y="csY471"/>
                </a:cxn>
                <a:cxn ang="0">
                  <a:pos x="csX472" y="csY472"/>
                </a:cxn>
                <a:cxn ang="0">
                  <a:pos x="csX473" y="csY473"/>
                </a:cxn>
                <a:cxn ang="0">
                  <a:pos x="csX474" y="csY474"/>
                </a:cxn>
                <a:cxn ang="0">
                  <a:pos x="csX475" y="csY475"/>
                </a:cxn>
                <a:cxn ang="0">
                  <a:pos x="csX476" y="csY476"/>
                </a:cxn>
                <a:cxn ang="0">
                  <a:pos x="csX477" y="csY477"/>
                </a:cxn>
                <a:cxn ang="0">
                  <a:pos x="csX478" y="csY478"/>
                </a:cxn>
                <a:cxn ang="0">
                  <a:pos x="csX479" y="csY479"/>
                </a:cxn>
                <a:cxn ang="0">
                  <a:pos x="csX480" y="csY480"/>
                </a:cxn>
                <a:cxn ang="0">
                  <a:pos x="csX481" y="csY481"/>
                </a:cxn>
                <a:cxn ang="0">
                  <a:pos x="csX482" y="csY482"/>
                </a:cxn>
                <a:cxn ang="0">
                  <a:pos x="csX483" y="csY483"/>
                </a:cxn>
                <a:cxn ang="0">
                  <a:pos x="csX484" y="csY484"/>
                </a:cxn>
                <a:cxn ang="0">
                  <a:pos x="csX485" y="csY485"/>
                </a:cxn>
                <a:cxn ang="0">
                  <a:pos x="csX486" y="csY486"/>
                </a:cxn>
                <a:cxn ang="0">
                  <a:pos x="csX487" y="csY487"/>
                </a:cxn>
                <a:cxn ang="0">
                  <a:pos x="csX488" y="csY488"/>
                </a:cxn>
                <a:cxn ang="0">
                  <a:pos x="csX489" y="csY489"/>
                </a:cxn>
                <a:cxn ang="0">
                  <a:pos x="csX490" y="csY490"/>
                </a:cxn>
                <a:cxn ang="0">
                  <a:pos x="csX491" y="csY491"/>
                </a:cxn>
                <a:cxn ang="0">
                  <a:pos x="csX492" y="csY492"/>
                </a:cxn>
                <a:cxn ang="0">
                  <a:pos x="csX493" y="csY493"/>
                </a:cxn>
                <a:cxn ang="0">
                  <a:pos x="csX494" y="csY494"/>
                </a:cxn>
                <a:cxn ang="0">
                  <a:pos x="csX495" y="csY495"/>
                </a:cxn>
                <a:cxn ang="0">
                  <a:pos x="csX496" y="csY496"/>
                </a:cxn>
                <a:cxn ang="0">
                  <a:pos x="csX497" y="csY497"/>
                </a:cxn>
                <a:cxn ang="0">
                  <a:pos x="csX498" y="csY498"/>
                </a:cxn>
                <a:cxn ang="0">
                  <a:pos x="csX499" y="csY499"/>
                </a:cxn>
                <a:cxn ang="0">
                  <a:pos x="csX500" y="csY500"/>
                </a:cxn>
                <a:cxn ang="0">
                  <a:pos x="csX501" y="csY501"/>
                </a:cxn>
                <a:cxn ang="0">
                  <a:pos x="csX502" y="csY502"/>
                </a:cxn>
                <a:cxn ang="0">
                  <a:pos x="csX503" y="csY503"/>
                </a:cxn>
                <a:cxn ang="0">
                  <a:pos x="csX504" y="csY504"/>
                </a:cxn>
                <a:cxn ang="0">
                  <a:pos x="csX505" y="csY505"/>
                </a:cxn>
                <a:cxn ang="0">
                  <a:pos x="csX506" y="csY506"/>
                </a:cxn>
                <a:cxn ang="0">
                  <a:pos x="csX507" y="csY507"/>
                </a:cxn>
                <a:cxn ang="0">
                  <a:pos x="csX508" y="csY508"/>
                </a:cxn>
                <a:cxn ang="0">
                  <a:pos x="csX509" y="csY509"/>
                </a:cxn>
                <a:cxn ang="0">
                  <a:pos x="csX510" y="csY510"/>
                </a:cxn>
                <a:cxn ang="0">
                  <a:pos x="csX511" y="csY511"/>
                </a:cxn>
                <a:cxn ang="0">
                  <a:pos x="csX512" y="csY512"/>
                </a:cxn>
                <a:cxn ang="0">
                  <a:pos x="csX513" y="csY513"/>
                </a:cxn>
                <a:cxn ang="0">
                  <a:pos x="csX514" y="csY514"/>
                </a:cxn>
                <a:cxn ang="0">
                  <a:pos x="csX515" y="csY515"/>
                </a:cxn>
                <a:cxn ang="0">
                  <a:pos x="csX516" y="csY516"/>
                </a:cxn>
                <a:cxn ang="0">
                  <a:pos x="csX517" y="csY517"/>
                </a:cxn>
                <a:cxn ang="0">
                  <a:pos x="csX518" y="csY518"/>
                </a:cxn>
                <a:cxn ang="0">
                  <a:pos x="csX519" y="csY519"/>
                </a:cxn>
                <a:cxn ang="0">
                  <a:pos x="csX520" y="csY520"/>
                </a:cxn>
                <a:cxn ang="0">
                  <a:pos x="csX521" y="csY521"/>
                </a:cxn>
                <a:cxn ang="0">
                  <a:pos x="csX522" y="csY522"/>
                </a:cxn>
                <a:cxn ang="0">
                  <a:pos x="csX523" y="csY523"/>
                </a:cxn>
                <a:cxn ang="0">
                  <a:pos x="csX524" y="csY524"/>
                </a:cxn>
                <a:cxn ang="0">
                  <a:pos x="csX525" y="csY525"/>
                </a:cxn>
                <a:cxn ang="0">
                  <a:pos x="csX526" y="csY526"/>
                </a:cxn>
                <a:cxn ang="0">
                  <a:pos x="csX527" y="csY527"/>
                </a:cxn>
                <a:cxn ang="0">
                  <a:pos x="csX528" y="csY528"/>
                </a:cxn>
                <a:cxn ang="0">
                  <a:pos x="csX529" y="csY529"/>
                </a:cxn>
                <a:cxn ang="0">
                  <a:pos x="csX530" y="csY530"/>
                </a:cxn>
                <a:cxn ang="0">
                  <a:pos x="csX531" y="csY531"/>
                </a:cxn>
                <a:cxn ang="0">
                  <a:pos x="csX532" y="csY532"/>
                </a:cxn>
                <a:cxn ang="0">
                  <a:pos x="csX533" y="csY533"/>
                </a:cxn>
                <a:cxn ang="0">
                  <a:pos x="csX534" y="csY534"/>
                </a:cxn>
                <a:cxn ang="0">
                  <a:pos x="csX535" y="csY535"/>
                </a:cxn>
                <a:cxn ang="0">
                  <a:pos x="csX536" y="csY536"/>
                </a:cxn>
                <a:cxn ang="0">
                  <a:pos x="csX537" y="csY537"/>
                </a:cxn>
                <a:cxn ang="0">
                  <a:pos x="csX538" y="csY538"/>
                </a:cxn>
                <a:cxn ang="0">
                  <a:pos x="csX539" y="csY539"/>
                </a:cxn>
                <a:cxn ang="0">
                  <a:pos x="csX540" y="csY540"/>
                </a:cxn>
                <a:cxn ang="0">
                  <a:pos x="csX541" y="csY541"/>
                </a:cxn>
                <a:cxn ang="0">
                  <a:pos x="csX542" y="csY542"/>
                </a:cxn>
                <a:cxn ang="0">
                  <a:pos x="csX543" y="csY543"/>
                </a:cxn>
                <a:cxn ang="0">
                  <a:pos x="csX544" y="csY544"/>
                </a:cxn>
                <a:cxn ang="0">
                  <a:pos x="csX545" y="csY545"/>
                </a:cxn>
                <a:cxn ang="0">
                  <a:pos x="csX546" y="csY546"/>
                </a:cxn>
                <a:cxn ang="0">
                  <a:pos x="csX547" y="csY547"/>
                </a:cxn>
                <a:cxn ang="0">
                  <a:pos x="csX548" y="csY548"/>
                </a:cxn>
                <a:cxn ang="0">
                  <a:pos x="csX549" y="csY549"/>
                </a:cxn>
                <a:cxn ang="0">
                  <a:pos x="csX550" y="csY550"/>
                </a:cxn>
                <a:cxn ang="0">
                  <a:pos x="csX551" y="csY551"/>
                </a:cxn>
                <a:cxn ang="0">
                  <a:pos x="csX552" y="csY552"/>
                </a:cxn>
                <a:cxn ang="0">
                  <a:pos x="csX553" y="csY553"/>
                </a:cxn>
                <a:cxn ang="0">
                  <a:pos x="csX554" y="csY554"/>
                </a:cxn>
                <a:cxn ang="0">
                  <a:pos x="csX555" y="csY555"/>
                </a:cxn>
                <a:cxn ang="0">
                  <a:pos x="csX556" y="csY556"/>
                </a:cxn>
                <a:cxn ang="0">
                  <a:pos x="csX557" y="csY557"/>
                </a:cxn>
                <a:cxn ang="0">
                  <a:pos x="csX558" y="csY558"/>
                </a:cxn>
                <a:cxn ang="0">
                  <a:pos x="csX559" y="csY559"/>
                </a:cxn>
                <a:cxn ang="0">
                  <a:pos x="csX560" y="csY560"/>
                </a:cxn>
                <a:cxn ang="0">
                  <a:pos x="csX561" y="csY561"/>
                </a:cxn>
                <a:cxn ang="0">
                  <a:pos x="csX562" y="csY562"/>
                </a:cxn>
                <a:cxn ang="0">
                  <a:pos x="csX563" y="csY563"/>
                </a:cxn>
                <a:cxn ang="0">
                  <a:pos x="csX564" y="csY564"/>
                </a:cxn>
                <a:cxn ang="0">
                  <a:pos x="csX565" y="csY565"/>
                </a:cxn>
                <a:cxn ang="0">
                  <a:pos x="csX566" y="csY566"/>
                </a:cxn>
                <a:cxn ang="0">
                  <a:pos x="csX567" y="csY567"/>
                </a:cxn>
                <a:cxn ang="0">
                  <a:pos x="csX568" y="csY568"/>
                </a:cxn>
                <a:cxn ang="0">
                  <a:pos x="csX569" y="csY569"/>
                </a:cxn>
                <a:cxn ang="0">
                  <a:pos x="csX570" y="csY570"/>
                </a:cxn>
                <a:cxn ang="0">
                  <a:pos x="csX571" y="csY571"/>
                </a:cxn>
                <a:cxn ang="0">
                  <a:pos x="csX572" y="csY572"/>
                </a:cxn>
                <a:cxn ang="0">
                  <a:pos x="csX573" y="csY573"/>
                </a:cxn>
                <a:cxn ang="0">
                  <a:pos x="csX574" y="csY574"/>
                </a:cxn>
                <a:cxn ang="0">
                  <a:pos x="csX575" y="csY575"/>
                </a:cxn>
                <a:cxn ang="0">
                  <a:pos x="csX576" y="csY576"/>
                </a:cxn>
                <a:cxn ang="0">
                  <a:pos x="csX577" y="csY577"/>
                </a:cxn>
                <a:cxn ang="0">
                  <a:pos x="csX578" y="csY578"/>
                </a:cxn>
                <a:cxn ang="0">
                  <a:pos x="csX579" y="csY579"/>
                </a:cxn>
                <a:cxn ang="0">
                  <a:pos x="csX580" y="csY580"/>
                </a:cxn>
                <a:cxn ang="0">
                  <a:pos x="csX581" y="csY581"/>
                </a:cxn>
                <a:cxn ang="0">
                  <a:pos x="csX582" y="csY582"/>
                </a:cxn>
                <a:cxn ang="0">
                  <a:pos x="csX583" y="csY583"/>
                </a:cxn>
                <a:cxn ang="0">
                  <a:pos x="csX584" y="csY584"/>
                </a:cxn>
                <a:cxn ang="0">
                  <a:pos x="csX585" y="csY585"/>
                </a:cxn>
                <a:cxn ang="0">
                  <a:pos x="csX586" y="csY586"/>
                </a:cxn>
                <a:cxn ang="0">
                  <a:pos x="csX587" y="csY587"/>
                </a:cxn>
                <a:cxn ang="0">
                  <a:pos x="csX588" y="csY588"/>
                </a:cxn>
                <a:cxn ang="0">
                  <a:pos x="csX589" y="csY589"/>
                </a:cxn>
                <a:cxn ang="0">
                  <a:pos x="csX590" y="csY590"/>
                </a:cxn>
                <a:cxn ang="0">
                  <a:pos x="csX591" y="csY591"/>
                </a:cxn>
                <a:cxn ang="0">
                  <a:pos x="csX592" y="csY592"/>
                </a:cxn>
                <a:cxn ang="0">
                  <a:pos x="csX593" y="csY593"/>
                </a:cxn>
                <a:cxn ang="0">
                  <a:pos x="csX594" y="csY594"/>
                </a:cxn>
                <a:cxn ang="0">
                  <a:pos x="csX595" y="csY595"/>
                </a:cxn>
                <a:cxn ang="0">
                  <a:pos x="csX596" y="csY596"/>
                </a:cxn>
                <a:cxn ang="0">
                  <a:pos x="csX597" y="csY597"/>
                </a:cxn>
                <a:cxn ang="0">
                  <a:pos x="csX598" y="csY598"/>
                </a:cxn>
                <a:cxn ang="0">
                  <a:pos x="csX599" y="csY599"/>
                </a:cxn>
                <a:cxn ang="0">
                  <a:pos x="csX600" y="csY600"/>
                </a:cxn>
                <a:cxn ang="0">
                  <a:pos x="csX601" y="csY601"/>
                </a:cxn>
                <a:cxn ang="0">
                  <a:pos x="csX602" y="csY602"/>
                </a:cxn>
                <a:cxn ang="0">
                  <a:pos x="csX603" y="csY603"/>
                </a:cxn>
                <a:cxn ang="0">
                  <a:pos x="csX604" y="csY604"/>
                </a:cxn>
                <a:cxn ang="0">
                  <a:pos x="csX605" y="csY605"/>
                </a:cxn>
                <a:cxn ang="0">
                  <a:pos x="csX606" y="csY606"/>
                </a:cxn>
                <a:cxn ang="0">
                  <a:pos x="csX607" y="csY607"/>
                </a:cxn>
                <a:cxn ang="0">
                  <a:pos x="csX608" y="csY608"/>
                </a:cxn>
                <a:cxn ang="0">
                  <a:pos x="csX609" y="csY609"/>
                </a:cxn>
                <a:cxn ang="0">
                  <a:pos x="csX610" y="csY610"/>
                </a:cxn>
                <a:cxn ang="0">
                  <a:pos x="csX611" y="csY611"/>
                </a:cxn>
                <a:cxn ang="0">
                  <a:pos x="csX612" y="csY612"/>
                </a:cxn>
                <a:cxn ang="0">
                  <a:pos x="csX613" y="csY613"/>
                </a:cxn>
                <a:cxn ang="0">
                  <a:pos x="csX614" y="csY614"/>
                </a:cxn>
                <a:cxn ang="0">
                  <a:pos x="csX615" y="csY615"/>
                </a:cxn>
                <a:cxn ang="0">
                  <a:pos x="csX616" y="csY616"/>
                </a:cxn>
                <a:cxn ang="0">
                  <a:pos x="csX617" y="csY617"/>
                </a:cxn>
                <a:cxn ang="0">
                  <a:pos x="csX618" y="csY618"/>
                </a:cxn>
                <a:cxn ang="0">
                  <a:pos x="csX619" y="csY619"/>
                </a:cxn>
                <a:cxn ang="0">
                  <a:pos x="csX620" y="csY620"/>
                </a:cxn>
                <a:cxn ang="0">
                  <a:pos x="csX621" y="csY621"/>
                </a:cxn>
                <a:cxn ang="0">
                  <a:pos x="csX622" y="csY622"/>
                </a:cxn>
                <a:cxn ang="0">
                  <a:pos x="csX623" y="csY623"/>
                </a:cxn>
                <a:cxn ang="0">
                  <a:pos x="csX624" y="csY624"/>
                </a:cxn>
                <a:cxn ang="0">
                  <a:pos x="csX625" y="csY625"/>
                </a:cxn>
                <a:cxn ang="0">
                  <a:pos x="csX626" y="csY626"/>
                </a:cxn>
                <a:cxn ang="0">
                  <a:pos x="csX627" y="csY627"/>
                </a:cxn>
                <a:cxn ang="0">
                  <a:pos x="csX628" y="csY628"/>
                </a:cxn>
                <a:cxn ang="0">
                  <a:pos x="csX629" y="csY629"/>
                </a:cxn>
                <a:cxn ang="0">
                  <a:pos x="csX630" y="csY630"/>
                </a:cxn>
                <a:cxn ang="0">
                  <a:pos x="csX631" y="csY631"/>
                </a:cxn>
                <a:cxn ang="0">
                  <a:pos x="csX632" y="csY632"/>
                </a:cxn>
                <a:cxn ang="0">
                  <a:pos x="csX633" y="csY633"/>
                </a:cxn>
                <a:cxn ang="0">
                  <a:pos x="csX634" y="csY634"/>
                </a:cxn>
                <a:cxn ang="0">
                  <a:pos x="csX635" y="csY635"/>
                </a:cxn>
                <a:cxn ang="0">
                  <a:pos x="csX636" y="csY636"/>
                </a:cxn>
                <a:cxn ang="0">
                  <a:pos x="csX637" y="csY637"/>
                </a:cxn>
                <a:cxn ang="0">
                  <a:pos x="csX638" y="csY638"/>
                </a:cxn>
                <a:cxn ang="0">
                  <a:pos x="csX639" y="csY639"/>
                </a:cxn>
                <a:cxn ang="0">
                  <a:pos x="csX640" y="csY640"/>
                </a:cxn>
                <a:cxn ang="0">
                  <a:pos x="csX641" y="csY641"/>
                </a:cxn>
                <a:cxn ang="0">
                  <a:pos x="csX642" y="csY642"/>
                </a:cxn>
                <a:cxn ang="0">
                  <a:pos x="csX643" y="csY643"/>
                </a:cxn>
                <a:cxn ang="0">
                  <a:pos x="csX644" y="csY644"/>
                </a:cxn>
                <a:cxn ang="0">
                  <a:pos x="csX645" y="csY645"/>
                </a:cxn>
                <a:cxn ang="0">
                  <a:pos x="csX646" y="csY646"/>
                </a:cxn>
                <a:cxn ang="0">
                  <a:pos x="csX647" y="csY647"/>
                </a:cxn>
                <a:cxn ang="0">
                  <a:pos x="csX648" y="csY648"/>
                </a:cxn>
                <a:cxn ang="0">
                  <a:pos x="csX649" y="csY649"/>
                </a:cxn>
                <a:cxn ang="0">
                  <a:pos x="csX650" y="csY650"/>
                </a:cxn>
                <a:cxn ang="0">
                  <a:pos x="csX651" y="csY651"/>
                </a:cxn>
                <a:cxn ang="0">
                  <a:pos x="csX652" y="csY652"/>
                </a:cxn>
                <a:cxn ang="0">
                  <a:pos x="csX653" y="csY653"/>
                </a:cxn>
                <a:cxn ang="0">
                  <a:pos x="csX654" y="csY654"/>
                </a:cxn>
                <a:cxn ang="0">
                  <a:pos x="csX655" y="csY655"/>
                </a:cxn>
                <a:cxn ang="0">
                  <a:pos x="csX656" y="csY656"/>
                </a:cxn>
                <a:cxn ang="0">
                  <a:pos x="csX657" y="csY657"/>
                </a:cxn>
                <a:cxn ang="0">
                  <a:pos x="csX658" y="csY658"/>
                </a:cxn>
                <a:cxn ang="0">
                  <a:pos x="csX659" y="csY659"/>
                </a:cxn>
                <a:cxn ang="0">
                  <a:pos x="csX660" y="csY660"/>
                </a:cxn>
                <a:cxn ang="0">
                  <a:pos x="csX661" y="csY661"/>
                </a:cxn>
                <a:cxn ang="0">
                  <a:pos x="csX662" y="csY662"/>
                </a:cxn>
                <a:cxn ang="0">
                  <a:pos x="csX663" y="csY663"/>
                </a:cxn>
                <a:cxn ang="0">
                  <a:pos x="csX664" y="csY664"/>
                </a:cxn>
                <a:cxn ang="0">
                  <a:pos x="csX665" y="csY665"/>
                </a:cxn>
                <a:cxn ang="0">
                  <a:pos x="csX666" y="csY666"/>
                </a:cxn>
                <a:cxn ang="0">
                  <a:pos x="csX667" y="csY667"/>
                </a:cxn>
                <a:cxn ang="0">
                  <a:pos x="csX668" y="csY668"/>
                </a:cxn>
                <a:cxn ang="0">
                  <a:pos x="csX669" y="csY669"/>
                </a:cxn>
                <a:cxn ang="0">
                  <a:pos x="csX670" y="csY670"/>
                </a:cxn>
                <a:cxn ang="0">
                  <a:pos x="csX671" y="csY671"/>
                </a:cxn>
                <a:cxn ang="0">
                  <a:pos x="csX672" y="csY672"/>
                </a:cxn>
                <a:cxn ang="0">
                  <a:pos x="csX673" y="csY673"/>
                </a:cxn>
                <a:cxn ang="0">
                  <a:pos x="csX674" y="csY674"/>
                </a:cxn>
                <a:cxn ang="0">
                  <a:pos x="csX675" y="csY675"/>
                </a:cxn>
                <a:cxn ang="0">
                  <a:pos x="csX676" y="csY676"/>
                </a:cxn>
                <a:cxn ang="0">
                  <a:pos x="csX677" y="csY677"/>
                </a:cxn>
                <a:cxn ang="0">
                  <a:pos x="csX678" y="csY678"/>
                </a:cxn>
                <a:cxn ang="0">
                  <a:pos x="csX679" y="csY679"/>
                </a:cxn>
                <a:cxn ang="0">
                  <a:pos x="csX680" y="csY680"/>
                </a:cxn>
                <a:cxn ang="0">
                  <a:pos x="csX681" y="csY681"/>
                </a:cxn>
                <a:cxn ang="0">
                  <a:pos x="csX682" y="csY682"/>
                </a:cxn>
                <a:cxn ang="0">
                  <a:pos x="csX683" y="csY683"/>
                </a:cxn>
                <a:cxn ang="0">
                  <a:pos x="csX684" y="csY684"/>
                </a:cxn>
                <a:cxn ang="0">
                  <a:pos x="csX685" y="csY685"/>
                </a:cxn>
                <a:cxn ang="0">
                  <a:pos x="csX686" y="csY686"/>
                </a:cxn>
                <a:cxn ang="0">
                  <a:pos x="csX687" y="csY687"/>
                </a:cxn>
                <a:cxn ang="0">
                  <a:pos x="csX688" y="csY688"/>
                </a:cxn>
                <a:cxn ang="0">
                  <a:pos x="csX689" y="csY689"/>
                </a:cxn>
                <a:cxn ang="0">
                  <a:pos x="csX690" y="csY690"/>
                </a:cxn>
                <a:cxn ang="0">
                  <a:pos x="csX691" y="csY691"/>
                </a:cxn>
                <a:cxn ang="0">
                  <a:pos x="csX692" y="csY692"/>
                </a:cxn>
                <a:cxn ang="0">
                  <a:pos x="csX693" y="csY693"/>
                </a:cxn>
                <a:cxn ang="0">
                  <a:pos x="csX694" y="csY694"/>
                </a:cxn>
                <a:cxn ang="0">
                  <a:pos x="csX695" y="csY695"/>
                </a:cxn>
                <a:cxn ang="0">
                  <a:pos x="csX696" y="csY696"/>
                </a:cxn>
                <a:cxn ang="0">
                  <a:pos x="csX697" y="csY697"/>
                </a:cxn>
                <a:cxn ang="0">
                  <a:pos x="csX698" y="csY698"/>
                </a:cxn>
                <a:cxn ang="0">
                  <a:pos x="csX699" y="csY699"/>
                </a:cxn>
                <a:cxn ang="0">
                  <a:pos x="csX700" y="csY700"/>
                </a:cxn>
                <a:cxn ang="0">
                  <a:pos x="csX701" y="csY701"/>
                </a:cxn>
                <a:cxn ang="0">
                  <a:pos x="csX702" y="csY702"/>
                </a:cxn>
                <a:cxn ang="0">
                  <a:pos x="csX703" y="csY703"/>
                </a:cxn>
                <a:cxn ang="0">
                  <a:pos x="csX704" y="csY704"/>
                </a:cxn>
                <a:cxn ang="0">
                  <a:pos x="csX705" y="csY705"/>
                </a:cxn>
                <a:cxn ang="0">
                  <a:pos x="csX706" y="csY706"/>
                </a:cxn>
                <a:cxn ang="0">
                  <a:pos x="csX707" y="csY707"/>
                </a:cxn>
                <a:cxn ang="0">
                  <a:pos x="csX708" y="csY708"/>
                </a:cxn>
                <a:cxn ang="0">
                  <a:pos x="csX709" y="csY709"/>
                </a:cxn>
                <a:cxn ang="0">
                  <a:pos x="csX710" y="csY710"/>
                </a:cxn>
                <a:cxn ang="0">
                  <a:pos x="csX711" y="csY711"/>
                </a:cxn>
                <a:cxn ang="0">
                  <a:pos x="csX712" y="csY712"/>
                </a:cxn>
                <a:cxn ang="0">
                  <a:pos x="csX713" y="csY713"/>
                </a:cxn>
                <a:cxn ang="0">
                  <a:pos x="csX714" y="csY714"/>
                </a:cxn>
                <a:cxn ang="0">
                  <a:pos x="csX715" y="csY715"/>
                </a:cxn>
                <a:cxn ang="0">
                  <a:pos x="csX716" y="csY716"/>
                </a:cxn>
                <a:cxn ang="0">
                  <a:pos x="csX717" y="csY717"/>
                </a:cxn>
                <a:cxn ang="0">
                  <a:pos x="csX718" y="csY718"/>
                </a:cxn>
                <a:cxn ang="0">
                  <a:pos x="csX719" y="csY719"/>
                </a:cxn>
                <a:cxn ang="0">
                  <a:pos x="csX720" y="csY720"/>
                </a:cxn>
                <a:cxn ang="0">
                  <a:pos x="csX721" y="csY721"/>
                </a:cxn>
                <a:cxn ang="0">
                  <a:pos x="csX722" y="csY722"/>
                </a:cxn>
                <a:cxn ang="0">
                  <a:pos x="csX723" y="csY723"/>
                </a:cxn>
                <a:cxn ang="0">
                  <a:pos x="csX724" y="csY724"/>
                </a:cxn>
                <a:cxn ang="0">
                  <a:pos x="csX725" y="csY725"/>
                </a:cxn>
                <a:cxn ang="0">
                  <a:pos x="csX726" y="csY726"/>
                </a:cxn>
                <a:cxn ang="0">
                  <a:pos x="csX727" y="csY727"/>
                </a:cxn>
                <a:cxn ang="0">
                  <a:pos x="csX728" y="csY728"/>
                </a:cxn>
                <a:cxn ang="0">
                  <a:pos x="csX729" y="csY729"/>
                </a:cxn>
                <a:cxn ang="0">
                  <a:pos x="csX730" y="csY730"/>
                </a:cxn>
                <a:cxn ang="0">
                  <a:pos x="csX731" y="csY731"/>
                </a:cxn>
                <a:cxn ang="0">
                  <a:pos x="csX732" y="csY732"/>
                </a:cxn>
                <a:cxn ang="0">
                  <a:pos x="csX733" y="csY733"/>
                </a:cxn>
                <a:cxn ang="0">
                  <a:pos x="csX734" y="csY734"/>
                </a:cxn>
                <a:cxn ang="0">
                  <a:pos x="csX735" y="csY735"/>
                </a:cxn>
                <a:cxn ang="0">
                  <a:pos x="csX736" y="csY736"/>
                </a:cxn>
                <a:cxn ang="0">
                  <a:pos x="csX737" y="csY737"/>
                </a:cxn>
                <a:cxn ang="0">
                  <a:pos x="csX738" y="csY738"/>
                </a:cxn>
                <a:cxn ang="0">
                  <a:pos x="csX739" y="csY739"/>
                </a:cxn>
                <a:cxn ang="0">
                  <a:pos x="csX740" y="csY740"/>
                </a:cxn>
                <a:cxn ang="0">
                  <a:pos x="csX741" y="csY741"/>
                </a:cxn>
                <a:cxn ang="0">
                  <a:pos x="csX742" y="csY742"/>
                </a:cxn>
                <a:cxn ang="0">
                  <a:pos x="csX743" y="csY743"/>
                </a:cxn>
                <a:cxn ang="0">
                  <a:pos x="csX744" y="csY744"/>
                </a:cxn>
                <a:cxn ang="0">
                  <a:pos x="csX745" y="csY745"/>
                </a:cxn>
                <a:cxn ang="0">
                  <a:pos x="csX746" y="csY746"/>
                </a:cxn>
                <a:cxn ang="0">
                  <a:pos x="csX747" y="csY747"/>
                </a:cxn>
                <a:cxn ang="0">
                  <a:pos x="csX748" y="csY748"/>
                </a:cxn>
                <a:cxn ang="0">
                  <a:pos x="csX749" y="csY749"/>
                </a:cxn>
                <a:cxn ang="0">
                  <a:pos x="csX750" y="csY750"/>
                </a:cxn>
                <a:cxn ang="0">
                  <a:pos x="csX751" y="csY751"/>
                </a:cxn>
                <a:cxn ang="0">
                  <a:pos x="csX752" y="csY752"/>
                </a:cxn>
                <a:cxn ang="0">
                  <a:pos x="csX753" y="csY753"/>
                </a:cxn>
                <a:cxn ang="0">
                  <a:pos x="csX754" y="csY754"/>
                </a:cxn>
                <a:cxn ang="0">
                  <a:pos x="csX755" y="csY755"/>
                </a:cxn>
                <a:cxn ang="0">
                  <a:pos x="csX756" y="csY756"/>
                </a:cxn>
                <a:cxn ang="0">
                  <a:pos x="csX757" y="csY757"/>
                </a:cxn>
                <a:cxn ang="0">
                  <a:pos x="csX758" y="csY758"/>
                </a:cxn>
                <a:cxn ang="0">
                  <a:pos x="csX759" y="csY759"/>
                </a:cxn>
                <a:cxn ang="0">
                  <a:pos x="csX760" y="csY760"/>
                </a:cxn>
                <a:cxn ang="0">
                  <a:pos x="csX761" y="csY761"/>
                </a:cxn>
                <a:cxn ang="0">
                  <a:pos x="csX762" y="csY762"/>
                </a:cxn>
                <a:cxn ang="0">
                  <a:pos x="csX763" y="csY763"/>
                </a:cxn>
                <a:cxn ang="0">
                  <a:pos x="csX764" y="csY764"/>
                </a:cxn>
                <a:cxn ang="0">
                  <a:pos x="csX765" y="csY765"/>
                </a:cxn>
                <a:cxn ang="0">
                  <a:pos x="csX766" y="csY766"/>
                </a:cxn>
                <a:cxn ang="0">
                  <a:pos x="csX767" y="csY767"/>
                </a:cxn>
                <a:cxn ang="0">
                  <a:pos x="csX768" y="csY768"/>
                </a:cxn>
                <a:cxn ang="0">
                  <a:pos x="csX769" y="csY769"/>
                </a:cxn>
                <a:cxn ang="0">
                  <a:pos x="csX770" y="csY770"/>
                </a:cxn>
                <a:cxn ang="0">
                  <a:pos x="csX771" y="csY771"/>
                </a:cxn>
                <a:cxn ang="0">
                  <a:pos x="csX772" y="csY772"/>
                </a:cxn>
                <a:cxn ang="0">
                  <a:pos x="csX773" y="csY773"/>
                </a:cxn>
                <a:cxn ang="0">
                  <a:pos x="csX774" y="csY774"/>
                </a:cxn>
                <a:cxn ang="0">
                  <a:pos x="csX775" y="csY775"/>
                </a:cxn>
                <a:cxn ang="0">
                  <a:pos x="csX776" y="csY776"/>
                </a:cxn>
                <a:cxn ang="0">
                  <a:pos x="csX777" y="csY777"/>
                </a:cxn>
                <a:cxn ang="0">
                  <a:pos x="csX778" y="csY778"/>
                </a:cxn>
                <a:cxn ang="0">
                  <a:pos x="csX779" y="csY779"/>
                </a:cxn>
                <a:cxn ang="0">
                  <a:pos x="csX780" y="csY780"/>
                </a:cxn>
                <a:cxn ang="0">
                  <a:pos x="csX781" y="csY781"/>
                </a:cxn>
                <a:cxn ang="0">
                  <a:pos x="csX782" y="csY782"/>
                </a:cxn>
                <a:cxn ang="0">
                  <a:pos x="csX783" y="csY783"/>
                </a:cxn>
                <a:cxn ang="0">
                  <a:pos x="csX784" y="csY784"/>
                </a:cxn>
                <a:cxn ang="0">
                  <a:pos x="csX785" y="csY785"/>
                </a:cxn>
                <a:cxn ang="0">
                  <a:pos x="csX786" y="csY786"/>
                </a:cxn>
                <a:cxn ang="0">
                  <a:pos x="csX787" y="csY787"/>
                </a:cxn>
                <a:cxn ang="0">
                  <a:pos x="csX788" y="csY788"/>
                </a:cxn>
                <a:cxn ang="0">
                  <a:pos x="csX789" y="csY789"/>
                </a:cxn>
                <a:cxn ang="0">
                  <a:pos x="csX790" y="csY790"/>
                </a:cxn>
                <a:cxn ang="0">
                  <a:pos x="csX791" y="csY791"/>
                </a:cxn>
                <a:cxn ang="0">
                  <a:pos x="csX792" y="csY792"/>
                </a:cxn>
                <a:cxn ang="0">
                  <a:pos x="csX793" y="csY793"/>
                </a:cxn>
                <a:cxn ang="0">
                  <a:pos x="csX794" y="csY794"/>
                </a:cxn>
                <a:cxn ang="0">
                  <a:pos x="csX795" y="csY795"/>
                </a:cxn>
                <a:cxn ang="0">
                  <a:pos x="csX796" y="csY796"/>
                </a:cxn>
                <a:cxn ang="0">
                  <a:pos x="csX797" y="csY797"/>
                </a:cxn>
                <a:cxn ang="0">
                  <a:pos x="csX798" y="csY798"/>
                </a:cxn>
                <a:cxn ang="0">
                  <a:pos x="csX799" y="csY799"/>
                </a:cxn>
                <a:cxn ang="0">
                  <a:pos x="csX800" y="csY800"/>
                </a:cxn>
                <a:cxn ang="0">
                  <a:pos x="csX801" y="csY801"/>
                </a:cxn>
                <a:cxn ang="0">
                  <a:pos x="csX802" y="csY802"/>
                </a:cxn>
                <a:cxn ang="0">
                  <a:pos x="csX803" y="csY803"/>
                </a:cxn>
                <a:cxn ang="0">
                  <a:pos x="csX804" y="csY804"/>
                </a:cxn>
                <a:cxn ang="0">
                  <a:pos x="csX805" y="csY805"/>
                </a:cxn>
                <a:cxn ang="0">
                  <a:pos x="csX806" y="csY806"/>
                </a:cxn>
                <a:cxn ang="0">
                  <a:pos x="csX807" y="csY807"/>
                </a:cxn>
                <a:cxn ang="0">
                  <a:pos x="csX808" y="csY808"/>
                </a:cxn>
                <a:cxn ang="0">
                  <a:pos x="csX809" y="csY809"/>
                </a:cxn>
                <a:cxn ang="0">
                  <a:pos x="csX810" y="csY810"/>
                </a:cxn>
                <a:cxn ang="0">
                  <a:pos x="csX811" y="csY811"/>
                </a:cxn>
                <a:cxn ang="0">
                  <a:pos x="csX812" y="csY812"/>
                </a:cxn>
                <a:cxn ang="0">
                  <a:pos x="csX813" y="csY813"/>
                </a:cxn>
                <a:cxn ang="0">
                  <a:pos x="csX814" y="csY814"/>
                </a:cxn>
                <a:cxn ang="0">
                  <a:pos x="csX815" y="csY815"/>
                </a:cxn>
                <a:cxn ang="0">
                  <a:pos x="csX816" y="csY816"/>
                </a:cxn>
                <a:cxn ang="0">
                  <a:pos x="csX817" y="csY817"/>
                </a:cxn>
                <a:cxn ang="0">
                  <a:pos x="csX818" y="csY818"/>
                </a:cxn>
                <a:cxn ang="0">
                  <a:pos x="csX819" y="csY819"/>
                </a:cxn>
                <a:cxn ang="0">
                  <a:pos x="csX820" y="csY820"/>
                </a:cxn>
                <a:cxn ang="0">
                  <a:pos x="csX821" y="csY821"/>
                </a:cxn>
                <a:cxn ang="0">
                  <a:pos x="csX822" y="csY822"/>
                </a:cxn>
                <a:cxn ang="0">
                  <a:pos x="csX823" y="csY823"/>
                </a:cxn>
                <a:cxn ang="0">
                  <a:pos x="csX824" y="csY824"/>
                </a:cxn>
                <a:cxn ang="0">
                  <a:pos x="csX825" y="csY825"/>
                </a:cxn>
                <a:cxn ang="0">
                  <a:pos x="csX826" y="csY826"/>
                </a:cxn>
                <a:cxn ang="0">
                  <a:pos x="csX827" y="csY827"/>
                </a:cxn>
                <a:cxn ang="0">
                  <a:pos x="csX828" y="csY828"/>
                </a:cxn>
                <a:cxn ang="0">
                  <a:pos x="csX829" y="csY829"/>
                </a:cxn>
                <a:cxn ang="0">
                  <a:pos x="csX830" y="csY830"/>
                </a:cxn>
                <a:cxn ang="0">
                  <a:pos x="csX831" y="csY831"/>
                </a:cxn>
                <a:cxn ang="0">
                  <a:pos x="csX832" y="csY832"/>
                </a:cxn>
                <a:cxn ang="0">
                  <a:pos x="csX833" y="csY833"/>
                </a:cxn>
              </a:cxnLst>
              <a:rect l="l" t="t" r="r" b="b"/>
              <a:pathLst>
                <a:path w="1578711" h="892774">
                  <a:moveTo>
                    <a:pt x="1515467" y="860339"/>
                  </a:moveTo>
                  <a:lnTo>
                    <a:pt x="1534066" y="860339"/>
                  </a:lnTo>
                  <a:lnTo>
                    <a:pt x="1534066" y="887711"/>
                  </a:lnTo>
                  <a:lnTo>
                    <a:pt x="1309618" y="887711"/>
                  </a:lnTo>
                  <a:lnTo>
                    <a:pt x="1309618" y="860339"/>
                  </a:lnTo>
                  <a:lnTo>
                    <a:pt x="1328271" y="860339"/>
                  </a:lnTo>
                  <a:lnTo>
                    <a:pt x="1328271" y="498177"/>
                  </a:lnTo>
                  <a:lnTo>
                    <a:pt x="1283996" y="498177"/>
                  </a:lnTo>
                  <a:cubicBezTo>
                    <a:pt x="1264904" y="526124"/>
                    <a:pt x="1234563" y="549590"/>
                    <a:pt x="1209161" y="572687"/>
                  </a:cubicBezTo>
                  <a:cubicBezTo>
                    <a:pt x="1184088" y="595456"/>
                    <a:pt x="1163843" y="617868"/>
                    <a:pt x="1163843" y="643851"/>
                  </a:cubicBezTo>
                  <a:cubicBezTo>
                    <a:pt x="1163843" y="617868"/>
                    <a:pt x="1143544" y="595451"/>
                    <a:pt x="1118526" y="572687"/>
                  </a:cubicBezTo>
                  <a:cubicBezTo>
                    <a:pt x="1085662" y="542858"/>
                    <a:pt x="1044679" y="512419"/>
                    <a:pt x="1030250" y="472522"/>
                  </a:cubicBezTo>
                  <a:lnTo>
                    <a:pt x="1030250" y="507388"/>
                  </a:lnTo>
                  <a:lnTo>
                    <a:pt x="1049343" y="527523"/>
                  </a:lnTo>
                  <a:lnTo>
                    <a:pt x="1049343" y="537816"/>
                  </a:lnTo>
                  <a:lnTo>
                    <a:pt x="1034364" y="537816"/>
                  </a:lnTo>
                  <a:lnTo>
                    <a:pt x="1034364" y="609896"/>
                  </a:lnTo>
                  <a:lnTo>
                    <a:pt x="1049232" y="609896"/>
                  </a:lnTo>
                  <a:lnTo>
                    <a:pt x="1038096" y="625154"/>
                  </a:lnTo>
                  <a:lnTo>
                    <a:pt x="1027232" y="625154"/>
                  </a:lnTo>
                  <a:cubicBezTo>
                    <a:pt x="1027232" y="625154"/>
                    <a:pt x="1037162" y="632067"/>
                    <a:pt x="1037162" y="647335"/>
                  </a:cubicBezTo>
                  <a:cubicBezTo>
                    <a:pt x="1037162" y="662906"/>
                    <a:pt x="1009676" y="674910"/>
                    <a:pt x="1004189" y="681176"/>
                  </a:cubicBezTo>
                  <a:cubicBezTo>
                    <a:pt x="1004300" y="681378"/>
                    <a:pt x="1004409" y="681620"/>
                    <a:pt x="1004409" y="681894"/>
                  </a:cubicBezTo>
                  <a:lnTo>
                    <a:pt x="1004409" y="713732"/>
                  </a:lnTo>
                  <a:cubicBezTo>
                    <a:pt x="1004409" y="714407"/>
                    <a:pt x="1003860" y="714955"/>
                    <a:pt x="1003202" y="714955"/>
                  </a:cubicBezTo>
                  <a:cubicBezTo>
                    <a:pt x="1002543" y="714955"/>
                    <a:pt x="1001995" y="714407"/>
                    <a:pt x="1001995" y="713732"/>
                  </a:cubicBezTo>
                  <a:lnTo>
                    <a:pt x="1001995" y="681894"/>
                  </a:lnTo>
                  <a:cubicBezTo>
                    <a:pt x="1001995" y="681620"/>
                    <a:pt x="1002105" y="681378"/>
                    <a:pt x="1002214" y="681176"/>
                  </a:cubicBezTo>
                  <a:cubicBezTo>
                    <a:pt x="996728" y="674910"/>
                    <a:pt x="969241" y="662906"/>
                    <a:pt x="969241" y="647335"/>
                  </a:cubicBezTo>
                  <a:cubicBezTo>
                    <a:pt x="969241" y="632067"/>
                    <a:pt x="979171" y="625154"/>
                    <a:pt x="979171" y="625154"/>
                  </a:cubicBezTo>
                  <a:lnTo>
                    <a:pt x="961176" y="625154"/>
                  </a:lnTo>
                  <a:lnTo>
                    <a:pt x="950039" y="609896"/>
                  </a:lnTo>
                  <a:lnTo>
                    <a:pt x="965126" y="609896"/>
                  </a:lnTo>
                  <a:lnTo>
                    <a:pt x="965126" y="537816"/>
                  </a:lnTo>
                  <a:lnTo>
                    <a:pt x="950148" y="537816"/>
                  </a:lnTo>
                  <a:lnTo>
                    <a:pt x="950148" y="527523"/>
                  </a:lnTo>
                  <a:lnTo>
                    <a:pt x="969241" y="507388"/>
                  </a:lnTo>
                  <a:lnTo>
                    <a:pt x="969241" y="465659"/>
                  </a:lnTo>
                  <a:lnTo>
                    <a:pt x="810410" y="465659"/>
                  </a:lnTo>
                  <a:cubicBezTo>
                    <a:pt x="810410" y="465763"/>
                    <a:pt x="810355" y="465862"/>
                    <a:pt x="810300" y="465966"/>
                  </a:cubicBezTo>
                  <a:lnTo>
                    <a:pt x="828241" y="465966"/>
                  </a:lnTo>
                  <a:lnTo>
                    <a:pt x="828241" y="489020"/>
                  </a:lnTo>
                  <a:lnTo>
                    <a:pt x="827472" y="489020"/>
                  </a:lnTo>
                  <a:cubicBezTo>
                    <a:pt x="827472" y="489020"/>
                    <a:pt x="824346" y="491214"/>
                    <a:pt x="824346" y="496053"/>
                  </a:cubicBezTo>
                  <a:cubicBezTo>
                    <a:pt x="824346" y="501545"/>
                    <a:pt x="835099" y="505638"/>
                    <a:pt x="835099" y="507388"/>
                  </a:cubicBezTo>
                  <a:cubicBezTo>
                    <a:pt x="835099" y="505638"/>
                    <a:pt x="845906" y="501545"/>
                    <a:pt x="845906" y="496053"/>
                  </a:cubicBezTo>
                  <a:cubicBezTo>
                    <a:pt x="845906" y="491214"/>
                    <a:pt x="842725" y="489020"/>
                    <a:pt x="842725" y="489020"/>
                  </a:cubicBezTo>
                  <a:lnTo>
                    <a:pt x="841957" y="489020"/>
                  </a:lnTo>
                  <a:lnTo>
                    <a:pt x="841957" y="465966"/>
                  </a:lnTo>
                  <a:lnTo>
                    <a:pt x="863025" y="465966"/>
                  </a:lnTo>
                  <a:lnTo>
                    <a:pt x="863025" y="489020"/>
                  </a:lnTo>
                  <a:lnTo>
                    <a:pt x="862256" y="489020"/>
                  </a:lnTo>
                  <a:cubicBezTo>
                    <a:pt x="862256" y="489020"/>
                    <a:pt x="859074" y="491214"/>
                    <a:pt x="859074" y="496053"/>
                  </a:cubicBezTo>
                  <a:cubicBezTo>
                    <a:pt x="859074" y="501545"/>
                    <a:pt x="869883" y="505638"/>
                    <a:pt x="869883" y="507388"/>
                  </a:cubicBezTo>
                  <a:cubicBezTo>
                    <a:pt x="869883" y="505638"/>
                    <a:pt x="880636" y="501545"/>
                    <a:pt x="880636" y="496053"/>
                  </a:cubicBezTo>
                  <a:cubicBezTo>
                    <a:pt x="880636" y="491214"/>
                    <a:pt x="877508" y="489020"/>
                    <a:pt x="877508" y="489020"/>
                  </a:cubicBezTo>
                  <a:lnTo>
                    <a:pt x="876741" y="489020"/>
                  </a:lnTo>
                  <a:lnTo>
                    <a:pt x="876741" y="465966"/>
                  </a:lnTo>
                  <a:lnTo>
                    <a:pt x="897753" y="465966"/>
                  </a:lnTo>
                  <a:lnTo>
                    <a:pt x="897753" y="489020"/>
                  </a:lnTo>
                  <a:lnTo>
                    <a:pt x="897040" y="489020"/>
                  </a:lnTo>
                  <a:cubicBezTo>
                    <a:pt x="897040" y="489020"/>
                    <a:pt x="893858" y="491214"/>
                    <a:pt x="893858" y="496053"/>
                  </a:cubicBezTo>
                  <a:cubicBezTo>
                    <a:pt x="893858" y="501545"/>
                    <a:pt x="904611" y="505638"/>
                    <a:pt x="904611" y="507388"/>
                  </a:cubicBezTo>
                  <a:cubicBezTo>
                    <a:pt x="904611" y="505638"/>
                    <a:pt x="915420" y="501545"/>
                    <a:pt x="915420" y="496053"/>
                  </a:cubicBezTo>
                  <a:cubicBezTo>
                    <a:pt x="915420" y="491214"/>
                    <a:pt x="912237" y="489020"/>
                    <a:pt x="912237" y="489020"/>
                  </a:cubicBezTo>
                  <a:lnTo>
                    <a:pt x="911524" y="489020"/>
                  </a:lnTo>
                  <a:lnTo>
                    <a:pt x="911524" y="465966"/>
                  </a:lnTo>
                  <a:lnTo>
                    <a:pt x="923649" y="465966"/>
                  </a:lnTo>
                  <a:cubicBezTo>
                    <a:pt x="923649" y="465966"/>
                    <a:pt x="927874" y="470849"/>
                    <a:pt x="932537" y="480159"/>
                  </a:cubicBezTo>
                  <a:lnTo>
                    <a:pt x="932537" y="465966"/>
                  </a:lnTo>
                  <a:lnTo>
                    <a:pt x="946253" y="465966"/>
                  </a:lnTo>
                  <a:lnTo>
                    <a:pt x="946253" y="489020"/>
                  </a:lnTo>
                  <a:lnTo>
                    <a:pt x="947021" y="489020"/>
                  </a:lnTo>
                  <a:cubicBezTo>
                    <a:pt x="947021" y="489020"/>
                    <a:pt x="950148" y="491214"/>
                    <a:pt x="950148" y="496053"/>
                  </a:cubicBezTo>
                  <a:cubicBezTo>
                    <a:pt x="950148" y="500086"/>
                    <a:pt x="944387" y="503367"/>
                    <a:pt x="941315" y="505512"/>
                  </a:cubicBezTo>
                  <a:cubicBezTo>
                    <a:pt x="942961" y="513270"/>
                    <a:pt x="944113" y="522064"/>
                    <a:pt x="944113" y="531962"/>
                  </a:cubicBezTo>
                  <a:cubicBezTo>
                    <a:pt x="944113" y="574311"/>
                    <a:pt x="923265" y="645706"/>
                    <a:pt x="847992" y="679409"/>
                  </a:cubicBezTo>
                  <a:cubicBezTo>
                    <a:pt x="847552" y="679606"/>
                    <a:pt x="847114" y="679826"/>
                    <a:pt x="846675" y="680023"/>
                  </a:cubicBezTo>
                  <a:cubicBezTo>
                    <a:pt x="846235" y="680199"/>
                    <a:pt x="845852" y="680292"/>
                    <a:pt x="845468" y="680539"/>
                  </a:cubicBezTo>
                  <a:cubicBezTo>
                    <a:pt x="792688" y="716190"/>
                    <a:pt x="776832" y="805530"/>
                    <a:pt x="776832" y="805530"/>
                  </a:cubicBezTo>
                  <a:cubicBezTo>
                    <a:pt x="776832" y="805530"/>
                    <a:pt x="761032" y="716190"/>
                    <a:pt x="708252" y="680539"/>
                  </a:cubicBezTo>
                  <a:cubicBezTo>
                    <a:pt x="707869" y="680292"/>
                    <a:pt x="707430" y="680199"/>
                    <a:pt x="707046" y="680023"/>
                  </a:cubicBezTo>
                  <a:cubicBezTo>
                    <a:pt x="706607" y="679826"/>
                    <a:pt x="706168" y="679606"/>
                    <a:pt x="705729" y="679409"/>
                  </a:cubicBezTo>
                  <a:cubicBezTo>
                    <a:pt x="630401" y="645706"/>
                    <a:pt x="609608" y="574311"/>
                    <a:pt x="609608" y="531962"/>
                  </a:cubicBezTo>
                  <a:cubicBezTo>
                    <a:pt x="609608" y="522449"/>
                    <a:pt x="610650" y="513972"/>
                    <a:pt x="612240" y="506439"/>
                  </a:cubicBezTo>
                  <a:cubicBezTo>
                    <a:pt x="613338" y="505441"/>
                    <a:pt x="615752" y="504063"/>
                    <a:pt x="617947" y="502385"/>
                  </a:cubicBezTo>
                  <a:cubicBezTo>
                    <a:pt x="614984" y="504678"/>
                    <a:pt x="611583" y="506406"/>
                    <a:pt x="611583" y="507388"/>
                  </a:cubicBezTo>
                  <a:cubicBezTo>
                    <a:pt x="611583" y="505638"/>
                    <a:pt x="600775" y="501545"/>
                    <a:pt x="600775" y="496053"/>
                  </a:cubicBezTo>
                  <a:cubicBezTo>
                    <a:pt x="600775" y="491214"/>
                    <a:pt x="603956" y="489020"/>
                    <a:pt x="603956" y="489020"/>
                  </a:cubicBezTo>
                  <a:lnTo>
                    <a:pt x="604670" y="489020"/>
                  </a:lnTo>
                  <a:lnTo>
                    <a:pt x="604670" y="465966"/>
                  </a:lnTo>
                  <a:lnTo>
                    <a:pt x="618441" y="465966"/>
                  </a:lnTo>
                  <a:lnTo>
                    <a:pt x="618441" y="486194"/>
                  </a:lnTo>
                  <a:cubicBezTo>
                    <a:pt x="623982" y="472934"/>
                    <a:pt x="630071" y="465966"/>
                    <a:pt x="630071" y="465966"/>
                  </a:cubicBezTo>
                  <a:lnTo>
                    <a:pt x="639454" y="465966"/>
                  </a:lnTo>
                  <a:lnTo>
                    <a:pt x="639454" y="489020"/>
                  </a:lnTo>
                  <a:lnTo>
                    <a:pt x="638686" y="489020"/>
                  </a:lnTo>
                  <a:cubicBezTo>
                    <a:pt x="638686" y="489020"/>
                    <a:pt x="635558" y="491214"/>
                    <a:pt x="635558" y="496053"/>
                  </a:cubicBezTo>
                  <a:cubicBezTo>
                    <a:pt x="635558" y="501545"/>
                    <a:pt x="646312" y="505638"/>
                    <a:pt x="646312" y="507388"/>
                  </a:cubicBezTo>
                  <a:cubicBezTo>
                    <a:pt x="646312" y="505638"/>
                    <a:pt x="657120" y="501545"/>
                    <a:pt x="657120" y="496053"/>
                  </a:cubicBezTo>
                  <a:cubicBezTo>
                    <a:pt x="657120" y="491214"/>
                    <a:pt x="653937" y="489020"/>
                    <a:pt x="653937" y="489020"/>
                  </a:cubicBezTo>
                  <a:lnTo>
                    <a:pt x="653225" y="489020"/>
                  </a:lnTo>
                  <a:lnTo>
                    <a:pt x="653225" y="465966"/>
                  </a:lnTo>
                  <a:lnTo>
                    <a:pt x="674237" y="465966"/>
                  </a:lnTo>
                  <a:lnTo>
                    <a:pt x="674237" y="489020"/>
                  </a:lnTo>
                  <a:lnTo>
                    <a:pt x="673470" y="489020"/>
                  </a:lnTo>
                  <a:cubicBezTo>
                    <a:pt x="673470" y="489020"/>
                    <a:pt x="670287" y="491214"/>
                    <a:pt x="670287" y="496053"/>
                  </a:cubicBezTo>
                  <a:cubicBezTo>
                    <a:pt x="670287" y="501545"/>
                    <a:pt x="681095" y="505638"/>
                    <a:pt x="681095" y="507388"/>
                  </a:cubicBezTo>
                  <a:cubicBezTo>
                    <a:pt x="681095" y="505638"/>
                    <a:pt x="691849" y="501545"/>
                    <a:pt x="691849" y="496053"/>
                  </a:cubicBezTo>
                  <a:cubicBezTo>
                    <a:pt x="691849" y="491214"/>
                    <a:pt x="688721" y="489020"/>
                    <a:pt x="688721" y="489020"/>
                  </a:cubicBezTo>
                  <a:lnTo>
                    <a:pt x="687953" y="489020"/>
                  </a:lnTo>
                  <a:lnTo>
                    <a:pt x="687953" y="465966"/>
                  </a:lnTo>
                  <a:lnTo>
                    <a:pt x="708966" y="465966"/>
                  </a:lnTo>
                  <a:lnTo>
                    <a:pt x="708966" y="489020"/>
                  </a:lnTo>
                  <a:lnTo>
                    <a:pt x="708252" y="489020"/>
                  </a:lnTo>
                  <a:cubicBezTo>
                    <a:pt x="708252" y="489020"/>
                    <a:pt x="705071" y="491214"/>
                    <a:pt x="705071" y="496053"/>
                  </a:cubicBezTo>
                  <a:cubicBezTo>
                    <a:pt x="705071" y="501545"/>
                    <a:pt x="715879" y="505638"/>
                    <a:pt x="715879" y="507388"/>
                  </a:cubicBezTo>
                  <a:cubicBezTo>
                    <a:pt x="715879" y="505638"/>
                    <a:pt x="726632" y="501545"/>
                    <a:pt x="726632" y="496053"/>
                  </a:cubicBezTo>
                  <a:cubicBezTo>
                    <a:pt x="726632" y="491214"/>
                    <a:pt x="723450" y="489020"/>
                    <a:pt x="723450" y="489020"/>
                  </a:cubicBezTo>
                  <a:lnTo>
                    <a:pt x="722737" y="489020"/>
                  </a:lnTo>
                  <a:lnTo>
                    <a:pt x="722737" y="465966"/>
                  </a:lnTo>
                  <a:lnTo>
                    <a:pt x="743421" y="465966"/>
                  </a:lnTo>
                  <a:cubicBezTo>
                    <a:pt x="743365" y="465862"/>
                    <a:pt x="743311" y="465763"/>
                    <a:pt x="743256" y="465659"/>
                  </a:cubicBezTo>
                  <a:lnTo>
                    <a:pt x="584480" y="465659"/>
                  </a:lnTo>
                  <a:lnTo>
                    <a:pt x="584480" y="507388"/>
                  </a:lnTo>
                  <a:lnTo>
                    <a:pt x="584480" y="507388"/>
                  </a:lnTo>
                  <a:lnTo>
                    <a:pt x="603518" y="527523"/>
                  </a:lnTo>
                  <a:lnTo>
                    <a:pt x="603518" y="537816"/>
                  </a:lnTo>
                  <a:lnTo>
                    <a:pt x="588594" y="537816"/>
                  </a:lnTo>
                  <a:lnTo>
                    <a:pt x="588594" y="609896"/>
                  </a:lnTo>
                  <a:lnTo>
                    <a:pt x="603408" y="609896"/>
                  </a:lnTo>
                  <a:lnTo>
                    <a:pt x="592271" y="625154"/>
                  </a:lnTo>
                  <a:lnTo>
                    <a:pt x="581407" y="625154"/>
                  </a:lnTo>
                  <a:cubicBezTo>
                    <a:pt x="581407" y="625154"/>
                    <a:pt x="591392" y="632067"/>
                    <a:pt x="591392" y="647335"/>
                  </a:cubicBezTo>
                  <a:cubicBezTo>
                    <a:pt x="591392" y="662906"/>
                    <a:pt x="563851" y="674910"/>
                    <a:pt x="558364" y="681176"/>
                  </a:cubicBezTo>
                  <a:cubicBezTo>
                    <a:pt x="558529" y="681378"/>
                    <a:pt x="558639" y="681620"/>
                    <a:pt x="558639" y="681894"/>
                  </a:cubicBezTo>
                  <a:lnTo>
                    <a:pt x="558639" y="713732"/>
                  </a:lnTo>
                  <a:cubicBezTo>
                    <a:pt x="558639" y="714407"/>
                    <a:pt x="558090" y="714955"/>
                    <a:pt x="557432" y="714955"/>
                  </a:cubicBezTo>
                  <a:cubicBezTo>
                    <a:pt x="556719" y="714955"/>
                    <a:pt x="556170" y="714407"/>
                    <a:pt x="556170" y="713732"/>
                  </a:cubicBezTo>
                  <a:lnTo>
                    <a:pt x="556170" y="681894"/>
                  </a:lnTo>
                  <a:cubicBezTo>
                    <a:pt x="556170" y="681620"/>
                    <a:pt x="556279" y="681378"/>
                    <a:pt x="556444" y="681176"/>
                  </a:cubicBezTo>
                  <a:cubicBezTo>
                    <a:pt x="550958" y="674910"/>
                    <a:pt x="523417" y="662906"/>
                    <a:pt x="523417" y="647335"/>
                  </a:cubicBezTo>
                  <a:cubicBezTo>
                    <a:pt x="523417" y="632067"/>
                    <a:pt x="533347" y="625154"/>
                    <a:pt x="533347" y="625154"/>
                  </a:cubicBezTo>
                  <a:lnTo>
                    <a:pt x="515406" y="625154"/>
                  </a:lnTo>
                  <a:lnTo>
                    <a:pt x="504269" y="609896"/>
                  </a:lnTo>
                  <a:lnTo>
                    <a:pt x="519356" y="609896"/>
                  </a:lnTo>
                  <a:lnTo>
                    <a:pt x="519356" y="537816"/>
                  </a:lnTo>
                  <a:lnTo>
                    <a:pt x="504378" y="537816"/>
                  </a:lnTo>
                  <a:lnTo>
                    <a:pt x="504378" y="527523"/>
                  </a:lnTo>
                  <a:lnTo>
                    <a:pt x="523417" y="507388"/>
                  </a:lnTo>
                  <a:lnTo>
                    <a:pt x="523417" y="472522"/>
                  </a:lnTo>
                  <a:cubicBezTo>
                    <a:pt x="509041" y="512419"/>
                    <a:pt x="468004" y="542858"/>
                    <a:pt x="435195" y="572687"/>
                  </a:cubicBezTo>
                  <a:cubicBezTo>
                    <a:pt x="410177" y="595451"/>
                    <a:pt x="389877" y="617868"/>
                    <a:pt x="389877" y="643851"/>
                  </a:cubicBezTo>
                  <a:cubicBezTo>
                    <a:pt x="389877" y="617868"/>
                    <a:pt x="369578" y="595456"/>
                    <a:pt x="344560" y="572687"/>
                  </a:cubicBezTo>
                  <a:cubicBezTo>
                    <a:pt x="319157" y="549590"/>
                    <a:pt x="288817" y="526124"/>
                    <a:pt x="269725" y="498177"/>
                  </a:cubicBezTo>
                  <a:lnTo>
                    <a:pt x="225449" y="498177"/>
                  </a:lnTo>
                  <a:lnTo>
                    <a:pt x="225449" y="860339"/>
                  </a:lnTo>
                  <a:lnTo>
                    <a:pt x="244048" y="860339"/>
                  </a:lnTo>
                  <a:lnTo>
                    <a:pt x="244048" y="887711"/>
                  </a:lnTo>
                  <a:lnTo>
                    <a:pt x="169269" y="887711"/>
                  </a:lnTo>
                  <a:lnTo>
                    <a:pt x="94435" y="887711"/>
                  </a:lnTo>
                  <a:lnTo>
                    <a:pt x="19600" y="887711"/>
                  </a:lnTo>
                  <a:lnTo>
                    <a:pt x="19600" y="860339"/>
                  </a:lnTo>
                  <a:lnTo>
                    <a:pt x="38254" y="860339"/>
                  </a:lnTo>
                  <a:lnTo>
                    <a:pt x="38254" y="498177"/>
                  </a:lnTo>
                  <a:lnTo>
                    <a:pt x="-12496" y="498177"/>
                  </a:lnTo>
                  <a:lnTo>
                    <a:pt x="-12496" y="444070"/>
                  </a:lnTo>
                  <a:lnTo>
                    <a:pt x="38254" y="444070"/>
                  </a:lnTo>
                  <a:lnTo>
                    <a:pt x="38254" y="-5064"/>
                  </a:lnTo>
                  <a:lnTo>
                    <a:pt x="100634" y="-5064"/>
                  </a:lnTo>
                  <a:lnTo>
                    <a:pt x="100634" y="444070"/>
                  </a:lnTo>
                  <a:lnTo>
                    <a:pt x="106394" y="444070"/>
                  </a:lnTo>
                  <a:lnTo>
                    <a:pt x="106394" y="-5064"/>
                  </a:lnTo>
                  <a:lnTo>
                    <a:pt x="157309" y="-5064"/>
                  </a:lnTo>
                  <a:lnTo>
                    <a:pt x="157309" y="444070"/>
                  </a:lnTo>
                  <a:lnTo>
                    <a:pt x="163015" y="444070"/>
                  </a:lnTo>
                  <a:lnTo>
                    <a:pt x="163015" y="-5064"/>
                  </a:lnTo>
                  <a:lnTo>
                    <a:pt x="225449" y="-5064"/>
                  </a:lnTo>
                  <a:lnTo>
                    <a:pt x="241196" y="-5064"/>
                  </a:lnTo>
                  <a:lnTo>
                    <a:pt x="270109" y="-5064"/>
                  </a:lnTo>
                  <a:lnTo>
                    <a:pt x="357837" y="-5064"/>
                  </a:lnTo>
                  <a:lnTo>
                    <a:pt x="386749" y="-5064"/>
                  </a:lnTo>
                  <a:lnTo>
                    <a:pt x="478757" y="-5064"/>
                  </a:lnTo>
                  <a:lnTo>
                    <a:pt x="507670" y="-5064"/>
                  </a:lnTo>
                  <a:lnTo>
                    <a:pt x="523417" y="-5064"/>
                  </a:lnTo>
                  <a:lnTo>
                    <a:pt x="584480" y="-5064"/>
                  </a:lnTo>
                  <a:lnTo>
                    <a:pt x="614600" y="-5064"/>
                  </a:lnTo>
                  <a:lnTo>
                    <a:pt x="647628" y="-5064"/>
                  </a:lnTo>
                  <a:lnTo>
                    <a:pt x="653554" y="-5064"/>
                  </a:lnTo>
                  <a:lnTo>
                    <a:pt x="696182" y="-5064"/>
                  </a:lnTo>
                  <a:lnTo>
                    <a:pt x="702437" y="-5064"/>
                  </a:lnTo>
                  <a:lnTo>
                    <a:pt x="735466" y="-5064"/>
                  </a:lnTo>
                  <a:lnTo>
                    <a:pt x="742817" y="-5064"/>
                  </a:lnTo>
                  <a:lnTo>
                    <a:pt x="775626" y="-5064"/>
                  </a:lnTo>
                  <a:lnTo>
                    <a:pt x="778095" y="-5064"/>
                  </a:lnTo>
                  <a:lnTo>
                    <a:pt x="810848" y="-5064"/>
                  </a:lnTo>
                  <a:lnTo>
                    <a:pt x="817871" y="-5064"/>
                  </a:lnTo>
                  <a:lnTo>
                    <a:pt x="850899" y="-5064"/>
                  </a:lnTo>
                  <a:lnTo>
                    <a:pt x="857208" y="-5064"/>
                  </a:lnTo>
                  <a:lnTo>
                    <a:pt x="899838" y="-5064"/>
                  </a:lnTo>
                  <a:lnTo>
                    <a:pt x="906093" y="-5064"/>
                  </a:lnTo>
                  <a:lnTo>
                    <a:pt x="939066" y="-5064"/>
                  </a:lnTo>
                  <a:lnTo>
                    <a:pt x="969241" y="-5064"/>
                  </a:lnTo>
                  <a:lnTo>
                    <a:pt x="1030250" y="-5064"/>
                  </a:lnTo>
                  <a:lnTo>
                    <a:pt x="1046051" y="-5064"/>
                  </a:lnTo>
                  <a:lnTo>
                    <a:pt x="1074964" y="-5064"/>
                  </a:lnTo>
                  <a:lnTo>
                    <a:pt x="1166971" y="-5064"/>
                  </a:lnTo>
                  <a:lnTo>
                    <a:pt x="1195884" y="-5064"/>
                  </a:lnTo>
                  <a:lnTo>
                    <a:pt x="1283557" y="-5064"/>
                  </a:lnTo>
                  <a:lnTo>
                    <a:pt x="1312470" y="-5064"/>
                  </a:lnTo>
                  <a:lnTo>
                    <a:pt x="1328271" y="-5064"/>
                  </a:lnTo>
                  <a:lnTo>
                    <a:pt x="1390651" y="-5064"/>
                  </a:lnTo>
                  <a:lnTo>
                    <a:pt x="1390651" y="444070"/>
                  </a:lnTo>
                  <a:lnTo>
                    <a:pt x="1396412" y="444070"/>
                  </a:lnTo>
                  <a:lnTo>
                    <a:pt x="1396412" y="-5064"/>
                  </a:lnTo>
                  <a:lnTo>
                    <a:pt x="1447326" y="-5064"/>
                  </a:lnTo>
                  <a:lnTo>
                    <a:pt x="1447326" y="444070"/>
                  </a:lnTo>
                  <a:lnTo>
                    <a:pt x="1453031" y="444070"/>
                  </a:lnTo>
                  <a:lnTo>
                    <a:pt x="1453031" y="-5064"/>
                  </a:lnTo>
                  <a:lnTo>
                    <a:pt x="1515467" y="-5064"/>
                  </a:lnTo>
                  <a:lnTo>
                    <a:pt x="1515467" y="444070"/>
                  </a:lnTo>
                  <a:lnTo>
                    <a:pt x="1566216" y="444070"/>
                  </a:lnTo>
                  <a:lnTo>
                    <a:pt x="1566216" y="498177"/>
                  </a:lnTo>
                  <a:lnTo>
                    <a:pt x="1515467" y="498177"/>
                  </a:lnTo>
                  <a:close/>
                  <a:moveTo>
                    <a:pt x="939615" y="506895"/>
                  </a:moveTo>
                  <a:cubicBezTo>
                    <a:pt x="939724" y="506796"/>
                    <a:pt x="939779" y="506697"/>
                    <a:pt x="939889" y="506582"/>
                  </a:cubicBezTo>
                  <a:cubicBezTo>
                    <a:pt x="939779" y="506691"/>
                    <a:pt x="939724" y="506796"/>
                    <a:pt x="939615" y="506895"/>
                  </a:cubicBezTo>
                  <a:close/>
                  <a:moveTo>
                    <a:pt x="940657" y="505951"/>
                  </a:moveTo>
                  <a:cubicBezTo>
                    <a:pt x="940876" y="505825"/>
                    <a:pt x="941041" y="505682"/>
                    <a:pt x="941261" y="505539"/>
                  </a:cubicBezTo>
                  <a:cubicBezTo>
                    <a:pt x="941041" y="505682"/>
                    <a:pt x="940876" y="505825"/>
                    <a:pt x="940657" y="505951"/>
                  </a:cubicBezTo>
                  <a:close/>
                  <a:moveTo>
                    <a:pt x="940053" y="506445"/>
                  </a:moveTo>
                  <a:cubicBezTo>
                    <a:pt x="940218" y="506329"/>
                    <a:pt x="940327" y="506214"/>
                    <a:pt x="940492" y="506088"/>
                  </a:cubicBezTo>
                  <a:cubicBezTo>
                    <a:pt x="940327" y="506214"/>
                    <a:pt x="940218" y="506329"/>
                    <a:pt x="940053" y="506445"/>
                  </a:cubicBezTo>
                  <a:close/>
                  <a:moveTo>
                    <a:pt x="939560" y="507015"/>
                  </a:moveTo>
                  <a:cubicBezTo>
                    <a:pt x="939450" y="507152"/>
                    <a:pt x="939395" y="507273"/>
                    <a:pt x="939395" y="507388"/>
                  </a:cubicBezTo>
                  <a:cubicBezTo>
                    <a:pt x="939395" y="507273"/>
                    <a:pt x="939450" y="507152"/>
                    <a:pt x="939560" y="507015"/>
                  </a:cubicBezTo>
                  <a:close/>
                  <a:moveTo>
                    <a:pt x="617947" y="502374"/>
                  </a:moveTo>
                  <a:cubicBezTo>
                    <a:pt x="618606" y="501875"/>
                    <a:pt x="619264" y="501337"/>
                    <a:pt x="619812" y="500777"/>
                  </a:cubicBezTo>
                  <a:cubicBezTo>
                    <a:pt x="619264" y="501337"/>
                    <a:pt x="618606" y="501875"/>
                    <a:pt x="617947" y="502374"/>
                  </a:cubicBezTo>
                  <a:close/>
                  <a:moveTo>
                    <a:pt x="622226" y="497002"/>
                  </a:moveTo>
                  <a:cubicBezTo>
                    <a:pt x="622281" y="496690"/>
                    <a:pt x="622336" y="496377"/>
                    <a:pt x="622336" y="496053"/>
                  </a:cubicBezTo>
                  <a:cubicBezTo>
                    <a:pt x="622336" y="496377"/>
                    <a:pt x="622281" y="496690"/>
                    <a:pt x="622226" y="497002"/>
                  </a:cubicBezTo>
                  <a:close/>
                  <a:moveTo>
                    <a:pt x="619921" y="500700"/>
                  </a:moveTo>
                  <a:cubicBezTo>
                    <a:pt x="620141" y="500464"/>
                    <a:pt x="620361" y="500223"/>
                    <a:pt x="620580" y="499976"/>
                  </a:cubicBezTo>
                  <a:cubicBezTo>
                    <a:pt x="620361" y="500223"/>
                    <a:pt x="620141" y="500464"/>
                    <a:pt x="619921" y="500700"/>
                  </a:cubicBezTo>
                  <a:close/>
                  <a:moveTo>
                    <a:pt x="620800" y="499735"/>
                  </a:moveTo>
                  <a:cubicBezTo>
                    <a:pt x="620909" y="499532"/>
                    <a:pt x="621074" y="499340"/>
                    <a:pt x="621238" y="499137"/>
                  </a:cubicBezTo>
                  <a:cubicBezTo>
                    <a:pt x="621074" y="499340"/>
                    <a:pt x="620909" y="499532"/>
                    <a:pt x="620800" y="499735"/>
                  </a:cubicBezTo>
                  <a:close/>
                  <a:moveTo>
                    <a:pt x="621403" y="498829"/>
                  </a:moveTo>
                  <a:cubicBezTo>
                    <a:pt x="621567" y="498643"/>
                    <a:pt x="621678" y="498446"/>
                    <a:pt x="621732" y="498248"/>
                  </a:cubicBezTo>
                  <a:cubicBezTo>
                    <a:pt x="621678" y="498446"/>
                    <a:pt x="621567" y="498643"/>
                    <a:pt x="621403" y="498829"/>
                  </a:cubicBezTo>
                  <a:close/>
                  <a:moveTo>
                    <a:pt x="621897" y="497924"/>
                  </a:moveTo>
                  <a:cubicBezTo>
                    <a:pt x="622007" y="497721"/>
                    <a:pt x="622061" y="497513"/>
                    <a:pt x="622116" y="497299"/>
                  </a:cubicBezTo>
                  <a:cubicBezTo>
                    <a:pt x="622061" y="497513"/>
                    <a:pt x="622007" y="497721"/>
                    <a:pt x="621897" y="497924"/>
                  </a:cubicBezTo>
                  <a:close/>
                  <a:moveTo>
                    <a:pt x="106394" y="498177"/>
                  </a:moveTo>
                  <a:lnTo>
                    <a:pt x="100634" y="498177"/>
                  </a:lnTo>
                  <a:lnTo>
                    <a:pt x="100634" y="860339"/>
                  </a:lnTo>
                  <a:lnTo>
                    <a:pt x="106394" y="860339"/>
                  </a:lnTo>
                  <a:close/>
                  <a:moveTo>
                    <a:pt x="147433" y="498177"/>
                  </a:moveTo>
                  <a:lnTo>
                    <a:pt x="116270" y="498177"/>
                  </a:lnTo>
                  <a:lnTo>
                    <a:pt x="116270" y="552695"/>
                  </a:lnTo>
                  <a:lnTo>
                    <a:pt x="147433" y="552695"/>
                  </a:lnTo>
                  <a:close/>
                  <a:moveTo>
                    <a:pt x="163015" y="498177"/>
                  </a:moveTo>
                  <a:lnTo>
                    <a:pt x="157309" y="498177"/>
                  </a:lnTo>
                  <a:lnTo>
                    <a:pt x="157309" y="860339"/>
                  </a:lnTo>
                  <a:lnTo>
                    <a:pt x="163015" y="860339"/>
                  </a:lnTo>
                  <a:close/>
                  <a:moveTo>
                    <a:pt x="216727" y="10216"/>
                  </a:moveTo>
                  <a:lnTo>
                    <a:pt x="180406" y="10216"/>
                  </a:lnTo>
                  <a:lnTo>
                    <a:pt x="180406" y="101806"/>
                  </a:lnTo>
                  <a:lnTo>
                    <a:pt x="216727" y="101806"/>
                  </a:lnTo>
                  <a:close/>
                  <a:moveTo>
                    <a:pt x="1252668" y="410822"/>
                  </a:moveTo>
                  <a:cubicBezTo>
                    <a:pt x="1252668" y="409072"/>
                    <a:pt x="1263422" y="404979"/>
                    <a:pt x="1263422" y="399487"/>
                  </a:cubicBezTo>
                  <a:cubicBezTo>
                    <a:pt x="1263422" y="394648"/>
                    <a:pt x="1260240" y="392454"/>
                    <a:pt x="1260240" y="392454"/>
                  </a:cubicBezTo>
                  <a:lnTo>
                    <a:pt x="1259526" y="392454"/>
                  </a:lnTo>
                  <a:lnTo>
                    <a:pt x="1259526" y="369405"/>
                  </a:lnTo>
                  <a:lnTo>
                    <a:pt x="1245756" y="369405"/>
                  </a:lnTo>
                  <a:lnTo>
                    <a:pt x="1245756" y="392454"/>
                  </a:lnTo>
                  <a:lnTo>
                    <a:pt x="1245042" y="392454"/>
                  </a:lnTo>
                  <a:cubicBezTo>
                    <a:pt x="1245042" y="392454"/>
                    <a:pt x="1241861" y="394648"/>
                    <a:pt x="1241861" y="399487"/>
                  </a:cubicBezTo>
                  <a:cubicBezTo>
                    <a:pt x="1241861" y="404979"/>
                    <a:pt x="1252668" y="409072"/>
                    <a:pt x="1252668" y="410822"/>
                  </a:cubicBezTo>
                  <a:close/>
                  <a:moveTo>
                    <a:pt x="1214703" y="410822"/>
                  </a:moveTo>
                  <a:cubicBezTo>
                    <a:pt x="1214703" y="409072"/>
                    <a:pt x="1225456" y="404979"/>
                    <a:pt x="1225456" y="399487"/>
                  </a:cubicBezTo>
                  <a:cubicBezTo>
                    <a:pt x="1225456" y="394648"/>
                    <a:pt x="1222328" y="392454"/>
                    <a:pt x="1222328" y="392454"/>
                  </a:cubicBezTo>
                  <a:lnTo>
                    <a:pt x="1221561" y="392454"/>
                  </a:lnTo>
                  <a:lnTo>
                    <a:pt x="1221561" y="369405"/>
                  </a:lnTo>
                  <a:lnTo>
                    <a:pt x="1207845" y="369405"/>
                  </a:lnTo>
                  <a:lnTo>
                    <a:pt x="1207845" y="392454"/>
                  </a:lnTo>
                  <a:lnTo>
                    <a:pt x="1207077" y="392454"/>
                  </a:lnTo>
                  <a:cubicBezTo>
                    <a:pt x="1207077" y="392454"/>
                    <a:pt x="1203894" y="394648"/>
                    <a:pt x="1203894" y="399487"/>
                  </a:cubicBezTo>
                  <a:cubicBezTo>
                    <a:pt x="1203894" y="404979"/>
                    <a:pt x="1214703" y="409072"/>
                    <a:pt x="1214703" y="410822"/>
                  </a:cubicBezTo>
                  <a:close/>
                  <a:moveTo>
                    <a:pt x="1176736" y="410822"/>
                  </a:moveTo>
                  <a:cubicBezTo>
                    <a:pt x="1176736" y="409072"/>
                    <a:pt x="1187545" y="404979"/>
                    <a:pt x="1187545" y="399487"/>
                  </a:cubicBezTo>
                  <a:cubicBezTo>
                    <a:pt x="1187545" y="394648"/>
                    <a:pt x="1184363" y="392454"/>
                    <a:pt x="1184363" y="392454"/>
                  </a:cubicBezTo>
                  <a:lnTo>
                    <a:pt x="1183649" y="392454"/>
                  </a:lnTo>
                  <a:lnTo>
                    <a:pt x="1183649" y="369405"/>
                  </a:lnTo>
                  <a:lnTo>
                    <a:pt x="1169878" y="369405"/>
                  </a:lnTo>
                  <a:lnTo>
                    <a:pt x="1169878" y="392454"/>
                  </a:lnTo>
                  <a:lnTo>
                    <a:pt x="1169110" y="392454"/>
                  </a:lnTo>
                  <a:cubicBezTo>
                    <a:pt x="1169110" y="392454"/>
                    <a:pt x="1165983" y="394648"/>
                    <a:pt x="1165983" y="399487"/>
                  </a:cubicBezTo>
                  <a:cubicBezTo>
                    <a:pt x="1165983" y="404979"/>
                    <a:pt x="1176736" y="409072"/>
                    <a:pt x="1176736" y="410822"/>
                  </a:cubicBezTo>
                  <a:close/>
                  <a:moveTo>
                    <a:pt x="1138826" y="410822"/>
                  </a:moveTo>
                  <a:cubicBezTo>
                    <a:pt x="1138826" y="409072"/>
                    <a:pt x="1149579" y="404979"/>
                    <a:pt x="1149579" y="399487"/>
                  </a:cubicBezTo>
                  <a:cubicBezTo>
                    <a:pt x="1149579" y="394648"/>
                    <a:pt x="1146452" y="392454"/>
                    <a:pt x="1146452" y="392454"/>
                  </a:cubicBezTo>
                  <a:lnTo>
                    <a:pt x="1145684" y="392454"/>
                  </a:lnTo>
                  <a:lnTo>
                    <a:pt x="1145684" y="369405"/>
                  </a:lnTo>
                  <a:lnTo>
                    <a:pt x="1131913" y="369405"/>
                  </a:lnTo>
                  <a:lnTo>
                    <a:pt x="1131913" y="392454"/>
                  </a:lnTo>
                  <a:lnTo>
                    <a:pt x="1131199" y="392454"/>
                  </a:lnTo>
                  <a:cubicBezTo>
                    <a:pt x="1131199" y="392454"/>
                    <a:pt x="1128018" y="394648"/>
                    <a:pt x="1128018" y="399487"/>
                  </a:cubicBezTo>
                  <a:cubicBezTo>
                    <a:pt x="1128018" y="404979"/>
                    <a:pt x="1138826" y="409072"/>
                    <a:pt x="1138826" y="410822"/>
                  </a:cubicBezTo>
                  <a:close/>
                  <a:moveTo>
                    <a:pt x="1100860" y="410822"/>
                  </a:moveTo>
                  <a:cubicBezTo>
                    <a:pt x="1100860" y="409072"/>
                    <a:pt x="1111613" y="404979"/>
                    <a:pt x="1111613" y="399487"/>
                  </a:cubicBezTo>
                  <a:cubicBezTo>
                    <a:pt x="1111613" y="394648"/>
                    <a:pt x="1108485" y="392454"/>
                    <a:pt x="1108485" y="392454"/>
                  </a:cubicBezTo>
                  <a:lnTo>
                    <a:pt x="1107718" y="392454"/>
                  </a:lnTo>
                  <a:lnTo>
                    <a:pt x="1107718" y="369405"/>
                  </a:lnTo>
                  <a:lnTo>
                    <a:pt x="1094002" y="369405"/>
                  </a:lnTo>
                  <a:lnTo>
                    <a:pt x="1094002" y="392454"/>
                  </a:lnTo>
                  <a:lnTo>
                    <a:pt x="1093234" y="392454"/>
                  </a:lnTo>
                  <a:cubicBezTo>
                    <a:pt x="1093234" y="392454"/>
                    <a:pt x="1090106" y="394648"/>
                    <a:pt x="1090106" y="399487"/>
                  </a:cubicBezTo>
                  <a:cubicBezTo>
                    <a:pt x="1090106" y="404979"/>
                    <a:pt x="1100860" y="409072"/>
                    <a:pt x="1100860" y="410822"/>
                  </a:cubicBezTo>
                  <a:close/>
                  <a:moveTo>
                    <a:pt x="1062894" y="410822"/>
                  </a:moveTo>
                  <a:cubicBezTo>
                    <a:pt x="1062894" y="409072"/>
                    <a:pt x="1073703" y="404979"/>
                    <a:pt x="1073703" y="399487"/>
                  </a:cubicBezTo>
                  <a:cubicBezTo>
                    <a:pt x="1073703" y="394648"/>
                    <a:pt x="1070520" y="392454"/>
                    <a:pt x="1070520" y="392454"/>
                  </a:cubicBezTo>
                  <a:lnTo>
                    <a:pt x="1069806" y="392454"/>
                  </a:lnTo>
                  <a:lnTo>
                    <a:pt x="1069806" y="369405"/>
                  </a:lnTo>
                  <a:lnTo>
                    <a:pt x="1056036" y="369405"/>
                  </a:lnTo>
                  <a:lnTo>
                    <a:pt x="1056036" y="392454"/>
                  </a:lnTo>
                  <a:lnTo>
                    <a:pt x="1055323" y="392454"/>
                  </a:lnTo>
                  <a:cubicBezTo>
                    <a:pt x="1055323" y="392454"/>
                    <a:pt x="1052141" y="394648"/>
                    <a:pt x="1052141" y="399487"/>
                  </a:cubicBezTo>
                  <a:cubicBezTo>
                    <a:pt x="1052141" y="404979"/>
                    <a:pt x="1062894" y="409072"/>
                    <a:pt x="1062894" y="410822"/>
                  </a:cubicBezTo>
                  <a:close/>
                  <a:moveTo>
                    <a:pt x="1043417" y="367699"/>
                  </a:moveTo>
                  <a:lnTo>
                    <a:pt x="1030250" y="367699"/>
                  </a:lnTo>
                  <a:lnTo>
                    <a:pt x="1030250" y="396278"/>
                  </a:lnTo>
                  <a:cubicBezTo>
                    <a:pt x="1035736" y="375545"/>
                    <a:pt x="1043417" y="367699"/>
                    <a:pt x="1043417" y="367699"/>
                  </a:cubicBezTo>
                  <a:close/>
                  <a:moveTo>
                    <a:pt x="987566" y="583709"/>
                  </a:moveTo>
                  <a:cubicBezTo>
                    <a:pt x="987566" y="590452"/>
                    <a:pt x="992997" y="595917"/>
                    <a:pt x="999745" y="595917"/>
                  </a:cubicBezTo>
                  <a:cubicBezTo>
                    <a:pt x="1006494" y="595917"/>
                    <a:pt x="1011980" y="590452"/>
                    <a:pt x="1011980" y="583709"/>
                  </a:cubicBezTo>
                  <a:lnTo>
                    <a:pt x="1011980" y="537816"/>
                  </a:lnTo>
                  <a:lnTo>
                    <a:pt x="987566" y="537816"/>
                  </a:lnTo>
                  <a:close/>
                  <a:moveTo>
                    <a:pt x="794280" y="492037"/>
                  </a:moveTo>
                  <a:lnTo>
                    <a:pt x="792579" y="492037"/>
                  </a:lnTo>
                  <a:lnTo>
                    <a:pt x="792579" y="484746"/>
                  </a:lnTo>
                  <a:cubicBezTo>
                    <a:pt x="792579" y="484751"/>
                    <a:pt x="792579" y="484757"/>
                    <a:pt x="792579" y="484757"/>
                  </a:cubicBezTo>
                  <a:cubicBezTo>
                    <a:pt x="787805" y="487050"/>
                    <a:pt x="782484" y="488340"/>
                    <a:pt x="776832" y="488340"/>
                  </a:cubicBezTo>
                  <a:cubicBezTo>
                    <a:pt x="771237" y="488340"/>
                    <a:pt x="765860" y="487045"/>
                    <a:pt x="761142" y="484740"/>
                  </a:cubicBezTo>
                  <a:cubicBezTo>
                    <a:pt x="761142" y="484746"/>
                    <a:pt x="761142" y="484746"/>
                    <a:pt x="761142" y="484746"/>
                  </a:cubicBezTo>
                  <a:lnTo>
                    <a:pt x="761142" y="492037"/>
                  </a:lnTo>
                  <a:lnTo>
                    <a:pt x="759441" y="492037"/>
                  </a:lnTo>
                  <a:cubicBezTo>
                    <a:pt x="759441" y="492037"/>
                    <a:pt x="752199" y="497057"/>
                    <a:pt x="752199" y="508123"/>
                  </a:cubicBezTo>
                  <a:cubicBezTo>
                    <a:pt x="752199" y="520676"/>
                    <a:pt x="776832" y="530036"/>
                    <a:pt x="776832" y="534030"/>
                  </a:cubicBezTo>
                  <a:cubicBezTo>
                    <a:pt x="776832" y="530036"/>
                    <a:pt x="801467" y="520676"/>
                    <a:pt x="801467" y="508123"/>
                  </a:cubicBezTo>
                  <a:cubicBezTo>
                    <a:pt x="801467" y="497057"/>
                    <a:pt x="794280" y="492037"/>
                    <a:pt x="794280" y="492037"/>
                  </a:cubicBezTo>
                  <a:close/>
                  <a:moveTo>
                    <a:pt x="800918" y="479144"/>
                  </a:moveTo>
                  <a:cubicBezTo>
                    <a:pt x="800754" y="479270"/>
                    <a:pt x="800644" y="479397"/>
                    <a:pt x="800480" y="479517"/>
                  </a:cubicBezTo>
                  <a:cubicBezTo>
                    <a:pt x="800644" y="479397"/>
                    <a:pt x="800754" y="479270"/>
                    <a:pt x="800918" y="479144"/>
                  </a:cubicBezTo>
                  <a:close/>
                  <a:moveTo>
                    <a:pt x="798504" y="481130"/>
                  </a:moveTo>
                  <a:cubicBezTo>
                    <a:pt x="798340" y="481257"/>
                    <a:pt x="798175" y="481383"/>
                    <a:pt x="797955" y="481509"/>
                  </a:cubicBezTo>
                  <a:cubicBezTo>
                    <a:pt x="798175" y="481383"/>
                    <a:pt x="798340" y="481257"/>
                    <a:pt x="798504" y="481130"/>
                  </a:cubicBezTo>
                  <a:close/>
                  <a:moveTo>
                    <a:pt x="795597" y="483084"/>
                  </a:moveTo>
                  <a:cubicBezTo>
                    <a:pt x="795542" y="483128"/>
                    <a:pt x="795486" y="483171"/>
                    <a:pt x="795432" y="483215"/>
                  </a:cubicBezTo>
                  <a:cubicBezTo>
                    <a:pt x="795486" y="483171"/>
                    <a:pt x="795542" y="483128"/>
                    <a:pt x="795597" y="483084"/>
                  </a:cubicBezTo>
                  <a:close/>
                  <a:moveTo>
                    <a:pt x="758344" y="483226"/>
                  </a:moveTo>
                  <a:cubicBezTo>
                    <a:pt x="758179" y="483144"/>
                    <a:pt x="758069" y="483056"/>
                    <a:pt x="757904" y="482974"/>
                  </a:cubicBezTo>
                  <a:cubicBezTo>
                    <a:pt x="758069" y="483056"/>
                    <a:pt x="758179" y="483144"/>
                    <a:pt x="758344" y="483226"/>
                  </a:cubicBezTo>
                  <a:close/>
                  <a:moveTo>
                    <a:pt x="753241" y="479528"/>
                  </a:moveTo>
                  <a:cubicBezTo>
                    <a:pt x="753077" y="479391"/>
                    <a:pt x="752912" y="479259"/>
                    <a:pt x="752748" y="479117"/>
                  </a:cubicBezTo>
                  <a:cubicBezTo>
                    <a:pt x="752912" y="479259"/>
                    <a:pt x="753077" y="479391"/>
                    <a:pt x="753241" y="479528"/>
                  </a:cubicBezTo>
                  <a:close/>
                  <a:moveTo>
                    <a:pt x="755766" y="481520"/>
                  </a:moveTo>
                  <a:cubicBezTo>
                    <a:pt x="755546" y="481377"/>
                    <a:pt x="755326" y="481229"/>
                    <a:pt x="755161" y="481086"/>
                  </a:cubicBezTo>
                  <a:cubicBezTo>
                    <a:pt x="755326" y="481229"/>
                    <a:pt x="755546" y="481377"/>
                    <a:pt x="755766" y="481520"/>
                  </a:cubicBezTo>
                  <a:close/>
                  <a:moveTo>
                    <a:pt x="808764" y="469176"/>
                  </a:moveTo>
                  <a:cubicBezTo>
                    <a:pt x="808819" y="469066"/>
                    <a:pt x="808873" y="468956"/>
                    <a:pt x="808928" y="468846"/>
                  </a:cubicBezTo>
                  <a:cubicBezTo>
                    <a:pt x="808873" y="468956"/>
                    <a:pt x="808819" y="469066"/>
                    <a:pt x="808764" y="469176"/>
                  </a:cubicBezTo>
                  <a:close/>
                  <a:moveTo>
                    <a:pt x="807118" y="471985"/>
                  </a:moveTo>
                  <a:cubicBezTo>
                    <a:pt x="807173" y="471864"/>
                    <a:pt x="807227" y="471738"/>
                    <a:pt x="807338" y="471617"/>
                  </a:cubicBezTo>
                  <a:cubicBezTo>
                    <a:pt x="807227" y="471738"/>
                    <a:pt x="807173" y="471864"/>
                    <a:pt x="807118" y="471985"/>
                  </a:cubicBezTo>
                  <a:close/>
                  <a:moveTo>
                    <a:pt x="744957" y="469159"/>
                  </a:moveTo>
                  <a:cubicBezTo>
                    <a:pt x="744902" y="469060"/>
                    <a:pt x="744847" y="468956"/>
                    <a:pt x="744793" y="468852"/>
                  </a:cubicBezTo>
                  <a:cubicBezTo>
                    <a:pt x="744847" y="468956"/>
                    <a:pt x="744902" y="469060"/>
                    <a:pt x="744957" y="469159"/>
                  </a:cubicBezTo>
                  <a:close/>
                  <a:moveTo>
                    <a:pt x="746603" y="471968"/>
                  </a:moveTo>
                  <a:cubicBezTo>
                    <a:pt x="746548" y="471853"/>
                    <a:pt x="746439" y="471738"/>
                    <a:pt x="746383" y="471622"/>
                  </a:cubicBezTo>
                  <a:cubicBezTo>
                    <a:pt x="746439" y="471738"/>
                    <a:pt x="746548" y="471853"/>
                    <a:pt x="746603" y="471968"/>
                  </a:cubicBezTo>
                  <a:close/>
                  <a:moveTo>
                    <a:pt x="541740" y="583709"/>
                  </a:moveTo>
                  <a:cubicBezTo>
                    <a:pt x="541740" y="590452"/>
                    <a:pt x="547227" y="595917"/>
                    <a:pt x="553975" y="595917"/>
                  </a:cubicBezTo>
                  <a:cubicBezTo>
                    <a:pt x="560724" y="595917"/>
                    <a:pt x="566155" y="590452"/>
                    <a:pt x="566155" y="583709"/>
                  </a:cubicBezTo>
                  <a:lnTo>
                    <a:pt x="566155" y="537816"/>
                  </a:lnTo>
                  <a:lnTo>
                    <a:pt x="541740" y="537816"/>
                  </a:lnTo>
                  <a:close/>
                  <a:moveTo>
                    <a:pt x="523417" y="396278"/>
                  </a:moveTo>
                  <a:lnTo>
                    <a:pt x="523417" y="367699"/>
                  </a:lnTo>
                  <a:lnTo>
                    <a:pt x="510249" y="367699"/>
                  </a:lnTo>
                  <a:cubicBezTo>
                    <a:pt x="510249" y="367699"/>
                    <a:pt x="517985" y="375545"/>
                    <a:pt x="523417" y="396278"/>
                  </a:cubicBezTo>
                  <a:close/>
                  <a:moveTo>
                    <a:pt x="490772" y="410822"/>
                  </a:moveTo>
                  <a:cubicBezTo>
                    <a:pt x="490772" y="409072"/>
                    <a:pt x="501580" y="404979"/>
                    <a:pt x="501580" y="399487"/>
                  </a:cubicBezTo>
                  <a:cubicBezTo>
                    <a:pt x="501580" y="394648"/>
                    <a:pt x="498398" y="392454"/>
                    <a:pt x="498398" y="392454"/>
                  </a:cubicBezTo>
                  <a:lnTo>
                    <a:pt x="497685" y="392454"/>
                  </a:lnTo>
                  <a:lnTo>
                    <a:pt x="497685" y="369405"/>
                  </a:lnTo>
                  <a:lnTo>
                    <a:pt x="483914" y="369405"/>
                  </a:lnTo>
                  <a:lnTo>
                    <a:pt x="483914" y="392454"/>
                  </a:lnTo>
                  <a:lnTo>
                    <a:pt x="483146" y="392454"/>
                  </a:lnTo>
                  <a:cubicBezTo>
                    <a:pt x="483146" y="392454"/>
                    <a:pt x="480018" y="394648"/>
                    <a:pt x="480018" y="399487"/>
                  </a:cubicBezTo>
                  <a:cubicBezTo>
                    <a:pt x="480018" y="404979"/>
                    <a:pt x="490772" y="409072"/>
                    <a:pt x="490772" y="410822"/>
                  </a:cubicBezTo>
                  <a:close/>
                  <a:moveTo>
                    <a:pt x="452861" y="410822"/>
                  </a:moveTo>
                  <a:cubicBezTo>
                    <a:pt x="452861" y="409072"/>
                    <a:pt x="463615" y="404979"/>
                    <a:pt x="463615" y="399487"/>
                  </a:cubicBezTo>
                  <a:cubicBezTo>
                    <a:pt x="463615" y="394648"/>
                    <a:pt x="460487" y="392454"/>
                    <a:pt x="460487" y="392454"/>
                  </a:cubicBezTo>
                  <a:lnTo>
                    <a:pt x="459719" y="392454"/>
                  </a:lnTo>
                  <a:lnTo>
                    <a:pt x="459719" y="369405"/>
                  </a:lnTo>
                  <a:lnTo>
                    <a:pt x="445948" y="369405"/>
                  </a:lnTo>
                  <a:lnTo>
                    <a:pt x="445948" y="392454"/>
                  </a:lnTo>
                  <a:lnTo>
                    <a:pt x="445235" y="392454"/>
                  </a:lnTo>
                  <a:cubicBezTo>
                    <a:pt x="445235" y="392454"/>
                    <a:pt x="442053" y="394648"/>
                    <a:pt x="442053" y="399487"/>
                  </a:cubicBezTo>
                  <a:cubicBezTo>
                    <a:pt x="442053" y="404979"/>
                    <a:pt x="452861" y="409072"/>
                    <a:pt x="452861" y="410822"/>
                  </a:cubicBezTo>
                  <a:close/>
                  <a:moveTo>
                    <a:pt x="414895" y="410822"/>
                  </a:moveTo>
                  <a:cubicBezTo>
                    <a:pt x="414895" y="409072"/>
                    <a:pt x="425648" y="404979"/>
                    <a:pt x="425648" y="399487"/>
                  </a:cubicBezTo>
                  <a:cubicBezTo>
                    <a:pt x="425648" y="394648"/>
                    <a:pt x="422521" y="392454"/>
                    <a:pt x="422521" y="392454"/>
                  </a:cubicBezTo>
                  <a:lnTo>
                    <a:pt x="421753" y="392454"/>
                  </a:lnTo>
                  <a:lnTo>
                    <a:pt x="421753" y="369405"/>
                  </a:lnTo>
                  <a:lnTo>
                    <a:pt x="408037" y="369405"/>
                  </a:lnTo>
                  <a:lnTo>
                    <a:pt x="408037" y="392454"/>
                  </a:lnTo>
                  <a:lnTo>
                    <a:pt x="407269" y="392454"/>
                  </a:lnTo>
                  <a:cubicBezTo>
                    <a:pt x="407269" y="392454"/>
                    <a:pt x="404142" y="394648"/>
                    <a:pt x="404142" y="399487"/>
                  </a:cubicBezTo>
                  <a:cubicBezTo>
                    <a:pt x="404142" y="404979"/>
                    <a:pt x="414895" y="409072"/>
                    <a:pt x="414895" y="410822"/>
                  </a:cubicBezTo>
                  <a:close/>
                  <a:moveTo>
                    <a:pt x="376984" y="410822"/>
                  </a:moveTo>
                  <a:cubicBezTo>
                    <a:pt x="376984" y="409072"/>
                    <a:pt x="387737" y="404979"/>
                    <a:pt x="387737" y="399487"/>
                  </a:cubicBezTo>
                  <a:cubicBezTo>
                    <a:pt x="387737" y="394648"/>
                    <a:pt x="384555" y="392454"/>
                    <a:pt x="384555" y="392454"/>
                  </a:cubicBezTo>
                  <a:lnTo>
                    <a:pt x="383842" y="392454"/>
                  </a:lnTo>
                  <a:lnTo>
                    <a:pt x="383842" y="369405"/>
                  </a:lnTo>
                  <a:lnTo>
                    <a:pt x="370072" y="369405"/>
                  </a:lnTo>
                  <a:lnTo>
                    <a:pt x="370072" y="392454"/>
                  </a:lnTo>
                  <a:lnTo>
                    <a:pt x="369303" y="392454"/>
                  </a:lnTo>
                  <a:cubicBezTo>
                    <a:pt x="369303" y="392454"/>
                    <a:pt x="366175" y="394648"/>
                    <a:pt x="366175" y="399487"/>
                  </a:cubicBezTo>
                  <a:cubicBezTo>
                    <a:pt x="366175" y="404979"/>
                    <a:pt x="376984" y="409072"/>
                    <a:pt x="376984" y="410822"/>
                  </a:cubicBezTo>
                  <a:close/>
                  <a:moveTo>
                    <a:pt x="339018" y="410822"/>
                  </a:moveTo>
                  <a:cubicBezTo>
                    <a:pt x="339018" y="409072"/>
                    <a:pt x="349772" y="404979"/>
                    <a:pt x="349772" y="399487"/>
                  </a:cubicBezTo>
                  <a:cubicBezTo>
                    <a:pt x="349772" y="394648"/>
                    <a:pt x="346644" y="392454"/>
                    <a:pt x="346644" y="392454"/>
                  </a:cubicBezTo>
                  <a:lnTo>
                    <a:pt x="345876" y="392454"/>
                  </a:lnTo>
                  <a:lnTo>
                    <a:pt x="345876" y="369405"/>
                  </a:lnTo>
                  <a:lnTo>
                    <a:pt x="332160" y="369405"/>
                  </a:lnTo>
                  <a:lnTo>
                    <a:pt x="332160" y="392454"/>
                  </a:lnTo>
                  <a:lnTo>
                    <a:pt x="331393" y="392454"/>
                  </a:lnTo>
                  <a:cubicBezTo>
                    <a:pt x="331393" y="392454"/>
                    <a:pt x="328210" y="394648"/>
                    <a:pt x="328210" y="399487"/>
                  </a:cubicBezTo>
                  <a:cubicBezTo>
                    <a:pt x="328210" y="404979"/>
                    <a:pt x="339018" y="409072"/>
                    <a:pt x="339018" y="410822"/>
                  </a:cubicBezTo>
                  <a:close/>
                  <a:moveTo>
                    <a:pt x="301052" y="410822"/>
                  </a:moveTo>
                  <a:cubicBezTo>
                    <a:pt x="301052" y="409072"/>
                    <a:pt x="311860" y="404979"/>
                    <a:pt x="311860" y="399487"/>
                  </a:cubicBezTo>
                  <a:cubicBezTo>
                    <a:pt x="311860" y="394648"/>
                    <a:pt x="308679" y="392454"/>
                    <a:pt x="308679" y="392454"/>
                  </a:cubicBezTo>
                  <a:lnTo>
                    <a:pt x="307965" y="392454"/>
                  </a:lnTo>
                  <a:lnTo>
                    <a:pt x="307965" y="369405"/>
                  </a:lnTo>
                  <a:lnTo>
                    <a:pt x="294194" y="369405"/>
                  </a:lnTo>
                  <a:lnTo>
                    <a:pt x="294194" y="392454"/>
                  </a:lnTo>
                  <a:lnTo>
                    <a:pt x="293426" y="392454"/>
                  </a:lnTo>
                  <a:cubicBezTo>
                    <a:pt x="293426" y="392454"/>
                    <a:pt x="290299" y="394648"/>
                    <a:pt x="290299" y="399487"/>
                  </a:cubicBezTo>
                  <a:cubicBezTo>
                    <a:pt x="290299" y="404979"/>
                    <a:pt x="301052" y="409072"/>
                    <a:pt x="301052" y="410822"/>
                  </a:cubicBezTo>
                  <a:close/>
                  <a:moveTo>
                    <a:pt x="225449" y="444070"/>
                  </a:moveTo>
                  <a:lnTo>
                    <a:pt x="251017" y="444070"/>
                  </a:lnTo>
                  <a:cubicBezTo>
                    <a:pt x="251017" y="443636"/>
                    <a:pt x="251017" y="443219"/>
                    <a:pt x="251017" y="442786"/>
                  </a:cubicBezTo>
                  <a:cubicBezTo>
                    <a:pt x="251017" y="427007"/>
                    <a:pt x="252443" y="414180"/>
                    <a:pt x="254527" y="403882"/>
                  </a:cubicBezTo>
                  <a:cubicBezTo>
                    <a:pt x="257710" y="407152"/>
                    <a:pt x="263141" y="409577"/>
                    <a:pt x="263141" y="410822"/>
                  </a:cubicBezTo>
                  <a:cubicBezTo>
                    <a:pt x="263141" y="409072"/>
                    <a:pt x="273895" y="404979"/>
                    <a:pt x="273895" y="399487"/>
                  </a:cubicBezTo>
                  <a:cubicBezTo>
                    <a:pt x="273895" y="394648"/>
                    <a:pt x="270768" y="392454"/>
                    <a:pt x="270768" y="392454"/>
                  </a:cubicBezTo>
                  <a:lnTo>
                    <a:pt x="269999" y="392454"/>
                  </a:lnTo>
                  <a:lnTo>
                    <a:pt x="269999" y="369405"/>
                  </a:lnTo>
                  <a:lnTo>
                    <a:pt x="268079" y="369405"/>
                  </a:lnTo>
                  <a:cubicBezTo>
                    <a:pt x="268957" y="368248"/>
                    <a:pt x="269505" y="367699"/>
                    <a:pt x="269505" y="367699"/>
                  </a:cubicBezTo>
                  <a:lnTo>
                    <a:pt x="225449" y="367699"/>
                  </a:lnTo>
                  <a:close/>
                  <a:moveTo>
                    <a:pt x="289091" y="28936"/>
                  </a:moveTo>
                  <a:lnTo>
                    <a:pt x="276363" y="28936"/>
                  </a:lnTo>
                  <a:lnTo>
                    <a:pt x="276363" y="6573"/>
                  </a:lnTo>
                  <a:lnTo>
                    <a:pt x="270109" y="6573"/>
                  </a:lnTo>
                  <a:lnTo>
                    <a:pt x="270109" y="148693"/>
                  </a:lnTo>
                  <a:lnTo>
                    <a:pt x="276363" y="148693"/>
                  </a:lnTo>
                  <a:lnTo>
                    <a:pt x="276363" y="121277"/>
                  </a:lnTo>
                  <a:lnTo>
                    <a:pt x="289091" y="121277"/>
                  </a:lnTo>
                  <a:close/>
                  <a:moveTo>
                    <a:pt x="312739" y="28936"/>
                  </a:moveTo>
                  <a:lnTo>
                    <a:pt x="291506" y="28936"/>
                  </a:lnTo>
                  <a:lnTo>
                    <a:pt x="291506" y="121277"/>
                  </a:lnTo>
                  <a:lnTo>
                    <a:pt x="312739" y="121277"/>
                  </a:lnTo>
                  <a:close/>
                  <a:moveTo>
                    <a:pt x="336440" y="28936"/>
                  </a:moveTo>
                  <a:lnTo>
                    <a:pt x="315208" y="28936"/>
                  </a:lnTo>
                  <a:lnTo>
                    <a:pt x="315208" y="121277"/>
                  </a:lnTo>
                  <a:lnTo>
                    <a:pt x="336440" y="121277"/>
                  </a:lnTo>
                  <a:close/>
                  <a:moveTo>
                    <a:pt x="357837" y="6573"/>
                  </a:moveTo>
                  <a:lnTo>
                    <a:pt x="351636" y="6573"/>
                  </a:lnTo>
                  <a:lnTo>
                    <a:pt x="351636" y="28936"/>
                  </a:lnTo>
                  <a:lnTo>
                    <a:pt x="338908" y="28936"/>
                  </a:lnTo>
                  <a:lnTo>
                    <a:pt x="338908" y="121277"/>
                  </a:lnTo>
                  <a:lnTo>
                    <a:pt x="351636" y="121277"/>
                  </a:lnTo>
                  <a:lnTo>
                    <a:pt x="351636" y="148693"/>
                  </a:lnTo>
                  <a:lnTo>
                    <a:pt x="357837" y="148693"/>
                  </a:lnTo>
                  <a:close/>
                  <a:moveTo>
                    <a:pt x="353447" y="154437"/>
                  </a:moveTo>
                  <a:lnTo>
                    <a:pt x="270109" y="154437"/>
                  </a:lnTo>
                  <a:cubicBezTo>
                    <a:pt x="264622" y="162524"/>
                    <a:pt x="261385" y="172284"/>
                    <a:pt x="261385" y="182813"/>
                  </a:cubicBezTo>
                  <a:cubicBezTo>
                    <a:pt x="261385" y="210656"/>
                    <a:pt x="283935" y="233233"/>
                    <a:pt x="311805" y="233233"/>
                  </a:cubicBezTo>
                  <a:cubicBezTo>
                    <a:pt x="339622" y="233233"/>
                    <a:pt x="362226" y="210656"/>
                    <a:pt x="362226" y="182813"/>
                  </a:cubicBezTo>
                  <a:cubicBezTo>
                    <a:pt x="362226" y="172284"/>
                    <a:pt x="358988" y="162524"/>
                    <a:pt x="353447" y="154437"/>
                  </a:cubicBezTo>
                  <a:close/>
                  <a:moveTo>
                    <a:pt x="406665" y="28936"/>
                  </a:moveTo>
                  <a:lnTo>
                    <a:pt x="392127" y="28936"/>
                  </a:lnTo>
                  <a:lnTo>
                    <a:pt x="392127" y="6573"/>
                  </a:lnTo>
                  <a:lnTo>
                    <a:pt x="387079" y="6573"/>
                  </a:lnTo>
                  <a:lnTo>
                    <a:pt x="387079" y="823"/>
                  </a:lnTo>
                  <a:lnTo>
                    <a:pt x="386749" y="823"/>
                  </a:lnTo>
                  <a:lnTo>
                    <a:pt x="386749" y="154437"/>
                  </a:lnTo>
                  <a:lnTo>
                    <a:pt x="387079" y="154437"/>
                  </a:lnTo>
                  <a:lnTo>
                    <a:pt x="387079" y="148693"/>
                  </a:lnTo>
                  <a:lnTo>
                    <a:pt x="392127" y="148693"/>
                  </a:lnTo>
                  <a:lnTo>
                    <a:pt x="392127" y="121277"/>
                  </a:lnTo>
                  <a:lnTo>
                    <a:pt x="406665" y="121277"/>
                  </a:lnTo>
                  <a:close/>
                  <a:moveTo>
                    <a:pt x="431519" y="28936"/>
                  </a:moveTo>
                  <a:lnTo>
                    <a:pt x="409080" y="28936"/>
                  </a:lnTo>
                  <a:lnTo>
                    <a:pt x="409080" y="121277"/>
                  </a:lnTo>
                  <a:lnTo>
                    <a:pt x="431519" y="121277"/>
                  </a:lnTo>
                  <a:close/>
                  <a:moveTo>
                    <a:pt x="456372" y="28936"/>
                  </a:moveTo>
                  <a:lnTo>
                    <a:pt x="433932" y="28936"/>
                  </a:lnTo>
                  <a:lnTo>
                    <a:pt x="433932" y="121277"/>
                  </a:lnTo>
                  <a:lnTo>
                    <a:pt x="456372" y="121277"/>
                  </a:lnTo>
                  <a:close/>
                  <a:moveTo>
                    <a:pt x="478757" y="6573"/>
                  </a:moveTo>
                  <a:lnTo>
                    <a:pt x="473325" y="6573"/>
                  </a:lnTo>
                  <a:lnTo>
                    <a:pt x="473325" y="28936"/>
                  </a:lnTo>
                  <a:lnTo>
                    <a:pt x="458786" y="28936"/>
                  </a:lnTo>
                  <a:lnTo>
                    <a:pt x="458786" y="121277"/>
                  </a:lnTo>
                  <a:lnTo>
                    <a:pt x="473325" y="121277"/>
                  </a:lnTo>
                  <a:lnTo>
                    <a:pt x="473325" y="148693"/>
                  </a:lnTo>
                  <a:lnTo>
                    <a:pt x="478757" y="148693"/>
                  </a:lnTo>
                  <a:close/>
                  <a:moveTo>
                    <a:pt x="473600" y="154437"/>
                  </a:moveTo>
                  <a:lnTo>
                    <a:pt x="390261" y="154437"/>
                  </a:lnTo>
                  <a:cubicBezTo>
                    <a:pt x="384775" y="162524"/>
                    <a:pt x="381537" y="172284"/>
                    <a:pt x="381537" y="182813"/>
                  </a:cubicBezTo>
                  <a:cubicBezTo>
                    <a:pt x="381537" y="210656"/>
                    <a:pt x="404087" y="233233"/>
                    <a:pt x="431958" y="233233"/>
                  </a:cubicBezTo>
                  <a:cubicBezTo>
                    <a:pt x="459774" y="233233"/>
                    <a:pt x="482378" y="210656"/>
                    <a:pt x="482378" y="182813"/>
                  </a:cubicBezTo>
                  <a:cubicBezTo>
                    <a:pt x="482378" y="172284"/>
                    <a:pt x="479141" y="162524"/>
                    <a:pt x="473600" y="154437"/>
                  </a:cubicBezTo>
                  <a:close/>
                  <a:moveTo>
                    <a:pt x="523417" y="823"/>
                  </a:moveTo>
                  <a:lnTo>
                    <a:pt x="507670" y="823"/>
                  </a:lnTo>
                  <a:lnTo>
                    <a:pt x="507670" y="260210"/>
                  </a:lnTo>
                  <a:lnTo>
                    <a:pt x="241196" y="260210"/>
                  </a:lnTo>
                  <a:lnTo>
                    <a:pt x="241196" y="154437"/>
                  </a:lnTo>
                  <a:lnTo>
                    <a:pt x="241196" y="823"/>
                  </a:lnTo>
                  <a:lnTo>
                    <a:pt x="225449" y="823"/>
                  </a:lnTo>
                  <a:lnTo>
                    <a:pt x="225449" y="320708"/>
                  </a:lnTo>
                  <a:lnTo>
                    <a:pt x="238672" y="320708"/>
                  </a:lnTo>
                  <a:lnTo>
                    <a:pt x="238672" y="345600"/>
                  </a:lnTo>
                  <a:cubicBezTo>
                    <a:pt x="238672" y="351333"/>
                    <a:pt x="243336" y="355975"/>
                    <a:pt x="249041" y="355975"/>
                  </a:cubicBezTo>
                  <a:cubicBezTo>
                    <a:pt x="254801" y="355975"/>
                    <a:pt x="259465" y="351333"/>
                    <a:pt x="259465" y="345600"/>
                  </a:cubicBezTo>
                  <a:lnTo>
                    <a:pt x="259465" y="320708"/>
                  </a:lnTo>
                  <a:lnTo>
                    <a:pt x="273895" y="320708"/>
                  </a:lnTo>
                  <a:lnTo>
                    <a:pt x="273895" y="345600"/>
                  </a:lnTo>
                  <a:cubicBezTo>
                    <a:pt x="273895" y="351333"/>
                    <a:pt x="278558" y="355975"/>
                    <a:pt x="284264" y="355975"/>
                  </a:cubicBezTo>
                  <a:cubicBezTo>
                    <a:pt x="290025" y="355975"/>
                    <a:pt x="294634" y="351333"/>
                    <a:pt x="294634" y="345600"/>
                  </a:cubicBezTo>
                  <a:lnTo>
                    <a:pt x="294634" y="320708"/>
                  </a:lnTo>
                  <a:lnTo>
                    <a:pt x="309117" y="320708"/>
                  </a:lnTo>
                  <a:lnTo>
                    <a:pt x="309117" y="345600"/>
                  </a:lnTo>
                  <a:cubicBezTo>
                    <a:pt x="309117" y="351333"/>
                    <a:pt x="313726" y="355975"/>
                    <a:pt x="319486" y="355975"/>
                  </a:cubicBezTo>
                  <a:cubicBezTo>
                    <a:pt x="325192" y="355975"/>
                    <a:pt x="329856" y="351333"/>
                    <a:pt x="329856" y="345600"/>
                  </a:cubicBezTo>
                  <a:lnTo>
                    <a:pt x="329856" y="320708"/>
                  </a:lnTo>
                  <a:lnTo>
                    <a:pt x="344286" y="320708"/>
                  </a:lnTo>
                  <a:lnTo>
                    <a:pt x="344286" y="345600"/>
                  </a:lnTo>
                  <a:cubicBezTo>
                    <a:pt x="344286" y="351333"/>
                    <a:pt x="348949" y="355975"/>
                    <a:pt x="354654" y="355975"/>
                  </a:cubicBezTo>
                  <a:cubicBezTo>
                    <a:pt x="360415" y="355975"/>
                    <a:pt x="365023" y="351333"/>
                    <a:pt x="365023" y="345600"/>
                  </a:cubicBezTo>
                  <a:lnTo>
                    <a:pt x="365023" y="320708"/>
                  </a:lnTo>
                  <a:lnTo>
                    <a:pt x="379508" y="320708"/>
                  </a:lnTo>
                  <a:lnTo>
                    <a:pt x="379508" y="345600"/>
                  </a:lnTo>
                  <a:cubicBezTo>
                    <a:pt x="379508" y="351333"/>
                    <a:pt x="384171" y="355975"/>
                    <a:pt x="389877" y="355975"/>
                  </a:cubicBezTo>
                  <a:cubicBezTo>
                    <a:pt x="395583" y="355975"/>
                    <a:pt x="400247" y="351333"/>
                    <a:pt x="400247" y="345600"/>
                  </a:cubicBezTo>
                  <a:lnTo>
                    <a:pt x="400247" y="320708"/>
                  </a:lnTo>
                  <a:lnTo>
                    <a:pt x="414730" y="320708"/>
                  </a:lnTo>
                  <a:lnTo>
                    <a:pt x="414730" y="345600"/>
                  </a:lnTo>
                  <a:cubicBezTo>
                    <a:pt x="414730" y="351333"/>
                    <a:pt x="419339" y="355975"/>
                    <a:pt x="425100" y="355975"/>
                  </a:cubicBezTo>
                  <a:cubicBezTo>
                    <a:pt x="430806" y="355975"/>
                    <a:pt x="435469" y="351333"/>
                    <a:pt x="435469" y="345600"/>
                  </a:cubicBezTo>
                  <a:lnTo>
                    <a:pt x="435469" y="320708"/>
                  </a:lnTo>
                  <a:lnTo>
                    <a:pt x="449899" y="320708"/>
                  </a:lnTo>
                  <a:lnTo>
                    <a:pt x="449899" y="345600"/>
                  </a:lnTo>
                  <a:cubicBezTo>
                    <a:pt x="449899" y="351333"/>
                    <a:pt x="454562" y="355975"/>
                    <a:pt x="460267" y="355975"/>
                  </a:cubicBezTo>
                  <a:cubicBezTo>
                    <a:pt x="466028" y="355975"/>
                    <a:pt x="470637" y="351333"/>
                    <a:pt x="470637" y="345600"/>
                  </a:cubicBezTo>
                  <a:lnTo>
                    <a:pt x="470637" y="320708"/>
                  </a:lnTo>
                  <a:lnTo>
                    <a:pt x="485121" y="320708"/>
                  </a:lnTo>
                  <a:lnTo>
                    <a:pt x="485121" y="345600"/>
                  </a:lnTo>
                  <a:cubicBezTo>
                    <a:pt x="485121" y="351333"/>
                    <a:pt x="489730" y="355975"/>
                    <a:pt x="495491" y="355975"/>
                  </a:cubicBezTo>
                  <a:cubicBezTo>
                    <a:pt x="501197" y="355975"/>
                    <a:pt x="505860" y="351333"/>
                    <a:pt x="505860" y="345600"/>
                  </a:cubicBezTo>
                  <a:lnTo>
                    <a:pt x="505860" y="320708"/>
                  </a:lnTo>
                  <a:lnTo>
                    <a:pt x="523417" y="320708"/>
                  </a:lnTo>
                  <a:lnTo>
                    <a:pt x="523417" y="48478"/>
                  </a:lnTo>
                  <a:close/>
                  <a:moveTo>
                    <a:pt x="537022" y="48478"/>
                  </a:moveTo>
                  <a:lnTo>
                    <a:pt x="537022" y="507388"/>
                  </a:lnTo>
                  <a:lnTo>
                    <a:pt x="570929" y="507388"/>
                  </a:lnTo>
                  <a:lnTo>
                    <a:pt x="570929" y="48478"/>
                  </a:lnTo>
                  <a:close/>
                  <a:moveTo>
                    <a:pt x="661180" y="140057"/>
                  </a:moveTo>
                  <a:lnTo>
                    <a:pt x="661180" y="154437"/>
                  </a:lnTo>
                  <a:lnTo>
                    <a:pt x="688557" y="154437"/>
                  </a:lnTo>
                  <a:lnTo>
                    <a:pt x="688557" y="140057"/>
                  </a:lnTo>
                  <a:close/>
                  <a:moveTo>
                    <a:pt x="686417" y="126127"/>
                  </a:moveTo>
                  <a:lnTo>
                    <a:pt x="686417" y="27586"/>
                  </a:lnTo>
                  <a:lnTo>
                    <a:pt x="663374" y="27586"/>
                  </a:lnTo>
                  <a:lnTo>
                    <a:pt x="663374" y="126127"/>
                  </a:lnTo>
                  <a:close/>
                  <a:moveTo>
                    <a:pt x="775626" y="955"/>
                  </a:moveTo>
                  <a:lnTo>
                    <a:pt x="775626" y="125672"/>
                  </a:lnTo>
                  <a:lnTo>
                    <a:pt x="746603" y="125672"/>
                  </a:lnTo>
                  <a:lnTo>
                    <a:pt x="746603" y="140057"/>
                  </a:lnTo>
                  <a:lnTo>
                    <a:pt x="807118" y="140057"/>
                  </a:lnTo>
                  <a:lnTo>
                    <a:pt x="807118" y="125672"/>
                  </a:lnTo>
                  <a:lnTo>
                    <a:pt x="778095" y="125672"/>
                  </a:lnTo>
                  <a:lnTo>
                    <a:pt x="778095" y="955"/>
                  </a:lnTo>
                  <a:close/>
                  <a:moveTo>
                    <a:pt x="807118" y="144254"/>
                  </a:moveTo>
                  <a:lnTo>
                    <a:pt x="746603" y="144254"/>
                  </a:lnTo>
                  <a:lnTo>
                    <a:pt x="746603" y="154437"/>
                  </a:lnTo>
                  <a:lnTo>
                    <a:pt x="807118" y="154437"/>
                  </a:lnTo>
                  <a:close/>
                  <a:moveTo>
                    <a:pt x="863957" y="140057"/>
                  </a:moveTo>
                  <a:lnTo>
                    <a:pt x="863957" y="154437"/>
                  </a:lnTo>
                  <a:lnTo>
                    <a:pt x="893035" y="154437"/>
                  </a:lnTo>
                  <a:lnTo>
                    <a:pt x="893035" y="140057"/>
                  </a:lnTo>
                  <a:close/>
                  <a:moveTo>
                    <a:pt x="890017" y="126127"/>
                  </a:moveTo>
                  <a:lnTo>
                    <a:pt x="890017" y="27586"/>
                  </a:lnTo>
                  <a:lnTo>
                    <a:pt x="866974" y="27586"/>
                  </a:lnTo>
                  <a:lnTo>
                    <a:pt x="866974" y="126127"/>
                  </a:lnTo>
                  <a:close/>
                  <a:moveTo>
                    <a:pt x="899838" y="955"/>
                  </a:moveTo>
                  <a:lnTo>
                    <a:pt x="899838" y="168043"/>
                  </a:lnTo>
                  <a:cubicBezTo>
                    <a:pt x="899838" y="179817"/>
                    <a:pt x="890292" y="189363"/>
                    <a:pt x="878496" y="189363"/>
                  </a:cubicBezTo>
                  <a:cubicBezTo>
                    <a:pt x="866755" y="189363"/>
                    <a:pt x="857208" y="179817"/>
                    <a:pt x="857208" y="168043"/>
                  </a:cubicBezTo>
                  <a:lnTo>
                    <a:pt x="857208" y="955"/>
                  </a:lnTo>
                  <a:lnTo>
                    <a:pt x="850899" y="955"/>
                  </a:lnTo>
                  <a:lnTo>
                    <a:pt x="850899" y="12356"/>
                  </a:lnTo>
                  <a:lnTo>
                    <a:pt x="845523" y="12356"/>
                  </a:lnTo>
                  <a:lnTo>
                    <a:pt x="845523" y="140057"/>
                  </a:lnTo>
                  <a:lnTo>
                    <a:pt x="850899" y="140057"/>
                  </a:lnTo>
                  <a:lnTo>
                    <a:pt x="850899" y="157477"/>
                  </a:lnTo>
                  <a:lnTo>
                    <a:pt x="817871" y="157477"/>
                  </a:lnTo>
                  <a:lnTo>
                    <a:pt x="817871" y="140057"/>
                  </a:lnTo>
                  <a:lnTo>
                    <a:pt x="823248" y="140057"/>
                  </a:lnTo>
                  <a:lnTo>
                    <a:pt x="823248" y="12356"/>
                  </a:lnTo>
                  <a:lnTo>
                    <a:pt x="817871" y="12356"/>
                  </a:lnTo>
                  <a:lnTo>
                    <a:pt x="817871" y="955"/>
                  </a:lnTo>
                  <a:lnTo>
                    <a:pt x="810848" y="955"/>
                  </a:lnTo>
                  <a:lnTo>
                    <a:pt x="810848" y="181496"/>
                  </a:lnTo>
                  <a:cubicBezTo>
                    <a:pt x="810848" y="200282"/>
                    <a:pt x="795651" y="215506"/>
                    <a:pt x="776832" y="215506"/>
                  </a:cubicBezTo>
                  <a:cubicBezTo>
                    <a:pt x="758069" y="215506"/>
                    <a:pt x="742817" y="200282"/>
                    <a:pt x="742817" y="181496"/>
                  </a:cubicBezTo>
                  <a:lnTo>
                    <a:pt x="742817" y="955"/>
                  </a:lnTo>
                  <a:lnTo>
                    <a:pt x="735466" y="955"/>
                  </a:lnTo>
                  <a:lnTo>
                    <a:pt x="735466" y="12356"/>
                  </a:lnTo>
                  <a:lnTo>
                    <a:pt x="730089" y="12356"/>
                  </a:lnTo>
                  <a:lnTo>
                    <a:pt x="730089" y="140057"/>
                  </a:lnTo>
                  <a:lnTo>
                    <a:pt x="735466" y="140057"/>
                  </a:lnTo>
                  <a:lnTo>
                    <a:pt x="735466" y="157477"/>
                  </a:lnTo>
                  <a:lnTo>
                    <a:pt x="702437" y="157477"/>
                  </a:lnTo>
                  <a:lnTo>
                    <a:pt x="702437" y="140057"/>
                  </a:lnTo>
                  <a:lnTo>
                    <a:pt x="707814" y="140057"/>
                  </a:lnTo>
                  <a:lnTo>
                    <a:pt x="707814" y="12356"/>
                  </a:lnTo>
                  <a:lnTo>
                    <a:pt x="702437" y="12356"/>
                  </a:lnTo>
                  <a:lnTo>
                    <a:pt x="702437" y="955"/>
                  </a:lnTo>
                  <a:lnTo>
                    <a:pt x="696182" y="955"/>
                  </a:lnTo>
                  <a:lnTo>
                    <a:pt x="696182" y="168043"/>
                  </a:lnTo>
                  <a:cubicBezTo>
                    <a:pt x="696182" y="179817"/>
                    <a:pt x="686637" y="189363"/>
                    <a:pt x="674896" y="189363"/>
                  </a:cubicBezTo>
                  <a:cubicBezTo>
                    <a:pt x="663100" y="189363"/>
                    <a:pt x="653554" y="179817"/>
                    <a:pt x="653554" y="168043"/>
                  </a:cubicBezTo>
                  <a:lnTo>
                    <a:pt x="653554" y="955"/>
                  </a:lnTo>
                  <a:lnTo>
                    <a:pt x="647628" y="955"/>
                  </a:lnTo>
                  <a:lnTo>
                    <a:pt x="647628" y="12356"/>
                  </a:lnTo>
                  <a:lnTo>
                    <a:pt x="642252" y="12356"/>
                  </a:lnTo>
                  <a:lnTo>
                    <a:pt x="642252" y="140057"/>
                  </a:lnTo>
                  <a:lnTo>
                    <a:pt x="647628" y="140057"/>
                  </a:lnTo>
                  <a:lnTo>
                    <a:pt x="647628" y="157477"/>
                  </a:lnTo>
                  <a:lnTo>
                    <a:pt x="632870" y="157477"/>
                  </a:lnTo>
                  <a:lnTo>
                    <a:pt x="632870" y="192304"/>
                  </a:lnTo>
                  <a:lnTo>
                    <a:pt x="633034" y="192304"/>
                  </a:lnTo>
                  <a:cubicBezTo>
                    <a:pt x="636052" y="269130"/>
                    <a:pt x="699256" y="330485"/>
                    <a:pt x="776832" y="330485"/>
                  </a:cubicBezTo>
                  <a:cubicBezTo>
                    <a:pt x="854410" y="330485"/>
                    <a:pt x="917669" y="269130"/>
                    <a:pt x="920687" y="192304"/>
                  </a:cubicBezTo>
                  <a:lnTo>
                    <a:pt x="920851" y="192304"/>
                  </a:lnTo>
                  <a:lnTo>
                    <a:pt x="920851" y="157477"/>
                  </a:lnTo>
                  <a:lnTo>
                    <a:pt x="906093" y="157477"/>
                  </a:lnTo>
                  <a:lnTo>
                    <a:pt x="906093" y="140057"/>
                  </a:lnTo>
                  <a:lnTo>
                    <a:pt x="911414" y="140057"/>
                  </a:lnTo>
                  <a:lnTo>
                    <a:pt x="911414" y="12356"/>
                  </a:lnTo>
                  <a:lnTo>
                    <a:pt x="906093" y="12356"/>
                  </a:lnTo>
                  <a:lnTo>
                    <a:pt x="906093" y="955"/>
                  </a:lnTo>
                  <a:close/>
                  <a:moveTo>
                    <a:pt x="969241" y="955"/>
                  </a:moveTo>
                  <a:lnTo>
                    <a:pt x="939066" y="955"/>
                  </a:lnTo>
                  <a:lnTo>
                    <a:pt x="939066" y="12356"/>
                  </a:lnTo>
                  <a:lnTo>
                    <a:pt x="933744" y="12356"/>
                  </a:lnTo>
                  <a:lnTo>
                    <a:pt x="933744" y="140057"/>
                  </a:lnTo>
                  <a:lnTo>
                    <a:pt x="939066" y="140057"/>
                  </a:lnTo>
                  <a:lnTo>
                    <a:pt x="939066" y="157477"/>
                  </a:lnTo>
                  <a:lnTo>
                    <a:pt x="939066" y="378046"/>
                  </a:lnTo>
                  <a:lnTo>
                    <a:pt x="614600" y="378046"/>
                  </a:lnTo>
                  <a:lnTo>
                    <a:pt x="614600" y="157477"/>
                  </a:lnTo>
                  <a:lnTo>
                    <a:pt x="614600" y="140057"/>
                  </a:lnTo>
                  <a:lnTo>
                    <a:pt x="619977" y="140057"/>
                  </a:lnTo>
                  <a:lnTo>
                    <a:pt x="619977" y="12356"/>
                  </a:lnTo>
                  <a:lnTo>
                    <a:pt x="614600" y="12356"/>
                  </a:lnTo>
                  <a:lnTo>
                    <a:pt x="614600" y="955"/>
                  </a:lnTo>
                  <a:lnTo>
                    <a:pt x="584480" y="955"/>
                  </a:lnTo>
                  <a:lnTo>
                    <a:pt x="584480" y="48478"/>
                  </a:lnTo>
                  <a:lnTo>
                    <a:pt x="584480" y="399646"/>
                  </a:lnTo>
                  <a:lnTo>
                    <a:pt x="969241" y="399646"/>
                  </a:lnTo>
                  <a:lnTo>
                    <a:pt x="969241" y="48478"/>
                  </a:lnTo>
                  <a:close/>
                  <a:moveTo>
                    <a:pt x="982792" y="48478"/>
                  </a:moveTo>
                  <a:lnTo>
                    <a:pt x="982792" y="507388"/>
                  </a:lnTo>
                  <a:lnTo>
                    <a:pt x="1016699" y="507388"/>
                  </a:lnTo>
                  <a:lnTo>
                    <a:pt x="1016699" y="48478"/>
                  </a:lnTo>
                  <a:close/>
                  <a:moveTo>
                    <a:pt x="1094880" y="28936"/>
                  </a:moveTo>
                  <a:lnTo>
                    <a:pt x="1080395" y="28936"/>
                  </a:lnTo>
                  <a:lnTo>
                    <a:pt x="1080395" y="6573"/>
                  </a:lnTo>
                  <a:lnTo>
                    <a:pt x="1074964" y="6573"/>
                  </a:lnTo>
                  <a:lnTo>
                    <a:pt x="1074964" y="148693"/>
                  </a:lnTo>
                  <a:lnTo>
                    <a:pt x="1080395" y="148693"/>
                  </a:lnTo>
                  <a:lnTo>
                    <a:pt x="1080395" y="121277"/>
                  </a:lnTo>
                  <a:lnTo>
                    <a:pt x="1094880" y="121277"/>
                  </a:lnTo>
                  <a:close/>
                  <a:moveTo>
                    <a:pt x="1119733" y="28936"/>
                  </a:moveTo>
                  <a:lnTo>
                    <a:pt x="1097349" y="28936"/>
                  </a:lnTo>
                  <a:lnTo>
                    <a:pt x="1097349" y="121277"/>
                  </a:lnTo>
                  <a:lnTo>
                    <a:pt x="1119733" y="121277"/>
                  </a:lnTo>
                  <a:close/>
                  <a:moveTo>
                    <a:pt x="1144586" y="28936"/>
                  </a:moveTo>
                  <a:lnTo>
                    <a:pt x="1122201" y="28936"/>
                  </a:lnTo>
                  <a:lnTo>
                    <a:pt x="1122201" y="121277"/>
                  </a:lnTo>
                  <a:lnTo>
                    <a:pt x="1144586" y="121277"/>
                  </a:lnTo>
                  <a:close/>
                  <a:moveTo>
                    <a:pt x="1166971" y="823"/>
                  </a:moveTo>
                  <a:lnTo>
                    <a:pt x="1166641" y="823"/>
                  </a:lnTo>
                  <a:lnTo>
                    <a:pt x="1166641" y="6573"/>
                  </a:lnTo>
                  <a:lnTo>
                    <a:pt x="1161594" y="6573"/>
                  </a:lnTo>
                  <a:lnTo>
                    <a:pt x="1161594" y="28936"/>
                  </a:lnTo>
                  <a:lnTo>
                    <a:pt x="1147055" y="28936"/>
                  </a:lnTo>
                  <a:lnTo>
                    <a:pt x="1147055" y="121277"/>
                  </a:lnTo>
                  <a:lnTo>
                    <a:pt x="1161594" y="121277"/>
                  </a:lnTo>
                  <a:lnTo>
                    <a:pt x="1161594" y="148693"/>
                  </a:lnTo>
                  <a:lnTo>
                    <a:pt x="1166641" y="148693"/>
                  </a:lnTo>
                  <a:lnTo>
                    <a:pt x="1166641" y="154437"/>
                  </a:lnTo>
                  <a:lnTo>
                    <a:pt x="1166971" y="154437"/>
                  </a:lnTo>
                  <a:close/>
                  <a:moveTo>
                    <a:pt x="1163460" y="154437"/>
                  </a:moveTo>
                  <a:lnTo>
                    <a:pt x="1080121" y="154437"/>
                  </a:lnTo>
                  <a:cubicBezTo>
                    <a:pt x="1074580" y="162524"/>
                    <a:pt x="1071343" y="172284"/>
                    <a:pt x="1071343" y="182813"/>
                  </a:cubicBezTo>
                  <a:cubicBezTo>
                    <a:pt x="1071343" y="210656"/>
                    <a:pt x="1093946" y="233233"/>
                    <a:pt x="1121763" y="233233"/>
                  </a:cubicBezTo>
                  <a:cubicBezTo>
                    <a:pt x="1149633" y="233233"/>
                    <a:pt x="1172183" y="210656"/>
                    <a:pt x="1172183" y="182813"/>
                  </a:cubicBezTo>
                  <a:cubicBezTo>
                    <a:pt x="1172183" y="172284"/>
                    <a:pt x="1168946" y="162524"/>
                    <a:pt x="1163460" y="154437"/>
                  </a:cubicBezTo>
                  <a:close/>
                  <a:moveTo>
                    <a:pt x="1214812" y="28936"/>
                  </a:moveTo>
                  <a:lnTo>
                    <a:pt x="1202084" y="28936"/>
                  </a:lnTo>
                  <a:lnTo>
                    <a:pt x="1202084" y="6573"/>
                  </a:lnTo>
                  <a:lnTo>
                    <a:pt x="1195884" y="6573"/>
                  </a:lnTo>
                  <a:lnTo>
                    <a:pt x="1195884" y="148693"/>
                  </a:lnTo>
                  <a:lnTo>
                    <a:pt x="1202084" y="148693"/>
                  </a:lnTo>
                  <a:lnTo>
                    <a:pt x="1202084" y="121277"/>
                  </a:lnTo>
                  <a:lnTo>
                    <a:pt x="1214812" y="121277"/>
                  </a:lnTo>
                  <a:close/>
                  <a:moveTo>
                    <a:pt x="1238513" y="28936"/>
                  </a:moveTo>
                  <a:lnTo>
                    <a:pt x="1217281" y="28936"/>
                  </a:lnTo>
                  <a:lnTo>
                    <a:pt x="1217281" y="121277"/>
                  </a:lnTo>
                  <a:lnTo>
                    <a:pt x="1238513" y="121277"/>
                  </a:lnTo>
                  <a:close/>
                  <a:moveTo>
                    <a:pt x="1262215" y="28936"/>
                  </a:moveTo>
                  <a:lnTo>
                    <a:pt x="1240927" y="28936"/>
                  </a:lnTo>
                  <a:lnTo>
                    <a:pt x="1240927" y="121277"/>
                  </a:lnTo>
                  <a:lnTo>
                    <a:pt x="1262215" y="121277"/>
                  </a:lnTo>
                  <a:close/>
                  <a:moveTo>
                    <a:pt x="1283557" y="6573"/>
                  </a:moveTo>
                  <a:lnTo>
                    <a:pt x="1277357" y="6573"/>
                  </a:lnTo>
                  <a:lnTo>
                    <a:pt x="1277357" y="28936"/>
                  </a:lnTo>
                  <a:lnTo>
                    <a:pt x="1264629" y="28936"/>
                  </a:lnTo>
                  <a:lnTo>
                    <a:pt x="1264629" y="121277"/>
                  </a:lnTo>
                  <a:lnTo>
                    <a:pt x="1277357" y="121277"/>
                  </a:lnTo>
                  <a:lnTo>
                    <a:pt x="1277357" y="148693"/>
                  </a:lnTo>
                  <a:lnTo>
                    <a:pt x="1283557" y="148693"/>
                  </a:lnTo>
                  <a:close/>
                  <a:moveTo>
                    <a:pt x="1283557" y="154437"/>
                  </a:moveTo>
                  <a:lnTo>
                    <a:pt x="1200219" y="154437"/>
                  </a:lnTo>
                  <a:cubicBezTo>
                    <a:pt x="1194732" y="162524"/>
                    <a:pt x="1191495" y="172284"/>
                    <a:pt x="1191495" y="182813"/>
                  </a:cubicBezTo>
                  <a:cubicBezTo>
                    <a:pt x="1191495" y="210656"/>
                    <a:pt x="1214044" y="233233"/>
                    <a:pt x="1241915" y="233233"/>
                  </a:cubicBezTo>
                  <a:cubicBezTo>
                    <a:pt x="1269731" y="233233"/>
                    <a:pt x="1292336" y="210656"/>
                    <a:pt x="1292336" y="182813"/>
                  </a:cubicBezTo>
                  <a:cubicBezTo>
                    <a:pt x="1292336" y="172284"/>
                    <a:pt x="1289098" y="162524"/>
                    <a:pt x="1283557" y="154437"/>
                  </a:cubicBezTo>
                  <a:close/>
                  <a:moveTo>
                    <a:pt x="1328271" y="823"/>
                  </a:moveTo>
                  <a:lnTo>
                    <a:pt x="1312470" y="823"/>
                  </a:lnTo>
                  <a:lnTo>
                    <a:pt x="1312470" y="260210"/>
                  </a:lnTo>
                  <a:lnTo>
                    <a:pt x="1046051" y="260210"/>
                  </a:lnTo>
                  <a:lnTo>
                    <a:pt x="1046051" y="154437"/>
                  </a:lnTo>
                  <a:lnTo>
                    <a:pt x="1046051" y="823"/>
                  </a:lnTo>
                  <a:lnTo>
                    <a:pt x="1030250" y="823"/>
                  </a:lnTo>
                  <a:lnTo>
                    <a:pt x="1030250" y="48478"/>
                  </a:lnTo>
                  <a:lnTo>
                    <a:pt x="1030250" y="320708"/>
                  </a:lnTo>
                  <a:lnTo>
                    <a:pt x="1047861" y="320708"/>
                  </a:lnTo>
                  <a:lnTo>
                    <a:pt x="1047861" y="345600"/>
                  </a:lnTo>
                  <a:cubicBezTo>
                    <a:pt x="1047861" y="351333"/>
                    <a:pt x="1052469" y="355975"/>
                    <a:pt x="1058230" y="355975"/>
                  </a:cubicBezTo>
                  <a:cubicBezTo>
                    <a:pt x="1063936" y="355975"/>
                    <a:pt x="1068600" y="351333"/>
                    <a:pt x="1068600" y="345600"/>
                  </a:cubicBezTo>
                  <a:lnTo>
                    <a:pt x="1068600" y="320708"/>
                  </a:lnTo>
                  <a:lnTo>
                    <a:pt x="1083029" y="320708"/>
                  </a:lnTo>
                  <a:lnTo>
                    <a:pt x="1083029" y="345600"/>
                  </a:lnTo>
                  <a:cubicBezTo>
                    <a:pt x="1083029" y="351333"/>
                    <a:pt x="1087693" y="355975"/>
                    <a:pt x="1093398" y="355975"/>
                  </a:cubicBezTo>
                  <a:cubicBezTo>
                    <a:pt x="1099159" y="355975"/>
                    <a:pt x="1103822" y="351333"/>
                    <a:pt x="1103822" y="345600"/>
                  </a:cubicBezTo>
                  <a:lnTo>
                    <a:pt x="1103822" y="320708"/>
                  </a:lnTo>
                  <a:lnTo>
                    <a:pt x="1118252" y="320708"/>
                  </a:lnTo>
                  <a:lnTo>
                    <a:pt x="1118252" y="345600"/>
                  </a:lnTo>
                  <a:cubicBezTo>
                    <a:pt x="1118252" y="351333"/>
                    <a:pt x="1122915" y="355975"/>
                    <a:pt x="1128621" y="355975"/>
                  </a:cubicBezTo>
                  <a:cubicBezTo>
                    <a:pt x="1134382" y="355975"/>
                    <a:pt x="1138991" y="351333"/>
                    <a:pt x="1138991" y="345600"/>
                  </a:cubicBezTo>
                  <a:lnTo>
                    <a:pt x="1138991" y="320708"/>
                  </a:lnTo>
                  <a:lnTo>
                    <a:pt x="1153474" y="320708"/>
                  </a:lnTo>
                  <a:lnTo>
                    <a:pt x="1153474" y="345600"/>
                  </a:lnTo>
                  <a:cubicBezTo>
                    <a:pt x="1153474" y="351333"/>
                    <a:pt x="1158083" y="355975"/>
                    <a:pt x="1163843" y="355975"/>
                  </a:cubicBezTo>
                  <a:cubicBezTo>
                    <a:pt x="1169549" y="355975"/>
                    <a:pt x="1174213" y="351333"/>
                    <a:pt x="1174213" y="345600"/>
                  </a:cubicBezTo>
                  <a:lnTo>
                    <a:pt x="1174213" y="320708"/>
                  </a:lnTo>
                  <a:lnTo>
                    <a:pt x="1188643" y="320708"/>
                  </a:lnTo>
                  <a:lnTo>
                    <a:pt x="1188643" y="345600"/>
                  </a:lnTo>
                  <a:cubicBezTo>
                    <a:pt x="1188643" y="351333"/>
                    <a:pt x="1193306" y="355975"/>
                    <a:pt x="1199011" y="355975"/>
                  </a:cubicBezTo>
                  <a:cubicBezTo>
                    <a:pt x="1204772" y="355975"/>
                    <a:pt x="1209381" y="351333"/>
                    <a:pt x="1209381" y="345600"/>
                  </a:cubicBezTo>
                  <a:lnTo>
                    <a:pt x="1209381" y="320708"/>
                  </a:lnTo>
                  <a:lnTo>
                    <a:pt x="1223865" y="320708"/>
                  </a:lnTo>
                  <a:lnTo>
                    <a:pt x="1223865" y="345600"/>
                  </a:lnTo>
                  <a:cubicBezTo>
                    <a:pt x="1223865" y="351333"/>
                    <a:pt x="1228528" y="355975"/>
                    <a:pt x="1234234" y="355975"/>
                  </a:cubicBezTo>
                  <a:cubicBezTo>
                    <a:pt x="1239940" y="355975"/>
                    <a:pt x="1244604" y="351333"/>
                    <a:pt x="1244604" y="345600"/>
                  </a:cubicBezTo>
                  <a:lnTo>
                    <a:pt x="1244604" y="320708"/>
                  </a:lnTo>
                  <a:lnTo>
                    <a:pt x="1259087" y="320708"/>
                  </a:lnTo>
                  <a:lnTo>
                    <a:pt x="1259087" y="345600"/>
                  </a:lnTo>
                  <a:cubicBezTo>
                    <a:pt x="1259087" y="351333"/>
                    <a:pt x="1263696" y="355975"/>
                    <a:pt x="1269457" y="355975"/>
                  </a:cubicBezTo>
                  <a:cubicBezTo>
                    <a:pt x="1275163" y="355975"/>
                    <a:pt x="1279826" y="351333"/>
                    <a:pt x="1279826" y="345600"/>
                  </a:cubicBezTo>
                  <a:lnTo>
                    <a:pt x="1279826" y="320708"/>
                  </a:lnTo>
                  <a:lnTo>
                    <a:pt x="1294256" y="320708"/>
                  </a:lnTo>
                  <a:lnTo>
                    <a:pt x="1294256" y="345600"/>
                  </a:lnTo>
                  <a:cubicBezTo>
                    <a:pt x="1294256" y="351333"/>
                    <a:pt x="1298919" y="355975"/>
                    <a:pt x="1304624" y="355975"/>
                  </a:cubicBezTo>
                  <a:cubicBezTo>
                    <a:pt x="1310385" y="355975"/>
                    <a:pt x="1314994" y="351333"/>
                    <a:pt x="1314994" y="345600"/>
                  </a:cubicBezTo>
                  <a:lnTo>
                    <a:pt x="1314994" y="320708"/>
                  </a:lnTo>
                  <a:lnTo>
                    <a:pt x="1328271" y="320708"/>
                  </a:lnTo>
                  <a:close/>
                  <a:moveTo>
                    <a:pt x="1328271" y="367699"/>
                  </a:moveTo>
                  <a:lnTo>
                    <a:pt x="1284215" y="367699"/>
                  </a:lnTo>
                  <a:cubicBezTo>
                    <a:pt x="1284215" y="367699"/>
                    <a:pt x="1284764" y="368248"/>
                    <a:pt x="1285641" y="369405"/>
                  </a:cubicBezTo>
                  <a:lnTo>
                    <a:pt x="1283721" y="369405"/>
                  </a:lnTo>
                  <a:lnTo>
                    <a:pt x="1283721" y="392454"/>
                  </a:lnTo>
                  <a:lnTo>
                    <a:pt x="1282953" y="392454"/>
                  </a:lnTo>
                  <a:cubicBezTo>
                    <a:pt x="1282953" y="392454"/>
                    <a:pt x="1279826" y="394648"/>
                    <a:pt x="1279826" y="399487"/>
                  </a:cubicBezTo>
                  <a:cubicBezTo>
                    <a:pt x="1279826" y="404979"/>
                    <a:pt x="1290579" y="409072"/>
                    <a:pt x="1290579" y="410822"/>
                  </a:cubicBezTo>
                  <a:cubicBezTo>
                    <a:pt x="1290579" y="409577"/>
                    <a:pt x="1296011" y="407152"/>
                    <a:pt x="1299138" y="403882"/>
                  </a:cubicBezTo>
                  <a:cubicBezTo>
                    <a:pt x="1301223" y="414180"/>
                    <a:pt x="1302704" y="427007"/>
                    <a:pt x="1302704" y="442786"/>
                  </a:cubicBezTo>
                  <a:cubicBezTo>
                    <a:pt x="1302704" y="443219"/>
                    <a:pt x="1302649" y="443636"/>
                    <a:pt x="1302649" y="444070"/>
                  </a:cubicBezTo>
                  <a:lnTo>
                    <a:pt x="1328271" y="444070"/>
                  </a:lnTo>
                  <a:close/>
                  <a:moveTo>
                    <a:pt x="1373315" y="10216"/>
                  </a:moveTo>
                  <a:lnTo>
                    <a:pt x="1336994" y="10216"/>
                  </a:lnTo>
                  <a:lnTo>
                    <a:pt x="1336994" y="101806"/>
                  </a:lnTo>
                  <a:lnTo>
                    <a:pt x="1373315" y="101806"/>
                  </a:lnTo>
                  <a:close/>
                  <a:moveTo>
                    <a:pt x="1396412" y="498177"/>
                  </a:moveTo>
                  <a:lnTo>
                    <a:pt x="1390651" y="498177"/>
                  </a:lnTo>
                  <a:lnTo>
                    <a:pt x="1390651" y="860339"/>
                  </a:lnTo>
                  <a:lnTo>
                    <a:pt x="1396412" y="860339"/>
                  </a:lnTo>
                  <a:close/>
                  <a:moveTo>
                    <a:pt x="1437451" y="498177"/>
                  </a:moveTo>
                  <a:lnTo>
                    <a:pt x="1406288" y="498177"/>
                  </a:lnTo>
                  <a:lnTo>
                    <a:pt x="1406288" y="552695"/>
                  </a:lnTo>
                  <a:lnTo>
                    <a:pt x="1437451" y="552695"/>
                  </a:lnTo>
                  <a:close/>
                  <a:moveTo>
                    <a:pt x="1453031" y="498177"/>
                  </a:moveTo>
                  <a:lnTo>
                    <a:pt x="1447326" y="498177"/>
                  </a:lnTo>
                  <a:lnTo>
                    <a:pt x="1447326" y="860339"/>
                  </a:lnTo>
                  <a:lnTo>
                    <a:pt x="1453031" y="860339"/>
                  </a:lnTo>
                  <a:lnTo>
                    <a:pt x="1453031" y="498177"/>
                  </a:lnTo>
                </a:path>
              </a:pathLst>
            </a:custGeom>
            <a:grpFill/>
            <a:ln w="548" cap="flat">
              <a:noFill/>
              <a:prstDash val="solid"/>
              <a:miter/>
            </a:ln>
          </p:spPr>
          <p:txBody>
            <a:bodyPr/>
            <a:lstStyle/>
            <a:p>
              <a:endParaRPr lang="en-US"/>
            </a:p>
          </p:txBody>
        </p:sp>
        <p:sp>
          <p:nvSpPr>
            <p:cNvPr id="152" name="Freeform: Shape 151">
              <a:extLst>
                <a:ext uri="{FF2B5EF4-FFF2-40B4-BE49-F238E27FC236}">
                  <a16:creationId xmlns:a16="http://schemas.microsoft.com/office/drawing/2014/main" id="{ED360D71-5BA7-CB5C-54D3-94A58E8D59A7}"/>
                </a:ext>
              </a:extLst>
            </p:cNvPr>
            <p:cNvSpPr/>
            <p:nvPr/>
          </p:nvSpPr>
          <p:spPr>
            <a:xfrm flipV="1">
              <a:off x="27644231" y="3497504"/>
              <a:ext cx="316674" cy="523566"/>
            </a:xfrm>
            <a:custGeom>
              <a:avLst/>
              <a:gdLst>
                <a:gd name="csX0" fmla="*/ 219877 w 316674"/>
                <a:gd name="csY0" fmla="*/ 166914 h 523566"/>
                <a:gd name="csX1" fmla="*/ 219877 w 316674"/>
                <a:gd name="csY1" fmla="*/ 259557 h 523566"/>
                <a:gd name="csX2" fmla="*/ 229697 w 316674"/>
                <a:gd name="csY2" fmla="*/ 259557 h 523566"/>
                <a:gd name="csX3" fmla="*/ 248076 w 316674"/>
                <a:gd name="csY3" fmla="*/ 273246 h 523566"/>
                <a:gd name="csX4" fmla="*/ 229697 w 316674"/>
                <a:gd name="csY4" fmla="*/ 286929 h 523566"/>
                <a:gd name="csX5" fmla="*/ 219877 w 316674"/>
                <a:gd name="csY5" fmla="*/ 286929 h 523566"/>
                <a:gd name="csX6" fmla="*/ 191292 w 316674"/>
                <a:gd name="csY6" fmla="*/ 373521 h 523566"/>
                <a:gd name="csX7" fmla="*/ 145536 w 316674"/>
                <a:gd name="csY7" fmla="*/ 415700 h 523566"/>
                <a:gd name="csX8" fmla="*/ 146249 w 316674"/>
                <a:gd name="csY8" fmla="*/ 416825 h 523566"/>
                <a:gd name="csX9" fmla="*/ 146249 w 316674"/>
                <a:gd name="csY9" fmla="*/ 515553 h 523566"/>
                <a:gd name="csX10" fmla="*/ 145042 w 316674"/>
                <a:gd name="csY10" fmla="*/ 516776 h 523566"/>
                <a:gd name="csX11" fmla="*/ 143835 w 316674"/>
                <a:gd name="csY11" fmla="*/ 515553 h 523566"/>
                <a:gd name="csX12" fmla="*/ 143835 w 316674"/>
                <a:gd name="csY12" fmla="*/ 416825 h 523566"/>
                <a:gd name="csX13" fmla="*/ 144548 w 316674"/>
                <a:gd name="csY13" fmla="*/ 415700 h 523566"/>
                <a:gd name="csX14" fmla="*/ 98792 w 316674"/>
                <a:gd name="csY14" fmla="*/ 373521 h 523566"/>
                <a:gd name="csX15" fmla="*/ 70208 w 316674"/>
                <a:gd name="csY15" fmla="*/ 286929 h 523566"/>
                <a:gd name="csX16" fmla="*/ 60387 w 316674"/>
                <a:gd name="csY16" fmla="*/ 286929 h 523566"/>
                <a:gd name="csX17" fmla="*/ 41953 w 316674"/>
                <a:gd name="csY17" fmla="*/ 273246 h 523566"/>
                <a:gd name="csX18" fmla="*/ 60387 w 316674"/>
                <a:gd name="csY18" fmla="*/ 259557 h 523566"/>
                <a:gd name="csX19" fmla="*/ 70208 w 316674"/>
                <a:gd name="csY19" fmla="*/ 259557 h 523566"/>
                <a:gd name="csX20" fmla="*/ 70208 w 316674"/>
                <a:gd name="csY20" fmla="*/ 166914 h 523566"/>
                <a:gd name="csX21" fmla="*/ -13295 w 316674"/>
                <a:gd name="csY21" fmla="*/ 166914 h 523566"/>
                <a:gd name="csX22" fmla="*/ -13295 w 316674"/>
                <a:gd name="csY22" fmla="*/ 117432 h 523566"/>
                <a:gd name="csX23" fmla="*/ 62581 w 316674"/>
                <a:gd name="csY23" fmla="*/ -6791 h 523566"/>
                <a:gd name="csX24" fmla="*/ 145042 w 316674"/>
                <a:gd name="csY24" fmla="*/ -6791 h 523566"/>
                <a:gd name="csX25" fmla="*/ 227502 w 316674"/>
                <a:gd name="csY25" fmla="*/ -6791 h 523566"/>
                <a:gd name="csX26" fmla="*/ 303380 w 316674"/>
                <a:gd name="csY26" fmla="*/ 117432 h 523566"/>
                <a:gd name="csX27" fmla="*/ 303380 w 316674"/>
                <a:gd name="csY27" fmla="*/ 166914 h 523566"/>
                <a:gd name="csX28" fmla="*/ 108064 w 316674"/>
                <a:gd name="csY28" fmla="*/ 166914 h 523566"/>
                <a:gd name="csX29" fmla="*/ 82278 w 316674"/>
                <a:gd name="csY29" fmla="*/ 166914 h 523566"/>
                <a:gd name="csX30" fmla="*/ 82278 w 316674"/>
                <a:gd name="csY30" fmla="*/ 221125 h 523566"/>
                <a:gd name="csX31" fmla="*/ 95171 w 316674"/>
                <a:gd name="csY31" fmla="*/ 234013 h 523566"/>
                <a:gd name="csX32" fmla="*/ 108064 w 316674"/>
                <a:gd name="csY32" fmla="*/ 221125 h 523566"/>
                <a:gd name="csX33" fmla="*/ 124414 w 316674"/>
                <a:gd name="csY33" fmla="*/ 166914 h 523566"/>
                <a:gd name="csX34" fmla="*/ 120079 w 316674"/>
                <a:gd name="csY34" fmla="*/ 166914 h 523566"/>
                <a:gd name="csX35" fmla="*/ 120079 w 316674"/>
                <a:gd name="csY35" fmla="*/ 259557 h 523566"/>
                <a:gd name="csX36" fmla="*/ 124414 w 316674"/>
                <a:gd name="csY36" fmla="*/ 259557 h 523566"/>
                <a:gd name="csX37" fmla="*/ 157935 w 316674"/>
                <a:gd name="csY37" fmla="*/ 166914 h 523566"/>
                <a:gd name="csX38" fmla="*/ 132149 w 316674"/>
                <a:gd name="csY38" fmla="*/ 166914 h 523566"/>
                <a:gd name="csX39" fmla="*/ 132149 w 316674"/>
                <a:gd name="csY39" fmla="*/ 221125 h 523566"/>
                <a:gd name="csX40" fmla="*/ 145042 w 316674"/>
                <a:gd name="csY40" fmla="*/ 234013 h 523566"/>
                <a:gd name="csX41" fmla="*/ 157935 w 316674"/>
                <a:gd name="csY41" fmla="*/ 221125 h 523566"/>
                <a:gd name="csX42" fmla="*/ 170005 w 316674"/>
                <a:gd name="csY42" fmla="*/ 166914 h 523566"/>
                <a:gd name="csX43" fmla="*/ 165671 w 316674"/>
                <a:gd name="csY43" fmla="*/ 166914 h 523566"/>
                <a:gd name="csX44" fmla="*/ 165671 w 316674"/>
                <a:gd name="csY44" fmla="*/ 259557 h 523566"/>
                <a:gd name="csX45" fmla="*/ 170005 w 316674"/>
                <a:gd name="csY45" fmla="*/ 259557 h 523566"/>
                <a:gd name="csX46" fmla="*/ 207807 w 316674"/>
                <a:gd name="csY46" fmla="*/ 166914 h 523566"/>
                <a:gd name="csX47" fmla="*/ 182021 w 316674"/>
                <a:gd name="csY47" fmla="*/ 166914 h 523566"/>
                <a:gd name="csX48" fmla="*/ 182021 w 316674"/>
                <a:gd name="csY48" fmla="*/ 221125 h 523566"/>
                <a:gd name="csX49" fmla="*/ 194914 w 316674"/>
                <a:gd name="csY49" fmla="*/ 234013 h 523566"/>
                <a:gd name="csX50" fmla="*/ 207807 w 316674"/>
                <a:gd name="csY50" fmla="*/ 221125 h 523566"/>
                <a:gd name="csX51" fmla="*/ 207807 w 316674"/>
                <a:gd name="csY51" fmla="*/ 166914 h 52356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Lst>
              <a:rect l="l" t="t" r="r" b="b"/>
              <a:pathLst>
                <a:path w="316674" h="523566">
                  <a:moveTo>
                    <a:pt x="219877" y="166914"/>
                  </a:moveTo>
                  <a:lnTo>
                    <a:pt x="219877" y="259557"/>
                  </a:lnTo>
                  <a:lnTo>
                    <a:pt x="229697" y="259557"/>
                  </a:lnTo>
                  <a:lnTo>
                    <a:pt x="248076" y="273246"/>
                  </a:lnTo>
                  <a:lnTo>
                    <a:pt x="229697" y="286929"/>
                  </a:lnTo>
                  <a:lnTo>
                    <a:pt x="219877" y="286929"/>
                  </a:lnTo>
                  <a:cubicBezTo>
                    <a:pt x="244784" y="330228"/>
                    <a:pt x="223662" y="354966"/>
                    <a:pt x="191292" y="373521"/>
                  </a:cubicBezTo>
                  <a:cubicBezTo>
                    <a:pt x="157825" y="392685"/>
                    <a:pt x="147675" y="411075"/>
                    <a:pt x="145536" y="415700"/>
                  </a:cubicBezTo>
                  <a:cubicBezTo>
                    <a:pt x="145975" y="415887"/>
                    <a:pt x="146249" y="416320"/>
                    <a:pt x="146249" y="416825"/>
                  </a:cubicBezTo>
                  <a:lnTo>
                    <a:pt x="146249" y="515553"/>
                  </a:lnTo>
                  <a:cubicBezTo>
                    <a:pt x="146249" y="516227"/>
                    <a:pt x="145700" y="516776"/>
                    <a:pt x="145042" y="516776"/>
                  </a:cubicBezTo>
                  <a:cubicBezTo>
                    <a:pt x="144383" y="516776"/>
                    <a:pt x="143835" y="516227"/>
                    <a:pt x="143835" y="515553"/>
                  </a:cubicBezTo>
                  <a:lnTo>
                    <a:pt x="143835" y="416825"/>
                  </a:lnTo>
                  <a:cubicBezTo>
                    <a:pt x="143835" y="416320"/>
                    <a:pt x="144109" y="415887"/>
                    <a:pt x="144548" y="415700"/>
                  </a:cubicBezTo>
                  <a:cubicBezTo>
                    <a:pt x="142408" y="411075"/>
                    <a:pt x="132259" y="392685"/>
                    <a:pt x="98792" y="373521"/>
                  </a:cubicBezTo>
                  <a:cubicBezTo>
                    <a:pt x="66422" y="354966"/>
                    <a:pt x="45299" y="330228"/>
                    <a:pt x="70208" y="286929"/>
                  </a:cubicBezTo>
                  <a:lnTo>
                    <a:pt x="60387" y="286929"/>
                  </a:lnTo>
                  <a:lnTo>
                    <a:pt x="41953" y="273246"/>
                  </a:lnTo>
                  <a:lnTo>
                    <a:pt x="60387" y="259557"/>
                  </a:lnTo>
                  <a:lnTo>
                    <a:pt x="70208" y="259557"/>
                  </a:lnTo>
                  <a:lnTo>
                    <a:pt x="70208" y="166914"/>
                  </a:lnTo>
                  <a:lnTo>
                    <a:pt x="-13295" y="166914"/>
                  </a:lnTo>
                  <a:lnTo>
                    <a:pt x="-13295" y="117432"/>
                  </a:lnTo>
                  <a:cubicBezTo>
                    <a:pt x="-13295" y="117432"/>
                    <a:pt x="62581" y="79005"/>
                    <a:pt x="62581" y="-6791"/>
                  </a:cubicBezTo>
                  <a:lnTo>
                    <a:pt x="145042" y="-6791"/>
                  </a:lnTo>
                  <a:lnTo>
                    <a:pt x="227502" y="-6791"/>
                  </a:lnTo>
                  <a:cubicBezTo>
                    <a:pt x="227502" y="79005"/>
                    <a:pt x="303380" y="117432"/>
                    <a:pt x="303380" y="117432"/>
                  </a:cubicBezTo>
                  <a:lnTo>
                    <a:pt x="303380" y="166914"/>
                  </a:lnTo>
                  <a:close/>
                  <a:moveTo>
                    <a:pt x="108064" y="166914"/>
                  </a:moveTo>
                  <a:lnTo>
                    <a:pt x="82278" y="166914"/>
                  </a:lnTo>
                  <a:lnTo>
                    <a:pt x="82278" y="221125"/>
                  </a:lnTo>
                  <a:cubicBezTo>
                    <a:pt x="82278" y="228241"/>
                    <a:pt x="88038" y="234013"/>
                    <a:pt x="95171" y="234013"/>
                  </a:cubicBezTo>
                  <a:cubicBezTo>
                    <a:pt x="102303" y="234013"/>
                    <a:pt x="108064" y="228241"/>
                    <a:pt x="108064" y="221125"/>
                  </a:cubicBezTo>
                  <a:close/>
                  <a:moveTo>
                    <a:pt x="124414" y="166914"/>
                  </a:moveTo>
                  <a:lnTo>
                    <a:pt x="120079" y="166914"/>
                  </a:lnTo>
                  <a:lnTo>
                    <a:pt x="120079" y="259557"/>
                  </a:lnTo>
                  <a:lnTo>
                    <a:pt x="124414" y="259557"/>
                  </a:lnTo>
                  <a:close/>
                  <a:moveTo>
                    <a:pt x="157935" y="166914"/>
                  </a:moveTo>
                  <a:lnTo>
                    <a:pt x="132149" y="166914"/>
                  </a:lnTo>
                  <a:lnTo>
                    <a:pt x="132149" y="221125"/>
                  </a:lnTo>
                  <a:cubicBezTo>
                    <a:pt x="132149" y="228241"/>
                    <a:pt x="137910" y="234013"/>
                    <a:pt x="145042" y="234013"/>
                  </a:cubicBezTo>
                  <a:cubicBezTo>
                    <a:pt x="152175" y="234013"/>
                    <a:pt x="157935" y="228241"/>
                    <a:pt x="157935" y="221125"/>
                  </a:cubicBezTo>
                  <a:close/>
                  <a:moveTo>
                    <a:pt x="170005" y="166914"/>
                  </a:moveTo>
                  <a:lnTo>
                    <a:pt x="165671" y="166914"/>
                  </a:lnTo>
                  <a:lnTo>
                    <a:pt x="165671" y="259557"/>
                  </a:lnTo>
                  <a:lnTo>
                    <a:pt x="170005" y="259557"/>
                  </a:lnTo>
                  <a:close/>
                  <a:moveTo>
                    <a:pt x="207807" y="166914"/>
                  </a:moveTo>
                  <a:lnTo>
                    <a:pt x="182021" y="166914"/>
                  </a:lnTo>
                  <a:lnTo>
                    <a:pt x="182021" y="221125"/>
                  </a:lnTo>
                  <a:cubicBezTo>
                    <a:pt x="182021" y="228241"/>
                    <a:pt x="187782" y="234013"/>
                    <a:pt x="194914" y="234013"/>
                  </a:cubicBezTo>
                  <a:cubicBezTo>
                    <a:pt x="202046" y="234013"/>
                    <a:pt x="207807" y="228241"/>
                    <a:pt x="207807" y="221125"/>
                  </a:cubicBezTo>
                  <a:lnTo>
                    <a:pt x="207807" y="166914"/>
                  </a:lnTo>
                </a:path>
              </a:pathLst>
            </a:custGeom>
            <a:grpFill/>
            <a:ln w="548" cap="flat">
              <a:noFill/>
              <a:prstDash val="solid"/>
              <a:miter/>
            </a:ln>
          </p:spPr>
          <p:txBody>
            <a:bodyPr/>
            <a:lstStyle/>
            <a:p>
              <a:endParaRPr lang="en-US"/>
            </a:p>
          </p:txBody>
        </p:sp>
        <p:sp>
          <p:nvSpPr>
            <p:cNvPr id="153" name="Freeform: Shape 152">
              <a:extLst>
                <a:ext uri="{FF2B5EF4-FFF2-40B4-BE49-F238E27FC236}">
                  <a16:creationId xmlns:a16="http://schemas.microsoft.com/office/drawing/2014/main" id="{91A7C06F-053A-8795-E533-FBBDEB744260}"/>
                </a:ext>
              </a:extLst>
            </p:cNvPr>
            <p:cNvSpPr/>
            <p:nvPr/>
          </p:nvSpPr>
          <p:spPr>
            <a:xfrm flipV="1">
              <a:off x="26354213" y="3497504"/>
              <a:ext cx="316674" cy="523566"/>
            </a:xfrm>
            <a:custGeom>
              <a:avLst/>
              <a:gdLst>
                <a:gd name="csX0" fmla="*/ 64181 w 316674"/>
                <a:gd name="csY0" fmla="*/ -6791 h 523566"/>
                <a:gd name="csX1" fmla="*/ 229102 w 316674"/>
                <a:gd name="csY1" fmla="*/ -6791 h 523566"/>
                <a:gd name="csX2" fmla="*/ 304979 w 316674"/>
                <a:gd name="csY2" fmla="*/ 117432 h 523566"/>
                <a:gd name="csX3" fmla="*/ 304979 w 316674"/>
                <a:gd name="csY3" fmla="*/ 166914 h 523566"/>
                <a:gd name="csX4" fmla="*/ 221476 w 316674"/>
                <a:gd name="csY4" fmla="*/ 166914 h 523566"/>
                <a:gd name="csX5" fmla="*/ 221476 w 316674"/>
                <a:gd name="csY5" fmla="*/ 259557 h 523566"/>
                <a:gd name="csX6" fmla="*/ 231297 w 316674"/>
                <a:gd name="csY6" fmla="*/ 259557 h 523566"/>
                <a:gd name="csX7" fmla="*/ 249676 w 316674"/>
                <a:gd name="csY7" fmla="*/ 273246 h 523566"/>
                <a:gd name="csX8" fmla="*/ 231297 w 316674"/>
                <a:gd name="csY8" fmla="*/ 286929 h 523566"/>
                <a:gd name="csX9" fmla="*/ 221476 w 316674"/>
                <a:gd name="csY9" fmla="*/ 286929 h 523566"/>
                <a:gd name="csX10" fmla="*/ 192892 w 316674"/>
                <a:gd name="csY10" fmla="*/ 373521 h 523566"/>
                <a:gd name="csX11" fmla="*/ 147135 w 316674"/>
                <a:gd name="csY11" fmla="*/ 415700 h 523566"/>
                <a:gd name="csX12" fmla="*/ 147849 w 316674"/>
                <a:gd name="csY12" fmla="*/ 416825 h 523566"/>
                <a:gd name="csX13" fmla="*/ 147849 w 316674"/>
                <a:gd name="csY13" fmla="*/ 515553 h 523566"/>
                <a:gd name="csX14" fmla="*/ 146641 w 316674"/>
                <a:gd name="csY14" fmla="*/ 516776 h 523566"/>
                <a:gd name="csX15" fmla="*/ 145435 w 316674"/>
                <a:gd name="csY15" fmla="*/ 515553 h 523566"/>
                <a:gd name="csX16" fmla="*/ 145435 w 316674"/>
                <a:gd name="csY16" fmla="*/ 416825 h 523566"/>
                <a:gd name="csX17" fmla="*/ 146147 w 316674"/>
                <a:gd name="csY17" fmla="*/ 415700 h 523566"/>
                <a:gd name="csX18" fmla="*/ 100392 w 316674"/>
                <a:gd name="csY18" fmla="*/ 373521 h 523566"/>
                <a:gd name="csX19" fmla="*/ 71807 w 316674"/>
                <a:gd name="csY19" fmla="*/ 286929 h 523566"/>
                <a:gd name="csX20" fmla="*/ 61987 w 316674"/>
                <a:gd name="csY20" fmla="*/ 286929 h 523566"/>
                <a:gd name="csX21" fmla="*/ 43552 w 316674"/>
                <a:gd name="csY21" fmla="*/ 273246 h 523566"/>
                <a:gd name="csX22" fmla="*/ 61987 w 316674"/>
                <a:gd name="csY22" fmla="*/ 259557 h 523566"/>
                <a:gd name="csX23" fmla="*/ 71807 w 316674"/>
                <a:gd name="csY23" fmla="*/ 259557 h 523566"/>
                <a:gd name="csX24" fmla="*/ 71807 w 316674"/>
                <a:gd name="csY24" fmla="*/ 166914 h 523566"/>
                <a:gd name="csX25" fmla="*/ -11696 w 316674"/>
                <a:gd name="csY25" fmla="*/ 166914 h 523566"/>
                <a:gd name="csX26" fmla="*/ -11696 w 316674"/>
                <a:gd name="csY26" fmla="*/ 117432 h 523566"/>
                <a:gd name="csX27" fmla="*/ 64181 w 316674"/>
                <a:gd name="csY27" fmla="*/ -6791 h 523566"/>
                <a:gd name="csX28" fmla="*/ 183620 w 316674"/>
                <a:gd name="csY28" fmla="*/ 221125 h 523566"/>
                <a:gd name="csX29" fmla="*/ 196513 w 316674"/>
                <a:gd name="csY29" fmla="*/ 234013 h 523566"/>
                <a:gd name="csX30" fmla="*/ 209406 w 316674"/>
                <a:gd name="csY30" fmla="*/ 221125 h 523566"/>
                <a:gd name="csX31" fmla="*/ 209406 w 316674"/>
                <a:gd name="csY31" fmla="*/ 166914 h 523566"/>
                <a:gd name="csX32" fmla="*/ 199421 w 316674"/>
                <a:gd name="csY32" fmla="*/ 166914 h 523566"/>
                <a:gd name="csX33" fmla="*/ 183620 w 316674"/>
                <a:gd name="csY33" fmla="*/ 166914 h 523566"/>
                <a:gd name="csX34" fmla="*/ 167270 w 316674"/>
                <a:gd name="csY34" fmla="*/ 259557 h 523566"/>
                <a:gd name="csX35" fmla="*/ 171550 w 316674"/>
                <a:gd name="csY35" fmla="*/ 259557 h 523566"/>
                <a:gd name="csX36" fmla="*/ 171550 w 316674"/>
                <a:gd name="csY36" fmla="*/ 166914 h 523566"/>
                <a:gd name="csX37" fmla="*/ 167270 w 316674"/>
                <a:gd name="csY37" fmla="*/ 166914 h 523566"/>
                <a:gd name="csX38" fmla="*/ 133748 w 316674"/>
                <a:gd name="csY38" fmla="*/ 221125 h 523566"/>
                <a:gd name="csX39" fmla="*/ 146641 w 316674"/>
                <a:gd name="csY39" fmla="*/ 234013 h 523566"/>
                <a:gd name="csX40" fmla="*/ 159534 w 316674"/>
                <a:gd name="csY40" fmla="*/ 221125 h 523566"/>
                <a:gd name="csX41" fmla="*/ 159534 w 316674"/>
                <a:gd name="csY41" fmla="*/ 166914 h 523566"/>
                <a:gd name="csX42" fmla="*/ 133748 w 316674"/>
                <a:gd name="csY42" fmla="*/ 166914 h 523566"/>
                <a:gd name="csX43" fmla="*/ 121678 w 316674"/>
                <a:gd name="csY43" fmla="*/ 259557 h 523566"/>
                <a:gd name="csX44" fmla="*/ 126013 w 316674"/>
                <a:gd name="csY44" fmla="*/ 259557 h 523566"/>
                <a:gd name="csX45" fmla="*/ 126013 w 316674"/>
                <a:gd name="csY45" fmla="*/ 166914 h 523566"/>
                <a:gd name="csX46" fmla="*/ 121678 w 316674"/>
                <a:gd name="csY46" fmla="*/ 166914 h 523566"/>
                <a:gd name="csX47" fmla="*/ 83877 w 316674"/>
                <a:gd name="csY47" fmla="*/ 221125 h 523566"/>
                <a:gd name="csX48" fmla="*/ 96770 w 316674"/>
                <a:gd name="csY48" fmla="*/ 234013 h 523566"/>
                <a:gd name="csX49" fmla="*/ 109663 w 316674"/>
                <a:gd name="csY49" fmla="*/ 221125 h 523566"/>
                <a:gd name="csX50" fmla="*/ 109663 w 316674"/>
                <a:gd name="csY50" fmla="*/ 166914 h 523566"/>
                <a:gd name="csX51" fmla="*/ 93862 w 316674"/>
                <a:gd name="csY51" fmla="*/ 166914 h 523566"/>
                <a:gd name="csX52" fmla="*/ 83877 w 316674"/>
                <a:gd name="csY52" fmla="*/ 166914 h 523566"/>
                <a:gd name="csX53" fmla="*/ 83877 w 316674"/>
                <a:gd name="csY53" fmla="*/ 221125 h 52356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Lst>
              <a:rect l="l" t="t" r="r" b="b"/>
              <a:pathLst>
                <a:path w="316674" h="523566">
                  <a:moveTo>
                    <a:pt x="64181" y="-6791"/>
                  </a:moveTo>
                  <a:lnTo>
                    <a:pt x="229102" y="-6791"/>
                  </a:lnTo>
                  <a:cubicBezTo>
                    <a:pt x="229102" y="79005"/>
                    <a:pt x="304979" y="117432"/>
                    <a:pt x="304979" y="117432"/>
                  </a:cubicBezTo>
                  <a:lnTo>
                    <a:pt x="304979" y="166914"/>
                  </a:lnTo>
                  <a:lnTo>
                    <a:pt x="221476" y="166914"/>
                  </a:lnTo>
                  <a:lnTo>
                    <a:pt x="221476" y="259557"/>
                  </a:lnTo>
                  <a:lnTo>
                    <a:pt x="231297" y="259557"/>
                  </a:lnTo>
                  <a:lnTo>
                    <a:pt x="249676" y="273246"/>
                  </a:lnTo>
                  <a:lnTo>
                    <a:pt x="231297" y="286929"/>
                  </a:lnTo>
                  <a:lnTo>
                    <a:pt x="221476" y="286929"/>
                  </a:lnTo>
                  <a:cubicBezTo>
                    <a:pt x="246384" y="330228"/>
                    <a:pt x="225262" y="354966"/>
                    <a:pt x="192892" y="373521"/>
                  </a:cubicBezTo>
                  <a:cubicBezTo>
                    <a:pt x="159425" y="392685"/>
                    <a:pt x="149275" y="411075"/>
                    <a:pt x="147135" y="415700"/>
                  </a:cubicBezTo>
                  <a:cubicBezTo>
                    <a:pt x="147575" y="415887"/>
                    <a:pt x="147849" y="416320"/>
                    <a:pt x="147849" y="416825"/>
                  </a:cubicBezTo>
                  <a:lnTo>
                    <a:pt x="147849" y="515553"/>
                  </a:lnTo>
                  <a:cubicBezTo>
                    <a:pt x="147849" y="516227"/>
                    <a:pt x="147300" y="516776"/>
                    <a:pt x="146641" y="516776"/>
                  </a:cubicBezTo>
                  <a:cubicBezTo>
                    <a:pt x="145983" y="516776"/>
                    <a:pt x="145435" y="516227"/>
                    <a:pt x="145435" y="515553"/>
                  </a:cubicBezTo>
                  <a:lnTo>
                    <a:pt x="145435" y="416825"/>
                  </a:lnTo>
                  <a:cubicBezTo>
                    <a:pt x="145435" y="416320"/>
                    <a:pt x="145709" y="415887"/>
                    <a:pt x="146147" y="415700"/>
                  </a:cubicBezTo>
                  <a:cubicBezTo>
                    <a:pt x="144008" y="411075"/>
                    <a:pt x="133859" y="392685"/>
                    <a:pt x="100392" y="373521"/>
                  </a:cubicBezTo>
                  <a:cubicBezTo>
                    <a:pt x="68022" y="354966"/>
                    <a:pt x="46899" y="330228"/>
                    <a:pt x="71807" y="286929"/>
                  </a:cubicBezTo>
                  <a:lnTo>
                    <a:pt x="61987" y="286929"/>
                  </a:lnTo>
                  <a:lnTo>
                    <a:pt x="43552" y="273246"/>
                  </a:lnTo>
                  <a:lnTo>
                    <a:pt x="61987" y="259557"/>
                  </a:lnTo>
                  <a:lnTo>
                    <a:pt x="71807" y="259557"/>
                  </a:lnTo>
                  <a:lnTo>
                    <a:pt x="71807" y="166914"/>
                  </a:lnTo>
                  <a:lnTo>
                    <a:pt x="-11696" y="166914"/>
                  </a:lnTo>
                  <a:lnTo>
                    <a:pt x="-11696" y="117432"/>
                  </a:lnTo>
                  <a:cubicBezTo>
                    <a:pt x="-11696" y="117432"/>
                    <a:pt x="64181" y="79005"/>
                    <a:pt x="64181" y="-6791"/>
                  </a:cubicBezTo>
                  <a:close/>
                  <a:moveTo>
                    <a:pt x="183620" y="221125"/>
                  </a:moveTo>
                  <a:cubicBezTo>
                    <a:pt x="183620" y="228241"/>
                    <a:pt x="189381" y="234013"/>
                    <a:pt x="196513" y="234013"/>
                  </a:cubicBezTo>
                  <a:cubicBezTo>
                    <a:pt x="203645" y="234013"/>
                    <a:pt x="209406" y="228241"/>
                    <a:pt x="209406" y="221125"/>
                  </a:cubicBezTo>
                  <a:lnTo>
                    <a:pt x="209406" y="166914"/>
                  </a:lnTo>
                  <a:lnTo>
                    <a:pt x="199421" y="166914"/>
                  </a:lnTo>
                  <a:lnTo>
                    <a:pt x="183620" y="166914"/>
                  </a:lnTo>
                  <a:close/>
                  <a:moveTo>
                    <a:pt x="167270" y="259557"/>
                  </a:moveTo>
                  <a:lnTo>
                    <a:pt x="171550" y="259557"/>
                  </a:lnTo>
                  <a:lnTo>
                    <a:pt x="171550" y="166914"/>
                  </a:lnTo>
                  <a:lnTo>
                    <a:pt x="167270" y="166914"/>
                  </a:lnTo>
                  <a:close/>
                  <a:moveTo>
                    <a:pt x="133748" y="221125"/>
                  </a:moveTo>
                  <a:cubicBezTo>
                    <a:pt x="133748" y="228241"/>
                    <a:pt x="139509" y="234013"/>
                    <a:pt x="146641" y="234013"/>
                  </a:cubicBezTo>
                  <a:cubicBezTo>
                    <a:pt x="153774" y="234013"/>
                    <a:pt x="159534" y="228241"/>
                    <a:pt x="159534" y="221125"/>
                  </a:cubicBezTo>
                  <a:lnTo>
                    <a:pt x="159534" y="166914"/>
                  </a:lnTo>
                  <a:lnTo>
                    <a:pt x="133748" y="166914"/>
                  </a:lnTo>
                  <a:close/>
                  <a:moveTo>
                    <a:pt x="121678" y="259557"/>
                  </a:moveTo>
                  <a:lnTo>
                    <a:pt x="126013" y="259557"/>
                  </a:lnTo>
                  <a:lnTo>
                    <a:pt x="126013" y="166914"/>
                  </a:lnTo>
                  <a:lnTo>
                    <a:pt x="121678" y="166914"/>
                  </a:lnTo>
                  <a:close/>
                  <a:moveTo>
                    <a:pt x="83877" y="221125"/>
                  </a:moveTo>
                  <a:cubicBezTo>
                    <a:pt x="83877" y="228241"/>
                    <a:pt x="89637" y="234013"/>
                    <a:pt x="96770" y="234013"/>
                  </a:cubicBezTo>
                  <a:cubicBezTo>
                    <a:pt x="103847" y="234013"/>
                    <a:pt x="109663" y="228241"/>
                    <a:pt x="109663" y="221125"/>
                  </a:cubicBezTo>
                  <a:lnTo>
                    <a:pt x="109663" y="166914"/>
                  </a:lnTo>
                  <a:lnTo>
                    <a:pt x="93862" y="166914"/>
                  </a:lnTo>
                  <a:lnTo>
                    <a:pt x="83877" y="166914"/>
                  </a:lnTo>
                  <a:lnTo>
                    <a:pt x="83877" y="221125"/>
                  </a:lnTo>
                </a:path>
              </a:pathLst>
            </a:custGeom>
            <a:grpFill/>
            <a:ln w="548" cap="flat">
              <a:noFill/>
              <a:prstDash val="solid"/>
              <a:miter/>
            </a:ln>
          </p:spPr>
          <p:txBody>
            <a:bodyPr/>
            <a:lstStyle/>
            <a:p>
              <a:endParaRPr lang="en-US"/>
            </a:p>
          </p:txBody>
        </p:sp>
        <p:sp>
          <p:nvSpPr>
            <p:cNvPr id="154" name="Freeform: Shape 153">
              <a:extLst>
                <a:ext uri="{FF2B5EF4-FFF2-40B4-BE49-F238E27FC236}">
                  <a16:creationId xmlns:a16="http://schemas.microsoft.com/office/drawing/2014/main" id="{636F5FA6-1C54-560F-115C-F13E1B491F90}"/>
                </a:ext>
              </a:extLst>
            </p:cNvPr>
            <p:cNvSpPr/>
            <p:nvPr/>
          </p:nvSpPr>
          <p:spPr>
            <a:xfrm flipV="1">
              <a:off x="24166182" y="3112139"/>
              <a:ext cx="15800" cy="12256"/>
            </a:xfrm>
            <a:custGeom>
              <a:avLst/>
              <a:gdLst>
                <a:gd name="csX0" fmla="*/ 7003 w 15800"/>
                <a:gd name="csY0" fmla="*/ 3923 h 12256"/>
                <a:gd name="csX1" fmla="*/ -8798 w 15800"/>
                <a:gd name="csY1" fmla="*/ 3923 h 12256"/>
                <a:gd name="csX2" fmla="*/ -8798 w 15800"/>
                <a:gd name="csY2" fmla="*/ -8333 h 12256"/>
                <a:gd name="csX3" fmla="*/ 7003 w 15800"/>
                <a:gd name="csY3" fmla="*/ -8333 h 12256"/>
                <a:gd name="csX4" fmla="*/ 7003 w 15800"/>
                <a:gd name="csY4" fmla="*/ 3923 h 12256"/>
              </a:gdLst>
              <a:ahLst/>
              <a:cxnLst>
                <a:cxn ang="0">
                  <a:pos x="csX0" y="csY0"/>
                </a:cxn>
                <a:cxn ang="0">
                  <a:pos x="csX1" y="csY1"/>
                </a:cxn>
                <a:cxn ang="0">
                  <a:pos x="csX2" y="csY2"/>
                </a:cxn>
                <a:cxn ang="0">
                  <a:pos x="csX3" y="csY3"/>
                </a:cxn>
                <a:cxn ang="0">
                  <a:pos x="csX4" y="csY4"/>
                </a:cxn>
              </a:cxnLst>
              <a:rect l="l" t="t" r="r" b="b"/>
              <a:pathLst>
                <a:path w="15800" h="12256">
                  <a:moveTo>
                    <a:pt x="7003" y="3923"/>
                  </a:moveTo>
                  <a:lnTo>
                    <a:pt x="-8798" y="3923"/>
                  </a:lnTo>
                  <a:lnTo>
                    <a:pt x="-8798" y="-8333"/>
                  </a:lnTo>
                  <a:lnTo>
                    <a:pt x="7003" y="-8333"/>
                  </a:lnTo>
                  <a:lnTo>
                    <a:pt x="7003" y="3923"/>
                  </a:lnTo>
                </a:path>
              </a:pathLst>
            </a:custGeom>
            <a:grpFill/>
            <a:ln w="548" cap="flat">
              <a:noFill/>
              <a:prstDash val="solid"/>
              <a:miter/>
            </a:ln>
          </p:spPr>
          <p:txBody>
            <a:bodyPr/>
            <a:lstStyle/>
            <a:p>
              <a:endParaRPr lang="en-US"/>
            </a:p>
          </p:txBody>
        </p:sp>
        <p:sp>
          <p:nvSpPr>
            <p:cNvPr id="155" name="Freeform: Shape 154">
              <a:extLst>
                <a:ext uri="{FF2B5EF4-FFF2-40B4-BE49-F238E27FC236}">
                  <a16:creationId xmlns:a16="http://schemas.microsoft.com/office/drawing/2014/main" id="{3C96F4C5-DB61-5F56-A96F-33AFE8B8D90C}"/>
                </a:ext>
              </a:extLst>
            </p:cNvPr>
            <p:cNvSpPr/>
            <p:nvPr/>
          </p:nvSpPr>
          <p:spPr>
            <a:xfrm flipV="1">
              <a:off x="24166182" y="3126798"/>
              <a:ext cx="15800" cy="12262"/>
            </a:xfrm>
            <a:custGeom>
              <a:avLst/>
              <a:gdLst>
                <a:gd name="csX0" fmla="*/ 7003 w 15800"/>
                <a:gd name="csY0" fmla="*/ 3965 h 12262"/>
                <a:gd name="csX1" fmla="*/ -8798 w 15800"/>
                <a:gd name="csY1" fmla="*/ 3965 h 12262"/>
                <a:gd name="csX2" fmla="*/ -8798 w 15800"/>
                <a:gd name="csY2" fmla="*/ -8298 h 12262"/>
                <a:gd name="csX3" fmla="*/ 7003 w 15800"/>
                <a:gd name="csY3" fmla="*/ -8298 h 12262"/>
                <a:gd name="csX4" fmla="*/ 7003 w 15800"/>
                <a:gd name="csY4" fmla="*/ 3965 h 12262"/>
              </a:gdLst>
              <a:ahLst/>
              <a:cxnLst>
                <a:cxn ang="0">
                  <a:pos x="csX0" y="csY0"/>
                </a:cxn>
                <a:cxn ang="0">
                  <a:pos x="csX1" y="csY1"/>
                </a:cxn>
                <a:cxn ang="0">
                  <a:pos x="csX2" y="csY2"/>
                </a:cxn>
                <a:cxn ang="0">
                  <a:pos x="csX3" y="csY3"/>
                </a:cxn>
                <a:cxn ang="0">
                  <a:pos x="csX4" y="csY4"/>
                </a:cxn>
              </a:cxnLst>
              <a:rect l="l" t="t" r="r" b="b"/>
              <a:pathLst>
                <a:path w="15800" h="12262">
                  <a:moveTo>
                    <a:pt x="7003" y="3965"/>
                  </a:moveTo>
                  <a:lnTo>
                    <a:pt x="-8798" y="3965"/>
                  </a:lnTo>
                  <a:lnTo>
                    <a:pt x="-8798" y="-8298"/>
                  </a:lnTo>
                  <a:lnTo>
                    <a:pt x="7003" y="-8298"/>
                  </a:lnTo>
                  <a:lnTo>
                    <a:pt x="7003" y="3965"/>
                  </a:lnTo>
                </a:path>
              </a:pathLst>
            </a:custGeom>
            <a:grpFill/>
            <a:ln w="548" cap="flat">
              <a:noFill/>
              <a:prstDash val="solid"/>
              <a:miter/>
            </a:ln>
          </p:spPr>
          <p:txBody>
            <a:bodyPr/>
            <a:lstStyle/>
            <a:p>
              <a:endParaRPr lang="en-US"/>
            </a:p>
          </p:txBody>
        </p:sp>
        <p:sp>
          <p:nvSpPr>
            <p:cNvPr id="156" name="Freeform: Shape 155">
              <a:extLst>
                <a:ext uri="{FF2B5EF4-FFF2-40B4-BE49-F238E27FC236}">
                  <a16:creationId xmlns:a16="http://schemas.microsoft.com/office/drawing/2014/main" id="{AF38A5EB-9708-E443-F689-C867FC3212F5}"/>
                </a:ext>
              </a:extLst>
            </p:cNvPr>
            <p:cNvSpPr/>
            <p:nvPr/>
          </p:nvSpPr>
          <p:spPr>
            <a:xfrm flipV="1">
              <a:off x="24166182" y="3220928"/>
              <a:ext cx="15800" cy="14374"/>
            </a:xfrm>
            <a:custGeom>
              <a:avLst/>
              <a:gdLst>
                <a:gd name="csX0" fmla="*/ 7003 w 15800"/>
                <a:gd name="csY0" fmla="*/ 6306 h 14374"/>
                <a:gd name="csX1" fmla="*/ -8798 w 15800"/>
                <a:gd name="csY1" fmla="*/ 6306 h 14374"/>
                <a:gd name="csX2" fmla="*/ -8798 w 15800"/>
                <a:gd name="csY2" fmla="*/ -8069 h 14374"/>
                <a:gd name="csX3" fmla="*/ 7003 w 15800"/>
                <a:gd name="csY3" fmla="*/ -8069 h 14374"/>
                <a:gd name="csX4" fmla="*/ 7003 w 15800"/>
                <a:gd name="csY4" fmla="*/ 6306 h 14374"/>
              </a:gdLst>
              <a:ahLst/>
              <a:cxnLst>
                <a:cxn ang="0">
                  <a:pos x="csX0" y="csY0"/>
                </a:cxn>
                <a:cxn ang="0">
                  <a:pos x="csX1" y="csY1"/>
                </a:cxn>
                <a:cxn ang="0">
                  <a:pos x="csX2" y="csY2"/>
                </a:cxn>
                <a:cxn ang="0">
                  <a:pos x="csX3" y="csY3"/>
                </a:cxn>
                <a:cxn ang="0">
                  <a:pos x="csX4" y="csY4"/>
                </a:cxn>
              </a:cxnLst>
              <a:rect l="l" t="t" r="r" b="b"/>
              <a:pathLst>
                <a:path w="15800" h="14374">
                  <a:moveTo>
                    <a:pt x="7003" y="6306"/>
                  </a:moveTo>
                  <a:lnTo>
                    <a:pt x="-8798" y="6306"/>
                  </a:lnTo>
                  <a:lnTo>
                    <a:pt x="-8798" y="-8069"/>
                  </a:lnTo>
                  <a:lnTo>
                    <a:pt x="7003" y="-8069"/>
                  </a:lnTo>
                  <a:lnTo>
                    <a:pt x="7003" y="6306"/>
                  </a:lnTo>
                </a:path>
              </a:pathLst>
            </a:custGeom>
            <a:grpFill/>
            <a:ln w="548" cap="flat">
              <a:noFill/>
              <a:prstDash val="solid"/>
              <a:miter/>
            </a:ln>
          </p:spPr>
          <p:txBody>
            <a:bodyPr/>
            <a:lstStyle/>
            <a:p>
              <a:endParaRPr lang="en-US"/>
            </a:p>
          </p:txBody>
        </p:sp>
        <p:sp>
          <p:nvSpPr>
            <p:cNvPr id="157" name="Freeform: Shape 156">
              <a:extLst>
                <a:ext uri="{FF2B5EF4-FFF2-40B4-BE49-F238E27FC236}">
                  <a16:creationId xmlns:a16="http://schemas.microsoft.com/office/drawing/2014/main" id="{E0DC0B50-F6A7-7621-FF8C-D2D0AB669004}"/>
                </a:ext>
              </a:extLst>
            </p:cNvPr>
            <p:cNvSpPr/>
            <p:nvPr/>
          </p:nvSpPr>
          <p:spPr>
            <a:xfrm flipV="1">
              <a:off x="24166182" y="3254489"/>
              <a:ext cx="15800" cy="14379"/>
            </a:xfrm>
            <a:custGeom>
              <a:avLst/>
              <a:gdLst>
                <a:gd name="csX0" fmla="*/ 7003 w 15800"/>
                <a:gd name="csY0" fmla="*/ 6392 h 14379"/>
                <a:gd name="csX1" fmla="*/ -8798 w 15800"/>
                <a:gd name="csY1" fmla="*/ 6392 h 14379"/>
                <a:gd name="csX2" fmla="*/ -8798 w 15800"/>
                <a:gd name="csY2" fmla="*/ -7988 h 14379"/>
                <a:gd name="csX3" fmla="*/ 7003 w 15800"/>
                <a:gd name="csY3" fmla="*/ -7988 h 14379"/>
                <a:gd name="csX4" fmla="*/ 7003 w 15800"/>
                <a:gd name="csY4" fmla="*/ 6392 h 14379"/>
              </a:gdLst>
              <a:ahLst/>
              <a:cxnLst>
                <a:cxn ang="0">
                  <a:pos x="csX0" y="csY0"/>
                </a:cxn>
                <a:cxn ang="0">
                  <a:pos x="csX1" y="csY1"/>
                </a:cxn>
                <a:cxn ang="0">
                  <a:pos x="csX2" y="csY2"/>
                </a:cxn>
                <a:cxn ang="0">
                  <a:pos x="csX3" y="csY3"/>
                </a:cxn>
                <a:cxn ang="0">
                  <a:pos x="csX4" y="csY4"/>
                </a:cxn>
              </a:cxnLst>
              <a:rect l="l" t="t" r="r" b="b"/>
              <a:pathLst>
                <a:path w="15800" h="14379">
                  <a:moveTo>
                    <a:pt x="7003" y="6392"/>
                  </a:moveTo>
                  <a:lnTo>
                    <a:pt x="-8798" y="6392"/>
                  </a:lnTo>
                  <a:lnTo>
                    <a:pt x="-8798" y="-7988"/>
                  </a:lnTo>
                  <a:lnTo>
                    <a:pt x="7003" y="-7988"/>
                  </a:lnTo>
                  <a:lnTo>
                    <a:pt x="7003" y="6392"/>
                  </a:lnTo>
                </a:path>
              </a:pathLst>
            </a:custGeom>
            <a:grpFill/>
            <a:ln w="548" cap="flat">
              <a:noFill/>
              <a:prstDash val="solid"/>
              <a:miter/>
            </a:ln>
          </p:spPr>
          <p:txBody>
            <a:bodyPr/>
            <a:lstStyle/>
            <a:p>
              <a:endParaRPr lang="en-US"/>
            </a:p>
          </p:txBody>
        </p:sp>
        <p:sp>
          <p:nvSpPr>
            <p:cNvPr id="158" name="Freeform: Shape 157">
              <a:extLst>
                <a:ext uri="{FF2B5EF4-FFF2-40B4-BE49-F238E27FC236}">
                  <a16:creationId xmlns:a16="http://schemas.microsoft.com/office/drawing/2014/main" id="{C9B06905-3949-6EA9-E8B3-5321E3BB9CB5}"/>
                </a:ext>
              </a:extLst>
            </p:cNvPr>
            <p:cNvSpPr/>
            <p:nvPr/>
          </p:nvSpPr>
          <p:spPr>
            <a:xfrm flipV="1">
              <a:off x="24166182" y="3237706"/>
              <a:ext cx="15800" cy="14379"/>
            </a:xfrm>
            <a:custGeom>
              <a:avLst/>
              <a:gdLst>
                <a:gd name="csX0" fmla="*/ 7003 w 15800"/>
                <a:gd name="csY0" fmla="*/ 6351 h 14379"/>
                <a:gd name="csX1" fmla="*/ -8798 w 15800"/>
                <a:gd name="csY1" fmla="*/ 6351 h 14379"/>
                <a:gd name="csX2" fmla="*/ -8798 w 15800"/>
                <a:gd name="csY2" fmla="*/ -8028 h 14379"/>
                <a:gd name="csX3" fmla="*/ 7003 w 15800"/>
                <a:gd name="csY3" fmla="*/ -8028 h 14379"/>
                <a:gd name="csX4" fmla="*/ 7003 w 15800"/>
                <a:gd name="csY4" fmla="*/ 6351 h 14379"/>
              </a:gdLst>
              <a:ahLst/>
              <a:cxnLst>
                <a:cxn ang="0">
                  <a:pos x="csX0" y="csY0"/>
                </a:cxn>
                <a:cxn ang="0">
                  <a:pos x="csX1" y="csY1"/>
                </a:cxn>
                <a:cxn ang="0">
                  <a:pos x="csX2" y="csY2"/>
                </a:cxn>
                <a:cxn ang="0">
                  <a:pos x="csX3" y="csY3"/>
                </a:cxn>
                <a:cxn ang="0">
                  <a:pos x="csX4" y="csY4"/>
                </a:cxn>
              </a:cxnLst>
              <a:rect l="l" t="t" r="r" b="b"/>
              <a:pathLst>
                <a:path w="15800" h="14379">
                  <a:moveTo>
                    <a:pt x="7003" y="6351"/>
                  </a:moveTo>
                  <a:lnTo>
                    <a:pt x="-8798" y="6351"/>
                  </a:lnTo>
                  <a:lnTo>
                    <a:pt x="-8798" y="-8028"/>
                  </a:lnTo>
                  <a:lnTo>
                    <a:pt x="7003" y="-8028"/>
                  </a:lnTo>
                  <a:lnTo>
                    <a:pt x="7003" y="6351"/>
                  </a:lnTo>
                </a:path>
              </a:pathLst>
            </a:custGeom>
            <a:grpFill/>
            <a:ln w="548" cap="flat">
              <a:noFill/>
              <a:prstDash val="solid"/>
              <a:miter/>
            </a:ln>
          </p:spPr>
          <p:txBody>
            <a:bodyPr/>
            <a:lstStyle/>
            <a:p>
              <a:endParaRPr lang="en-US"/>
            </a:p>
          </p:txBody>
        </p:sp>
        <p:sp>
          <p:nvSpPr>
            <p:cNvPr id="159" name="Freeform: Shape 158">
              <a:extLst>
                <a:ext uri="{FF2B5EF4-FFF2-40B4-BE49-F238E27FC236}">
                  <a16:creationId xmlns:a16="http://schemas.microsoft.com/office/drawing/2014/main" id="{6BCB9BD0-41CE-1BC8-D1FB-0E07971DBB76}"/>
                </a:ext>
              </a:extLst>
            </p:cNvPr>
            <p:cNvSpPr/>
            <p:nvPr/>
          </p:nvSpPr>
          <p:spPr>
            <a:xfrm flipV="1">
              <a:off x="24166182" y="3204146"/>
              <a:ext cx="15800" cy="14374"/>
            </a:xfrm>
            <a:custGeom>
              <a:avLst/>
              <a:gdLst>
                <a:gd name="csX0" fmla="*/ 7003 w 15800"/>
                <a:gd name="csY0" fmla="*/ 6265 h 14374"/>
                <a:gd name="csX1" fmla="*/ -8798 w 15800"/>
                <a:gd name="csY1" fmla="*/ 6265 h 14374"/>
                <a:gd name="csX2" fmla="*/ -8798 w 15800"/>
                <a:gd name="csY2" fmla="*/ -8109 h 14374"/>
                <a:gd name="csX3" fmla="*/ 7003 w 15800"/>
                <a:gd name="csY3" fmla="*/ -8109 h 14374"/>
                <a:gd name="csX4" fmla="*/ 7003 w 15800"/>
                <a:gd name="csY4" fmla="*/ 6265 h 14374"/>
              </a:gdLst>
              <a:ahLst/>
              <a:cxnLst>
                <a:cxn ang="0">
                  <a:pos x="csX0" y="csY0"/>
                </a:cxn>
                <a:cxn ang="0">
                  <a:pos x="csX1" y="csY1"/>
                </a:cxn>
                <a:cxn ang="0">
                  <a:pos x="csX2" y="csY2"/>
                </a:cxn>
                <a:cxn ang="0">
                  <a:pos x="csX3" y="csY3"/>
                </a:cxn>
                <a:cxn ang="0">
                  <a:pos x="csX4" y="csY4"/>
                </a:cxn>
              </a:cxnLst>
              <a:rect l="l" t="t" r="r" b="b"/>
              <a:pathLst>
                <a:path w="15800" h="14374">
                  <a:moveTo>
                    <a:pt x="7003" y="6265"/>
                  </a:moveTo>
                  <a:lnTo>
                    <a:pt x="-8798" y="6265"/>
                  </a:lnTo>
                  <a:lnTo>
                    <a:pt x="-8798" y="-8109"/>
                  </a:lnTo>
                  <a:lnTo>
                    <a:pt x="7003" y="-8109"/>
                  </a:lnTo>
                  <a:lnTo>
                    <a:pt x="7003" y="6265"/>
                  </a:lnTo>
                </a:path>
              </a:pathLst>
            </a:custGeom>
            <a:grpFill/>
            <a:ln w="548" cap="flat">
              <a:noFill/>
              <a:prstDash val="solid"/>
              <a:miter/>
            </a:ln>
          </p:spPr>
          <p:txBody>
            <a:bodyPr/>
            <a:lstStyle/>
            <a:p>
              <a:endParaRPr lang="en-US"/>
            </a:p>
          </p:txBody>
        </p:sp>
        <p:sp>
          <p:nvSpPr>
            <p:cNvPr id="160" name="Freeform: Shape 159">
              <a:extLst>
                <a:ext uri="{FF2B5EF4-FFF2-40B4-BE49-F238E27FC236}">
                  <a16:creationId xmlns:a16="http://schemas.microsoft.com/office/drawing/2014/main" id="{DBA2B38F-308F-9112-063F-A2F96B395598}"/>
                </a:ext>
              </a:extLst>
            </p:cNvPr>
            <p:cNvSpPr/>
            <p:nvPr/>
          </p:nvSpPr>
          <p:spPr>
            <a:xfrm flipV="1">
              <a:off x="24166182" y="3187363"/>
              <a:ext cx="15800" cy="14379"/>
            </a:xfrm>
            <a:custGeom>
              <a:avLst/>
              <a:gdLst>
                <a:gd name="csX0" fmla="*/ 7003 w 15800"/>
                <a:gd name="csY0" fmla="*/ 6230 h 14379"/>
                <a:gd name="csX1" fmla="*/ -8798 w 15800"/>
                <a:gd name="csY1" fmla="*/ 6230 h 14379"/>
                <a:gd name="csX2" fmla="*/ -8798 w 15800"/>
                <a:gd name="csY2" fmla="*/ -8150 h 14379"/>
                <a:gd name="csX3" fmla="*/ 7003 w 15800"/>
                <a:gd name="csY3" fmla="*/ -8150 h 14379"/>
                <a:gd name="csX4" fmla="*/ 7003 w 15800"/>
                <a:gd name="csY4" fmla="*/ 6230 h 14379"/>
              </a:gdLst>
              <a:ahLst/>
              <a:cxnLst>
                <a:cxn ang="0">
                  <a:pos x="csX0" y="csY0"/>
                </a:cxn>
                <a:cxn ang="0">
                  <a:pos x="csX1" y="csY1"/>
                </a:cxn>
                <a:cxn ang="0">
                  <a:pos x="csX2" y="csY2"/>
                </a:cxn>
                <a:cxn ang="0">
                  <a:pos x="csX3" y="csY3"/>
                </a:cxn>
                <a:cxn ang="0">
                  <a:pos x="csX4" y="csY4"/>
                </a:cxn>
              </a:cxnLst>
              <a:rect l="l" t="t" r="r" b="b"/>
              <a:pathLst>
                <a:path w="15800" h="14379">
                  <a:moveTo>
                    <a:pt x="7003" y="6230"/>
                  </a:moveTo>
                  <a:lnTo>
                    <a:pt x="-8798" y="6230"/>
                  </a:lnTo>
                  <a:lnTo>
                    <a:pt x="-8798" y="-8150"/>
                  </a:lnTo>
                  <a:lnTo>
                    <a:pt x="7003" y="-8150"/>
                  </a:lnTo>
                  <a:lnTo>
                    <a:pt x="7003" y="6230"/>
                  </a:lnTo>
                </a:path>
              </a:pathLst>
            </a:custGeom>
            <a:grpFill/>
            <a:ln w="548" cap="flat">
              <a:noFill/>
              <a:prstDash val="solid"/>
              <a:miter/>
            </a:ln>
          </p:spPr>
          <p:txBody>
            <a:bodyPr/>
            <a:lstStyle/>
            <a:p>
              <a:endParaRPr lang="en-US"/>
            </a:p>
          </p:txBody>
        </p:sp>
        <p:sp>
          <p:nvSpPr>
            <p:cNvPr id="161" name="Freeform: Shape 160">
              <a:extLst>
                <a:ext uri="{FF2B5EF4-FFF2-40B4-BE49-F238E27FC236}">
                  <a16:creationId xmlns:a16="http://schemas.microsoft.com/office/drawing/2014/main" id="{C858F551-F7BF-EFC5-9CBB-AED15D2A2AF8}"/>
                </a:ext>
              </a:extLst>
            </p:cNvPr>
            <p:cNvSpPr/>
            <p:nvPr/>
          </p:nvSpPr>
          <p:spPr>
            <a:xfrm flipV="1">
              <a:off x="24166182" y="3271271"/>
              <a:ext cx="15800" cy="14379"/>
            </a:xfrm>
            <a:custGeom>
              <a:avLst/>
              <a:gdLst>
                <a:gd name="csX0" fmla="*/ 7003 w 15800"/>
                <a:gd name="csY0" fmla="*/ 6432 h 14379"/>
                <a:gd name="csX1" fmla="*/ -8798 w 15800"/>
                <a:gd name="csY1" fmla="*/ 6432 h 14379"/>
                <a:gd name="csX2" fmla="*/ -8798 w 15800"/>
                <a:gd name="csY2" fmla="*/ -7948 h 14379"/>
                <a:gd name="csX3" fmla="*/ 7003 w 15800"/>
                <a:gd name="csY3" fmla="*/ -7948 h 14379"/>
                <a:gd name="csX4" fmla="*/ 7003 w 15800"/>
                <a:gd name="csY4" fmla="*/ 6432 h 14379"/>
              </a:gdLst>
              <a:ahLst/>
              <a:cxnLst>
                <a:cxn ang="0">
                  <a:pos x="csX0" y="csY0"/>
                </a:cxn>
                <a:cxn ang="0">
                  <a:pos x="csX1" y="csY1"/>
                </a:cxn>
                <a:cxn ang="0">
                  <a:pos x="csX2" y="csY2"/>
                </a:cxn>
                <a:cxn ang="0">
                  <a:pos x="csX3" y="csY3"/>
                </a:cxn>
                <a:cxn ang="0">
                  <a:pos x="csX4" y="csY4"/>
                </a:cxn>
              </a:cxnLst>
              <a:rect l="l" t="t" r="r" b="b"/>
              <a:pathLst>
                <a:path w="15800" h="14379">
                  <a:moveTo>
                    <a:pt x="7003" y="6432"/>
                  </a:moveTo>
                  <a:lnTo>
                    <a:pt x="-8798" y="6432"/>
                  </a:lnTo>
                  <a:lnTo>
                    <a:pt x="-8798" y="-7948"/>
                  </a:lnTo>
                  <a:lnTo>
                    <a:pt x="7003" y="-7948"/>
                  </a:lnTo>
                  <a:lnTo>
                    <a:pt x="7003" y="6432"/>
                  </a:lnTo>
                </a:path>
              </a:pathLst>
            </a:custGeom>
            <a:grpFill/>
            <a:ln w="548" cap="flat">
              <a:noFill/>
              <a:prstDash val="solid"/>
              <a:miter/>
            </a:ln>
          </p:spPr>
          <p:txBody>
            <a:bodyPr/>
            <a:lstStyle/>
            <a:p>
              <a:endParaRPr lang="en-US"/>
            </a:p>
          </p:txBody>
        </p:sp>
        <p:sp>
          <p:nvSpPr>
            <p:cNvPr id="162" name="Freeform: Shape 161">
              <a:extLst>
                <a:ext uri="{FF2B5EF4-FFF2-40B4-BE49-F238E27FC236}">
                  <a16:creationId xmlns:a16="http://schemas.microsoft.com/office/drawing/2014/main" id="{9AA1F987-C01F-7C49-DB65-EC1F7E880B17}"/>
                </a:ext>
              </a:extLst>
            </p:cNvPr>
            <p:cNvSpPr/>
            <p:nvPr/>
          </p:nvSpPr>
          <p:spPr>
            <a:xfrm flipV="1">
              <a:off x="24166182" y="3172697"/>
              <a:ext cx="15800" cy="12261"/>
            </a:xfrm>
            <a:custGeom>
              <a:avLst/>
              <a:gdLst>
                <a:gd name="csX0" fmla="*/ 7003 w 15800"/>
                <a:gd name="csY0" fmla="*/ 4075 h 12261"/>
                <a:gd name="csX1" fmla="*/ -8798 w 15800"/>
                <a:gd name="csY1" fmla="*/ 4075 h 12261"/>
                <a:gd name="csX2" fmla="*/ -8798 w 15800"/>
                <a:gd name="csY2" fmla="*/ -8187 h 12261"/>
                <a:gd name="csX3" fmla="*/ 7003 w 15800"/>
                <a:gd name="csY3" fmla="*/ -8187 h 12261"/>
                <a:gd name="csX4" fmla="*/ 7003 w 15800"/>
                <a:gd name="csY4" fmla="*/ 4075 h 12261"/>
              </a:gdLst>
              <a:ahLst/>
              <a:cxnLst>
                <a:cxn ang="0">
                  <a:pos x="csX0" y="csY0"/>
                </a:cxn>
                <a:cxn ang="0">
                  <a:pos x="csX1" y="csY1"/>
                </a:cxn>
                <a:cxn ang="0">
                  <a:pos x="csX2" y="csY2"/>
                </a:cxn>
                <a:cxn ang="0">
                  <a:pos x="csX3" y="csY3"/>
                </a:cxn>
                <a:cxn ang="0">
                  <a:pos x="csX4" y="csY4"/>
                </a:cxn>
              </a:cxnLst>
              <a:rect l="l" t="t" r="r" b="b"/>
              <a:pathLst>
                <a:path w="15800" h="12261">
                  <a:moveTo>
                    <a:pt x="7003" y="4075"/>
                  </a:moveTo>
                  <a:lnTo>
                    <a:pt x="-8798" y="4075"/>
                  </a:lnTo>
                  <a:lnTo>
                    <a:pt x="-8798" y="-8187"/>
                  </a:lnTo>
                  <a:lnTo>
                    <a:pt x="7003" y="-8187"/>
                  </a:lnTo>
                  <a:lnTo>
                    <a:pt x="7003" y="4075"/>
                  </a:lnTo>
                </a:path>
              </a:pathLst>
            </a:custGeom>
            <a:grpFill/>
            <a:ln w="548" cap="flat">
              <a:noFill/>
              <a:prstDash val="solid"/>
              <a:miter/>
            </a:ln>
          </p:spPr>
          <p:txBody>
            <a:bodyPr/>
            <a:lstStyle/>
            <a:p>
              <a:endParaRPr lang="en-US"/>
            </a:p>
          </p:txBody>
        </p:sp>
        <p:sp>
          <p:nvSpPr>
            <p:cNvPr id="163" name="Freeform: Shape 162">
              <a:extLst>
                <a:ext uri="{FF2B5EF4-FFF2-40B4-BE49-F238E27FC236}">
                  <a16:creationId xmlns:a16="http://schemas.microsoft.com/office/drawing/2014/main" id="{222250F7-44CC-91CA-A999-93E221938147}"/>
                </a:ext>
              </a:extLst>
            </p:cNvPr>
            <p:cNvSpPr/>
            <p:nvPr/>
          </p:nvSpPr>
          <p:spPr>
            <a:xfrm flipV="1">
              <a:off x="24166182" y="3304832"/>
              <a:ext cx="15800" cy="14313"/>
            </a:xfrm>
            <a:custGeom>
              <a:avLst/>
              <a:gdLst>
                <a:gd name="csX0" fmla="*/ 7003 w 15800"/>
                <a:gd name="csY0" fmla="*/ 6447 h 14313"/>
                <a:gd name="csX1" fmla="*/ -8798 w 15800"/>
                <a:gd name="csY1" fmla="*/ 6447 h 14313"/>
                <a:gd name="csX2" fmla="*/ -8798 w 15800"/>
                <a:gd name="csY2" fmla="*/ -7867 h 14313"/>
                <a:gd name="csX3" fmla="*/ 7003 w 15800"/>
                <a:gd name="csY3" fmla="*/ -7867 h 14313"/>
                <a:gd name="csX4" fmla="*/ 7003 w 15800"/>
                <a:gd name="csY4" fmla="*/ 6447 h 14313"/>
              </a:gdLst>
              <a:ahLst/>
              <a:cxnLst>
                <a:cxn ang="0">
                  <a:pos x="csX0" y="csY0"/>
                </a:cxn>
                <a:cxn ang="0">
                  <a:pos x="csX1" y="csY1"/>
                </a:cxn>
                <a:cxn ang="0">
                  <a:pos x="csX2" y="csY2"/>
                </a:cxn>
                <a:cxn ang="0">
                  <a:pos x="csX3" y="csY3"/>
                </a:cxn>
                <a:cxn ang="0">
                  <a:pos x="csX4" y="csY4"/>
                </a:cxn>
              </a:cxnLst>
              <a:rect l="l" t="t" r="r" b="b"/>
              <a:pathLst>
                <a:path w="15800" h="14313">
                  <a:moveTo>
                    <a:pt x="7003" y="6447"/>
                  </a:moveTo>
                  <a:lnTo>
                    <a:pt x="-8798" y="6447"/>
                  </a:lnTo>
                  <a:lnTo>
                    <a:pt x="-8798" y="-7867"/>
                  </a:lnTo>
                  <a:lnTo>
                    <a:pt x="7003" y="-7867"/>
                  </a:lnTo>
                  <a:lnTo>
                    <a:pt x="7003" y="6447"/>
                  </a:lnTo>
                </a:path>
              </a:pathLst>
            </a:custGeom>
            <a:grpFill/>
            <a:ln w="548" cap="flat">
              <a:noFill/>
              <a:prstDash val="solid"/>
              <a:miter/>
            </a:ln>
          </p:spPr>
          <p:txBody>
            <a:bodyPr/>
            <a:lstStyle/>
            <a:p>
              <a:endParaRPr lang="en-US"/>
            </a:p>
          </p:txBody>
        </p:sp>
        <p:sp>
          <p:nvSpPr>
            <p:cNvPr id="164" name="Freeform: Shape 163">
              <a:extLst>
                <a:ext uri="{FF2B5EF4-FFF2-40B4-BE49-F238E27FC236}">
                  <a16:creationId xmlns:a16="http://schemas.microsoft.com/office/drawing/2014/main" id="{18809E4E-1CB0-810E-EE31-2C4725CB48FC}"/>
                </a:ext>
              </a:extLst>
            </p:cNvPr>
            <p:cNvSpPr/>
            <p:nvPr/>
          </p:nvSpPr>
          <p:spPr>
            <a:xfrm flipV="1">
              <a:off x="24166182" y="3288054"/>
              <a:ext cx="15800" cy="14379"/>
            </a:xfrm>
            <a:custGeom>
              <a:avLst/>
              <a:gdLst>
                <a:gd name="csX0" fmla="*/ 7003 w 15800"/>
                <a:gd name="csY0" fmla="*/ 6473 h 14379"/>
                <a:gd name="csX1" fmla="*/ -8798 w 15800"/>
                <a:gd name="csY1" fmla="*/ 6473 h 14379"/>
                <a:gd name="csX2" fmla="*/ -8798 w 15800"/>
                <a:gd name="csY2" fmla="*/ -7907 h 14379"/>
                <a:gd name="csX3" fmla="*/ 7003 w 15800"/>
                <a:gd name="csY3" fmla="*/ -7907 h 14379"/>
                <a:gd name="csX4" fmla="*/ 7003 w 15800"/>
                <a:gd name="csY4" fmla="*/ 6473 h 14379"/>
              </a:gdLst>
              <a:ahLst/>
              <a:cxnLst>
                <a:cxn ang="0">
                  <a:pos x="csX0" y="csY0"/>
                </a:cxn>
                <a:cxn ang="0">
                  <a:pos x="csX1" y="csY1"/>
                </a:cxn>
                <a:cxn ang="0">
                  <a:pos x="csX2" y="csY2"/>
                </a:cxn>
                <a:cxn ang="0">
                  <a:pos x="csX3" y="csY3"/>
                </a:cxn>
                <a:cxn ang="0">
                  <a:pos x="csX4" y="csY4"/>
                </a:cxn>
              </a:cxnLst>
              <a:rect l="l" t="t" r="r" b="b"/>
              <a:pathLst>
                <a:path w="15800" h="14379">
                  <a:moveTo>
                    <a:pt x="7003" y="6473"/>
                  </a:moveTo>
                  <a:lnTo>
                    <a:pt x="-8798" y="6473"/>
                  </a:lnTo>
                  <a:lnTo>
                    <a:pt x="-8798" y="-7907"/>
                  </a:lnTo>
                  <a:lnTo>
                    <a:pt x="7003" y="-7907"/>
                  </a:lnTo>
                  <a:lnTo>
                    <a:pt x="7003" y="6473"/>
                  </a:lnTo>
                </a:path>
              </a:pathLst>
            </a:custGeom>
            <a:grpFill/>
            <a:ln w="548" cap="flat">
              <a:noFill/>
              <a:prstDash val="solid"/>
              <a:miter/>
            </a:ln>
          </p:spPr>
          <p:txBody>
            <a:bodyPr/>
            <a:lstStyle/>
            <a:p>
              <a:endParaRPr lang="en-US"/>
            </a:p>
          </p:txBody>
        </p:sp>
        <p:sp>
          <p:nvSpPr>
            <p:cNvPr id="165" name="Freeform: Shape 164">
              <a:extLst>
                <a:ext uri="{FF2B5EF4-FFF2-40B4-BE49-F238E27FC236}">
                  <a16:creationId xmlns:a16="http://schemas.microsoft.com/office/drawing/2014/main" id="{AC6DD8C6-0628-A1B2-A542-9E2B4E07A27A}"/>
                </a:ext>
              </a:extLst>
            </p:cNvPr>
            <p:cNvSpPr/>
            <p:nvPr/>
          </p:nvSpPr>
          <p:spPr>
            <a:xfrm flipV="1">
              <a:off x="24166182" y="3396351"/>
              <a:ext cx="15800" cy="14379"/>
            </a:xfrm>
            <a:custGeom>
              <a:avLst/>
              <a:gdLst>
                <a:gd name="csX0" fmla="*/ 7003 w 15800"/>
                <a:gd name="csY0" fmla="*/ 6733 h 14379"/>
                <a:gd name="csX1" fmla="*/ -8798 w 15800"/>
                <a:gd name="csY1" fmla="*/ 6733 h 14379"/>
                <a:gd name="csX2" fmla="*/ -8798 w 15800"/>
                <a:gd name="csY2" fmla="*/ -7647 h 14379"/>
                <a:gd name="csX3" fmla="*/ 7003 w 15800"/>
                <a:gd name="csY3" fmla="*/ -7647 h 14379"/>
                <a:gd name="csX4" fmla="*/ 7003 w 15800"/>
                <a:gd name="csY4" fmla="*/ 6733 h 14379"/>
              </a:gdLst>
              <a:ahLst/>
              <a:cxnLst>
                <a:cxn ang="0">
                  <a:pos x="csX0" y="csY0"/>
                </a:cxn>
                <a:cxn ang="0">
                  <a:pos x="csX1" y="csY1"/>
                </a:cxn>
                <a:cxn ang="0">
                  <a:pos x="csX2" y="csY2"/>
                </a:cxn>
                <a:cxn ang="0">
                  <a:pos x="csX3" y="csY3"/>
                </a:cxn>
                <a:cxn ang="0">
                  <a:pos x="csX4" y="csY4"/>
                </a:cxn>
              </a:cxnLst>
              <a:rect l="l" t="t" r="r" b="b"/>
              <a:pathLst>
                <a:path w="15800" h="14379">
                  <a:moveTo>
                    <a:pt x="7003" y="6733"/>
                  </a:moveTo>
                  <a:lnTo>
                    <a:pt x="-8798" y="6733"/>
                  </a:lnTo>
                  <a:lnTo>
                    <a:pt x="-8798" y="-7647"/>
                  </a:lnTo>
                  <a:lnTo>
                    <a:pt x="7003" y="-7647"/>
                  </a:lnTo>
                  <a:lnTo>
                    <a:pt x="7003" y="6733"/>
                  </a:lnTo>
                </a:path>
              </a:pathLst>
            </a:custGeom>
            <a:grpFill/>
            <a:ln w="548" cap="flat">
              <a:noFill/>
              <a:prstDash val="solid"/>
              <a:miter/>
            </a:ln>
          </p:spPr>
          <p:txBody>
            <a:bodyPr/>
            <a:lstStyle/>
            <a:p>
              <a:endParaRPr lang="en-US"/>
            </a:p>
          </p:txBody>
        </p:sp>
        <p:sp>
          <p:nvSpPr>
            <p:cNvPr id="166" name="Freeform: Shape 165">
              <a:extLst>
                <a:ext uri="{FF2B5EF4-FFF2-40B4-BE49-F238E27FC236}">
                  <a16:creationId xmlns:a16="http://schemas.microsoft.com/office/drawing/2014/main" id="{1F0ECCA2-26C4-02E6-06D9-E8EA1BF3C2BA}"/>
                </a:ext>
              </a:extLst>
            </p:cNvPr>
            <p:cNvSpPr/>
            <p:nvPr/>
          </p:nvSpPr>
          <p:spPr>
            <a:xfrm flipV="1">
              <a:off x="24166182" y="3379567"/>
              <a:ext cx="15800" cy="14380"/>
            </a:xfrm>
            <a:custGeom>
              <a:avLst/>
              <a:gdLst>
                <a:gd name="csX0" fmla="*/ 7003 w 15800"/>
                <a:gd name="csY0" fmla="*/ 6693 h 14380"/>
                <a:gd name="csX1" fmla="*/ -8798 w 15800"/>
                <a:gd name="csY1" fmla="*/ 6693 h 14380"/>
                <a:gd name="csX2" fmla="*/ -8798 w 15800"/>
                <a:gd name="csY2" fmla="*/ -7687 h 14380"/>
                <a:gd name="csX3" fmla="*/ 7003 w 15800"/>
                <a:gd name="csY3" fmla="*/ -7687 h 14380"/>
                <a:gd name="csX4" fmla="*/ 7003 w 15800"/>
                <a:gd name="csY4" fmla="*/ 6693 h 14380"/>
              </a:gdLst>
              <a:ahLst/>
              <a:cxnLst>
                <a:cxn ang="0">
                  <a:pos x="csX0" y="csY0"/>
                </a:cxn>
                <a:cxn ang="0">
                  <a:pos x="csX1" y="csY1"/>
                </a:cxn>
                <a:cxn ang="0">
                  <a:pos x="csX2" y="csY2"/>
                </a:cxn>
                <a:cxn ang="0">
                  <a:pos x="csX3" y="csY3"/>
                </a:cxn>
                <a:cxn ang="0">
                  <a:pos x="csX4" y="csY4"/>
                </a:cxn>
              </a:cxnLst>
              <a:rect l="l" t="t" r="r" b="b"/>
              <a:pathLst>
                <a:path w="15800" h="14380">
                  <a:moveTo>
                    <a:pt x="7003" y="6693"/>
                  </a:moveTo>
                  <a:lnTo>
                    <a:pt x="-8798" y="6693"/>
                  </a:lnTo>
                  <a:lnTo>
                    <a:pt x="-8798" y="-7687"/>
                  </a:lnTo>
                  <a:lnTo>
                    <a:pt x="7003" y="-7687"/>
                  </a:lnTo>
                  <a:lnTo>
                    <a:pt x="7003" y="6693"/>
                  </a:lnTo>
                </a:path>
              </a:pathLst>
            </a:custGeom>
            <a:grpFill/>
            <a:ln w="548" cap="flat">
              <a:noFill/>
              <a:prstDash val="solid"/>
              <a:miter/>
            </a:ln>
          </p:spPr>
          <p:txBody>
            <a:bodyPr/>
            <a:lstStyle/>
            <a:p>
              <a:endParaRPr lang="en-US"/>
            </a:p>
          </p:txBody>
        </p:sp>
        <p:sp>
          <p:nvSpPr>
            <p:cNvPr id="167" name="Freeform: Shape 166">
              <a:extLst>
                <a:ext uri="{FF2B5EF4-FFF2-40B4-BE49-F238E27FC236}">
                  <a16:creationId xmlns:a16="http://schemas.microsoft.com/office/drawing/2014/main" id="{82A5C2F8-AAAC-A1D2-F5D9-A5F345ABA4D5}"/>
                </a:ext>
              </a:extLst>
            </p:cNvPr>
            <p:cNvSpPr/>
            <p:nvPr/>
          </p:nvSpPr>
          <p:spPr>
            <a:xfrm flipV="1">
              <a:off x="24166182" y="3362785"/>
              <a:ext cx="15800" cy="14379"/>
            </a:xfrm>
            <a:custGeom>
              <a:avLst/>
              <a:gdLst>
                <a:gd name="csX0" fmla="*/ 7003 w 15800"/>
                <a:gd name="csY0" fmla="*/ 6652 h 14379"/>
                <a:gd name="csX1" fmla="*/ -8798 w 15800"/>
                <a:gd name="csY1" fmla="*/ 6652 h 14379"/>
                <a:gd name="csX2" fmla="*/ -8798 w 15800"/>
                <a:gd name="csY2" fmla="*/ -7727 h 14379"/>
                <a:gd name="csX3" fmla="*/ 7003 w 15800"/>
                <a:gd name="csY3" fmla="*/ -7727 h 14379"/>
                <a:gd name="csX4" fmla="*/ 7003 w 15800"/>
                <a:gd name="csY4" fmla="*/ 6652 h 14379"/>
              </a:gdLst>
              <a:ahLst/>
              <a:cxnLst>
                <a:cxn ang="0">
                  <a:pos x="csX0" y="csY0"/>
                </a:cxn>
                <a:cxn ang="0">
                  <a:pos x="csX1" y="csY1"/>
                </a:cxn>
                <a:cxn ang="0">
                  <a:pos x="csX2" y="csY2"/>
                </a:cxn>
                <a:cxn ang="0">
                  <a:pos x="csX3" y="csY3"/>
                </a:cxn>
                <a:cxn ang="0">
                  <a:pos x="csX4" y="csY4"/>
                </a:cxn>
              </a:cxnLst>
              <a:rect l="l" t="t" r="r" b="b"/>
              <a:pathLst>
                <a:path w="15800" h="14379">
                  <a:moveTo>
                    <a:pt x="7003" y="6652"/>
                  </a:moveTo>
                  <a:lnTo>
                    <a:pt x="-8798" y="6652"/>
                  </a:lnTo>
                  <a:lnTo>
                    <a:pt x="-8798" y="-7727"/>
                  </a:lnTo>
                  <a:lnTo>
                    <a:pt x="7003" y="-7727"/>
                  </a:lnTo>
                  <a:lnTo>
                    <a:pt x="7003" y="6652"/>
                  </a:lnTo>
                </a:path>
              </a:pathLst>
            </a:custGeom>
            <a:grpFill/>
            <a:ln w="548" cap="flat">
              <a:noFill/>
              <a:prstDash val="solid"/>
              <a:miter/>
            </a:ln>
          </p:spPr>
          <p:txBody>
            <a:bodyPr/>
            <a:lstStyle/>
            <a:p>
              <a:endParaRPr lang="en-US"/>
            </a:p>
          </p:txBody>
        </p:sp>
        <p:sp>
          <p:nvSpPr>
            <p:cNvPr id="168" name="Freeform: Shape 167">
              <a:extLst>
                <a:ext uri="{FF2B5EF4-FFF2-40B4-BE49-F238E27FC236}">
                  <a16:creationId xmlns:a16="http://schemas.microsoft.com/office/drawing/2014/main" id="{763E973A-AA83-053C-605D-9134475DE803}"/>
                </a:ext>
              </a:extLst>
            </p:cNvPr>
            <p:cNvSpPr/>
            <p:nvPr/>
          </p:nvSpPr>
          <p:spPr>
            <a:xfrm flipV="1">
              <a:off x="24166182" y="3413133"/>
              <a:ext cx="15800" cy="14379"/>
            </a:xfrm>
            <a:custGeom>
              <a:avLst/>
              <a:gdLst>
                <a:gd name="csX0" fmla="*/ 7003 w 15800"/>
                <a:gd name="csY0" fmla="*/ 6773 h 14379"/>
                <a:gd name="csX1" fmla="*/ -8798 w 15800"/>
                <a:gd name="csY1" fmla="*/ 6773 h 14379"/>
                <a:gd name="csX2" fmla="*/ -8798 w 15800"/>
                <a:gd name="csY2" fmla="*/ -7606 h 14379"/>
                <a:gd name="csX3" fmla="*/ 7003 w 15800"/>
                <a:gd name="csY3" fmla="*/ -7606 h 14379"/>
                <a:gd name="csX4" fmla="*/ 7003 w 15800"/>
                <a:gd name="csY4" fmla="*/ 6773 h 14379"/>
              </a:gdLst>
              <a:ahLst/>
              <a:cxnLst>
                <a:cxn ang="0">
                  <a:pos x="csX0" y="csY0"/>
                </a:cxn>
                <a:cxn ang="0">
                  <a:pos x="csX1" y="csY1"/>
                </a:cxn>
                <a:cxn ang="0">
                  <a:pos x="csX2" y="csY2"/>
                </a:cxn>
                <a:cxn ang="0">
                  <a:pos x="csX3" y="csY3"/>
                </a:cxn>
                <a:cxn ang="0">
                  <a:pos x="csX4" y="csY4"/>
                </a:cxn>
              </a:cxnLst>
              <a:rect l="l" t="t" r="r" b="b"/>
              <a:pathLst>
                <a:path w="15800" h="14379">
                  <a:moveTo>
                    <a:pt x="7003" y="6773"/>
                  </a:moveTo>
                  <a:lnTo>
                    <a:pt x="-8798" y="6773"/>
                  </a:lnTo>
                  <a:lnTo>
                    <a:pt x="-8798" y="-7606"/>
                  </a:lnTo>
                  <a:lnTo>
                    <a:pt x="7003" y="-7606"/>
                  </a:lnTo>
                  <a:lnTo>
                    <a:pt x="7003" y="6773"/>
                  </a:lnTo>
                </a:path>
              </a:pathLst>
            </a:custGeom>
            <a:grpFill/>
            <a:ln w="548" cap="flat">
              <a:noFill/>
              <a:prstDash val="solid"/>
              <a:miter/>
            </a:ln>
          </p:spPr>
          <p:txBody>
            <a:bodyPr/>
            <a:lstStyle/>
            <a:p>
              <a:endParaRPr lang="en-US"/>
            </a:p>
          </p:txBody>
        </p:sp>
        <p:sp>
          <p:nvSpPr>
            <p:cNvPr id="169" name="Freeform: Shape 168">
              <a:extLst>
                <a:ext uri="{FF2B5EF4-FFF2-40B4-BE49-F238E27FC236}">
                  <a16:creationId xmlns:a16="http://schemas.microsoft.com/office/drawing/2014/main" id="{1088A1D0-FA52-55C8-409C-1A5D67F28B57}"/>
                </a:ext>
              </a:extLst>
            </p:cNvPr>
            <p:cNvSpPr/>
            <p:nvPr/>
          </p:nvSpPr>
          <p:spPr>
            <a:xfrm flipV="1">
              <a:off x="24166182" y="3446694"/>
              <a:ext cx="15800" cy="14379"/>
            </a:xfrm>
            <a:custGeom>
              <a:avLst/>
              <a:gdLst>
                <a:gd name="csX0" fmla="*/ 7003 w 15800"/>
                <a:gd name="csY0" fmla="*/ 6854 h 14379"/>
                <a:gd name="csX1" fmla="*/ -8798 w 15800"/>
                <a:gd name="csY1" fmla="*/ 6854 h 14379"/>
                <a:gd name="csX2" fmla="*/ -8798 w 15800"/>
                <a:gd name="csY2" fmla="*/ -7526 h 14379"/>
                <a:gd name="csX3" fmla="*/ 7003 w 15800"/>
                <a:gd name="csY3" fmla="*/ -7526 h 14379"/>
                <a:gd name="csX4" fmla="*/ 7003 w 15800"/>
                <a:gd name="csY4" fmla="*/ 6854 h 14379"/>
              </a:gdLst>
              <a:ahLst/>
              <a:cxnLst>
                <a:cxn ang="0">
                  <a:pos x="csX0" y="csY0"/>
                </a:cxn>
                <a:cxn ang="0">
                  <a:pos x="csX1" y="csY1"/>
                </a:cxn>
                <a:cxn ang="0">
                  <a:pos x="csX2" y="csY2"/>
                </a:cxn>
                <a:cxn ang="0">
                  <a:pos x="csX3" y="csY3"/>
                </a:cxn>
                <a:cxn ang="0">
                  <a:pos x="csX4" y="csY4"/>
                </a:cxn>
              </a:cxnLst>
              <a:rect l="l" t="t" r="r" b="b"/>
              <a:pathLst>
                <a:path w="15800" h="14379">
                  <a:moveTo>
                    <a:pt x="7003" y="6854"/>
                  </a:moveTo>
                  <a:lnTo>
                    <a:pt x="-8798" y="6854"/>
                  </a:lnTo>
                  <a:lnTo>
                    <a:pt x="-8798" y="-7526"/>
                  </a:lnTo>
                  <a:lnTo>
                    <a:pt x="7003" y="-7526"/>
                  </a:lnTo>
                  <a:lnTo>
                    <a:pt x="7003" y="6854"/>
                  </a:lnTo>
                </a:path>
              </a:pathLst>
            </a:custGeom>
            <a:grpFill/>
            <a:ln w="548" cap="flat">
              <a:noFill/>
              <a:prstDash val="solid"/>
              <a:miter/>
            </a:ln>
          </p:spPr>
          <p:txBody>
            <a:bodyPr/>
            <a:lstStyle/>
            <a:p>
              <a:endParaRPr lang="en-US"/>
            </a:p>
          </p:txBody>
        </p:sp>
        <p:sp>
          <p:nvSpPr>
            <p:cNvPr id="170" name="Freeform: Shape 169">
              <a:extLst>
                <a:ext uri="{FF2B5EF4-FFF2-40B4-BE49-F238E27FC236}">
                  <a16:creationId xmlns:a16="http://schemas.microsoft.com/office/drawing/2014/main" id="{F3B78973-6645-A2A5-253C-1C4FE8429F41}"/>
                </a:ext>
              </a:extLst>
            </p:cNvPr>
            <p:cNvSpPr/>
            <p:nvPr/>
          </p:nvSpPr>
          <p:spPr>
            <a:xfrm flipV="1">
              <a:off x="24166182" y="3480259"/>
              <a:ext cx="15800" cy="14313"/>
            </a:xfrm>
            <a:custGeom>
              <a:avLst/>
              <a:gdLst>
                <a:gd name="csX0" fmla="*/ 7003 w 15800"/>
                <a:gd name="csY0" fmla="*/ 6869 h 14313"/>
                <a:gd name="csX1" fmla="*/ -8798 w 15800"/>
                <a:gd name="csY1" fmla="*/ 6869 h 14313"/>
                <a:gd name="csX2" fmla="*/ -8798 w 15800"/>
                <a:gd name="csY2" fmla="*/ -7445 h 14313"/>
                <a:gd name="csX3" fmla="*/ 7003 w 15800"/>
                <a:gd name="csY3" fmla="*/ -7445 h 14313"/>
                <a:gd name="csX4" fmla="*/ 7003 w 15800"/>
                <a:gd name="csY4" fmla="*/ 6869 h 14313"/>
              </a:gdLst>
              <a:ahLst/>
              <a:cxnLst>
                <a:cxn ang="0">
                  <a:pos x="csX0" y="csY0"/>
                </a:cxn>
                <a:cxn ang="0">
                  <a:pos x="csX1" y="csY1"/>
                </a:cxn>
                <a:cxn ang="0">
                  <a:pos x="csX2" y="csY2"/>
                </a:cxn>
                <a:cxn ang="0">
                  <a:pos x="csX3" y="csY3"/>
                </a:cxn>
                <a:cxn ang="0">
                  <a:pos x="csX4" y="csY4"/>
                </a:cxn>
              </a:cxnLst>
              <a:rect l="l" t="t" r="r" b="b"/>
              <a:pathLst>
                <a:path w="15800" h="14313">
                  <a:moveTo>
                    <a:pt x="7003" y="6869"/>
                  </a:moveTo>
                  <a:lnTo>
                    <a:pt x="-8798" y="6869"/>
                  </a:lnTo>
                  <a:lnTo>
                    <a:pt x="-8798" y="-7445"/>
                  </a:lnTo>
                  <a:lnTo>
                    <a:pt x="7003" y="-7445"/>
                  </a:lnTo>
                  <a:lnTo>
                    <a:pt x="7003" y="6869"/>
                  </a:lnTo>
                </a:path>
              </a:pathLst>
            </a:custGeom>
            <a:grpFill/>
            <a:ln w="548" cap="flat">
              <a:noFill/>
              <a:prstDash val="solid"/>
              <a:miter/>
            </a:ln>
          </p:spPr>
          <p:txBody>
            <a:bodyPr/>
            <a:lstStyle/>
            <a:p>
              <a:endParaRPr lang="en-US"/>
            </a:p>
          </p:txBody>
        </p:sp>
        <p:sp>
          <p:nvSpPr>
            <p:cNvPr id="171" name="Freeform: Shape 170">
              <a:extLst>
                <a:ext uri="{FF2B5EF4-FFF2-40B4-BE49-F238E27FC236}">
                  <a16:creationId xmlns:a16="http://schemas.microsoft.com/office/drawing/2014/main" id="{17B8E1C8-9A71-C0A9-DA04-B36FA2FC8290}"/>
                </a:ext>
              </a:extLst>
            </p:cNvPr>
            <p:cNvSpPr/>
            <p:nvPr/>
          </p:nvSpPr>
          <p:spPr>
            <a:xfrm flipV="1">
              <a:off x="24166182" y="3348125"/>
              <a:ext cx="15800" cy="12256"/>
            </a:xfrm>
            <a:custGeom>
              <a:avLst/>
              <a:gdLst>
                <a:gd name="csX0" fmla="*/ 7003 w 15800"/>
                <a:gd name="csY0" fmla="*/ 4491 h 12256"/>
                <a:gd name="csX1" fmla="*/ -8798 w 15800"/>
                <a:gd name="csY1" fmla="*/ 4491 h 12256"/>
                <a:gd name="csX2" fmla="*/ -8798 w 15800"/>
                <a:gd name="csY2" fmla="*/ -7765 h 12256"/>
                <a:gd name="csX3" fmla="*/ 7003 w 15800"/>
                <a:gd name="csY3" fmla="*/ -7765 h 12256"/>
                <a:gd name="csX4" fmla="*/ 7003 w 15800"/>
                <a:gd name="csY4" fmla="*/ 4491 h 12256"/>
              </a:gdLst>
              <a:ahLst/>
              <a:cxnLst>
                <a:cxn ang="0">
                  <a:pos x="csX0" y="csY0"/>
                </a:cxn>
                <a:cxn ang="0">
                  <a:pos x="csX1" y="csY1"/>
                </a:cxn>
                <a:cxn ang="0">
                  <a:pos x="csX2" y="csY2"/>
                </a:cxn>
                <a:cxn ang="0">
                  <a:pos x="csX3" y="csY3"/>
                </a:cxn>
                <a:cxn ang="0">
                  <a:pos x="csX4" y="csY4"/>
                </a:cxn>
              </a:cxnLst>
              <a:rect l="l" t="t" r="r" b="b"/>
              <a:pathLst>
                <a:path w="15800" h="12256">
                  <a:moveTo>
                    <a:pt x="7003" y="4491"/>
                  </a:moveTo>
                  <a:lnTo>
                    <a:pt x="-8798" y="4491"/>
                  </a:lnTo>
                  <a:lnTo>
                    <a:pt x="-8798" y="-7765"/>
                  </a:lnTo>
                  <a:lnTo>
                    <a:pt x="7003" y="-7765"/>
                  </a:lnTo>
                  <a:lnTo>
                    <a:pt x="7003" y="4491"/>
                  </a:lnTo>
                </a:path>
              </a:pathLst>
            </a:custGeom>
            <a:grpFill/>
            <a:ln w="548" cap="flat">
              <a:noFill/>
              <a:prstDash val="solid"/>
              <a:miter/>
            </a:ln>
          </p:spPr>
          <p:txBody>
            <a:bodyPr/>
            <a:lstStyle/>
            <a:p>
              <a:endParaRPr lang="en-US"/>
            </a:p>
          </p:txBody>
        </p:sp>
        <p:sp>
          <p:nvSpPr>
            <p:cNvPr id="172" name="Freeform: Shape 171">
              <a:extLst>
                <a:ext uri="{FF2B5EF4-FFF2-40B4-BE49-F238E27FC236}">
                  <a16:creationId xmlns:a16="http://schemas.microsoft.com/office/drawing/2014/main" id="{29D04901-9746-C90F-E833-DC554B1E8C94}"/>
                </a:ext>
              </a:extLst>
            </p:cNvPr>
            <p:cNvSpPr/>
            <p:nvPr/>
          </p:nvSpPr>
          <p:spPr>
            <a:xfrm flipV="1">
              <a:off x="24166182" y="3429916"/>
              <a:ext cx="15800" cy="14379"/>
            </a:xfrm>
            <a:custGeom>
              <a:avLst/>
              <a:gdLst>
                <a:gd name="csX0" fmla="*/ 7003 w 15800"/>
                <a:gd name="csY0" fmla="*/ 6814 h 14379"/>
                <a:gd name="csX1" fmla="*/ -8798 w 15800"/>
                <a:gd name="csY1" fmla="*/ 6814 h 14379"/>
                <a:gd name="csX2" fmla="*/ -8798 w 15800"/>
                <a:gd name="csY2" fmla="*/ -7566 h 14379"/>
                <a:gd name="csX3" fmla="*/ 7003 w 15800"/>
                <a:gd name="csY3" fmla="*/ -7566 h 14379"/>
                <a:gd name="csX4" fmla="*/ 7003 w 15800"/>
                <a:gd name="csY4" fmla="*/ 6814 h 14379"/>
              </a:gdLst>
              <a:ahLst/>
              <a:cxnLst>
                <a:cxn ang="0">
                  <a:pos x="csX0" y="csY0"/>
                </a:cxn>
                <a:cxn ang="0">
                  <a:pos x="csX1" y="csY1"/>
                </a:cxn>
                <a:cxn ang="0">
                  <a:pos x="csX2" y="csY2"/>
                </a:cxn>
                <a:cxn ang="0">
                  <a:pos x="csX3" y="csY3"/>
                </a:cxn>
                <a:cxn ang="0">
                  <a:pos x="csX4" y="csY4"/>
                </a:cxn>
              </a:cxnLst>
              <a:rect l="l" t="t" r="r" b="b"/>
              <a:pathLst>
                <a:path w="15800" h="14379">
                  <a:moveTo>
                    <a:pt x="7003" y="6814"/>
                  </a:moveTo>
                  <a:lnTo>
                    <a:pt x="-8798" y="6814"/>
                  </a:lnTo>
                  <a:lnTo>
                    <a:pt x="-8798" y="-7566"/>
                  </a:lnTo>
                  <a:lnTo>
                    <a:pt x="7003" y="-7566"/>
                  </a:lnTo>
                  <a:lnTo>
                    <a:pt x="7003" y="6814"/>
                  </a:lnTo>
                </a:path>
              </a:pathLst>
            </a:custGeom>
            <a:grpFill/>
            <a:ln w="548" cap="flat">
              <a:noFill/>
              <a:prstDash val="solid"/>
              <a:miter/>
            </a:ln>
          </p:spPr>
          <p:txBody>
            <a:bodyPr/>
            <a:lstStyle/>
            <a:p>
              <a:endParaRPr lang="en-US"/>
            </a:p>
          </p:txBody>
        </p:sp>
        <p:sp>
          <p:nvSpPr>
            <p:cNvPr id="173" name="Freeform: Shape 172">
              <a:extLst>
                <a:ext uri="{FF2B5EF4-FFF2-40B4-BE49-F238E27FC236}">
                  <a16:creationId xmlns:a16="http://schemas.microsoft.com/office/drawing/2014/main" id="{D2309104-30D8-509D-CBF6-5E7963E63F47}"/>
                </a:ext>
              </a:extLst>
            </p:cNvPr>
            <p:cNvSpPr/>
            <p:nvPr/>
          </p:nvSpPr>
          <p:spPr>
            <a:xfrm flipV="1">
              <a:off x="24166182" y="3463477"/>
              <a:ext cx="15800" cy="14379"/>
            </a:xfrm>
            <a:custGeom>
              <a:avLst/>
              <a:gdLst>
                <a:gd name="csX0" fmla="*/ 7003 w 15800"/>
                <a:gd name="csY0" fmla="*/ 6895 h 14379"/>
                <a:gd name="csX1" fmla="*/ -8798 w 15800"/>
                <a:gd name="csY1" fmla="*/ 6895 h 14379"/>
                <a:gd name="csX2" fmla="*/ -8798 w 15800"/>
                <a:gd name="csY2" fmla="*/ -7485 h 14379"/>
                <a:gd name="csX3" fmla="*/ 7003 w 15800"/>
                <a:gd name="csY3" fmla="*/ -7485 h 14379"/>
                <a:gd name="csX4" fmla="*/ 7003 w 15800"/>
                <a:gd name="csY4" fmla="*/ 6895 h 14379"/>
              </a:gdLst>
              <a:ahLst/>
              <a:cxnLst>
                <a:cxn ang="0">
                  <a:pos x="csX0" y="csY0"/>
                </a:cxn>
                <a:cxn ang="0">
                  <a:pos x="csX1" y="csY1"/>
                </a:cxn>
                <a:cxn ang="0">
                  <a:pos x="csX2" y="csY2"/>
                </a:cxn>
                <a:cxn ang="0">
                  <a:pos x="csX3" y="csY3"/>
                </a:cxn>
                <a:cxn ang="0">
                  <a:pos x="csX4" y="csY4"/>
                </a:cxn>
              </a:cxnLst>
              <a:rect l="l" t="t" r="r" b="b"/>
              <a:pathLst>
                <a:path w="15800" h="14379">
                  <a:moveTo>
                    <a:pt x="7003" y="6895"/>
                  </a:moveTo>
                  <a:lnTo>
                    <a:pt x="-8798" y="6895"/>
                  </a:lnTo>
                  <a:lnTo>
                    <a:pt x="-8798" y="-7485"/>
                  </a:lnTo>
                  <a:lnTo>
                    <a:pt x="7003" y="-7485"/>
                  </a:lnTo>
                  <a:lnTo>
                    <a:pt x="7003" y="6895"/>
                  </a:lnTo>
                </a:path>
              </a:pathLst>
            </a:custGeom>
            <a:grpFill/>
            <a:ln w="548" cap="flat">
              <a:noFill/>
              <a:prstDash val="solid"/>
              <a:miter/>
            </a:ln>
          </p:spPr>
          <p:txBody>
            <a:bodyPr/>
            <a:lstStyle/>
            <a:p>
              <a:endParaRPr lang="en-US"/>
            </a:p>
          </p:txBody>
        </p:sp>
        <p:sp>
          <p:nvSpPr>
            <p:cNvPr id="174" name="Freeform: Shape 173">
              <a:extLst>
                <a:ext uri="{FF2B5EF4-FFF2-40B4-BE49-F238E27FC236}">
                  <a16:creationId xmlns:a16="http://schemas.microsoft.com/office/drawing/2014/main" id="{6CCB2F3B-9CE2-7BBD-CC7A-D17C564FB605}"/>
                </a:ext>
              </a:extLst>
            </p:cNvPr>
            <p:cNvSpPr/>
            <p:nvPr/>
          </p:nvSpPr>
          <p:spPr>
            <a:xfrm flipV="1">
              <a:off x="24216602" y="3112139"/>
              <a:ext cx="15800" cy="12256"/>
            </a:xfrm>
            <a:custGeom>
              <a:avLst/>
              <a:gdLst>
                <a:gd name="csX0" fmla="*/ 6941 w 15800"/>
                <a:gd name="csY0" fmla="*/ 3923 h 12256"/>
                <a:gd name="csX1" fmla="*/ -8860 w 15800"/>
                <a:gd name="csY1" fmla="*/ 3923 h 12256"/>
                <a:gd name="csX2" fmla="*/ -8860 w 15800"/>
                <a:gd name="csY2" fmla="*/ -8333 h 12256"/>
                <a:gd name="csX3" fmla="*/ 6941 w 15800"/>
                <a:gd name="csY3" fmla="*/ -8333 h 12256"/>
                <a:gd name="csX4" fmla="*/ 6941 w 15800"/>
                <a:gd name="csY4" fmla="*/ 3923 h 12256"/>
              </a:gdLst>
              <a:ahLst/>
              <a:cxnLst>
                <a:cxn ang="0">
                  <a:pos x="csX0" y="csY0"/>
                </a:cxn>
                <a:cxn ang="0">
                  <a:pos x="csX1" y="csY1"/>
                </a:cxn>
                <a:cxn ang="0">
                  <a:pos x="csX2" y="csY2"/>
                </a:cxn>
                <a:cxn ang="0">
                  <a:pos x="csX3" y="csY3"/>
                </a:cxn>
                <a:cxn ang="0">
                  <a:pos x="csX4" y="csY4"/>
                </a:cxn>
              </a:cxnLst>
              <a:rect l="l" t="t" r="r" b="b"/>
              <a:pathLst>
                <a:path w="15800" h="12256">
                  <a:moveTo>
                    <a:pt x="6941" y="3923"/>
                  </a:moveTo>
                  <a:lnTo>
                    <a:pt x="-8860" y="3923"/>
                  </a:lnTo>
                  <a:lnTo>
                    <a:pt x="-8860" y="-8333"/>
                  </a:lnTo>
                  <a:lnTo>
                    <a:pt x="6941" y="-8333"/>
                  </a:lnTo>
                  <a:lnTo>
                    <a:pt x="6941" y="3923"/>
                  </a:lnTo>
                </a:path>
              </a:pathLst>
            </a:custGeom>
            <a:grpFill/>
            <a:ln w="548" cap="flat">
              <a:noFill/>
              <a:prstDash val="solid"/>
              <a:miter/>
            </a:ln>
          </p:spPr>
          <p:txBody>
            <a:bodyPr/>
            <a:lstStyle/>
            <a:p>
              <a:endParaRPr lang="en-US"/>
            </a:p>
          </p:txBody>
        </p:sp>
        <p:sp>
          <p:nvSpPr>
            <p:cNvPr id="175" name="Freeform: Shape 174">
              <a:extLst>
                <a:ext uri="{FF2B5EF4-FFF2-40B4-BE49-F238E27FC236}">
                  <a16:creationId xmlns:a16="http://schemas.microsoft.com/office/drawing/2014/main" id="{ADA8CE5C-5FCB-1C6B-A806-D94EEFD5B15B}"/>
                </a:ext>
              </a:extLst>
            </p:cNvPr>
            <p:cNvSpPr/>
            <p:nvPr/>
          </p:nvSpPr>
          <p:spPr>
            <a:xfrm flipV="1">
              <a:off x="24216602" y="3126798"/>
              <a:ext cx="15800" cy="12262"/>
            </a:xfrm>
            <a:custGeom>
              <a:avLst/>
              <a:gdLst>
                <a:gd name="csX0" fmla="*/ 6941 w 15800"/>
                <a:gd name="csY0" fmla="*/ 3965 h 12262"/>
                <a:gd name="csX1" fmla="*/ -8860 w 15800"/>
                <a:gd name="csY1" fmla="*/ 3965 h 12262"/>
                <a:gd name="csX2" fmla="*/ -8860 w 15800"/>
                <a:gd name="csY2" fmla="*/ -8298 h 12262"/>
                <a:gd name="csX3" fmla="*/ 6941 w 15800"/>
                <a:gd name="csY3" fmla="*/ -8298 h 12262"/>
                <a:gd name="csX4" fmla="*/ 6941 w 15800"/>
                <a:gd name="csY4" fmla="*/ 3965 h 12262"/>
              </a:gdLst>
              <a:ahLst/>
              <a:cxnLst>
                <a:cxn ang="0">
                  <a:pos x="csX0" y="csY0"/>
                </a:cxn>
                <a:cxn ang="0">
                  <a:pos x="csX1" y="csY1"/>
                </a:cxn>
                <a:cxn ang="0">
                  <a:pos x="csX2" y="csY2"/>
                </a:cxn>
                <a:cxn ang="0">
                  <a:pos x="csX3" y="csY3"/>
                </a:cxn>
                <a:cxn ang="0">
                  <a:pos x="csX4" y="csY4"/>
                </a:cxn>
              </a:cxnLst>
              <a:rect l="l" t="t" r="r" b="b"/>
              <a:pathLst>
                <a:path w="15800" h="12262">
                  <a:moveTo>
                    <a:pt x="6941" y="3965"/>
                  </a:moveTo>
                  <a:lnTo>
                    <a:pt x="-8860" y="3965"/>
                  </a:lnTo>
                  <a:lnTo>
                    <a:pt x="-8860" y="-8298"/>
                  </a:lnTo>
                  <a:lnTo>
                    <a:pt x="6941" y="-8298"/>
                  </a:lnTo>
                  <a:lnTo>
                    <a:pt x="6941" y="3965"/>
                  </a:lnTo>
                </a:path>
              </a:pathLst>
            </a:custGeom>
            <a:grpFill/>
            <a:ln w="548" cap="flat">
              <a:noFill/>
              <a:prstDash val="solid"/>
              <a:miter/>
            </a:ln>
          </p:spPr>
          <p:txBody>
            <a:bodyPr/>
            <a:lstStyle/>
            <a:p>
              <a:endParaRPr lang="en-US"/>
            </a:p>
          </p:txBody>
        </p:sp>
        <p:sp>
          <p:nvSpPr>
            <p:cNvPr id="176" name="Freeform: Shape 175">
              <a:extLst>
                <a:ext uri="{FF2B5EF4-FFF2-40B4-BE49-F238E27FC236}">
                  <a16:creationId xmlns:a16="http://schemas.microsoft.com/office/drawing/2014/main" id="{1C32DFC7-00F3-280F-4043-97F7192CB4A0}"/>
                </a:ext>
              </a:extLst>
            </p:cNvPr>
            <p:cNvSpPr/>
            <p:nvPr/>
          </p:nvSpPr>
          <p:spPr>
            <a:xfrm flipV="1">
              <a:off x="24216602" y="3220928"/>
              <a:ext cx="15800" cy="14374"/>
            </a:xfrm>
            <a:custGeom>
              <a:avLst/>
              <a:gdLst>
                <a:gd name="csX0" fmla="*/ 6941 w 15800"/>
                <a:gd name="csY0" fmla="*/ 6306 h 14374"/>
                <a:gd name="csX1" fmla="*/ -8860 w 15800"/>
                <a:gd name="csY1" fmla="*/ 6306 h 14374"/>
                <a:gd name="csX2" fmla="*/ -8860 w 15800"/>
                <a:gd name="csY2" fmla="*/ -8069 h 14374"/>
                <a:gd name="csX3" fmla="*/ 6941 w 15800"/>
                <a:gd name="csY3" fmla="*/ -8069 h 14374"/>
                <a:gd name="csX4" fmla="*/ 6941 w 15800"/>
                <a:gd name="csY4" fmla="*/ 6306 h 14374"/>
              </a:gdLst>
              <a:ahLst/>
              <a:cxnLst>
                <a:cxn ang="0">
                  <a:pos x="csX0" y="csY0"/>
                </a:cxn>
                <a:cxn ang="0">
                  <a:pos x="csX1" y="csY1"/>
                </a:cxn>
                <a:cxn ang="0">
                  <a:pos x="csX2" y="csY2"/>
                </a:cxn>
                <a:cxn ang="0">
                  <a:pos x="csX3" y="csY3"/>
                </a:cxn>
                <a:cxn ang="0">
                  <a:pos x="csX4" y="csY4"/>
                </a:cxn>
              </a:cxnLst>
              <a:rect l="l" t="t" r="r" b="b"/>
              <a:pathLst>
                <a:path w="15800" h="14374">
                  <a:moveTo>
                    <a:pt x="6941" y="6306"/>
                  </a:moveTo>
                  <a:lnTo>
                    <a:pt x="-8860" y="6306"/>
                  </a:lnTo>
                  <a:lnTo>
                    <a:pt x="-8860" y="-8069"/>
                  </a:lnTo>
                  <a:lnTo>
                    <a:pt x="6941" y="-8069"/>
                  </a:lnTo>
                  <a:lnTo>
                    <a:pt x="6941" y="6306"/>
                  </a:lnTo>
                </a:path>
              </a:pathLst>
            </a:custGeom>
            <a:grpFill/>
            <a:ln w="548" cap="flat">
              <a:noFill/>
              <a:prstDash val="solid"/>
              <a:miter/>
            </a:ln>
          </p:spPr>
          <p:txBody>
            <a:bodyPr/>
            <a:lstStyle/>
            <a:p>
              <a:endParaRPr lang="en-US"/>
            </a:p>
          </p:txBody>
        </p:sp>
        <p:sp>
          <p:nvSpPr>
            <p:cNvPr id="177" name="Freeform: Shape 176">
              <a:extLst>
                <a:ext uri="{FF2B5EF4-FFF2-40B4-BE49-F238E27FC236}">
                  <a16:creationId xmlns:a16="http://schemas.microsoft.com/office/drawing/2014/main" id="{FC39553F-32C0-97D6-2CB0-376938379C8F}"/>
                </a:ext>
              </a:extLst>
            </p:cNvPr>
            <p:cNvSpPr/>
            <p:nvPr/>
          </p:nvSpPr>
          <p:spPr>
            <a:xfrm flipV="1">
              <a:off x="24216602" y="3254489"/>
              <a:ext cx="15800" cy="14379"/>
            </a:xfrm>
            <a:custGeom>
              <a:avLst/>
              <a:gdLst>
                <a:gd name="csX0" fmla="*/ 6941 w 15800"/>
                <a:gd name="csY0" fmla="*/ 6392 h 14379"/>
                <a:gd name="csX1" fmla="*/ -8860 w 15800"/>
                <a:gd name="csY1" fmla="*/ 6392 h 14379"/>
                <a:gd name="csX2" fmla="*/ -8860 w 15800"/>
                <a:gd name="csY2" fmla="*/ -7988 h 14379"/>
                <a:gd name="csX3" fmla="*/ 6941 w 15800"/>
                <a:gd name="csY3" fmla="*/ -7988 h 14379"/>
                <a:gd name="csX4" fmla="*/ 6941 w 15800"/>
                <a:gd name="csY4" fmla="*/ 6392 h 14379"/>
              </a:gdLst>
              <a:ahLst/>
              <a:cxnLst>
                <a:cxn ang="0">
                  <a:pos x="csX0" y="csY0"/>
                </a:cxn>
                <a:cxn ang="0">
                  <a:pos x="csX1" y="csY1"/>
                </a:cxn>
                <a:cxn ang="0">
                  <a:pos x="csX2" y="csY2"/>
                </a:cxn>
                <a:cxn ang="0">
                  <a:pos x="csX3" y="csY3"/>
                </a:cxn>
                <a:cxn ang="0">
                  <a:pos x="csX4" y="csY4"/>
                </a:cxn>
              </a:cxnLst>
              <a:rect l="l" t="t" r="r" b="b"/>
              <a:pathLst>
                <a:path w="15800" h="14379">
                  <a:moveTo>
                    <a:pt x="6941" y="6392"/>
                  </a:moveTo>
                  <a:lnTo>
                    <a:pt x="-8860" y="6392"/>
                  </a:lnTo>
                  <a:lnTo>
                    <a:pt x="-8860" y="-7988"/>
                  </a:lnTo>
                  <a:lnTo>
                    <a:pt x="6941" y="-7988"/>
                  </a:lnTo>
                  <a:lnTo>
                    <a:pt x="6941" y="6392"/>
                  </a:lnTo>
                </a:path>
              </a:pathLst>
            </a:custGeom>
            <a:grpFill/>
            <a:ln w="548" cap="flat">
              <a:noFill/>
              <a:prstDash val="solid"/>
              <a:miter/>
            </a:ln>
          </p:spPr>
          <p:txBody>
            <a:bodyPr/>
            <a:lstStyle/>
            <a:p>
              <a:endParaRPr lang="en-US"/>
            </a:p>
          </p:txBody>
        </p:sp>
        <p:sp>
          <p:nvSpPr>
            <p:cNvPr id="178" name="Freeform: Shape 177">
              <a:extLst>
                <a:ext uri="{FF2B5EF4-FFF2-40B4-BE49-F238E27FC236}">
                  <a16:creationId xmlns:a16="http://schemas.microsoft.com/office/drawing/2014/main" id="{BE2962A0-AE3C-D334-D129-5976C509156F}"/>
                </a:ext>
              </a:extLst>
            </p:cNvPr>
            <p:cNvSpPr/>
            <p:nvPr/>
          </p:nvSpPr>
          <p:spPr>
            <a:xfrm flipV="1">
              <a:off x="24216602" y="3237706"/>
              <a:ext cx="15800" cy="14379"/>
            </a:xfrm>
            <a:custGeom>
              <a:avLst/>
              <a:gdLst>
                <a:gd name="csX0" fmla="*/ 6941 w 15800"/>
                <a:gd name="csY0" fmla="*/ 6351 h 14379"/>
                <a:gd name="csX1" fmla="*/ -8860 w 15800"/>
                <a:gd name="csY1" fmla="*/ 6351 h 14379"/>
                <a:gd name="csX2" fmla="*/ -8860 w 15800"/>
                <a:gd name="csY2" fmla="*/ -8028 h 14379"/>
                <a:gd name="csX3" fmla="*/ 6941 w 15800"/>
                <a:gd name="csY3" fmla="*/ -8028 h 14379"/>
                <a:gd name="csX4" fmla="*/ 6941 w 15800"/>
                <a:gd name="csY4" fmla="*/ 6351 h 14379"/>
              </a:gdLst>
              <a:ahLst/>
              <a:cxnLst>
                <a:cxn ang="0">
                  <a:pos x="csX0" y="csY0"/>
                </a:cxn>
                <a:cxn ang="0">
                  <a:pos x="csX1" y="csY1"/>
                </a:cxn>
                <a:cxn ang="0">
                  <a:pos x="csX2" y="csY2"/>
                </a:cxn>
                <a:cxn ang="0">
                  <a:pos x="csX3" y="csY3"/>
                </a:cxn>
                <a:cxn ang="0">
                  <a:pos x="csX4" y="csY4"/>
                </a:cxn>
              </a:cxnLst>
              <a:rect l="l" t="t" r="r" b="b"/>
              <a:pathLst>
                <a:path w="15800" h="14379">
                  <a:moveTo>
                    <a:pt x="6941" y="6351"/>
                  </a:moveTo>
                  <a:lnTo>
                    <a:pt x="-8860" y="6351"/>
                  </a:lnTo>
                  <a:lnTo>
                    <a:pt x="-8860" y="-8028"/>
                  </a:lnTo>
                  <a:lnTo>
                    <a:pt x="6941" y="-8028"/>
                  </a:lnTo>
                  <a:lnTo>
                    <a:pt x="6941" y="6351"/>
                  </a:lnTo>
                </a:path>
              </a:pathLst>
            </a:custGeom>
            <a:grpFill/>
            <a:ln w="548" cap="flat">
              <a:noFill/>
              <a:prstDash val="solid"/>
              <a:miter/>
            </a:ln>
          </p:spPr>
          <p:txBody>
            <a:bodyPr/>
            <a:lstStyle/>
            <a:p>
              <a:endParaRPr lang="en-US"/>
            </a:p>
          </p:txBody>
        </p:sp>
        <p:sp>
          <p:nvSpPr>
            <p:cNvPr id="179" name="Freeform: Shape 178">
              <a:extLst>
                <a:ext uri="{FF2B5EF4-FFF2-40B4-BE49-F238E27FC236}">
                  <a16:creationId xmlns:a16="http://schemas.microsoft.com/office/drawing/2014/main" id="{483E9D7D-9F87-9AEE-20F6-21B1DFB11756}"/>
                </a:ext>
              </a:extLst>
            </p:cNvPr>
            <p:cNvSpPr/>
            <p:nvPr/>
          </p:nvSpPr>
          <p:spPr>
            <a:xfrm flipV="1">
              <a:off x="24216602" y="3204146"/>
              <a:ext cx="15800" cy="14374"/>
            </a:xfrm>
            <a:custGeom>
              <a:avLst/>
              <a:gdLst>
                <a:gd name="csX0" fmla="*/ 6941 w 15800"/>
                <a:gd name="csY0" fmla="*/ 6265 h 14374"/>
                <a:gd name="csX1" fmla="*/ -8860 w 15800"/>
                <a:gd name="csY1" fmla="*/ 6265 h 14374"/>
                <a:gd name="csX2" fmla="*/ -8860 w 15800"/>
                <a:gd name="csY2" fmla="*/ -8109 h 14374"/>
                <a:gd name="csX3" fmla="*/ 6941 w 15800"/>
                <a:gd name="csY3" fmla="*/ -8109 h 14374"/>
                <a:gd name="csX4" fmla="*/ 6941 w 15800"/>
                <a:gd name="csY4" fmla="*/ 6265 h 14374"/>
              </a:gdLst>
              <a:ahLst/>
              <a:cxnLst>
                <a:cxn ang="0">
                  <a:pos x="csX0" y="csY0"/>
                </a:cxn>
                <a:cxn ang="0">
                  <a:pos x="csX1" y="csY1"/>
                </a:cxn>
                <a:cxn ang="0">
                  <a:pos x="csX2" y="csY2"/>
                </a:cxn>
                <a:cxn ang="0">
                  <a:pos x="csX3" y="csY3"/>
                </a:cxn>
                <a:cxn ang="0">
                  <a:pos x="csX4" y="csY4"/>
                </a:cxn>
              </a:cxnLst>
              <a:rect l="l" t="t" r="r" b="b"/>
              <a:pathLst>
                <a:path w="15800" h="14374">
                  <a:moveTo>
                    <a:pt x="6941" y="6265"/>
                  </a:moveTo>
                  <a:lnTo>
                    <a:pt x="-8860" y="6265"/>
                  </a:lnTo>
                  <a:lnTo>
                    <a:pt x="-8860" y="-8109"/>
                  </a:lnTo>
                  <a:lnTo>
                    <a:pt x="6941" y="-8109"/>
                  </a:lnTo>
                  <a:lnTo>
                    <a:pt x="6941" y="6265"/>
                  </a:lnTo>
                </a:path>
              </a:pathLst>
            </a:custGeom>
            <a:grpFill/>
            <a:ln w="548" cap="flat">
              <a:noFill/>
              <a:prstDash val="solid"/>
              <a:miter/>
            </a:ln>
          </p:spPr>
          <p:txBody>
            <a:bodyPr/>
            <a:lstStyle/>
            <a:p>
              <a:endParaRPr lang="en-US"/>
            </a:p>
          </p:txBody>
        </p:sp>
        <p:sp>
          <p:nvSpPr>
            <p:cNvPr id="180" name="Freeform: Shape 179">
              <a:extLst>
                <a:ext uri="{FF2B5EF4-FFF2-40B4-BE49-F238E27FC236}">
                  <a16:creationId xmlns:a16="http://schemas.microsoft.com/office/drawing/2014/main" id="{7133A88C-7FEA-69C9-FA13-20792AD8DEB9}"/>
                </a:ext>
              </a:extLst>
            </p:cNvPr>
            <p:cNvSpPr/>
            <p:nvPr/>
          </p:nvSpPr>
          <p:spPr>
            <a:xfrm flipV="1">
              <a:off x="24216602" y="3187363"/>
              <a:ext cx="15800" cy="14379"/>
            </a:xfrm>
            <a:custGeom>
              <a:avLst/>
              <a:gdLst>
                <a:gd name="csX0" fmla="*/ 6941 w 15800"/>
                <a:gd name="csY0" fmla="*/ 6230 h 14379"/>
                <a:gd name="csX1" fmla="*/ -8860 w 15800"/>
                <a:gd name="csY1" fmla="*/ 6230 h 14379"/>
                <a:gd name="csX2" fmla="*/ -8860 w 15800"/>
                <a:gd name="csY2" fmla="*/ -8150 h 14379"/>
                <a:gd name="csX3" fmla="*/ 6941 w 15800"/>
                <a:gd name="csY3" fmla="*/ -8150 h 14379"/>
                <a:gd name="csX4" fmla="*/ 6941 w 15800"/>
                <a:gd name="csY4" fmla="*/ 6230 h 14379"/>
              </a:gdLst>
              <a:ahLst/>
              <a:cxnLst>
                <a:cxn ang="0">
                  <a:pos x="csX0" y="csY0"/>
                </a:cxn>
                <a:cxn ang="0">
                  <a:pos x="csX1" y="csY1"/>
                </a:cxn>
                <a:cxn ang="0">
                  <a:pos x="csX2" y="csY2"/>
                </a:cxn>
                <a:cxn ang="0">
                  <a:pos x="csX3" y="csY3"/>
                </a:cxn>
                <a:cxn ang="0">
                  <a:pos x="csX4" y="csY4"/>
                </a:cxn>
              </a:cxnLst>
              <a:rect l="l" t="t" r="r" b="b"/>
              <a:pathLst>
                <a:path w="15800" h="14379">
                  <a:moveTo>
                    <a:pt x="6941" y="6230"/>
                  </a:moveTo>
                  <a:lnTo>
                    <a:pt x="-8860" y="6230"/>
                  </a:lnTo>
                  <a:lnTo>
                    <a:pt x="-8860" y="-8150"/>
                  </a:lnTo>
                  <a:lnTo>
                    <a:pt x="6941" y="-8150"/>
                  </a:lnTo>
                  <a:lnTo>
                    <a:pt x="6941" y="6230"/>
                  </a:lnTo>
                </a:path>
              </a:pathLst>
            </a:custGeom>
            <a:grpFill/>
            <a:ln w="548" cap="flat">
              <a:noFill/>
              <a:prstDash val="solid"/>
              <a:miter/>
            </a:ln>
          </p:spPr>
          <p:txBody>
            <a:bodyPr/>
            <a:lstStyle/>
            <a:p>
              <a:endParaRPr lang="en-US"/>
            </a:p>
          </p:txBody>
        </p:sp>
        <p:sp>
          <p:nvSpPr>
            <p:cNvPr id="181" name="Freeform: Shape 180">
              <a:extLst>
                <a:ext uri="{FF2B5EF4-FFF2-40B4-BE49-F238E27FC236}">
                  <a16:creationId xmlns:a16="http://schemas.microsoft.com/office/drawing/2014/main" id="{23526B33-189B-6647-74BF-C28D5691D869}"/>
                </a:ext>
              </a:extLst>
            </p:cNvPr>
            <p:cNvSpPr/>
            <p:nvPr/>
          </p:nvSpPr>
          <p:spPr>
            <a:xfrm flipV="1">
              <a:off x="24216602" y="3271271"/>
              <a:ext cx="15800" cy="14379"/>
            </a:xfrm>
            <a:custGeom>
              <a:avLst/>
              <a:gdLst>
                <a:gd name="csX0" fmla="*/ 6941 w 15800"/>
                <a:gd name="csY0" fmla="*/ 6432 h 14379"/>
                <a:gd name="csX1" fmla="*/ -8860 w 15800"/>
                <a:gd name="csY1" fmla="*/ 6432 h 14379"/>
                <a:gd name="csX2" fmla="*/ -8860 w 15800"/>
                <a:gd name="csY2" fmla="*/ -7948 h 14379"/>
                <a:gd name="csX3" fmla="*/ 6941 w 15800"/>
                <a:gd name="csY3" fmla="*/ -7948 h 14379"/>
                <a:gd name="csX4" fmla="*/ 6941 w 15800"/>
                <a:gd name="csY4" fmla="*/ 6432 h 14379"/>
              </a:gdLst>
              <a:ahLst/>
              <a:cxnLst>
                <a:cxn ang="0">
                  <a:pos x="csX0" y="csY0"/>
                </a:cxn>
                <a:cxn ang="0">
                  <a:pos x="csX1" y="csY1"/>
                </a:cxn>
                <a:cxn ang="0">
                  <a:pos x="csX2" y="csY2"/>
                </a:cxn>
                <a:cxn ang="0">
                  <a:pos x="csX3" y="csY3"/>
                </a:cxn>
                <a:cxn ang="0">
                  <a:pos x="csX4" y="csY4"/>
                </a:cxn>
              </a:cxnLst>
              <a:rect l="l" t="t" r="r" b="b"/>
              <a:pathLst>
                <a:path w="15800" h="14379">
                  <a:moveTo>
                    <a:pt x="6941" y="6432"/>
                  </a:moveTo>
                  <a:lnTo>
                    <a:pt x="-8860" y="6432"/>
                  </a:lnTo>
                  <a:lnTo>
                    <a:pt x="-8860" y="-7948"/>
                  </a:lnTo>
                  <a:lnTo>
                    <a:pt x="6941" y="-7948"/>
                  </a:lnTo>
                  <a:lnTo>
                    <a:pt x="6941" y="6432"/>
                  </a:lnTo>
                </a:path>
              </a:pathLst>
            </a:custGeom>
            <a:grpFill/>
            <a:ln w="548" cap="flat">
              <a:noFill/>
              <a:prstDash val="solid"/>
              <a:miter/>
            </a:ln>
          </p:spPr>
          <p:txBody>
            <a:bodyPr/>
            <a:lstStyle/>
            <a:p>
              <a:endParaRPr lang="en-US"/>
            </a:p>
          </p:txBody>
        </p:sp>
        <p:sp>
          <p:nvSpPr>
            <p:cNvPr id="182" name="Freeform: Shape 181">
              <a:extLst>
                <a:ext uri="{FF2B5EF4-FFF2-40B4-BE49-F238E27FC236}">
                  <a16:creationId xmlns:a16="http://schemas.microsoft.com/office/drawing/2014/main" id="{300670CC-8081-E0D3-46AE-C8F8958A790A}"/>
                </a:ext>
              </a:extLst>
            </p:cNvPr>
            <p:cNvSpPr/>
            <p:nvPr/>
          </p:nvSpPr>
          <p:spPr>
            <a:xfrm flipV="1">
              <a:off x="24216602" y="3172697"/>
              <a:ext cx="15800" cy="12261"/>
            </a:xfrm>
            <a:custGeom>
              <a:avLst/>
              <a:gdLst>
                <a:gd name="csX0" fmla="*/ 6941 w 15800"/>
                <a:gd name="csY0" fmla="*/ 4075 h 12261"/>
                <a:gd name="csX1" fmla="*/ -8860 w 15800"/>
                <a:gd name="csY1" fmla="*/ 4075 h 12261"/>
                <a:gd name="csX2" fmla="*/ -8860 w 15800"/>
                <a:gd name="csY2" fmla="*/ -8187 h 12261"/>
                <a:gd name="csX3" fmla="*/ 6941 w 15800"/>
                <a:gd name="csY3" fmla="*/ -8187 h 12261"/>
                <a:gd name="csX4" fmla="*/ 6941 w 15800"/>
                <a:gd name="csY4" fmla="*/ 4075 h 12261"/>
              </a:gdLst>
              <a:ahLst/>
              <a:cxnLst>
                <a:cxn ang="0">
                  <a:pos x="csX0" y="csY0"/>
                </a:cxn>
                <a:cxn ang="0">
                  <a:pos x="csX1" y="csY1"/>
                </a:cxn>
                <a:cxn ang="0">
                  <a:pos x="csX2" y="csY2"/>
                </a:cxn>
                <a:cxn ang="0">
                  <a:pos x="csX3" y="csY3"/>
                </a:cxn>
                <a:cxn ang="0">
                  <a:pos x="csX4" y="csY4"/>
                </a:cxn>
              </a:cxnLst>
              <a:rect l="l" t="t" r="r" b="b"/>
              <a:pathLst>
                <a:path w="15800" h="12261">
                  <a:moveTo>
                    <a:pt x="6941" y="4075"/>
                  </a:moveTo>
                  <a:lnTo>
                    <a:pt x="-8860" y="4075"/>
                  </a:lnTo>
                  <a:lnTo>
                    <a:pt x="-8860" y="-8187"/>
                  </a:lnTo>
                  <a:lnTo>
                    <a:pt x="6941" y="-8187"/>
                  </a:lnTo>
                  <a:lnTo>
                    <a:pt x="6941" y="4075"/>
                  </a:lnTo>
                </a:path>
              </a:pathLst>
            </a:custGeom>
            <a:grpFill/>
            <a:ln w="548" cap="flat">
              <a:noFill/>
              <a:prstDash val="solid"/>
              <a:miter/>
            </a:ln>
          </p:spPr>
          <p:txBody>
            <a:bodyPr/>
            <a:lstStyle/>
            <a:p>
              <a:endParaRPr lang="en-US"/>
            </a:p>
          </p:txBody>
        </p:sp>
        <p:sp>
          <p:nvSpPr>
            <p:cNvPr id="183" name="Freeform: Shape 182">
              <a:extLst>
                <a:ext uri="{FF2B5EF4-FFF2-40B4-BE49-F238E27FC236}">
                  <a16:creationId xmlns:a16="http://schemas.microsoft.com/office/drawing/2014/main" id="{B963554B-AC50-BFE4-738C-5571B943FBC0}"/>
                </a:ext>
              </a:extLst>
            </p:cNvPr>
            <p:cNvSpPr/>
            <p:nvPr/>
          </p:nvSpPr>
          <p:spPr>
            <a:xfrm flipV="1">
              <a:off x="24216602" y="3304832"/>
              <a:ext cx="15800" cy="14313"/>
            </a:xfrm>
            <a:custGeom>
              <a:avLst/>
              <a:gdLst>
                <a:gd name="csX0" fmla="*/ 6941 w 15800"/>
                <a:gd name="csY0" fmla="*/ 6447 h 14313"/>
                <a:gd name="csX1" fmla="*/ -8860 w 15800"/>
                <a:gd name="csY1" fmla="*/ 6447 h 14313"/>
                <a:gd name="csX2" fmla="*/ -8860 w 15800"/>
                <a:gd name="csY2" fmla="*/ -7867 h 14313"/>
                <a:gd name="csX3" fmla="*/ 6941 w 15800"/>
                <a:gd name="csY3" fmla="*/ -7867 h 14313"/>
                <a:gd name="csX4" fmla="*/ 6941 w 15800"/>
                <a:gd name="csY4" fmla="*/ 6447 h 14313"/>
              </a:gdLst>
              <a:ahLst/>
              <a:cxnLst>
                <a:cxn ang="0">
                  <a:pos x="csX0" y="csY0"/>
                </a:cxn>
                <a:cxn ang="0">
                  <a:pos x="csX1" y="csY1"/>
                </a:cxn>
                <a:cxn ang="0">
                  <a:pos x="csX2" y="csY2"/>
                </a:cxn>
                <a:cxn ang="0">
                  <a:pos x="csX3" y="csY3"/>
                </a:cxn>
                <a:cxn ang="0">
                  <a:pos x="csX4" y="csY4"/>
                </a:cxn>
              </a:cxnLst>
              <a:rect l="l" t="t" r="r" b="b"/>
              <a:pathLst>
                <a:path w="15800" h="14313">
                  <a:moveTo>
                    <a:pt x="6941" y="6447"/>
                  </a:moveTo>
                  <a:lnTo>
                    <a:pt x="-8860" y="6447"/>
                  </a:lnTo>
                  <a:lnTo>
                    <a:pt x="-8860" y="-7867"/>
                  </a:lnTo>
                  <a:lnTo>
                    <a:pt x="6941" y="-7867"/>
                  </a:lnTo>
                  <a:lnTo>
                    <a:pt x="6941" y="6447"/>
                  </a:lnTo>
                </a:path>
              </a:pathLst>
            </a:custGeom>
            <a:grpFill/>
            <a:ln w="548" cap="flat">
              <a:noFill/>
              <a:prstDash val="solid"/>
              <a:miter/>
            </a:ln>
          </p:spPr>
          <p:txBody>
            <a:bodyPr/>
            <a:lstStyle/>
            <a:p>
              <a:endParaRPr lang="en-US"/>
            </a:p>
          </p:txBody>
        </p:sp>
        <p:sp>
          <p:nvSpPr>
            <p:cNvPr id="184" name="Freeform: Shape 183">
              <a:extLst>
                <a:ext uri="{FF2B5EF4-FFF2-40B4-BE49-F238E27FC236}">
                  <a16:creationId xmlns:a16="http://schemas.microsoft.com/office/drawing/2014/main" id="{3BF5E80E-365C-2E41-B860-8FBF9767474D}"/>
                </a:ext>
              </a:extLst>
            </p:cNvPr>
            <p:cNvSpPr/>
            <p:nvPr/>
          </p:nvSpPr>
          <p:spPr>
            <a:xfrm flipV="1">
              <a:off x="24216602" y="3288054"/>
              <a:ext cx="15800" cy="14379"/>
            </a:xfrm>
            <a:custGeom>
              <a:avLst/>
              <a:gdLst>
                <a:gd name="csX0" fmla="*/ 6941 w 15800"/>
                <a:gd name="csY0" fmla="*/ 6473 h 14379"/>
                <a:gd name="csX1" fmla="*/ -8860 w 15800"/>
                <a:gd name="csY1" fmla="*/ 6473 h 14379"/>
                <a:gd name="csX2" fmla="*/ -8860 w 15800"/>
                <a:gd name="csY2" fmla="*/ -7907 h 14379"/>
                <a:gd name="csX3" fmla="*/ 6941 w 15800"/>
                <a:gd name="csY3" fmla="*/ -7907 h 14379"/>
                <a:gd name="csX4" fmla="*/ 6941 w 15800"/>
                <a:gd name="csY4" fmla="*/ 6473 h 14379"/>
              </a:gdLst>
              <a:ahLst/>
              <a:cxnLst>
                <a:cxn ang="0">
                  <a:pos x="csX0" y="csY0"/>
                </a:cxn>
                <a:cxn ang="0">
                  <a:pos x="csX1" y="csY1"/>
                </a:cxn>
                <a:cxn ang="0">
                  <a:pos x="csX2" y="csY2"/>
                </a:cxn>
                <a:cxn ang="0">
                  <a:pos x="csX3" y="csY3"/>
                </a:cxn>
                <a:cxn ang="0">
                  <a:pos x="csX4" y="csY4"/>
                </a:cxn>
              </a:cxnLst>
              <a:rect l="l" t="t" r="r" b="b"/>
              <a:pathLst>
                <a:path w="15800" h="14379">
                  <a:moveTo>
                    <a:pt x="6941" y="6473"/>
                  </a:moveTo>
                  <a:lnTo>
                    <a:pt x="-8860" y="6473"/>
                  </a:lnTo>
                  <a:lnTo>
                    <a:pt x="-8860" y="-7907"/>
                  </a:lnTo>
                  <a:lnTo>
                    <a:pt x="6941" y="-7907"/>
                  </a:lnTo>
                  <a:lnTo>
                    <a:pt x="6941" y="6473"/>
                  </a:lnTo>
                </a:path>
              </a:pathLst>
            </a:custGeom>
            <a:grpFill/>
            <a:ln w="548" cap="flat">
              <a:noFill/>
              <a:prstDash val="solid"/>
              <a:miter/>
            </a:ln>
          </p:spPr>
          <p:txBody>
            <a:bodyPr/>
            <a:lstStyle/>
            <a:p>
              <a:endParaRPr lang="en-US"/>
            </a:p>
          </p:txBody>
        </p:sp>
        <p:sp>
          <p:nvSpPr>
            <p:cNvPr id="185" name="Freeform: Shape 184">
              <a:extLst>
                <a:ext uri="{FF2B5EF4-FFF2-40B4-BE49-F238E27FC236}">
                  <a16:creationId xmlns:a16="http://schemas.microsoft.com/office/drawing/2014/main" id="{619E624C-79CF-F848-A4D0-D6FC1BD5AC21}"/>
                </a:ext>
              </a:extLst>
            </p:cNvPr>
            <p:cNvSpPr/>
            <p:nvPr/>
          </p:nvSpPr>
          <p:spPr>
            <a:xfrm flipV="1">
              <a:off x="24216602" y="3396351"/>
              <a:ext cx="15800" cy="14379"/>
            </a:xfrm>
            <a:custGeom>
              <a:avLst/>
              <a:gdLst>
                <a:gd name="csX0" fmla="*/ 6941 w 15800"/>
                <a:gd name="csY0" fmla="*/ 6733 h 14379"/>
                <a:gd name="csX1" fmla="*/ -8860 w 15800"/>
                <a:gd name="csY1" fmla="*/ 6733 h 14379"/>
                <a:gd name="csX2" fmla="*/ -8860 w 15800"/>
                <a:gd name="csY2" fmla="*/ -7647 h 14379"/>
                <a:gd name="csX3" fmla="*/ 6941 w 15800"/>
                <a:gd name="csY3" fmla="*/ -7647 h 14379"/>
                <a:gd name="csX4" fmla="*/ 6941 w 15800"/>
                <a:gd name="csY4" fmla="*/ 6733 h 14379"/>
              </a:gdLst>
              <a:ahLst/>
              <a:cxnLst>
                <a:cxn ang="0">
                  <a:pos x="csX0" y="csY0"/>
                </a:cxn>
                <a:cxn ang="0">
                  <a:pos x="csX1" y="csY1"/>
                </a:cxn>
                <a:cxn ang="0">
                  <a:pos x="csX2" y="csY2"/>
                </a:cxn>
                <a:cxn ang="0">
                  <a:pos x="csX3" y="csY3"/>
                </a:cxn>
                <a:cxn ang="0">
                  <a:pos x="csX4" y="csY4"/>
                </a:cxn>
              </a:cxnLst>
              <a:rect l="l" t="t" r="r" b="b"/>
              <a:pathLst>
                <a:path w="15800" h="14379">
                  <a:moveTo>
                    <a:pt x="6941" y="6733"/>
                  </a:moveTo>
                  <a:lnTo>
                    <a:pt x="-8860" y="6733"/>
                  </a:lnTo>
                  <a:lnTo>
                    <a:pt x="-8860" y="-7647"/>
                  </a:lnTo>
                  <a:lnTo>
                    <a:pt x="6941" y="-7647"/>
                  </a:lnTo>
                  <a:lnTo>
                    <a:pt x="6941" y="6733"/>
                  </a:lnTo>
                </a:path>
              </a:pathLst>
            </a:custGeom>
            <a:grpFill/>
            <a:ln w="548" cap="flat">
              <a:noFill/>
              <a:prstDash val="solid"/>
              <a:miter/>
            </a:ln>
          </p:spPr>
          <p:txBody>
            <a:bodyPr/>
            <a:lstStyle/>
            <a:p>
              <a:endParaRPr lang="en-US"/>
            </a:p>
          </p:txBody>
        </p:sp>
        <p:sp>
          <p:nvSpPr>
            <p:cNvPr id="186" name="Freeform: Shape 185">
              <a:extLst>
                <a:ext uri="{FF2B5EF4-FFF2-40B4-BE49-F238E27FC236}">
                  <a16:creationId xmlns:a16="http://schemas.microsoft.com/office/drawing/2014/main" id="{614B20F3-E897-8D05-4AE9-31BD23BFA9AD}"/>
                </a:ext>
              </a:extLst>
            </p:cNvPr>
            <p:cNvSpPr/>
            <p:nvPr/>
          </p:nvSpPr>
          <p:spPr>
            <a:xfrm flipV="1">
              <a:off x="24216602" y="3379567"/>
              <a:ext cx="15800" cy="14380"/>
            </a:xfrm>
            <a:custGeom>
              <a:avLst/>
              <a:gdLst>
                <a:gd name="csX0" fmla="*/ 6941 w 15800"/>
                <a:gd name="csY0" fmla="*/ 6693 h 14380"/>
                <a:gd name="csX1" fmla="*/ -8860 w 15800"/>
                <a:gd name="csY1" fmla="*/ 6693 h 14380"/>
                <a:gd name="csX2" fmla="*/ -8860 w 15800"/>
                <a:gd name="csY2" fmla="*/ -7687 h 14380"/>
                <a:gd name="csX3" fmla="*/ 6941 w 15800"/>
                <a:gd name="csY3" fmla="*/ -7687 h 14380"/>
                <a:gd name="csX4" fmla="*/ 6941 w 15800"/>
                <a:gd name="csY4" fmla="*/ 6693 h 14380"/>
              </a:gdLst>
              <a:ahLst/>
              <a:cxnLst>
                <a:cxn ang="0">
                  <a:pos x="csX0" y="csY0"/>
                </a:cxn>
                <a:cxn ang="0">
                  <a:pos x="csX1" y="csY1"/>
                </a:cxn>
                <a:cxn ang="0">
                  <a:pos x="csX2" y="csY2"/>
                </a:cxn>
                <a:cxn ang="0">
                  <a:pos x="csX3" y="csY3"/>
                </a:cxn>
                <a:cxn ang="0">
                  <a:pos x="csX4" y="csY4"/>
                </a:cxn>
              </a:cxnLst>
              <a:rect l="l" t="t" r="r" b="b"/>
              <a:pathLst>
                <a:path w="15800" h="14380">
                  <a:moveTo>
                    <a:pt x="6941" y="6693"/>
                  </a:moveTo>
                  <a:lnTo>
                    <a:pt x="-8860" y="6693"/>
                  </a:lnTo>
                  <a:lnTo>
                    <a:pt x="-8860" y="-7687"/>
                  </a:lnTo>
                  <a:lnTo>
                    <a:pt x="6941" y="-7687"/>
                  </a:lnTo>
                  <a:lnTo>
                    <a:pt x="6941" y="6693"/>
                  </a:lnTo>
                </a:path>
              </a:pathLst>
            </a:custGeom>
            <a:grpFill/>
            <a:ln w="548" cap="flat">
              <a:noFill/>
              <a:prstDash val="solid"/>
              <a:miter/>
            </a:ln>
          </p:spPr>
          <p:txBody>
            <a:bodyPr/>
            <a:lstStyle/>
            <a:p>
              <a:endParaRPr lang="en-US"/>
            </a:p>
          </p:txBody>
        </p:sp>
        <p:sp>
          <p:nvSpPr>
            <p:cNvPr id="187" name="Freeform: Shape 186">
              <a:extLst>
                <a:ext uri="{FF2B5EF4-FFF2-40B4-BE49-F238E27FC236}">
                  <a16:creationId xmlns:a16="http://schemas.microsoft.com/office/drawing/2014/main" id="{F051642E-D25F-6553-49F6-3AD644A88132}"/>
                </a:ext>
              </a:extLst>
            </p:cNvPr>
            <p:cNvSpPr/>
            <p:nvPr/>
          </p:nvSpPr>
          <p:spPr>
            <a:xfrm flipV="1">
              <a:off x="24216602" y="3362785"/>
              <a:ext cx="15800" cy="14379"/>
            </a:xfrm>
            <a:custGeom>
              <a:avLst/>
              <a:gdLst>
                <a:gd name="csX0" fmla="*/ 6941 w 15800"/>
                <a:gd name="csY0" fmla="*/ 6652 h 14379"/>
                <a:gd name="csX1" fmla="*/ -8860 w 15800"/>
                <a:gd name="csY1" fmla="*/ 6652 h 14379"/>
                <a:gd name="csX2" fmla="*/ -8860 w 15800"/>
                <a:gd name="csY2" fmla="*/ -7727 h 14379"/>
                <a:gd name="csX3" fmla="*/ 6941 w 15800"/>
                <a:gd name="csY3" fmla="*/ -7727 h 14379"/>
                <a:gd name="csX4" fmla="*/ 6941 w 15800"/>
                <a:gd name="csY4" fmla="*/ 6652 h 14379"/>
              </a:gdLst>
              <a:ahLst/>
              <a:cxnLst>
                <a:cxn ang="0">
                  <a:pos x="csX0" y="csY0"/>
                </a:cxn>
                <a:cxn ang="0">
                  <a:pos x="csX1" y="csY1"/>
                </a:cxn>
                <a:cxn ang="0">
                  <a:pos x="csX2" y="csY2"/>
                </a:cxn>
                <a:cxn ang="0">
                  <a:pos x="csX3" y="csY3"/>
                </a:cxn>
                <a:cxn ang="0">
                  <a:pos x="csX4" y="csY4"/>
                </a:cxn>
              </a:cxnLst>
              <a:rect l="l" t="t" r="r" b="b"/>
              <a:pathLst>
                <a:path w="15800" h="14379">
                  <a:moveTo>
                    <a:pt x="6941" y="6652"/>
                  </a:moveTo>
                  <a:lnTo>
                    <a:pt x="-8860" y="6652"/>
                  </a:lnTo>
                  <a:lnTo>
                    <a:pt x="-8860" y="-7727"/>
                  </a:lnTo>
                  <a:lnTo>
                    <a:pt x="6941" y="-7727"/>
                  </a:lnTo>
                  <a:lnTo>
                    <a:pt x="6941" y="6652"/>
                  </a:lnTo>
                </a:path>
              </a:pathLst>
            </a:custGeom>
            <a:grpFill/>
            <a:ln w="548" cap="flat">
              <a:noFill/>
              <a:prstDash val="solid"/>
              <a:miter/>
            </a:ln>
          </p:spPr>
          <p:txBody>
            <a:bodyPr/>
            <a:lstStyle/>
            <a:p>
              <a:endParaRPr lang="en-US"/>
            </a:p>
          </p:txBody>
        </p:sp>
        <p:sp>
          <p:nvSpPr>
            <p:cNvPr id="188" name="Freeform: Shape 187">
              <a:extLst>
                <a:ext uri="{FF2B5EF4-FFF2-40B4-BE49-F238E27FC236}">
                  <a16:creationId xmlns:a16="http://schemas.microsoft.com/office/drawing/2014/main" id="{05B8C926-5D1D-A25E-A2FD-E945C17D0538}"/>
                </a:ext>
              </a:extLst>
            </p:cNvPr>
            <p:cNvSpPr/>
            <p:nvPr/>
          </p:nvSpPr>
          <p:spPr>
            <a:xfrm flipV="1">
              <a:off x="24216602" y="3413133"/>
              <a:ext cx="15800" cy="14379"/>
            </a:xfrm>
            <a:custGeom>
              <a:avLst/>
              <a:gdLst>
                <a:gd name="csX0" fmla="*/ 6941 w 15800"/>
                <a:gd name="csY0" fmla="*/ 6773 h 14379"/>
                <a:gd name="csX1" fmla="*/ -8860 w 15800"/>
                <a:gd name="csY1" fmla="*/ 6773 h 14379"/>
                <a:gd name="csX2" fmla="*/ -8860 w 15800"/>
                <a:gd name="csY2" fmla="*/ -7606 h 14379"/>
                <a:gd name="csX3" fmla="*/ 6941 w 15800"/>
                <a:gd name="csY3" fmla="*/ -7606 h 14379"/>
                <a:gd name="csX4" fmla="*/ 6941 w 15800"/>
                <a:gd name="csY4" fmla="*/ 6773 h 14379"/>
              </a:gdLst>
              <a:ahLst/>
              <a:cxnLst>
                <a:cxn ang="0">
                  <a:pos x="csX0" y="csY0"/>
                </a:cxn>
                <a:cxn ang="0">
                  <a:pos x="csX1" y="csY1"/>
                </a:cxn>
                <a:cxn ang="0">
                  <a:pos x="csX2" y="csY2"/>
                </a:cxn>
                <a:cxn ang="0">
                  <a:pos x="csX3" y="csY3"/>
                </a:cxn>
                <a:cxn ang="0">
                  <a:pos x="csX4" y="csY4"/>
                </a:cxn>
              </a:cxnLst>
              <a:rect l="l" t="t" r="r" b="b"/>
              <a:pathLst>
                <a:path w="15800" h="14379">
                  <a:moveTo>
                    <a:pt x="6941" y="6773"/>
                  </a:moveTo>
                  <a:lnTo>
                    <a:pt x="-8860" y="6773"/>
                  </a:lnTo>
                  <a:lnTo>
                    <a:pt x="-8860" y="-7606"/>
                  </a:lnTo>
                  <a:lnTo>
                    <a:pt x="6941" y="-7606"/>
                  </a:lnTo>
                  <a:lnTo>
                    <a:pt x="6941" y="6773"/>
                  </a:lnTo>
                </a:path>
              </a:pathLst>
            </a:custGeom>
            <a:grpFill/>
            <a:ln w="548" cap="flat">
              <a:noFill/>
              <a:prstDash val="solid"/>
              <a:miter/>
            </a:ln>
          </p:spPr>
          <p:txBody>
            <a:bodyPr/>
            <a:lstStyle/>
            <a:p>
              <a:endParaRPr lang="en-US"/>
            </a:p>
          </p:txBody>
        </p:sp>
        <p:sp>
          <p:nvSpPr>
            <p:cNvPr id="189" name="Freeform: Shape 188">
              <a:extLst>
                <a:ext uri="{FF2B5EF4-FFF2-40B4-BE49-F238E27FC236}">
                  <a16:creationId xmlns:a16="http://schemas.microsoft.com/office/drawing/2014/main" id="{041C00B5-531D-899B-5183-C9695CD9C489}"/>
                </a:ext>
              </a:extLst>
            </p:cNvPr>
            <p:cNvSpPr/>
            <p:nvPr/>
          </p:nvSpPr>
          <p:spPr>
            <a:xfrm flipV="1">
              <a:off x="24216602" y="3446694"/>
              <a:ext cx="15800" cy="14379"/>
            </a:xfrm>
            <a:custGeom>
              <a:avLst/>
              <a:gdLst>
                <a:gd name="csX0" fmla="*/ 6941 w 15800"/>
                <a:gd name="csY0" fmla="*/ 6854 h 14379"/>
                <a:gd name="csX1" fmla="*/ -8860 w 15800"/>
                <a:gd name="csY1" fmla="*/ 6854 h 14379"/>
                <a:gd name="csX2" fmla="*/ -8860 w 15800"/>
                <a:gd name="csY2" fmla="*/ -7526 h 14379"/>
                <a:gd name="csX3" fmla="*/ 6941 w 15800"/>
                <a:gd name="csY3" fmla="*/ -7526 h 14379"/>
                <a:gd name="csX4" fmla="*/ 6941 w 15800"/>
                <a:gd name="csY4" fmla="*/ 6854 h 14379"/>
              </a:gdLst>
              <a:ahLst/>
              <a:cxnLst>
                <a:cxn ang="0">
                  <a:pos x="csX0" y="csY0"/>
                </a:cxn>
                <a:cxn ang="0">
                  <a:pos x="csX1" y="csY1"/>
                </a:cxn>
                <a:cxn ang="0">
                  <a:pos x="csX2" y="csY2"/>
                </a:cxn>
                <a:cxn ang="0">
                  <a:pos x="csX3" y="csY3"/>
                </a:cxn>
                <a:cxn ang="0">
                  <a:pos x="csX4" y="csY4"/>
                </a:cxn>
              </a:cxnLst>
              <a:rect l="l" t="t" r="r" b="b"/>
              <a:pathLst>
                <a:path w="15800" h="14379">
                  <a:moveTo>
                    <a:pt x="6941" y="6854"/>
                  </a:moveTo>
                  <a:lnTo>
                    <a:pt x="-8860" y="6854"/>
                  </a:lnTo>
                  <a:lnTo>
                    <a:pt x="-8860" y="-7526"/>
                  </a:lnTo>
                  <a:lnTo>
                    <a:pt x="6941" y="-7526"/>
                  </a:lnTo>
                  <a:lnTo>
                    <a:pt x="6941" y="6854"/>
                  </a:lnTo>
                </a:path>
              </a:pathLst>
            </a:custGeom>
            <a:grpFill/>
            <a:ln w="548" cap="flat">
              <a:noFill/>
              <a:prstDash val="solid"/>
              <a:miter/>
            </a:ln>
          </p:spPr>
          <p:txBody>
            <a:bodyPr/>
            <a:lstStyle/>
            <a:p>
              <a:endParaRPr lang="en-US"/>
            </a:p>
          </p:txBody>
        </p:sp>
        <p:sp>
          <p:nvSpPr>
            <p:cNvPr id="190" name="Freeform: Shape 189">
              <a:extLst>
                <a:ext uri="{FF2B5EF4-FFF2-40B4-BE49-F238E27FC236}">
                  <a16:creationId xmlns:a16="http://schemas.microsoft.com/office/drawing/2014/main" id="{43D66688-5AFB-4303-2CB1-6BB2AC8943F1}"/>
                </a:ext>
              </a:extLst>
            </p:cNvPr>
            <p:cNvSpPr/>
            <p:nvPr/>
          </p:nvSpPr>
          <p:spPr>
            <a:xfrm flipV="1">
              <a:off x="24216602" y="3480259"/>
              <a:ext cx="15800" cy="14313"/>
            </a:xfrm>
            <a:custGeom>
              <a:avLst/>
              <a:gdLst>
                <a:gd name="csX0" fmla="*/ 6941 w 15800"/>
                <a:gd name="csY0" fmla="*/ 6869 h 14313"/>
                <a:gd name="csX1" fmla="*/ -8860 w 15800"/>
                <a:gd name="csY1" fmla="*/ 6869 h 14313"/>
                <a:gd name="csX2" fmla="*/ -8860 w 15800"/>
                <a:gd name="csY2" fmla="*/ -7445 h 14313"/>
                <a:gd name="csX3" fmla="*/ 6941 w 15800"/>
                <a:gd name="csY3" fmla="*/ -7445 h 14313"/>
                <a:gd name="csX4" fmla="*/ 6941 w 15800"/>
                <a:gd name="csY4" fmla="*/ 6869 h 14313"/>
              </a:gdLst>
              <a:ahLst/>
              <a:cxnLst>
                <a:cxn ang="0">
                  <a:pos x="csX0" y="csY0"/>
                </a:cxn>
                <a:cxn ang="0">
                  <a:pos x="csX1" y="csY1"/>
                </a:cxn>
                <a:cxn ang="0">
                  <a:pos x="csX2" y="csY2"/>
                </a:cxn>
                <a:cxn ang="0">
                  <a:pos x="csX3" y="csY3"/>
                </a:cxn>
                <a:cxn ang="0">
                  <a:pos x="csX4" y="csY4"/>
                </a:cxn>
              </a:cxnLst>
              <a:rect l="l" t="t" r="r" b="b"/>
              <a:pathLst>
                <a:path w="15800" h="14313">
                  <a:moveTo>
                    <a:pt x="6941" y="6869"/>
                  </a:moveTo>
                  <a:lnTo>
                    <a:pt x="-8860" y="6869"/>
                  </a:lnTo>
                  <a:lnTo>
                    <a:pt x="-8860" y="-7445"/>
                  </a:lnTo>
                  <a:lnTo>
                    <a:pt x="6941" y="-7445"/>
                  </a:lnTo>
                  <a:lnTo>
                    <a:pt x="6941" y="6869"/>
                  </a:lnTo>
                </a:path>
              </a:pathLst>
            </a:custGeom>
            <a:grpFill/>
            <a:ln w="548" cap="flat">
              <a:noFill/>
              <a:prstDash val="solid"/>
              <a:miter/>
            </a:ln>
          </p:spPr>
          <p:txBody>
            <a:bodyPr/>
            <a:lstStyle/>
            <a:p>
              <a:endParaRPr lang="en-US"/>
            </a:p>
          </p:txBody>
        </p:sp>
        <p:sp>
          <p:nvSpPr>
            <p:cNvPr id="191" name="Freeform: Shape 190">
              <a:extLst>
                <a:ext uri="{FF2B5EF4-FFF2-40B4-BE49-F238E27FC236}">
                  <a16:creationId xmlns:a16="http://schemas.microsoft.com/office/drawing/2014/main" id="{096E9003-2D63-2C74-35EF-8E7851F9DC3C}"/>
                </a:ext>
              </a:extLst>
            </p:cNvPr>
            <p:cNvSpPr/>
            <p:nvPr/>
          </p:nvSpPr>
          <p:spPr>
            <a:xfrm flipV="1">
              <a:off x="24216602" y="3348125"/>
              <a:ext cx="15800" cy="12256"/>
            </a:xfrm>
            <a:custGeom>
              <a:avLst/>
              <a:gdLst>
                <a:gd name="csX0" fmla="*/ 6941 w 15800"/>
                <a:gd name="csY0" fmla="*/ 4491 h 12256"/>
                <a:gd name="csX1" fmla="*/ -8860 w 15800"/>
                <a:gd name="csY1" fmla="*/ 4491 h 12256"/>
                <a:gd name="csX2" fmla="*/ -8860 w 15800"/>
                <a:gd name="csY2" fmla="*/ -7765 h 12256"/>
                <a:gd name="csX3" fmla="*/ 6941 w 15800"/>
                <a:gd name="csY3" fmla="*/ -7765 h 12256"/>
                <a:gd name="csX4" fmla="*/ 6941 w 15800"/>
                <a:gd name="csY4" fmla="*/ 4491 h 12256"/>
              </a:gdLst>
              <a:ahLst/>
              <a:cxnLst>
                <a:cxn ang="0">
                  <a:pos x="csX0" y="csY0"/>
                </a:cxn>
                <a:cxn ang="0">
                  <a:pos x="csX1" y="csY1"/>
                </a:cxn>
                <a:cxn ang="0">
                  <a:pos x="csX2" y="csY2"/>
                </a:cxn>
                <a:cxn ang="0">
                  <a:pos x="csX3" y="csY3"/>
                </a:cxn>
                <a:cxn ang="0">
                  <a:pos x="csX4" y="csY4"/>
                </a:cxn>
              </a:cxnLst>
              <a:rect l="l" t="t" r="r" b="b"/>
              <a:pathLst>
                <a:path w="15800" h="12256">
                  <a:moveTo>
                    <a:pt x="6941" y="4491"/>
                  </a:moveTo>
                  <a:lnTo>
                    <a:pt x="-8860" y="4491"/>
                  </a:lnTo>
                  <a:lnTo>
                    <a:pt x="-8860" y="-7765"/>
                  </a:lnTo>
                  <a:lnTo>
                    <a:pt x="6941" y="-7765"/>
                  </a:lnTo>
                  <a:lnTo>
                    <a:pt x="6941" y="4491"/>
                  </a:lnTo>
                </a:path>
              </a:pathLst>
            </a:custGeom>
            <a:grpFill/>
            <a:ln w="548" cap="flat">
              <a:noFill/>
              <a:prstDash val="solid"/>
              <a:miter/>
            </a:ln>
          </p:spPr>
          <p:txBody>
            <a:bodyPr/>
            <a:lstStyle/>
            <a:p>
              <a:endParaRPr lang="en-US"/>
            </a:p>
          </p:txBody>
        </p:sp>
        <p:sp>
          <p:nvSpPr>
            <p:cNvPr id="192" name="Freeform: Shape 191">
              <a:extLst>
                <a:ext uri="{FF2B5EF4-FFF2-40B4-BE49-F238E27FC236}">
                  <a16:creationId xmlns:a16="http://schemas.microsoft.com/office/drawing/2014/main" id="{A56D2CC3-C939-D78F-D544-FFFD617C4F27}"/>
                </a:ext>
              </a:extLst>
            </p:cNvPr>
            <p:cNvSpPr/>
            <p:nvPr/>
          </p:nvSpPr>
          <p:spPr>
            <a:xfrm flipV="1">
              <a:off x="24216602" y="3429916"/>
              <a:ext cx="15800" cy="14379"/>
            </a:xfrm>
            <a:custGeom>
              <a:avLst/>
              <a:gdLst>
                <a:gd name="csX0" fmla="*/ 6941 w 15800"/>
                <a:gd name="csY0" fmla="*/ 6814 h 14379"/>
                <a:gd name="csX1" fmla="*/ -8860 w 15800"/>
                <a:gd name="csY1" fmla="*/ 6814 h 14379"/>
                <a:gd name="csX2" fmla="*/ -8860 w 15800"/>
                <a:gd name="csY2" fmla="*/ -7566 h 14379"/>
                <a:gd name="csX3" fmla="*/ 6941 w 15800"/>
                <a:gd name="csY3" fmla="*/ -7566 h 14379"/>
                <a:gd name="csX4" fmla="*/ 6941 w 15800"/>
                <a:gd name="csY4" fmla="*/ 6814 h 14379"/>
              </a:gdLst>
              <a:ahLst/>
              <a:cxnLst>
                <a:cxn ang="0">
                  <a:pos x="csX0" y="csY0"/>
                </a:cxn>
                <a:cxn ang="0">
                  <a:pos x="csX1" y="csY1"/>
                </a:cxn>
                <a:cxn ang="0">
                  <a:pos x="csX2" y="csY2"/>
                </a:cxn>
                <a:cxn ang="0">
                  <a:pos x="csX3" y="csY3"/>
                </a:cxn>
                <a:cxn ang="0">
                  <a:pos x="csX4" y="csY4"/>
                </a:cxn>
              </a:cxnLst>
              <a:rect l="l" t="t" r="r" b="b"/>
              <a:pathLst>
                <a:path w="15800" h="14379">
                  <a:moveTo>
                    <a:pt x="6941" y="6814"/>
                  </a:moveTo>
                  <a:lnTo>
                    <a:pt x="-8860" y="6814"/>
                  </a:lnTo>
                  <a:lnTo>
                    <a:pt x="-8860" y="-7566"/>
                  </a:lnTo>
                  <a:lnTo>
                    <a:pt x="6941" y="-7566"/>
                  </a:lnTo>
                  <a:lnTo>
                    <a:pt x="6941" y="6814"/>
                  </a:lnTo>
                </a:path>
              </a:pathLst>
            </a:custGeom>
            <a:grpFill/>
            <a:ln w="548" cap="flat">
              <a:noFill/>
              <a:prstDash val="solid"/>
              <a:miter/>
            </a:ln>
          </p:spPr>
          <p:txBody>
            <a:bodyPr/>
            <a:lstStyle/>
            <a:p>
              <a:endParaRPr lang="en-US"/>
            </a:p>
          </p:txBody>
        </p:sp>
        <p:sp>
          <p:nvSpPr>
            <p:cNvPr id="193" name="Freeform: Shape 192">
              <a:extLst>
                <a:ext uri="{FF2B5EF4-FFF2-40B4-BE49-F238E27FC236}">
                  <a16:creationId xmlns:a16="http://schemas.microsoft.com/office/drawing/2014/main" id="{997A6711-434B-E2D9-39E1-9B62797A1941}"/>
                </a:ext>
              </a:extLst>
            </p:cNvPr>
            <p:cNvSpPr/>
            <p:nvPr/>
          </p:nvSpPr>
          <p:spPr>
            <a:xfrm flipV="1">
              <a:off x="24216602" y="3463477"/>
              <a:ext cx="15800" cy="14379"/>
            </a:xfrm>
            <a:custGeom>
              <a:avLst/>
              <a:gdLst>
                <a:gd name="csX0" fmla="*/ 6941 w 15800"/>
                <a:gd name="csY0" fmla="*/ 6895 h 14379"/>
                <a:gd name="csX1" fmla="*/ -8860 w 15800"/>
                <a:gd name="csY1" fmla="*/ 6895 h 14379"/>
                <a:gd name="csX2" fmla="*/ -8860 w 15800"/>
                <a:gd name="csY2" fmla="*/ -7485 h 14379"/>
                <a:gd name="csX3" fmla="*/ 6941 w 15800"/>
                <a:gd name="csY3" fmla="*/ -7485 h 14379"/>
                <a:gd name="csX4" fmla="*/ 6941 w 15800"/>
                <a:gd name="csY4" fmla="*/ 6895 h 14379"/>
              </a:gdLst>
              <a:ahLst/>
              <a:cxnLst>
                <a:cxn ang="0">
                  <a:pos x="csX0" y="csY0"/>
                </a:cxn>
                <a:cxn ang="0">
                  <a:pos x="csX1" y="csY1"/>
                </a:cxn>
                <a:cxn ang="0">
                  <a:pos x="csX2" y="csY2"/>
                </a:cxn>
                <a:cxn ang="0">
                  <a:pos x="csX3" y="csY3"/>
                </a:cxn>
                <a:cxn ang="0">
                  <a:pos x="csX4" y="csY4"/>
                </a:cxn>
              </a:cxnLst>
              <a:rect l="l" t="t" r="r" b="b"/>
              <a:pathLst>
                <a:path w="15800" h="14379">
                  <a:moveTo>
                    <a:pt x="6941" y="6895"/>
                  </a:moveTo>
                  <a:lnTo>
                    <a:pt x="-8860" y="6895"/>
                  </a:lnTo>
                  <a:lnTo>
                    <a:pt x="-8860" y="-7485"/>
                  </a:lnTo>
                  <a:lnTo>
                    <a:pt x="6941" y="-7485"/>
                  </a:lnTo>
                  <a:lnTo>
                    <a:pt x="6941" y="6895"/>
                  </a:lnTo>
                </a:path>
              </a:pathLst>
            </a:custGeom>
            <a:grpFill/>
            <a:ln w="548" cap="flat">
              <a:noFill/>
              <a:prstDash val="solid"/>
              <a:miter/>
            </a:ln>
          </p:spPr>
          <p:txBody>
            <a:bodyPr/>
            <a:lstStyle/>
            <a:p>
              <a:endParaRPr lang="en-US"/>
            </a:p>
          </p:txBody>
        </p:sp>
        <p:sp>
          <p:nvSpPr>
            <p:cNvPr id="194" name="Freeform: Shape 193">
              <a:extLst>
                <a:ext uri="{FF2B5EF4-FFF2-40B4-BE49-F238E27FC236}">
                  <a16:creationId xmlns:a16="http://schemas.microsoft.com/office/drawing/2014/main" id="{BEB7DA19-CC2C-0A15-8E78-AB6CE7A40DDC}"/>
                </a:ext>
              </a:extLst>
            </p:cNvPr>
            <p:cNvSpPr/>
            <p:nvPr/>
          </p:nvSpPr>
          <p:spPr>
            <a:xfrm flipV="1">
              <a:off x="24266967" y="3112139"/>
              <a:ext cx="15855" cy="12256"/>
            </a:xfrm>
            <a:custGeom>
              <a:avLst/>
              <a:gdLst>
                <a:gd name="csX0" fmla="*/ 6933 w 15855"/>
                <a:gd name="csY0" fmla="*/ 3923 h 12256"/>
                <a:gd name="csX1" fmla="*/ -8923 w 15855"/>
                <a:gd name="csY1" fmla="*/ 3923 h 12256"/>
                <a:gd name="csX2" fmla="*/ -8923 w 15855"/>
                <a:gd name="csY2" fmla="*/ -8333 h 12256"/>
                <a:gd name="csX3" fmla="*/ 6933 w 15855"/>
                <a:gd name="csY3" fmla="*/ -8333 h 12256"/>
                <a:gd name="csX4" fmla="*/ 6933 w 15855"/>
                <a:gd name="csY4" fmla="*/ 3923 h 12256"/>
              </a:gdLst>
              <a:ahLst/>
              <a:cxnLst>
                <a:cxn ang="0">
                  <a:pos x="csX0" y="csY0"/>
                </a:cxn>
                <a:cxn ang="0">
                  <a:pos x="csX1" y="csY1"/>
                </a:cxn>
                <a:cxn ang="0">
                  <a:pos x="csX2" y="csY2"/>
                </a:cxn>
                <a:cxn ang="0">
                  <a:pos x="csX3" y="csY3"/>
                </a:cxn>
                <a:cxn ang="0">
                  <a:pos x="csX4" y="csY4"/>
                </a:cxn>
              </a:cxnLst>
              <a:rect l="l" t="t" r="r" b="b"/>
              <a:pathLst>
                <a:path w="15855" h="12256">
                  <a:moveTo>
                    <a:pt x="6933" y="3923"/>
                  </a:moveTo>
                  <a:lnTo>
                    <a:pt x="-8923" y="3923"/>
                  </a:lnTo>
                  <a:lnTo>
                    <a:pt x="-8923" y="-8333"/>
                  </a:lnTo>
                  <a:lnTo>
                    <a:pt x="6933" y="-8333"/>
                  </a:lnTo>
                  <a:lnTo>
                    <a:pt x="6933" y="3923"/>
                  </a:lnTo>
                </a:path>
              </a:pathLst>
            </a:custGeom>
            <a:grpFill/>
            <a:ln w="548" cap="flat">
              <a:noFill/>
              <a:prstDash val="solid"/>
              <a:miter/>
            </a:ln>
          </p:spPr>
          <p:txBody>
            <a:bodyPr/>
            <a:lstStyle/>
            <a:p>
              <a:endParaRPr lang="en-US"/>
            </a:p>
          </p:txBody>
        </p:sp>
        <p:sp>
          <p:nvSpPr>
            <p:cNvPr id="195" name="Freeform: Shape 194">
              <a:extLst>
                <a:ext uri="{FF2B5EF4-FFF2-40B4-BE49-F238E27FC236}">
                  <a16:creationId xmlns:a16="http://schemas.microsoft.com/office/drawing/2014/main" id="{50CD2CDF-0C65-9F84-E3BA-BF7F7E22490B}"/>
                </a:ext>
              </a:extLst>
            </p:cNvPr>
            <p:cNvSpPr/>
            <p:nvPr/>
          </p:nvSpPr>
          <p:spPr>
            <a:xfrm flipV="1">
              <a:off x="24266967" y="3126798"/>
              <a:ext cx="15855" cy="12262"/>
            </a:xfrm>
            <a:custGeom>
              <a:avLst/>
              <a:gdLst>
                <a:gd name="csX0" fmla="*/ 6933 w 15855"/>
                <a:gd name="csY0" fmla="*/ 3965 h 12262"/>
                <a:gd name="csX1" fmla="*/ -8923 w 15855"/>
                <a:gd name="csY1" fmla="*/ 3965 h 12262"/>
                <a:gd name="csX2" fmla="*/ -8923 w 15855"/>
                <a:gd name="csY2" fmla="*/ -8298 h 12262"/>
                <a:gd name="csX3" fmla="*/ 6933 w 15855"/>
                <a:gd name="csY3" fmla="*/ -8298 h 12262"/>
                <a:gd name="csX4" fmla="*/ 6933 w 15855"/>
                <a:gd name="csY4" fmla="*/ 3965 h 12262"/>
              </a:gdLst>
              <a:ahLst/>
              <a:cxnLst>
                <a:cxn ang="0">
                  <a:pos x="csX0" y="csY0"/>
                </a:cxn>
                <a:cxn ang="0">
                  <a:pos x="csX1" y="csY1"/>
                </a:cxn>
                <a:cxn ang="0">
                  <a:pos x="csX2" y="csY2"/>
                </a:cxn>
                <a:cxn ang="0">
                  <a:pos x="csX3" y="csY3"/>
                </a:cxn>
                <a:cxn ang="0">
                  <a:pos x="csX4" y="csY4"/>
                </a:cxn>
              </a:cxnLst>
              <a:rect l="l" t="t" r="r" b="b"/>
              <a:pathLst>
                <a:path w="15855" h="12262">
                  <a:moveTo>
                    <a:pt x="6933" y="3965"/>
                  </a:moveTo>
                  <a:lnTo>
                    <a:pt x="-8923" y="3965"/>
                  </a:lnTo>
                  <a:lnTo>
                    <a:pt x="-8923" y="-8298"/>
                  </a:lnTo>
                  <a:lnTo>
                    <a:pt x="6933" y="-8298"/>
                  </a:lnTo>
                  <a:lnTo>
                    <a:pt x="6933" y="3965"/>
                  </a:lnTo>
                </a:path>
              </a:pathLst>
            </a:custGeom>
            <a:grpFill/>
            <a:ln w="548" cap="flat">
              <a:noFill/>
              <a:prstDash val="solid"/>
              <a:miter/>
            </a:ln>
          </p:spPr>
          <p:txBody>
            <a:bodyPr/>
            <a:lstStyle/>
            <a:p>
              <a:endParaRPr lang="en-US"/>
            </a:p>
          </p:txBody>
        </p:sp>
        <p:sp>
          <p:nvSpPr>
            <p:cNvPr id="196" name="Freeform: Shape 195">
              <a:extLst>
                <a:ext uri="{FF2B5EF4-FFF2-40B4-BE49-F238E27FC236}">
                  <a16:creationId xmlns:a16="http://schemas.microsoft.com/office/drawing/2014/main" id="{66919B39-1119-0048-0DC2-42AD7369A83A}"/>
                </a:ext>
              </a:extLst>
            </p:cNvPr>
            <p:cNvSpPr/>
            <p:nvPr/>
          </p:nvSpPr>
          <p:spPr>
            <a:xfrm flipV="1">
              <a:off x="24266967" y="3220928"/>
              <a:ext cx="15855" cy="14374"/>
            </a:xfrm>
            <a:custGeom>
              <a:avLst/>
              <a:gdLst>
                <a:gd name="csX0" fmla="*/ 6933 w 15855"/>
                <a:gd name="csY0" fmla="*/ 6306 h 14374"/>
                <a:gd name="csX1" fmla="*/ -8923 w 15855"/>
                <a:gd name="csY1" fmla="*/ 6306 h 14374"/>
                <a:gd name="csX2" fmla="*/ -8923 w 15855"/>
                <a:gd name="csY2" fmla="*/ -8069 h 14374"/>
                <a:gd name="csX3" fmla="*/ 6933 w 15855"/>
                <a:gd name="csY3" fmla="*/ -8069 h 14374"/>
                <a:gd name="csX4" fmla="*/ 6933 w 15855"/>
                <a:gd name="csY4" fmla="*/ 6306 h 14374"/>
              </a:gdLst>
              <a:ahLst/>
              <a:cxnLst>
                <a:cxn ang="0">
                  <a:pos x="csX0" y="csY0"/>
                </a:cxn>
                <a:cxn ang="0">
                  <a:pos x="csX1" y="csY1"/>
                </a:cxn>
                <a:cxn ang="0">
                  <a:pos x="csX2" y="csY2"/>
                </a:cxn>
                <a:cxn ang="0">
                  <a:pos x="csX3" y="csY3"/>
                </a:cxn>
                <a:cxn ang="0">
                  <a:pos x="csX4" y="csY4"/>
                </a:cxn>
              </a:cxnLst>
              <a:rect l="l" t="t" r="r" b="b"/>
              <a:pathLst>
                <a:path w="15855" h="14374">
                  <a:moveTo>
                    <a:pt x="6933" y="6306"/>
                  </a:moveTo>
                  <a:lnTo>
                    <a:pt x="-8923" y="6306"/>
                  </a:lnTo>
                  <a:lnTo>
                    <a:pt x="-8923" y="-8069"/>
                  </a:lnTo>
                  <a:lnTo>
                    <a:pt x="6933" y="-8069"/>
                  </a:lnTo>
                  <a:lnTo>
                    <a:pt x="6933" y="6306"/>
                  </a:lnTo>
                </a:path>
              </a:pathLst>
            </a:custGeom>
            <a:grpFill/>
            <a:ln w="548" cap="flat">
              <a:noFill/>
              <a:prstDash val="solid"/>
              <a:miter/>
            </a:ln>
          </p:spPr>
          <p:txBody>
            <a:bodyPr/>
            <a:lstStyle/>
            <a:p>
              <a:endParaRPr lang="en-US"/>
            </a:p>
          </p:txBody>
        </p:sp>
        <p:sp>
          <p:nvSpPr>
            <p:cNvPr id="197" name="Freeform: Shape 196">
              <a:extLst>
                <a:ext uri="{FF2B5EF4-FFF2-40B4-BE49-F238E27FC236}">
                  <a16:creationId xmlns:a16="http://schemas.microsoft.com/office/drawing/2014/main" id="{FBB956E3-8325-408B-E72D-DEE3EDC0FF27}"/>
                </a:ext>
              </a:extLst>
            </p:cNvPr>
            <p:cNvSpPr/>
            <p:nvPr/>
          </p:nvSpPr>
          <p:spPr>
            <a:xfrm flipV="1">
              <a:off x="24266967" y="3254489"/>
              <a:ext cx="15855" cy="14379"/>
            </a:xfrm>
            <a:custGeom>
              <a:avLst/>
              <a:gdLst>
                <a:gd name="csX0" fmla="*/ 6933 w 15855"/>
                <a:gd name="csY0" fmla="*/ 6392 h 14379"/>
                <a:gd name="csX1" fmla="*/ -8923 w 15855"/>
                <a:gd name="csY1" fmla="*/ 6392 h 14379"/>
                <a:gd name="csX2" fmla="*/ -8923 w 15855"/>
                <a:gd name="csY2" fmla="*/ -7988 h 14379"/>
                <a:gd name="csX3" fmla="*/ 6933 w 15855"/>
                <a:gd name="csY3" fmla="*/ -7988 h 14379"/>
                <a:gd name="csX4" fmla="*/ 6933 w 15855"/>
                <a:gd name="csY4" fmla="*/ 6392 h 14379"/>
              </a:gdLst>
              <a:ahLst/>
              <a:cxnLst>
                <a:cxn ang="0">
                  <a:pos x="csX0" y="csY0"/>
                </a:cxn>
                <a:cxn ang="0">
                  <a:pos x="csX1" y="csY1"/>
                </a:cxn>
                <a:cxn ang="0">
                  <a:pos x="csX2" y="csY2"/>
                </a:cxn>
                <a:cxn ang="0">
                  <a:pos x="csX3" y="csY3"/>
                </a:cxn>
                <a:cxn ang="0">
                  <a:pos x="csX4" y="csY4"/>
                </a:cxn>
              </a:cxnLst>
              <a:rect l="l" t="t" r="r" b="b"/>
              <a:pathLst>
                <a:path w="15855" h="14379">
                  <a:moveTo>
                    <a:pt x="6933" y="6392"/>
                  </a:moveTo>
                  <a:lnTo>
                    <a:pt x="-8923" y="6392"/>
                  </a:lnTo>
                  <a:lnTo>
                    <a:pt x="-8923" y="-7988"/>
                  </a:lnTo>
                  <a:lnTo>
                    <a:pt x="6933" y="-7988"/>
                  </a:lnTo>
                  <a:lnTo>
                    <a:pt x="6933" y="6392"/>
                  </a:lnTo>
                </a:path>
              </a:pathLst>
            </a:custGeom>
            <a:grpFill/>
            <a:ln w="548" cap="flat">
              <a:noFill/>
              <a:prstDash val="solid"/>
              <a:miter/>
            </a:ln>
          </p:spPr>
          <p:txBody>
            <a:bodyPr/>
            <a:lstStyle/>
            <a:p>
              <a:endParaRPr lang="en-US"/>
            </a:p>
          </p:txBody>
        </p:sp>
        <p:sp>
          <p:nvSpPr>
            <p:cNvPr id="198" name="Freeform: Shape 197">
              <a:extLst>
                <a:ext uri="{FF2B5EF4-FFF2-40B4-BE49-F238E27FC236}">
                  <a16:creationId xmlns:a16="http://schemas.microsoft.com/office/drawing/2014/main" id="{816FA0B8-BF30-3B85-1B15-8F77EDA0CBC9}"/>
                </a:ext>
              </a:extLst>
            </p:cNvPr>
            <p:cNvSpPr/>
            <p:nvPr/>
          </p:nvSpPr>
          <p:spPr>
            <a:xfrm flipV="1">
              <a:off x="24266967" y="3237706"/>
              <a:ext cx="15855" cy="14379"/>
            </a:xfrm>
            <a:custGeom>
              <a:avLst/>
              <a:gdLst>
                <a:gd name="csX0" fmla="*/ 6933 w 15855"/>
                <a:gd name="csY0" fmla="*/ 6351 h 14379"/>
                <a:gd name="csX1" fmla="*/ -8923 w 15855"/>
                <a:gd name="csY1" fmla="*/ 6351 h 14379"/>
                <a:gd name="csX2" fmla="*/ -8923 w 15855"/>
                <a:gd name="csY2" fmla="*/ -8028 h 14379"/>
                <a:gd name="csX3" fmla="*/ 6933 w 15855"/>
                <a:gd name="csY3" fmla="*/ -8028 h 14379"/>
                <a:gd name="csX4" fmla="*/ 6933 w 15855"/>
                <a:gd name="csY4" fmla="*/ 6351 h 14379"/>
              </a:gdLst>
              <a:ahLst/>
              <a:cxnLst>
                <a:cxn ang="0">
                  <a:pos x="csX0" y="csY0"/>
                </a:cxn>
                <a:cxn ang="0">
                  <a:pos x="csX1" y="csY1"/>
                </a:cxn>
                <a:cxn ang="0">
                  <a:pos x="csX2" y="csY2"/>
                </a:cxn>
                <a:cxn ang="0">
                  <a:pos x="csX3" y="csY3"/>
                </a:cxn>
                <a:cxn ang="0">
                  <a:pos x="csX4" y="csY4"/>
                </a:cxn>
              </a:cxnLst>
              <a:rect l="l" t="t" r="r" b="b"/>
              <a:pathLst>
                <a:path w="15855" h="14379">
                  <a:moveTo>
                    <a:pt x="6933" y="6351"/>
                  </a:moveTo>
                  <a:lnTo>
                    <a:pt x="-8923" y="6351"/>
                  </a:lnTo>
                  <a:lnTo>
                    <a:pt x="-8923" y="-8028"/>
                  </a:lnTo>
                  <a:lnTo>
                    <a:pt x="6933" y="-8028"/>
                  </a:lnTo>
                  <a:lnTo>
                    <a:pt x="6933" y="6351"/>
                  </a:lnTo>
                </a:path>
              </a:pathLst>
            </a:custGeom>
            <a:grpFill/>
            <a:ln w="548" cap="flat">
              <a:noFill/>
              <a:prstDash val="solid"/>
              <a:miter/>
            </a:ln>
          </p:spPr>
          <p:txBody>
            <a:bodyPr/>
            <a:lstStyle/>
            <a:p>
              <a:endParaRPr lang="en-US"/>
            </a:p>
          </p:txBody>
        </p:sp>
        <p:sp>
          <p:nvSpPr>
            <p:cNvPr id="199" name="Freeform: Shape 198">
              <a:extLst>
                <a:ext uri="{FF2B5EF4-FFF2-40B4-BE49-F238E27FC236}">
                  <a16:creationId xmlns:a16="http://schemas.microsoft.com/office/drawing/2014/main" id="{6F8B7D18-F319-89B7-AE77-A9DBE2FA9921}"/>
                </a:ext>
              </a:extLst>
            </p:cNvPr>
            <p:cNvSpPr/>
            <p:nvPr/>
          </p:nvSpPr>
          <p:spPr>
            <a:xfrm flipV="1">
              <a:off x="24266967" y="3204146"/>
              <a:ext cx="15855" cy="14374"/>
            </a:xfrm>
            <a:custGeom>
              <a:avLst/>
              <a:gdLst>
                <a:gd name="csX0" fmla="*/ 6933 w 15855"/>
                <a:gd name="csY0" fmla="*/ 6265 h 14374"/>
                <a:gd name="csX1" fmla="*/ -8923 w 15855"/>
                <a:gd name="csY1" fmla="*/ 6265 h 14374"/>
                <a:gd name="csX2" fmla="*/ -8923 w 15855"/>
                <a:gd name="csY2" fmla="*/ -8109 h 14374"/>
                <a:gd name="csX3" fmla="*/ 6933 w 15855"/>
                <a:gd name="csY3" fmla="*/ -8109 h 14374"/>
                <a:gd name="csX4" fmla="*/ 6933 w 15855"/>
                <a:gd name="csY4" fmla="*/ 6265 h 14374"/>
              </a:gdLst>
              <a:ahLst/>
              <a:cxnLst>
                <a:cxn ang="0">
                  <a:pos x="csX0" y="csY0"/>
                </a:cxn>
                <a:cxn ang="0">
                  <a:pos x="csX1" y="csY1"/>
                </a:cxn>
                <a:cxn ang="0">
                  <a:pos x="csX2" y="csY2"/>
                </a:cxn>
                <a:cxn ang="0">
                  <a:pos x="csX3" y="csY3"/>
                </a:cxn>
                <a:cxn ang="0">
                  <a:pos x="csX4" y="csY4"/>
                </a:cxn>
              </a:cxnLst>
              <a:rect l="l" t="t" r="r" b="b"/>
              <a:pathLst>
                <a:path w="15855" h="14374">
                  <a:moveTo>
                    <a:pt x="6933" y="6265"/>
                  </a:moveTo>
                  <a:lnTo>
                    <a:pt x="-8923" y="6265"/>
                  </a:lnTo>
                  <a:lnTo>
                    <a:pt x="-8923" y="-8109"/>
                  </a:lnTo>
                  <a:lnTo>
                    <a:pt x="6933" y="-8109"/>
                  </a:lnTo>
                  <a:lnTo>
                    <a:pt x="6933" y="6265"/>
                  </a:lnTo>
                </a:path>
              </a:pathLst>
            </a:custGeom>
            <a:grpFill/>
            <a:ln w="548" cap="flat">
              <a:noFill/>
              <a:prstDash val="solid"/>
              <a:miter/>
            </a:ln>
          </p:spPr>
          <p:txBody>
            <a:bodyPr/>
            <a:lstStyle/>
            <a:p>
              <a:endParaRPr lang="en-US"/>
            </a:p>
          </p:txBody>
        </p:sp>
        <p:sp>
          <p:nvSpPr>
            <p:cNvPr id="200" name="Freeform: Shape 199">
              <a:extLst>
                <a:ext uri="{FF2B5EF4-FFF2-40B4-BE49-F238E27FC236}">
                  <a16:creationId xmlns:a16="http://schemas.microsoft.com/office/drawing/2014/main" id="{CED21F97-633B-869F-8085-34F250DD1388}"/>
                </a:ext>
              </a:extLst>
            </p:cNvPr>
            <p:cNvSpPr/>
            <p:nvPr/>
          </p:nvSpPr>
          <p:spPr>
            <a:xfrm flipV="1">
              <a:off x="24266967" y="3187363"/>
              <a:ext cx="15855" cy="14379"/>
            </a:xfrm>
            <a:custGeom>
              <a:avLst/>
              <a:gdLst>
                <a:gd name="csX0" fmla="*/ 6933 w 15855"/>
                <a:gd name="csY0" fmla="*/ 6230 h 14379"/>
                <a:gd name="csX1" fmla="*/ -8923 w 15855"/>
                <a:gd name="csY1" fmla="*/ 6230 h 14379"/>
                <a:gd name="csX2" fmla="*/ -8923 w 15855"/>
                <a:gd name="csY2" fmla="*/ -8150 h 14379"/>
                <a:gd name="csX3" fmla="*/ 6933 w 15855"/>
                <a:gd name="csY3" fmla="*/ -8150 h 14379"/>
                <a:gd name="csX4" fmla="*/ 6933 w 15855"/>
                <a:gd name="csY4" fmla="*/ 6230 h 14379"/>
              </a:gdLst>
              <a:ahLst/>
              <a:cxnLst>
                <a:cxn ang="0">
                  <a:pos x="csX0" y="csY0"/>
                </a:cxn>
                <a:cxn ang="0">
                  <a:pos x="csX1" y="csY1"/>
                </a:cxn>
                <a:cxn ang="0">
                  <a:pos x="csX2" y="csY2"/>
                </a:cxn>
                <a:cxn ang="0">
                  <a:pos x="csX3" y="csY3"/>
                </a:cxn>
                <a:cxn ang="0">
                  <a:pos x="csX4" y="csY4"/>
                </a:cxn>
              </a:cxnLst>
              <a:rect l="l" t="t" r="r" b="b"/>
              <a:pathLst>
                <a:path w="15855" h="14379">
                  <a:moveTo>
                    <a:pt x="6933" y="6230"/>
                  </a:moveTo>
                  <a:lnTo>
                    <a:pt x="-8923" y="6230"/>
                  </a:lnTo>
                  <a:lnTo>
                    <a:pt x="-8923" y="-8150"/>
                  </a:lnTo>
                  <a:lnTo>
                    <a:pt x="6933" y="-8150"/>
                  </a:lnTo>
                  <a:lnTo>
                    <a:pt x="6933" y="6230"/>
                  </a:lnTo>
                </a:path>
              </a:pathLst>
            </a:custGeom>
            <a:grpFill/>
            <a:ln w="548" cap="flat">
              <a:noFill/>
              <a:prstDash val="solid"/>
              <a:miter/>
            </a:ln>
          </p:spPr>
          <p:txBody>
            <a:bodyPr/>
            <a:lstStyle/>
            <a:p>
              <a:endParaRPr lang="en-US"/>
            </a:p>
          </p:txBody>
        </p:sp>
        <p:sp>
          <p:nvSpPr>
            <p:cNvPr id="201" name="Freeform: Shape 200">
              <a:extLst>
                <a:ext uri="{FF2B5EF4-FFF2-40B4-BE49-F238E27FC236}">
                  <a16:creationId xmlns:a16="http://schemas.microsoft.com/office/drawing/2014/main" id="{76C0BB55-C9A3-11AE-89AF-321EE8466B60}"/>
                </a:ext>
              </a:extLst>
            </p:cNvPr>
            <p:cNvSpPr/>
            <p:nvPr/>
          </p:nvSpPr>
          <p:spPr>
            <a:xfrm flipV="1">
              <a:off x="24266967" y="3271271"/>
              <a:ext cx="15855" cy="14379"/>
            </a:xfrm>
            <a:custGeom>
              <a:avLst/>
              <a:gdLst>
                <a:gd name="csX0" fmla="*/ 6933 w 15855"/>
                <a:gd name="csY0" fmla="*/ 6432 h 14379"/>
                <a:gd name="csX1" fmla="*/ -8923 w 15855"/>
                <a:gd name="csY1" fmla="*/ 6432 h 14379"/>
                <a:gd name="csX2" fmla="*/ -8923 w 15855"/>
                <a:gd name="csY2" fmla="*/ -7948 h 14379"/>
                <a:gd name="csX3" fmla="*/ 6933 w 15855"/>
                <a:gd name="csY3" fmla="*/ -7948 h 14379"/>
                <a:gd name="csX4" fmla="*/ 6933 w 15855"/>
                <a:gd name="csY4" fmla="*/ 6432 h 14379"/>
              </a:gdLst>
              <a:ahLst/>
              <a:cxnLst>
                <a:cxn ang="0">
                  <a:pos x="csX0" y="csY0"/>
                </a:cxn>
                <a:cxn ang="0">
                  <a:pos x="csX1" y="csY1"/>
                </a:cxn>
                <a:cxn ang="0">
                  <a:pos x="csX2" y="csY2"/>
                </a:cxn>
                <a:cxn ang="0">
                  <a:pos x="csX3" y="csY3"/>
                </a:cxn>
                <a:cxn ang="0">
                  <a:pos x="csX4" y="csY4"/>
                </a:cxn>
              </a:cxnLst>
              <a:rect l="l" t="t" r="r" b="b"/>
              <a:pathLst>
                <a:path w="15855" h="14379">
                  <a:moveTo>
                    <a:pt x="6933" y="6432"/>
                  </a:moveTo>
                  <a:lnTo>
                    <a:pt x="-8923" y="6432"/>
                  </a:lnTo>
                  <a:lnTo>
                    <a:pt x="-8923" y="-7948"/>
                  </a:lnTo>
                  <a:lnTo>
                    <a:pt x="6933" y="-7948"/>
                  </a:lnTo>
                  <a:lnTo>
                    <a:pt x="6933" y="6432"/>
                  </a:lnTo>
                </a:path>
              </a:pathLst>
            </a:custGeom>
            <a:grpFill/>
            <a:ln w="548" cap="flat">
              <a:noFill/>
              <a:prstDash val="solid"/>
              <a:miter/>
            </a:ln>
          </p:spPr>
          <p:txBody>
            <a:bodyPr/>
            <a:lstStyle/>
            <a:p>
              <a:endParaRPr lang="en-US"/>
            </a:p>
          </p:txBody>
        </p:sp>
        <p:sp>
          <p:nvSpPr>
            <p:cNvPr id="202" name="Freeform: Shape 201">
              <a:extLst>
                <a:ext uri="{FF2B5EF4-FFF2-40B4-BE49-F238E27FC236}">
                  <a16:creationId xmlns:a16="http://schemas.microsoft.com/office/drawing/2014/main" id="{F2591B63-C4C0-C7A7-2846-645347CB8329}"/>
                </a:ext>
              </a:extLst>
            </p:cNvPr>
            <p:cNvSpPr/>
            <p:nvPr/>
          </p:nvSpPr>
          <p:spPr>
            <a:xfrm flipV="1">
              <a:off x="24266967" y="3172697"/>
              <a:ext cx="15855" cy="12261"/>
            </a:xfrm>
            <a:custGeom>
              <a:avLst/>
              <a:gdLst>
                <a:gd name="csX0" fmla="*/ 6933 w 15855"/>
                <a:gd name="csY0" fmla="*/ 4075 h 12261"/>
                <a:gd name="csX1" fmla="*/ -8923 w 15855"/>
                <a:gd name="csY1" fmla="*/ 4075 h 12261"/>
                <a:gd name="csX2" fmla="*/ -8923 w 15855"/>
                <a:gd name="csY2" fmla="*/ -8187 h 12261"/>
                <a:gd name="csX3" fmla="*/ 6933 w 15855"/>
                <a:gd name="csY3" fmla="*/ -8187 h 12261"/>
                <a:gd name="csX4" fmla="*/ 6933 w 15855"/>
                <a:gd name="csY4" fmla="*/ 4075 h 12261"/>
              </a:gdLst>
              <a:ahLst/>
              <a:cxnLst>
                <a:cxn ang="0">
                  <a:pos x="csX0" y="csY0"/>
                </a:cxn>
                <a:cxn ang="0">
                  <a:pos x="csX1" y="csY1"/>
                </a:cxn>
                <a:cxn ang="0">
                  <a:pos x="csX2" y="csY2"/>
                </a:cxn>
                <a:cxn ang="0">
                  <a:pos x="csX3" y="csY3"/>
                </a:cxn>
                <a:cxn ang="0">
                  <a:pos x="csX4" y="csY4"/>
                </a:cxn>
              </a:cxnLst>
              <a:rect l="l" t="t" r="r" b="b"/>
              <a:pathLst>
                <a:path w="15855" h="12261">
                  <a:moveTo>
                    <a:pt x="6933" y="4075"/>
                  </a:moveTo>
                  <a:lnTo>
                    <a:pt x="-8923" y="4075"/>
                  </a:lnTo>
                  <a:lnTo>
                    <a:pt x="-8923" y="-8187"/>
                  </a:lnTo>
                  <a:lnTo>
                    <a:pt x="6933" y="-8187"/>
                  </a:lnTo>
                  <a:lnTo>
                    <a:pt x="6933" y="4075"/>
                  </a:lnTo>
                </a:path>
              </a:pathLst>
            </a:custGeom>
            <a:grpFill/>
            <a:ln w="548" cap="flat">
              <a:noFill/>
              <a:prstDash val="solid"/>
              <a:miter/>
            </a:ln>
          </p:spPr>
          <p:txBody>
            <a:bodyPr/>
            <a:lstStyle/>
            <a:p>
              <a:endParaRPr lang="en-US"/>
            </a:p>
          </p:txBody>
        </p:sp>
        <p:sp>
          <p:nvSpPr>
            <p:cNvPr id="203" name="Freeform: Shape 202">
              <a:extLst>
                <a:ext uri="{FF2B5EF4-FFF2-40B4-BE49-F238E27FC236}">
                  <a16:creationId xmlns:a16="http://schemas.microsoft.com/office/drawing/2014/main" id="{3721D387-AC5A-A829-EA5E-89D3B35FBF7A}"/>
                </a:ext>
              </a:extLst>
            </p:cNvPr>
            <p:cNvSpPr/>
            <p:nvPr/>
          </p:nvSpPr>
          <p:spPr>
            <a:xfrm flipV="1">
              <a:off x="24266967" y="3304832"/>
              <a:ext cx="15855" cy="14313"/>
            </a:xfrm>
            <a:custGeom>
              <a:avLst/>
              <a:gdLst>
                <a:gd name="csX0" fmla="*/ 6933 w 15855"/>
                <a:gd name="csY0" fmla="*/ 6447 h 14313"/>
                <a:gd name="csX1" fmla="*/ -8923 w 15855"/>
                <a:gd name="csY1" fmla="*/ 6447 h 14313"/>
                <a:gd name="csX2" fmla="*/ -8923 w 15855"/>
                <a:gd name="csY2" fmla="*/ -7867 h 14313"/>
                <a:gd name="csX3" fmla="*/ 6933 w 15855"/>
                <a:gd name="csY3" fmla="*/ -7867 h 14313"/>
                <a:gd name="csX4" fmla="*/ 6933 w 15855"/>
                <a:gd name="csY4" fmla="*/ 6447 h 14313"/>
              </a:gdLst>
              <a:ahLst/>
              <a:cxnLst>
                <a:cxn ang="0">
                  <a:pos x="csX0" y="csY0"/>
                </a:cxn>
                <a:cxn ang="0">
                  <a:pos x="csX1" y="csY1"/>
                </a:cxn>
                <a:cxn ang="0">
                  <a:pos x="csX2" y="csY2"/>
                </a:cxn>
                <a:cxn ang="0">
                  <a:pos x="csX3" y="csY3"/>
                </a:cxn>
                <a:cxn ang="0">
                  <a:pos x="csX4" y="csY4"/>
                </a:cxn>
              </a:cxnLst>
              <a:rect l="l" t="t" r="r" b="b"/>
              <a:pathLst>
                <a:path w="15855" h="14313">
                  <a:moveTo>
                    <a:pt x="6933" y="6447"/>
                  </a:moveTo>
                  <a:lnTo>
                    <a:pt x="-8923" y="6447"/>
                  </a:lnTo>
                  <a:lnTo>
                    <a:pt x="-8923" y="-7867"/>
                  </a:lnTo>
                  <a:lnTo>
                    <a:pt x="6933" y="-7867"/>
                  </a:lnTo>
                  <a:lnTo>
                    <a:pt x="6933" y="6447"/>
                  </a:lnTo>
                </a:path>
              </a:pathLst>
            </a:custGeom>
            <a:grpFill/>
            <a:ln w="548" cap="flat">
              <a:noFill/>
              <a:prstDash val="solid"/>
              <a:miter/>
            </a:ln>
          </p:spPr>
          <p:txBody>
            <a:bodyPr/>
            <a:lstStyle/>
            <a:p>
              <a:endParaRPr lang="en-US"/>
            </a:p>
          </p:txBody>
        </p:sp>
        <p:sp>
          <p:nvSpPr>
            <p:cNvPr id="204" name="Freeform: Shape 203">
              <a:extLst>
                <a:ext uri="{FF2B5EF4-FFF2-40B4-BE49-F238E27FC236}">
                  <a16:creationId xmlns:a16="http://schemas.microsoft.com/office/drawing/2014/main" id="{B23E9BA5-B6D3-1A69-67DE-E9A13E885760}"/>
                </a:ext>
              </a:extLst>
            </p:cNvPr>
            <p:cNvSpPr/>
            <p:nvPr/>
          </p:nvSpPr>
          <p:spPr>
            <a:xfrm flipV="1">
              <a:off x="24266967" y="3288054"/>
              <a:ext cx="15855" cy="14379"/>
            </a:xfrm>
            <a:custGeom>
              <a:avLst/>
              <a:gdLst>
                <a:gd name="csX0" fmla="*/ 6933 w 15855"/>
                <a:gd name="csY0" fmla="*/ 6473 h 14379"/>
                <a:gd name="csX1" fmla="*/ -8923 w 15855"/>
                <a:gd name="csY1" fmla="*/ 6473 h 14379"/>
                <a:gd name="csX2" fmla="*/ -8923 w 15855"/>
                <a:gd name="csY2" fmla="*/ -7907 h 14379"/>
                <a:gd name="csX3" fmla="*/ 6933 w 15855"/>
                <a:gd name="csY3" fmla="*/ -7907 h 14379"/>
                <a:gd name="csX4" fmla="*/ 6933 w 15855"/>
                <a:gd name="csY4" fmla="*/ 6473 h 14379"/>
              </a:gdLst>
              <a:ahLst/>
              <a:cxnLst>
                <a:cxn ang="0">
                  <a:pos x="csX0" y="csY0"/>
                </a:cxn>
                <a:cxn ang="0">
                  <a:pos x="csX1" y="csY1"/>
                </a:cxn>
                <a:cxn ang="0">
                  <a:pos x="csX2" y="csY2"/>
                </a:cxn>
                <a:cxn ang="0">
                  <a:pos x="csX3" y="csY3"/>
                </a:cxn>
                <a:cxn ang="0">
                  <a:pos x="csX4" y="csY4"/>
                </a:cxn>
              </a:cxnLst>
              <a:rect l="l" t="t" r="r" b="b"/>
              <a:pathLst>
                <a:path w="15855" h="14379">
                  <a:moveTo>
                    <a:pt x="6933" y="6473"/>
                  </a:moveTo>
                  <a:lnTo>
                    <a:pt x="-8923" y="6473"/>
                  </a:lnTo>
                  <a:lnTo>
                    <a:pt x="-8923" y="-7907"/>
                  </a:lnTo>
                  <a:lnTo>
                    <a:pt x="6933" y="-7907"/>
                  </a:lnTo>
                  <a:lnTo>
                    <a:pt x="6933" y="6473"/>
                  </a:lnTo>
                </a:path>
              </a:pathLst>
            </a:custGeom>
            <a:grpFill/>
            <a:ln w="548" cap="flat">
              <a:noFill/>
              <a:prstDash val="solid"/>
              <a:miter/>
            </a:ln>
          </p:spPr>
          <p:txBody>
            <a:bodyPr/>
            <a:lstStyle/>
            <a:p>
              <a:endParaRPr lang="en-US"/>
            </a:p>
          </p:txBody>
        </p:sp>
        <p:sp>
          <p:nvSpPr>
            <p:cNvPr id="205" name="Freeform: Shape 204">
              <a:extLst>
                <a:ext uri="{FF2B5EF4-FFF2-40B4-BE49-F238E27FC236}">
                  <a16:creationId xmlns:a16="http://schemas.microsoft.com/office/drawing/2014/main" id="{1C9B7067-801D-E2F8-3041-01EFCAC14210}"/>
                </a:ext>
              </a:extLst>
            </p:cNvPr>
            <p:cNvSpPr/>
            <p:nvPr/>
          </p:nvSpPr>
          <p:spPr>
            <a:xfrm flipV="1">
              <a:off x="24266967" y="3396351"/>
              <a:ext cx="15855" cy="14379"/>
            </a:xfrm>
            <a:custGeom>
              <a:avLst/>
              <a:gdLst>
                <a:gd name="csX0" fmla="*/ 6933 w 15855"/>
                <a:gd name="csY0" fmla="*/ 6733 h 14379"/>
                <a:gd name="csX1" fmla="*/ -8923 w 15855"/>
                <a:gd name="csY1" fmla="*/ 6733 h 14379"/>
                <a:gd name="csX2" fmla="*/ -8923 w 15855"/>
                <a:gd name="csY2" fmla="*/ -7647 h 14379"/>
                <a:gd name="csX3" fmla="*/ 6933 w 15855"/>
                <a:gd name="csY3" fmla="*/ -7647 h 14379"/>
                <a:gd name="csX4" fmla="*/ 6933 w 15855"/>
                <a:gd name="csY4" fmla="*/ 6733 h 14379"/>
              </a:gdLst>
              <a:ahLst/>
              <a:cxnLst>
                <a:cxn ang="0">
                  <a:pos x="csX0" y="csY0"/>
                </a:cxn>
                <a:cxn ang="0">
                  <a:pos x="csX1" y="csY1"/>
                </a:cxn>
                <a:cxn ang="0">
                  <a:pos x="csX2" y="csY2"/>
                </a:cxn>
                <a:cxn ang="0">
                  <a:pos x="csX3" y="csY3"/>
                </a:cxn>
                <a:cxn ang="0">
                  <a:pos x="csX4" y="csY4"/>
                </a:cxn>
              </a:cxnLst>
              <a:rect l="l" t="t" r="r" b="b"/>
              <a:pathLst>
                <a:path w="15855" h="14379">
                  <a:moveTo>
                    <a:pt x="6933" y="6733"/>
                  </a:moveTo>
                  <a:lnTo>
                    <a:pt x="-8923" y="6733"/>
                  </a:lnTo>
                  <a:lnTo>
                    <a:pt x="-8923" y="-7647"/>
                  </a:lnTo>
                  <a:lnTo>
                    <a:pt x="6933" y="-7647"/>
                  </a:lnTo>
                  <a:lnTo>
                    <a:pt x="6933" y="6733"/>
                  </a:lnTo>
                </a:path>
              </a:pathLst>
            </a:custGeom>
            <a:grpFill/>
            <a:ln w="548" cap="flat">
              <a:noFill/>
              <a:prstDash val="solid"/>
              <a:miter/>
            </a:ln>
          </p:spPr>
          <p:txBody>
            <a:bodyPr/>
            <a:lstStyle/>
            <a:p>
              <a:endParaRPr lang="en-US"/>
            </a:p>
          </p:txBody>
        </p:sp>
        <p:sp>
          <p:nvSpPr>
            <p:cNvPr id="206" name="Freeform: Shape 205">
              <a:extLst>
                <a:ext uri="{FF2B5EF4-FFF2-40B4-BE49-F238E27FC236}">
                  <a16:creationId xmlns:a16="http://schemas.microsoft.com/office/drawing/2014/main" id="{AA57BD9A-4CB8-1BBF-1C03-02CA518487AA}"/>
                </a:ext>
              </a:extLst>
            </p:cNvPr>
            <p:cNvSpPr/>
            <p:nvPr/>
          </p:nvSpPr>
          <p:spPr>
            <a:xfrm flipV="1">
              <a:off x="24266967" y="3379567"/>
              <a:ext cx="15855" cy="14380"/>
            </a:xfrm>
            <a:custGeom>
              <a:avLst/>
              <a:gdLst>
                <a:gd name="csX0" fmla="*/ 6933 w 15855"/>
                <a:gd name="csY0" fmla="*/ 6693 h 14380"/>
                <a:gd name="csX1" fmla="*/ -8923 w 15855"/>
                <a:gd name="csY1" fmla="*/ 6693 h 14380"/>
                <a:gd name="csX2" fmla="*/ -8923 w 15855"/>
                <a:gd name="csY2" fmla="*/ -7687 h 14380"/>
                <a:gd name="csX3" fmla="*/ 6933 w 15855"/>
                <a:gd name="csY3" fmla="*/ -7687 h 14380"/>
                <a:gd name="csX4" fmla="*/ 6933 w 15855"/>
                <a:gd name="csY4" fmla="*/ 6693 h 14380"/>
              </a:gdLst>
              <a:ahLst/>
              <a:cxnLst>
                <a:cxn ang="0">
                  <a:pos x="csX0" y="csY0"/>
                </a:cxn>
                <a:cxn ang="0">
                  <a:pos x="csX1" y="csY1"/>
                </a:cxn>
                <a:cxn ang="0">
                  <a:pos x="csX2" y="csY2"/>
                </a:cxn>
                <a:cxn ang="0">
                  <a:pos x="csX3" y="csY3"/>
                </a:cxn>
                <a:cxn ang="0">
                  <a:pos x="csX4" y="csY4"/>
                </a:cxn>
              </a:cxnLst>
              <a:rect l="l" t="t" r="r" b="b"/>
              <a:pathLst>
                <a:path w="15855" h="14380">
                  <a:moveTo>
                    <a:pt x="6933" y="6693"/>
                  </a:moveTo>
                  <a:lnTo>
                    <a:pt x="-8923" y="6693"/>
                  </a:lnTo>
                  <a:lnTo>
                    <a:pt x="-8923" y="-7687"/>
                  </a:lnTo>
                  <a:lnTo>
                    <a:pt x="6933" y="-7687"/>
                  </a:lnTo>
                  <a:lnTo>
                    <a:pt x="6933" y="6693"/>
                  </a:lnTo>
                </a:path>
              </a:pathLst>
            </a:custGeom>
            <a:grpFill/>
            <a:ln w="548" cap="flat">
              <a:noFill/>
              <a:prstDash val="solid"/>
              <a:miter/>
            </a:ln>
          </p:spPr>
          <p:txBody>
            <a:bodyPr/>
            <a:lstStyle/>
            <a:p>
              <a:endParaRPr lang="en-US"/>
            </a:p>
          </p:txBody>
        </p:sp>
        <p:sp>
          <p:nvSpPr>
            <p:cNvPr id="207" name="Freeform: Shape 206">
              <a:extLst>
                <a:ext uri="{FF2B5EF4-FFF2-40B4-BE49-F238E27FC236}">
                  <a16:creationId xmlns:a16="http://schemas.microsoft.com/office/drawing/2014/main" id="{D45A62C1-C579-3C6F-32C9-5A6A0B51679C}"/>
                </a:ext>
              </a:extLst>
            </p:cNvPr>
            <p:cNvSpPr/>
            <p:nvPr/>
          </p:nvSpPr>
          <p:spPr>
            <a:xfrm flipV="1">
              <a:off x="24266967" y="3362785"/>
              <a:ext cx="15855" cy="14379"/>
            </a:xfrm>
            <a:custGeom>
              <a:avLst/>
              <a:gdLst>
                <a:gd name="csX0" fmla="*/ 6933 w 15855"/>
                <a:gd name="csY0" fmla="*/ 6652 h 14379"/>
                <a:gd name="csX1" fmla="*/ -8923 w 15855"/>
                <a:gd name="csY1" fmla="*/ 6652 h 14379"/>
                <a:gd name="csX2" fmla="*/ -8923 w 15855"/>
                <a:gd name="csY2" fmla="*/ -7727 h 14379"/>
                <a:gd name="csX3" fmla="*/ 6933 w 15855"/>
                <a:gd name="csY3" fmla="*/ -7727 h 14379"/>
                <a:gd name="csX4" fmla="*/ 6933 w 15855"/>
                <a:gd name="csY4" fmla="*/ 6652 h 14379"/>
              </a:gdLst>
              <a:ahLst/>
              <a:cxnLst>
                <a:cxn ang="0">
                  <a:pos x="csX0" y="csY0"/>
                </a:cxn>
                <a:cxn ang="0">
                  <a:pos x="csX1" y="csY1"/>
                </a:cxn>
                <a:cxn ang="0">
                  <a:pos x="csX2" y="csY2"/>
                </a:cxn>
                <a:cxn ang="0">
                  <a:pos x="csX3" y="csY3"/>
                </a:cxn>
                <a:cxn ang="0">
                  <a:pos x="csX4" y="csY4"/>
                </a:cxn>
              </a:cxnLst>
              <a:rect l="l" t="t" r="r" b="b"/>
              <a:pathLst>
                <a:path w="15855" h="14379">
                  <a:moveTo>
                    <a:pt x="6933" y="6652"/>
                  </a:moveTo>
                  <a:lnTo>
                    <a:pt x="-8923" y="6652"/>
                  </a:lnTo>
                  <a:lnTo>
                    <a:pt x="-8923" y="-7727"/>
                  </a:lnTo>
                  <a:lnTo>
                    <a:pt x="6933" y="-7727"/>
                  </a:lnTo>
                  <a:lnTo>
                    <a:pt x="6933" y="6652"/>
                  </a:lnTo>
                </a:path>
              </a:pathLst>
            </a:custGeom>
            <a:grpFill/>
            <a:ln w="548" cap="flat">
              <a:noFill/>
              <a:prstDash val="solid"/>
              <a:miter/>
            </a:ln>
          </p:spPr>
          <p:txBody>
            <a:bodyPr/>
            <a:lstStyle/>
            <a:p>
              <a:endParaRPr lang="en-US"/>
            </a:p>
          </p:txBody>
        </p:sp>
        <p:sp>
          <p:nvSpPr>
            <p:cNvPr id="208" name="Freeform: Shape 207">
              <a:extLst>
                <a:ext uri="{FF2B5EF4-FFF2-40B4-BE49-F238E27FC236}">
                  <a16:creationId xmlns:a16="http://schemas.microsoft.com/office/drawing/2014/main" id="{4298B1BA-0EC6-E635-C14E-4EADFE66B555}"/>
                </a:ext>
              </a:extLst>
            </p:cNvPr>
            <p:cNvSpPr/>
            <p:nvPr/>
          </p:nvSpPr>
          <p:spPr>
            <a:xfrm flipV="1">
              <a:off x="24266967" y="3413133"/>
              <a:ext cx="15855" cy="14379"/>
            </a:xfrm>
            <a:custGeom>
              <a:avLst/>
              <a:gdLst>
                <a:gd name="csX0" fmla="*/ 6933 w 15855"/>
                <a:gd name="csY0" fmla="*/ 6773 h 14379"/>
                <a:gd name="csX1" fmla="*/ -8923 w 15855"/>
                <a:gd name="csY1" fmla="*/ 6773 h 14379"/>
                <a:gd name="csX2" fmla="*/ -8923 w 15855"/>
                <a:gd name="csY2" fmla="*/ -7606 h 14379"/>
                <a:gd name="csX3" fmla="*/ 6933 w 15855"/>
                <a:gd name="csY3" fmla="*/ -7606 h 14379"/>
                <a:gd name="csX4" fmla="*/ 6933 w 15855"/>
                <a:gd name="csY4" fmla="*/ 6773 h 14379"/>
              </a:gdLst>
              <a:ahLst/>
              <a:cxnLst>
                <a:cxn ang="0">
                  <a:pos x="csX0" y="csY0"/>
                </a:cxn>
                <a:cxn ang="0">
                  <a:pos x="csX1" y="csY1"/>
                </a:cxn>
                <a:cxn ang="0">
                  <a:pos x="csX2" y="csY2"/>
                </a:cxn>
                <a:cxn ang="0">
                  <a:pos x="csX3" y="csY3"/>
                </a:cxn>
                <a:cxn ang="0">
                  <a:pos x="csX4" y="csY4"/>
                </a:cxn>
              </a:cxnLst>
              <a:rect l="l" t="t" r="r" b="b"/>
              <a:pathLst>
                <a:path w="15855" h="14379">
                  <a:moveTo>
                    <a:pt x="6933" y="6773"/>
                  </a:moveTo>
                  <a:lnTo>
                    <a:pt x="-8923" y="6773"/>
                  </a:lnTo>
                  <a:lnTo>
                    <a:pt x="-8923" y="-7606"/>
                  </a:lnTo>
                  <a:lnTo>
                    <a:pt x="6933" y="-7606"/>
                  </a:lnTo>
                  <a:lnTo>
                    <a:pt x="6933" y="6773"/>
                  </a:lnTo>
                </a:path>
              </a:pathLst>
            </a:custGeom>
            <a:grpFill/>
            <a:ln w="548" cap="flat">
              <a:noFill/>
              <a:prstDash val="solid"/>
              <a:miter/>
            </a:ln>
          </p:spPr>
          <p:txBody>
            <a:bodyPr/>
            <a:lstStyle/>
            <a:p>
              <a:endParaRPr lang="en-US"/>
            </a:p>
          </p:txBody>
        </p:sp>
        <p:sp>
          <p:nvSpPr>
            <p:cNvPr id="209" name="Freeform: Shape 208">
              <a:extLst>
                <a:ext uri="{FF2B5EF4-FFF2-40B4-BE49-F238E27FC236}">
                  <a16:creationId xmlns:a16="http://schemas.microsoft.com/office/drawing/2014/main" id="{709A6DD4-2383-0D8B-DCC6-0C8D588ACEBE}"/>
                </a:ext>
              </a:extLst>
            </p:cNvPr>
            <p:cNvSpPr/>
            <p:nvPr/>
          </p:nvSpPr>
          <p:spPr>
            <a:xfrm flipV="1">
              <a:off x="24266967" y="3446694"/>
              <a:ext cx="15855" cy="14379"/>
            </a:xfrm>
            <a:custGeom>
              <a:avLst/>
              <a:gdLst>
                <a:gd name="csX0" fmla="*/ 6933 w 15855"/>
                <a:gd name="csY0" fmla="*/ 6854 h 14379"/>
                <a:gd name="csX1" fmla="*/ -8923 w 15855"/>
                <a:gd name="csY1" fmla="*/ 6854 h 14379"/>
                <a:gd name="csX2" fmla="*/ -8923 w 15855"/>
                <a:gd name="csY2" fmla="*/ -7526 h 14379"/>
                <a:gd name="csX3" fmla="*/ 6933 w 15855"/>
                <a:gd name="csY3" fmla="*/ -7526 h 14379"/>
                <a:gd name="csX4" fmla="*/ 6933 w 15855"/>
                <a:gd name="csY4" fmla="*/ 6854 h 14379"/>
              </a:gdLst>
              <a:ahLst/>
              <a:cxnLst>
                <a:cxn ang="0">
                  <a:pos x="csX0" y="csY0"/>
                </a:cxn>
                <a:cxn ang="0">
                  <a:pos x="csX1" y="csY1"/>
                </a:cxn>
                <a:cxn ang="0">
                  <a:pos x="csX2" y="csY2"/>
                </a:cxn>
                <a:cxn ang="0">
                  <a:pos x="csX3" y="csY3"/>
                </a:cxn>
                <a:cxn ang="0">
                  <a:pos x="csX4" y="csY4"/>
                </a:cxn>
              </a:cxnLst>
              <a:rect l="l" t="t" r="r" b="b"/>
              <a:pathLst>
                <a:path w="15855" h="14379">
                  <a:moveTo>
                    <a:pt x="6933" y="6854"/>
                  </a:moveTo>
                  <a:lnTo>
                    <a:pt x="-8923" y="6854"/>
                  </a:lnTo>
                  <a:lnTo>
                    <a:pt x="-8923" y="-7526"/>
                  </a:lnTo>
                  <a:lnTo>
                    <a:pt x="6933" y="-7526"/>
                  </a:lnTo>
                  <a:lnTo>
                    <a:pt x="6933" y="6854"/>
                  </a:lnTo>
                </a:path>
              </a:pathLst>
            </a:custGeom>
            <a:grpFill/>
            <a:ln w="548" cap="flat">
              <a:noFill/>
              <a:prstDash val="solid"/>
              <a:miter/>
            </a:ln>
          </p:spPr>
          <p:txBody>
            <a:bodyPr/>
            <a:lstStyle/>
            <a:p>
              <a:endParaRPr lang="en-US"/>
            </a:p>
          </p:txBody>
        </p:sp>
        <p:sp>
          <p:nvSpPr>
            <p:cNvPr id="210" name="Freeform: Shape 209">
              <a:extLst>
                <a:ext uri="{FF2B5EF4-FFF2-40B4-BE49-F238E27FC236}">
                  <a16:creationId xmlns:a16="http://schemas.microsoft.com/office/drawing/2014/main" id="{8DBC1BC2-552E-ED99-6AAB-64C94A93C4B7}"/>
                </a:ext>
              </a:extLst>
            </p:cNvPr>
            <p:cNvSpPr/>
            <p:nvPr/>
          </p:nvSpPr>
          <p:spPr>
            <a:xfrm flipV="1">
              <a:off x="24266967" y="3480259"/>
              <a:ext cx="15855" cy="14313"/>
            </a:xfrm>
            <a:custGeom>
              <a:avLst/>
              <a:gdLst>
                <a:gd name="csX0" fmla="*/ 6933 w 15855"/>
                <a:gd name="csY0" fmla="*/ 6869 h 14313"/>
                <a:gd name="csX1" fmla="*/ -8923 w 15855"/>
                <a:gd name="csY1" fmla="*/ 6869 h 14313"/>
                <a:gd name="csX2" fmla="*/ -8923 w 15855"/>
                <a:gd name="csY2" fmla="*/ -7445 h 14313"/>
                <a:gd name="csX3" fmla="*/ 6933 w 15855"/>
                <a:gd name="csY3" fmla="*/ -7445 h 14313"/>
                <a:gd name="csX4" fmla="*/ 6933 w 15855"/>
                <a:gd name="csY4" fmla="*/ 6869 h 14313"/>
              </a:gdLst>
              <a:ahLst/>
              <a:cxnLst>
                <a:cxn ang="0">
                  <a:pos x="csX0" y="csY0"/>
                </a:cxn>
                <a:cxn ang="0">
                  <a:pos x="csX1" y="csY1"/>
                </a:cxn>
                <a:cxn ang="0">
                  <a:pos x="csX2" y="csY2"/>
                </a:cxn>
                <a:cxn ang="0">
                  <a:pos x="csX3" y="csY3"/>
                </a:cxn>
                <a:cxn ang="0">
                  <a:pos x="csX4" y="csY4"/>
                </a:cxn>
              </a:cxnLst>
              <a:rect l="l" t="t" r="r" b="b"/>
              <a:pathLst>
                <a:path w="15855" h="14313">
                  <a:moveTo>
                    <a:pt x="6933" y="6869"/>
                  </a:moveTo>
                  <a:lnTo>
                    <a:pt x="-8923" y="6869"/>
                  </a:lnTo>
                  <a:lnTo>
                    <a:pt x="-8923" y="-7445"/>
                  </a:lnTo>
                  <a:lnTo>
                    <a:pt x="6933" y="-7445"/>
                  </a:lnTo>
                  <a:lnTo>
                    <a:pt x="6933" y="6869"/>
                  </a:lnTo>
                </a:path>
              </a:pathLst>
            </a:custGeom>
            <a:grpFill/>
            <a:ln w="548" cap="flat">
              <a:noFill/>
              <a:prstDash val="solid"/>
              <a:miter/>
            </a:ln>
          </p:spPr>
          <p:txBody>
            <a:bodyPr/>
            <a:lstStyle/>
            <a:p>
              <a:endParaRPr lang="en-US"/>
            </a:p>
          </p:txBody>
        </p:sp>
        <p:sp>
          <p:nvSpPr>
            <p:cNvPr id="211" name="Freeform: Shape 210">
              <a:extLst>
                <a:ext uri="{FF2B5EF4-FFF2-40B4-BE49-F238E27FC236}">
                  <a16:creationId xmlns:a16="http://schemas.microsoft.com/office/drawing/2014/main" id="{8DB1C4BD-E24A-15DF-717E-8A501E91978D}"/>
                </a:ext>
              </a:extLst>
            </p:cNvPr>
            <p:cNvSpPr/>
            <p:nvPr/>
          </p:nvSpPr>
          <p:spPr>
            <a:xfrm flipV="1">
              <a:off x="24266967" y="3348125"/>
              <a:ext cx="15855" cy="12256"/>
            </a:xfrm>
            <a:custGeom>
              <a:avLst/>
              <a:gdLst>
                <a:gd name="csX0" fmla="*/ 6933 w 15855"/>
                <a:gd name="csY0" fmla="*/ 4491 h 12256"/>
                <a:gd name="csX1" fmla="*/ -8923 w 15855"/>
                <a:gd name="csY1" fmla="*/ 4491 h 12256"/>
                <a:gd name="csX2" fmla="*/ -8923 w 15855"/>
                <a:gd name="csY2" fmla="*/ -7765 h 12256"/>
                <a:gd name="csX3" fmla="*/ 6933 w 15855"/>
                <a:gd name="csY3" fmla="*/ -7765 h 12256"/>
                <a:gd name="csX4" fmla="*/ 6933 w 15855"/>
                <a:gd name="csY4" fmla="*/ 4491 h 12256"/>
              </a:gdLst>
              <a:ahLst/>
              <a:cxnLst>
                <a:cxn ang="0">
                  <a:pos x="csX0" y="csY0"/>
                </a:cxn>
                <a:cxn ang="0">
                  <a:pos x="csX1" y="csY1"/>
                </a:cxn>
                <a:cxn ang="0">
                  <a:pos x="csX2" y="csY2"/>
                </a:cxn>
                <a:cxn ang="0">
                  <a:pos x="csX3" y="csY3"/>
                </a:cxn>
                <a:cxn ang="0">
                  <a:pos x="csX4" y="csY4"/>
                </a:cxn>
              </a:cxnLst>
              <a:rect l="l" t="t" r="r" b="b"/>
              <a:pathLst>
                <a:path w="15855" h="12256">
                  <a:moveTo>
                    <a:pt x="6933" y="4491"/>
                  </a:moveTo>
                  <a:lnTo>
                    <a:pt x="-8923" y="4491"/>
                  </a:lnTo>
                  <a:lnTo>
                    <a:pt x="-8923" y="-7765"/>
                  </a:lnTo>
                  <a:lnTo>
                    <a:pt x="6933" y="-7765"/>
                  </a:lnTo>
                  <a:lnTo>
                    <a:pt x="6933" y="4491"/>
                  </a:lnTo>
                </a:path>
              </a:pathLst>
            </a:custGeom>
            <a:grpFill/>
            <a:ln w="548" cap="flat">
              <a:noFill/>
              <a:prstDash val="solid"/>
              <a:miter/>
            </a:ln>
          </p:spPr>
          <p:txBody>
            <a:bodyPr/>
            <a:lstStyle/>
            <a:p>
              <a:endParaRPr lang="en-US"/>
            </a:p>
          </p:txBody>
        </p:sp>
        <p:sp>
          <p:nvSpPr>
            <p:cNvPr id="212" name="Freeform: Shape 211">
              <a:extLst>
                <a:ext uri="{FF2B5EF4-FFF2-40B4-BE49-F238E27FC236}">
                  <a16:creationId xmlns:a16="http://schemas.microsoft.com/office/drawing/2014/main" id="{272299BE-D0DA-2539-A1DB-E8B6CB2C5183}"/>
                </a:ext>
              </a:extLst>
            </p:cNvPr>
            <p:cNvSpPr/>
            <p:nvPr/>
          </p:nvSpPr>
          <p:spPr>
            <a:xfrm flipV="1">
              <a:off x="24266967" y="3429916"/>
              <a:ext cx="15855" cy="14379"/>
            </a:xfrm>
            <a:custGeom>
              <a:avLst/>
              <a:gdLst>
                <a:gd name="csX0" fmla="*/ 6933 w 15855"/>
                <a:gd name="csY0" fmla="*/ 6814 h 14379"/>
                <a:gd name="csX1" fmla="*/ -8923 w 15855"/>
                <a:gd name="csY1" fmla="*/ 6814 h 14379"/>
                <a:gd name="csX2" fmla="*/ -8923 w 15855"/>
                <a:gd name="csY2" fmla="*/ -7566 h 14379"/>
                <a:gd name="csX3" fmla="*/ 6933 w 15855"/>
                <a:gd name="csY3" fmla="*/ -7566 h 14379"/>
                <a:gd name="csX4" fmla="*/ 6933 w 15855"/>
                <a:gd name="csY4" fmla="*/ 6814 h 14379"/>
              </a:gdLst>
              <a:ahLst/>
              <a:cxnLst>
                <a:cxn ang="0">
                  <a:pos x="csX0" y="csY0"/>
                </a:cxn>
                <a:cxn ang="0">
                  <a:pos x="csX1" y="csY1"/>
                </a:cxn>
                <a:cxn ang="0">
                  <a:pos x="csX2" y="csY2"/>
                </a:cxn>
                <a:cxn ang="0">
                  <a:pos x="csX3" y="csY3"/>
                </a:cxn>
                <a:cxn ang="0">
                  <a:pos x="csX4" y="csY4"/>
                </a:cxn>
              </a:cxnLst>
              <a:rect l="l" t="t" r="r" b="b"/>
              <a:pathLst>
                <a:path w="15855" h="14379">
                  <a:moveTo>
                    <a:pt x="6933" y="6814"/>
                  </a:moveTo>
                  <a:lnTo>
                    <a:pt x="-8923" y="6814"/>
                  </a:lnTo>
                  <a:lnTo>
                    <a:pt x="-8923" y="-7566"/>
                  </a:lnTo>
                  <a:lnTo>
                    <a:pt x="6933" y="-7566"/>
                  </a:lnTo>
                  <a:lnTo>
                    <a:pt x="6933" y="6814"/>
                  </a:lnTo>
                </a:path>
              </a:pathLst>
            </a:custGeom>
            <a:grpFill/>
            <a:ln w="548" cap="flat">
              <a:noFill/>
              <a:prstDash val="solid"/>
              <a:miter/>
            </a:ln>
          </p:spPr>
          <p:txBody>
            <a:bodyPr/>
            <a:lstStyle/>
            <a:p>
              <a:endParaRPr lang="en-US"/>
            </a:p>
          </p:txBody>
        </p:sp>
        <p:sp>
          <p:nvSpPr>
            <p:cNvPr id="213" name="Freeform: Shape 212">
              <a:extLst>
                <a:ext uri="{FF2B5EF4-FFF2-40B4-BE49-F238E27FC236}">
                  <a16:creationId xmlns:a16="http://schemas.microsoft.com/office/drawing/2014/main" id="{1CC5DC5D-1A42-8C2E-7471-24F5C1423997}"/>
                </a:ext>
              </a:extLst>
            </p:cNvPr>
            <p:cNvSpPr/>
            <p:nvPr/>
          </p:nvSpPr>
          <p:spPr>
            <a:xfrm flipV="1">
              <a:off x="24266967" y="3463477"/>
              <a:ext cx="15855" cy="14379"/>
            </a:xfrm>
            <a:custGeom>
              <a:avLst/>
              <a:gdLst>
                <a:gd name="csX0" fmla="*/ 6933 w 15855"/>
                <a:gd name="csY0" fmla="*/ 6895 h 14379"/>
                <a:gd name="csX1" fmla="*/ -8923 w 15855"/>
                <a:gd name="csY1" fmla="*/ 6895 h 14379"/>
                <a:gd name="csX2" fmla="*/ -8923 w 15855"/>
                <a:gd name="csY2" fmla="*/ -7485 h 14379"/>
                <a:gd name="csX3" fmla="*/ 6933 w 15855"/>
                <a:gd name="csY3" fmla="*/ -7485 h 14379"/>
                <a:gd name="csX4" fmla="*/ 6933 w 15855"/>
                <a:gd name="csY4" fmla="*/ 6895 h 14379"/>
              </a:gdLst>
              <a:ahLst/>
              <a:cxnLst>
                <a:cxn ang="0">
                  <a:pos x="csX0" y="csY0"/>
                </a:cxn>
                <a:cxn ang="0">
                  <a:pos x="csX1" y="csY1"/>
                </a:cxn>
                <a:cxn ang="0">
                  <a:pos x="csX2" y="csY2"/>
                </a:cxn>
                <a:cxn ang="0">
                  <a:pos x="csX3" y="csY3"/>
                </a:cxn>
                <a:cxn ang="0">
                  <a:pos x="csX4" y="csY4"/>
                </a:cxn>
              </a:cxnLst>
              <a:rect l="l" t="t" r="r" b="b"/>
              <a:pathLst>
                <a:path w="15855" h="14379">
                  <a:moveTo>
                    <a:pt x="6933" y="6895"/>
                  </a:moveTo>
                  <a:lnTo>
                    <a:pt x="-8923" y="6895"/>
                  </a:lnTo>
                  <a:lnTo>
                    <a:pt x="-8923" y="-7485"/>
                  </a:lnTo>
                  <a:lnTo>
                    <a:pt x="6933" y="-7485"/>
                  </a:lnTo>
                  <a:lnTo>
                    <a:pt x="6933" y="6895"/>
                  </a:lnTo>
                </a:path>
              </a:pathLst>
            </a:custGeom>
            <a:grpFill/>
            <a:ln w="548" cap="flat">
              <a:noFill/>
              <a:prstDash val="solid"/>
              <a:miter/>
            </a:ln>
          </p:spPr>
          <p:txBody>
            <a:bodyPr/>
            <a:lstStyle/>
            <a:p>
              <a:endParaRPr lang="en-US"/>
            </a:p>
          </p:txBody>
        </p:sp>
        <p:sp>
          <p:nvSpPr>
            <p:cNvPr id="214" name="Freeform: Shape 213">
              <a:extLst>
                <a:ext uri="{FF2B5EF4-FFF2-40B4-BE49-F238E27FC236}">
                  <a16:creationId xmlns:a16="http://schemas.microsoft.com/office/drawing/2014/main" id="{C0273B4D-F0A9-A149-5D59-519E13DD78B6}"/>
                </a:ext>
              </a:extLst>
            </p:cNvPr>
            <p:cNvSpPr/>
            <p:nvPr/>
          </p:nvSpPr>
          <p:spPr>
            <a:xfrm flipV="1">
              <a:off x="24266967" y="3575136"/>
              <a:ext cx="15855" cy="14379"/>
            </a:xfrm>
            <a:custGeom>
              <a:avLst/>
              <a:gdLst>
                <a:gd name="csX0" fmla="*/ 6933 w 15855"/>
                <a:gd name="csY0" fmla="*/ 7163 h 14379"/>
                <a:gd name="csX1" fmla="*/ -8923 w 15855"/>
                <a:gd name="csY1" fmla="*/ 7163 h 14379"/>
                <a:gd name="csX2" fmla="*/ -8923 w 15855"/>
                <a:gd name="csY2" fmla="*/ -7217 h 14379"/>
                <a:gd name="csX3" fmla="*/ 6933 w 15855"/>
                <a:gd name="csY3" fmla="*/ -7217 h 14379"/>
                <a:gd name="csX4" fmla="*/ 6933 w 15855"/>
                <a:gd name="csY4" fmla="*/ 7163 h 14379"/>
              </a:gdLst>
              <a:ahLst/>
              <a:cxnLst>
                <a:cxn ang="0">
                  <a:pos x="csX0" y="csY0"/>
                </a:cxn>
                <a:cxn ang="0">
                  <a:pos x="csX1" y="csY1"/>
                </a:cxn>
                <a:cxn ang="0">
                  <a:pos x="csX2" y="csY2"/>
                </a:cxn>
                <a:cxn ang="0">
                  <a:pos x="csX3" y="csY3"/>
                </a:cxn>
                <a:cxn ang="0">
                  <a:pos x="csX4" y="csY4"/>
                </a:cxn>
              </a:cxnLst>
              <a:rect l="l" t="t" r="r" b="b"/>
              <a:pathLst>
                <a:path w="15855" h="14379">
                  <a:moveTo>
                    <a:pt x="6933" y="7163"/>
                  </a:moveTo>
                  <a:lnTo>
                    <a:pt x="-8923" y="7163"/>
                  </a:lnTo>
                  <a:lnTo>
                    <a:pt x="-8923" y="-7217"/>
                  </a:lnTo>
                  <a:lnTo>
                    <a:pt x="6933" y="-7217"/>
                  </a:lnTo>
                  <a:lnTo>
                    <a:pt x="6933" y="7163"/>
                  </a:lnTo>
                </a:path>
              </a:pathLst>
            </a:custGeom>
            <a:grpFill/>
            <a:ln w="548" cap="flat">
              <a:noFill/>
              <a:prstDash val="solid"/>
              <a:miter/>
            </a:ln>
          </p:spPr>
          <p:txBody>
            <a:bodyPr/>
            <a:lstStyle/>
            <a:p>
              <a:endParaRPr lang="en-US"/>
            </a:p>
          </p:txBody>
        </p:sp>
        <p:sp>
          <p:nvSpPr>
            <p:cNvPr id="215" name="Freeform: Shape 214">
              <a:extLst>
                <a:ext uri="{FF2B5EF4-FFF2-40B4-BE49-F238E27FC236}">
                  <a16:creationId xmlns:a16="http://schemas.microsoft.com/office/drawing/2014/main" id="{95132AF5-1075-1CE2-1441-A05038042A36}"/>
                </a:ext>
              </a:extLst>
            </p:cNvPr>
            <p:cNvSpPr/>
            <p:nvPr/>
          </p:nvSpPr>
          <p:spPr>
            <a:xfrm flipV="1">
              <a:off x="24266967" y="3558353"/>
              <a:ext cx="15855" cy="14379"/>
            </a:xfrm>
            <a:custGeom>
              <a:avLst/>
              <a:gdLst>
                <a:gd name="csX0" fmla="*/ 6933 w 15855"/>
                <a:gd name="csY0" fmla="*/ 7123 h 14379"/>
                <a:gd name="csX1" fmla="*/ -8923 w 15855"/>
                <a:gd name="csY1" fmla="*/ 7123 h 14379"/>
                <a:gd name="csX2" fmla="*/ -8923 w 15855"/>
                <a:gd name="csY2" fmla="*/ -7257 h 14379"/>
                <a:gd name="csX3" fmla="*/ 6933 w 15855"/>
                <a:gd name="csY3" fmla="*/ -7257 h 14379"/>
                <a:gd name="csX4" fmla="*/ 6933 w 15855"/>
                <a:gd name="csY4" fmla="*/ 7123 h 14379"/>
              </a:gdLst>
              <a:ahLst/>
              <a:cxnLst>
                <a:cxn ang="0">
                  <a:pos x="csX0" y="csY0"/>
                </a:cxn>
                <a:cxn ang="0">
                  <a:pos x="csX1" y="csY1"/>
                </a:cxn>
                <a:cxn ang="0">
                  <a:pos x="csX2" y="csY2"/>
                </a:cxn>
                <a:cxn ang="0">
                  <a:pos x="csX3" y="csY3"/>
                </a:cxn>
                <a:cxn ang="0">
                  <a:pos x="csX4" y="csY4"/>
                </a:cxn>
              </a:cxnLst>
              <a:rect l="l" t="t" r="r" b="b"/>
              <a:pathLst>
                <a:path w="15855" h="14379">
                  <a:moveTo>
                    <a:pt x="6933" y="7123"/>
                  </a:moveTo>
                  <a:lnTo>
                    <a:pt x="-8923" y="7123"/>
                  </a:lnTo>
                  <a:lnTo>
                    <a:pt x="-8923" y="-7257"/>
                  </a:lnTo>
                  <a:lnTo>
                    <a:pt x="6933" y="-7257"/>
                  </a:lnTo>
                  <a:lnTo>
                    <a:pt x="6933" y="7123"/>
                  </a:lnTo>
                </a:path>
              </a:pathLst>
            </a:custGeom>
            <a:grpFill/>
            <a:ln w="548" cap="flat">
              <a:noFill/>
              <a:prstDash val="solid"/>
              <a:miter/>
            </a:ln>
          </p:spPr>
          <p:txBody>
            <a:bodyPr/>
            <a:lstStyle/>
            <a:p>
              <a:endParaRPr lang="en-US"/>
            </a:p>
          </p:txBody>
        </p:sp>
        <p:sp>
          <p:nvSpPr>
            <p:cNvPr id="216" name="Freeform: Shape 215">
              <a:extLst>
                <a:ext uri="{FF2B5EF4-FFF2-40B4-BE49-F238E27FC236}">
                  <a16:creationId xmlns:a16="http://schemas.microsoft.com/office/drawing/2014/main" id="{ED27FE6C-2D23-7549-51A4-D8C7414BFC94}"/>
                </a:ext>
              </a:extLst>
            </p:cNvPr>
            <p:cNvSpPr/>
            <p:nvPr/>
          </p:nvSpPr>
          <p:spPr>
            <a:xfrm flipV="1">
              <a:off x="24266967" y="3541575"/>
              <a:ext cx="15855" cy="14379"/>
            </a:xfrm>
            <a:custGeom>
              <a:avLst/>
              <a:gdLst>
                <a:gd name="csX0" fmla="*/ 6933 w 15855"/>
                <a:gd name="csY0" fmla="*/ 7083 h 14379"/>
                <a:gd name="csX1" fmla="*/ -8923 w 15855"/>
                <a:gd name="csY1" fmla="*/ 7083 h 14379"/>
                <a:gd name="csX2" fmla="*/ -8923 w 15855"/>
                <a:gd name="csY2" fmla="*/ -7297 h 14379"/>
                <a:gd name="csX3" fmla="*/ 6933 w 15855"/>
                <a:gd name="csY3" fmla="*/ -7297 h 14379"/>
                <a:gd name="csX4" fmla="*/ 6933 w 15855"/>
                <a:gd name="csY4" fmla="*/ 7083 h 14379"/>
              </a:gdLst>
              <a:ahLst/>
              <a:cxnLst>
                <a:cxn ang="0">
                  <a:pos x="csX0" y="csY0"/>
                </a:cxn>
                <a:cxn ang="0">
                  <a:pos x="csX1" y="csY1"/>
                </a:cxn>
                <a:cxn ang="0">
                  <a:pos x="csX2" y="csY2"/>
                </a:cxn>
                <a:cxn ang="0">
                  <a:pos x="csX3" y="csY3"/>
                </a:cxn>
                <a:cxn ang="0">
                  <a:pos x="csX4" y="csY4"/>
                </a:cxn>
              </a:cxnLst>
              <a:rect l="l" t="t" r="r" b="b"/>
              <a:pathLst>
                <a:path w="15855" h="14379">
                  <a:moveTo>
                    <a:pt x="6933" y="7083"/>
                  </a:moveTo>
                  <a:lnTo>
                    <a:pt x="-8923" y="7083"/>
                  </a:lnTo>
                  <a:lnTo>
                    <a:pt x="-8923" y="-7297"/>
                  </a:lnTo>
                  <a:lnTo>
                    <a:pt x="6933" y="-7297"/>
                  </a:lnTo>
                  <a:lnTo>
                    <a:pt x="6933" y="7083"/>
                  </a:lnTo>
                </a:path>
              </a:pathLst>
            </a:custGeom>
            <a:grpFill/>
            <a:ln w="548" cap="flat">
              <a:noFill/>
              <a:prstDash val="solid"/>
              <a:miter/>
            </a:ln>
          </p:spPr>
          <p:txBody>
            <a:bodyPr/>
            <a:lstStyle/>
            <a:p>
              <a:endParaRPr lang="en-US"/>
            </a:p>
          </p:txBody>
        </p:sp>
        <p:sp>
          <p:nvSpPr>
            <p:cNvPr id="217" name="Freeform: Shape 216">
              <a:extLst>
                <a:ext uri="{FF2B5EF4-FFF2-40B4-BE49-F238E27FC236}">
                  <a16:creationId xmlns:a16="http://schemas.microsoft.com/office/drawing/2014/main" id="{E7D1D4A2-4ECD-CB63-B189-5E34D24B39A1}"/>
                </a:ext>
              </a:extLst>
            </p:cNvPr>
            <p:cNvSpPr/>
            <p:nvPr/>
          </p:nvSpPr>
          <p:spPr>
            <a:xfrm flipV="1">
              <a:off x="24266967" y="3591919"/>
              <a:ext cx="15855" cy="14379"/>
            </a:xfrm>
            <a:custGeom>
              <a:avLst/>
              <a:gdLst>
                <a:gd name="csX0" fmla="*/ 6933 w 15855"/>
                <a:gd name="csY0" fmla="*/ 7204 h 14379"/>
                <a:gd name="csX1" fmla="*/ -8923 w 15855"/>
                <a:gd name="csY1" fmla="*/ 7204 h 14379"/>
                <a:gd name="csX2" fmla="*/ -8923 w 15855"/>
                <a:gd name="csY2" fmla="*/ -7176 h 14379"/>
                <a:gd name="csX3" fmla="*/ 6933 w 15855"/>
                <a:gd name="csY3" fmla="*/ -7176 h 14379"/>
                <a:gd name="csX4" fmla="*/ 6933 w 15855"/>
                <a:gd name="csY4" fmla="*/ 7204 h 14379"/>
              </a:gdLst>
              <a:ahLst/>
              <a:cxnLst>
                <a:cxn ang="0">
                  <a:pos x="csX0" y="csY0"/>
                </a:cxn>
                <a:cxn ang="0">
                  <a:pos x="csX1" y="csY1"/>
                </a:cxn>
                <a:cxn ang="0">
                  <a:pos x="csX2" y="csY2"/>
                </a:cxn>
                <a:cxn ang="0">
                  <a:pos x="csX3" y="csY3"/>
                </a:cxn>
                <a:cxn ang="0">
                  <a:pos x="csX4" y="csY4"/>
                </a:cxn>
              </a:cxnLst>
              <a:rect l="l" t="t" r="r" b="b"/>
              <a:pathLst>
                <a:path w="15855" h="14379">
                  <a:moveTo>
                    <a:pt x="6933" y="7204"/>
                  </a:moveTo>
                  <a:lnTo>
                    <a:pt x="-8923" y="7204"/>
                  </a:lnTo>
                  <a:lnTo>
                    <a:pt x="-8923" y="-7176"/>
                  </a:lnTo>
                  <a:lnTo>
                    <a:pt x="6933" y="-7176"/>
                  </a:lnTo>
                  <a:lnTo>
                    <a:pt x="6933" y="7204"/>
                  </a:lnTo>
                </a:path>
              </a:pathLst>
            </a:custGeom>
            <a:grpFill/>
            <a:ln w="548" cap="flat">
              <a:noFill/>
              <a:prstDash val="solid"/>
              <a:miter/>
            </a:ln>
          </p:spPr>
          <p:txBody>
            <a:bodyPr/>
            <a:lstStyle/>
            <a:p>
              <a:endParaRPr lang="en-US"/>
            </a:p>
          </p:txBody>
        </p:sp>
        <p:sp>
          <p:nvSpPr>
            <p:cNvPr id="218" name="Freeform: Shape 217">
              <a:extLst>
                <a:ext uri="{FF2B5EF4-FFF2-40B4-BE49-F238E27FC236}">
                  <a16:creationId xmlns:a16="http://schemas.microsoft.com/office/drawing/2014/main" id="{755F460E-FE10-6A3A-0A04-5438E6B6EE47}"/>
                </a:ext>
              </a:extLst>
            </p:cNvPr>
            <p:cNvSpPr/>
            <p:nvPr/>
          </p:nvSpPr>
          <p:spPr>
            <a:xfrm flipV="1">
              <a:off x="24266967" y="3625485"/>
              <a:ext cx="15855" cy="14374"/>
            </a:xfrm>
            <a:custGeom>
              <a:avLst/>
              <a:gdLst>
                <a:gd name="csX0" fmla="*/ 6933 w 15855"/>
                <a:gd name="csY0" fmla="*/ 7279 h 14374"/>
                <a:gd name="csX1" fmla="*/ -8923 w 15855"/>
                <a:gd name="csY1" fmla="*/ 7279 h 14374"/>
                <a:gd name="csX2" fmla="*/ -8923 w 15855"/>
                <a:gd name="csY2" fmla="*/ -7095 h 14374"/>
                <a:gd name="csX3" fmla="*/ 6933 w 15855"/>
                <a:gd name="csY3" fmla="*/ -7095 h 14374"/>
                <a:gd name="csX4" fmla="*/ 6933 w 15855"/>
                <a:gd name="csY4" fmla="*/ 7279 h 14374"/>
              </a:gdLst>
              <a:ahLst/>
              <a:cxnLst>
                <a:cxn ang="0">
                  <a:pos x="csX0" y="csY0"/>
                </a:cxn>
                <a:cxn ang="0">
                  <a:pos x="csX1" y="csY1"/>
                </a:cxn>
                <a:cxn ang="0">
                  <a:pos x="csX2" y="csY2"/>
                </a:cxn>
                <a:cxn ang="0">
                  <a:pos x="csX3" y="csY3"/>
                </a:cxn>
                <a:cxn ang="0">
                  <a:pos x="csX4" y="csY4"/>
                </a:cxn>
              </a:cxnLst>
              <a:rect l="l" t="t" r="r" b="b"/>
              <a:pathLst>
                <a:path w="15855" h="14374">
                  <a:moveTo>
                    <a:pt x="6933" y="7279"/>
                  </a:moveTo>
                  <a:lnTo>
                    <a:pt x="-8923" y="7279"/>
                  </a:lnTo>
                  <a:lnTo>
                    <a:pt x="-8923" y="-7095"/>
                  </a:lnTo>
                  <a:lnTo>
                    <a:pt x="6933" y="-7095"/>
                  </a:lnTo>
                  <a:lnTo>
                    <a:pt x="6933" y="7279"/>
                  </a:lnTo>
                </a:path>
              </a:pathLst>
            </a:custGeom>
            <a:grpFill/>
            <a:ln w="548" cap="flat">
              <a:noFill/>
              <a:prstDash val="solid"/>
              <a:miter/>
            </a:ln>
          </p:spPr>
          <p:txBody>
            <a:bodyPr/>
            <a:lstStyle/>
            <a:p>
              <a:endParaRPr lang="en-US"/>
            </a:p>
          </p:txBody>
        </p:sp>
        <p:sp>
          <p:nvSpPr>
            <p:cNvPr id="219" name="Freeform: Shape 218">
              <a:extLst>
                <a:ext uri="{FF2B5EF4-FFF2-40B4-BE49-F238E27FC236}">
                  <a16:creationId xmlns:a16="http://schemas.microsoft.com/office/drawing/2014/main" id="{1B610B67-03C7-A6AE-A93D-A267E8F4C30C}"/>
                </a:ext>
              </a:extLst>
            </p:cNvPr>
            <p:cNvSpPr/>
            <p:nvPr/>
          </p:nvSpPr>
          <p:spPr>
            <a:xfrm flipV="1">
              <a:off x="24266967" y="3659045"/>
              <a:ext cx="15855" cy="14313"/>
            </a:xfrm>
            <a:custGeom>
              <a:avLst/>
              <a:gdLst>
                <a:gd name="csX0" fmla="*/ 6933 w 15855"/>
                <a:gd name="csY0" fmla="*/ 7299 h 14313"/>
                <a:gd name="csX1" fmla="*/ -8923 w 15855"/>
                <a:gd name="csY1" fmla="*/ 7299 h 14313"/>
                <a:gd name="csX2" fmla="*/ -8923 w 15855"/>
                <a:gd name="csY2" fmla="*/ -7015 h 14313"/>
                <a:gd name="csX3" fmla="*/ 6933 w 15855"/>
                <a:gd name="csY3" fmla="*/ -7015 h 14313"/>
                <a:gd name="csX4" fmla="*/ 6933 w 15855"/>
                <a:gd name="csY4" fmla="*/ 7299 h 14313"/>
              </a:gdLst>
              <a:ahLst/>
              <a:cxnLst>
                <a:cxn ang="0">
                  <a:pos x="csX0" y="csY0"/>
                </a:cxn>
                <a:cxn ang="0">
                  <a:pos x="csX1" y="csY1"/>
                </a:cxn>
                <a:cxn ang="0">
                  <a:pos x="csX2" y="csY2"/>
                </a:cxn>
                <a:cxn ang="0">
                  <a:pos x="csX3" y="csY3"/>
                </a:cxn>
                <a:cxn ang="0">
                  <a:pos x="csX4" y="csY4"/>
                </a:cxn>
              </a:cxnLst>
              <a:rect l="l" t="t" r="r" b="b"/>
              <a:pathLst>
                <a:path w="15855" h="14313">
                  <a:moveTo>
                    <a:pt x="6933" y="7299"/>
                  </a:moveTo>
                  <a:lnTo>
                    <a:pt x="-8923" y="7299"/>
                  </a:lnTo>
                  <a:lnTo>
                    <a:pt x="-8923" y="-7015"/>
                  </a:lnTo>
                  <a:lnTo>
                    <a:pt x="6933" y="-7015"/>
                  </a:lnTo>
                  <a:lnTo>
                    <a:pt x="6933" y="7299"/>
                  </a:lnTo>
                </a:path>
              </a:pathLst>
            </a:custGeom>
            <a:grpFill/>
            <a:ln w="548" cap="flat">
              <a:noFill/>
              <a:prstDash val="solid"/>
              <a:miter/>
            </a:ln>
          </p:spPr>
          <p:txBody>
            <a:bodyPr/>
            <a:lstStyle/>
            <a:p>
              <a:endParaRPr lang="en-US"/>
            </a:p>
          </p:txBody>
        </p:sp>
        <p:sp>
          <p:nvSpPr>
            <p:cNvPr id="220" name="Freeform: Shape 219">
              <a:extLst>
                <a:ext uri="{FF2B5EF4-FFF2-40B4-BE49-F238E27FC236}">
                  <a16:creationId xmlns:a16="http://schemas.microsoft.com/office/drawing/2014/main" id="{AE5BFC42-479C-7F2E-A9AE-748516454EBC}"/>
                </a:ext>
              </a:extLst>
            </p:cNvPr>
            <p:cNvSpPr/>
            <p:nvPr/>
          </p:nvSpPr>
          <p:spPr>
            <a:xfrm flipV="1">
              <a:off x="24266967" y="3526916"/>
              <a:ext cx="15855" cy="12256"/>
            </a:xfrm>
            <a:custGeom>
              <a:avLst/>
              <a:gdLst>
                <a:gd name="csX0" fmla="*/ 6933 w 15855"/>
                <a:gd name="csY0" fmla="*/ 4921 h 12256"/>
                <a:gd name="csX1" fmla="*/ -8923 w 15855"/>
                <a:gd name="csY1" fmla="*/ 4921 h 12256"/>
                <a:gd name="csX2" fmla="*/ -8923 w 15855"/>
                <a:gd name="csY2" fmla="*/ -7335 h 12256"/>
                <a:gd name="csX3" fmla="*/ 6933 w 15855"/>
                <a:gd name="csY3" fmla="*/ -7335 h 12256"/>
                <a:gd name="csX4" fmla="*/ 6933 w 15855"/>
                <a:gd name="csY4" fmla="*/ 4921 h 12256"/>
              </a:gdLst>
              <a:ahLst/>
              <a:cxnLst>
                <a:cxn ang="0">
                  <a:pos x="csX0" y="csY0"/>
                </a:cxn>
                <a:cxn ang="0">
                  <a:pos x="csX1" y="csY1"/>
                </a:cxn>
                <a:cxn ang="0">
                  <a:pos x="csX2" y="csY2"/>
                </a:cxn>
                <a:cxn ang="0">
                  <a:pos x="csX3" y="csY3"/>
                </a:cxn>
                <a:cxn ang="0">
                  <a:pos x="csX4" y="csY4"/>
                </a:cxn>
              </a:cxnLst>
              <a:rect l="l" t="t" r="r" b="b"/>
              <a:pathLst>
                <a:path w="15855" h="12256">
                  <a:moveTo>
                    <a:pt x="6933" y="4921"/>
                  </a:moveTo>
                  <a:lnTo>
                    <a:pt x="-8923" y="4921"/>
                  </a:lnTo>
                  <a:lnTo>
                    <a:pt x="-8923" y="-7335"/>
                  </a:lnTo>
                  <a:lnTo>
                    <a:pt x="6933" y="-7335"/>
                  </a:lnTo>
                  <a:lnTo>
                    <a:pt x="6933" y="4921"/>
                  </a:lnTo>
                </a:path>
              </a:pathLst>
            </a:custGeom>
            <a:grpFill/>
            <a:ln w="548" cap="flat">
              <a:noFill/>
              <a:prstDash val="solid"/>
              <a:miter/>
            </a:ln>
          </p:spPr>
          <p:txBody>
            <a:bodyPr/>
            <a:lstStyle/>
            <a:p>
              <a:endParaRPr lang="en-US"/>
            </a:p>
          </p:txBody>
        </p:sp>
        <p:sp>
          <p:nvSpPr>
            <p:cNvPr id="221" name="Freeform: Shape 220">
              <a:extLst>
                <a:ext uri="{FF2B5EF4-FFF2-40B4-BE49-F238E27FC236}">
                  <a16:creationId xmlns:a16="http://schemas.microsoft.com/office/drawing/2014/main" id="{E6294F01-0038-D2EC-1173-790C04947943}"/>
                </a:ext>
              </a:extLst>
            </p:cNvPr>
            <p:cNvSpPr/>
            <p:nvPr/>
          </p:nvSpPr>
          <p:spPr>
            <a:xfrm flipV="1">
              <a:off x="24266967" y="3608702"/>
              <a:ext cx="15855" cy="14379"/>
            </a:xfrm>
            <a:custGeom>
              <a:avLst/>
              <a:gdLst>
                <a:gd name="csX0" fmla="*/ 6933 w 15855"/>
                <a:gd name="csY0" fmla="*/ 7244 h 14379"/>
                <a:gd name="csX1" fmla="*/ -8923 w 15855"/>
                <a:gd name="csY1" fmla="*/ 7244 h 14379"/>
                <a:gd name="csX2" fmla="*/ -8923 w 15855"/>
                <a:gd name="csY2" fmla="*/ -7136 h 14379"/>
                <a:gd name="csX3" fmla="*/ 6933 w 15855"/>
                <a:gd name="csY3" fmla="*/ -7136 h 14379"/>
                <a:gd name="csX4" fmla="*/ 6933 w 15855"/>
                <a:gd name="csY4" fmla="*/ 7244 h 14379"/>
              </a:gdLst>
              <a:ahLst/>
              <a:cxnLst>
                <a:cxn ang="0">
                  <a:pos x="csX0" y="csY0"/>
                </a:cxn>
                <a:cxn ang="0">
                  <a:pos x="csX1" y="csY1"/>
                </a:cxn>
                <a:cxn ang="0">
                  <a:pos x="csX2" y="csY2"/>
                </a:cxn>
                <a:cxn ang="0">
                  <a:pos x="csX3" y="csY3"/>
                </a:cxn>
                <a:cxn ang="0">
                  <a:pos x="csX4" y="csY4"/>
                </a:cxn>
              </a:cxnLst>
              <a:rect l="l" t="t" r="r" b="b"/>
              <a:pathLst>
                <a:path w="15855" h="14379">
                  <a:moveTo>
                    <a:pt x="6933" y="7244"/>
                  </a:moveTo>
                  <a:lnTo>
                    <a:pt x="-8923" y="7244"/>
                  </a:lnTo>
                  <a:lnTo>
                    <a:pt x="-8923" y="-7136"/>
                  </a:lnTo>
                  <a:lnTo>
                    <a:pt x="6933" y="-7136"/>
                  </a:lnTo>
                  <a:lnTo>
                    <a:pt x="6933" y="7244"/>
                  </a:lnTo>
                </a:path>
              </a:pathLst>
            </a:custGeom>
            <a:grpFill/>
            <a:ln w="548" cap="flat">
              <a:noFill/>
              <a:prstDash val="solid"/>
              <a:miter/>
            </a:ln>
          </p:spPr>
          <p:txBody>
            <a:bodyPr/>
            <a:lstStyle/>
            <a:p>
              <a:endParaRPr lang="en-US"/>
            </a:p>
          </p:txBody>
        </p:sp>
        <p:sp>
          <p:nvSpPr>
            <p:cNvPr id="222" name="Freeform: Shape 221">
              <a:extLst>
                <a:ext uri="{FF2B5EF4-FFF2-40B4-BE49-F238E27FC236}">
                  <a16:creationId xmlns:a16="http://schemas.microsoft.com/office/drawing/2014/main" id="{D2DDF81F-8B18-2E22-FA4E-CC3287117DD3}"/>
                </a:ext>
              </a:extLst>
            </p:cNvPr>
            <p:cNvSpPr/>
            <p:nvPr/>
          </p:nvSpPr>
          <p:spPr>
            <a:xfrm flipV="1">
              <a:off x="24266967" y="3642267"/>
              <a:ext cx="15855" cy="14374"/>
            </a:xfrm>
            <a:custGeom>
              <a:avLst/>
              <a:gdLst>
                <a:gd name="csX0" fmla="*/ 6933 w 15855"/>
                <a:gd name="csY0" fmla="*/ 7319 h 14374"/>
                <a:gd name="csX1" fmla="*/ -8923 w 15855"/>
                <a:gd name="csY1" fmla="*/ 7319 h 14374"/>
                <a:gd name="csX2" fmla="*/ -8923 w 15855"/>
                <a:gd name="csY2" fmla="*/ -7055 h 14374"/>
                <a:gd name="csX3" fmla="*/ 6933 w 15855"/>
                <a:gd name="csY3" fmla="*/ -7055 h 14374"/>
                <a:gd name="csX4" fmla="*/ 6933 w 15855"/>
                <a:gd name="csY4" fmla="*/ 7319 h 14374"/>
              </a:gdLst>
              <a:ahLst/>
              <a:cxnLst>
                <a:cxn ang="0">
                  <a:pos x="csX0" y="csY0"/>
                </a:cxn>
                <a:cxn ang="0">
                  <a:pos x="csX1" y="csY1"/>
                </a:cxn>
                <a:cxn ang="0">
                  <a:pos x="csX2" y="csY2"/>
                </a:cxn>
                <a:cxn ang="0">
                  <a:pos x="csX3" y="csY3"/>
                </a:cxn>
                <a:cxn ang="0">
                  <a:pos x="csX4" y="csY4"/>
                </a:cxn>
              </a:cxnLst>
              <a:rect l="l" t="t" r="r" b="b"/>
              <a:pathLst>
                <a:path w="15855" h="14374">
                  <a:moveTo>
                    <a:pt x="6933" y="7319"/>
                  </a:moveTo>
                  <a:lnTo>
                    <a:pt x="-8923" y="7319"/>
                  </a:lnTo>
                  <a:lnTo>
                    <a:pt x="-8923" y="-7055"/>
                  </a:lnTo>
                  <a:lnTo>
                    <a:pt x="6933" y="-7055"/>
                  </a:lnTo>
                  <a:lnTo>
                    <a:pt x="6933" y="7319"/>
                  </a:lnTo>
                </a:path>
              </a:pathLst>
            </a:custGeom>
            <a:grpFill/>
            <a:ln w="548" cap="flat">
              <a:noFill/>
              <a:prstDash val="solid"/>
              <a:miter/>
            </a:ln>
          </p:spPr>
          <p:txBody>
            <a:bodyPr/>
            <a:lstStyle/>
            <a:p>
              <a:endParaRPr lang="en-US"/>
            </a:p>
          </p:txBody>
        </p:sp>
        <p:sp>
          <p:nvSpPr>
            <p:cNvPr id="223" name="Freeform: Shape 222">
              <a:extLst>
                <a:ext uri="{FF2B5EF4-FFF2-40B4-BE49-F238E27FC236}">
                  <a16:creationId xmlns:a16="http://schemas.microsoft.com/office/drawing/2014/main" id="{97005754-C0F6-7D07-4595-4191859C81BA}"/>
                </a:ext>
              </a:extLst>
            </p:cNvPr>
            <p:cNvSpPr/>
            <p:nvPr/>
          </p:nvSpPr>
          <p:spPr>
            <a:xfrm flipV="1">
              <a:off x="24317387" y="3112139"/>
              <a:ext cx="15855" cy="12256"/>
            </a:xfrm>
            <a:custGeom>
              <a:avLst/>
              <a:gdLst>
                <a:gd name="csX0" fmla="*/ -8985 w 15855"/>
                <a:gd name="csY0" fmla="*/ -8333 h 12256"/>
                <a:gd name="csX1" fmla="*/ 6871 w 15855"/>
                <a:gd name="csY1" fmla="*/ -8333 h 12256"/>
                <a:gd name="csX2" fmla="*/ 6871 w 15855"/>
                <a:gd name="csY2" fmla="*/ 3923 h 12256"/>
                <a:gd name="csX3" fmla="*/ -8985 w 15855"/>
                <a:gd name="csY3" fmla="*/ 3923 h 12256"/>
                <a:gd name="csX4" fmla="*/ -8985 w 15855"/>
                <a:gd name="csY4" fmla="*/ -8333 h 12256"/>
              </a:gdLst>
              <a:ahLst/>
              <a:cxnLst>
                <a:cxn ang="0">
                  <a:pos x="csX0" y="csY0"/>
                </a:cxn>
                <a:cxn ang="0">
                  <a:pos x="csX1" y="csY1"/>
                </a:cxn>
                <a:cxn ang="0">
                  <a:pos x="csX2" y="csY2"/>
                </a:cxn>
                <a:cxn ang="0">
                  <a:pos x="csX3" y="csY3"/>
                </a:cxn>
                <a:cxn ang="0">
                  <a:pos x="csX4" y="csY4"/>
                </a:cxn>
              </a:cxnLst>
              <a:rect l="l" t="t" r="r" b="b"/>
              <a:pathLst>
                <a:path w="15855" h="12256">
                  <a:moveTo>
                    <a:pt x="-8985" y="-8333"/>
                  </a:moveTo>
                  <a:lnTo>
                    <a:pt x="6871" y="-8333"/>
                  </a:lnTo>
                  <a:lnTo>
                    <a:pt x="6871" y="3923"/>
                  </a:lnTo>
                  <a:lnTo>
                    <a:pt x="-8985" y="3923"/>
                  </a:lnTo>
                  <a:lnTo>
                    <a:pt x="-8985" y="-8333"/>
                  </a:lnTo>
                </a:path>
              </a:pathLst>
            </a:custGeom>
            <a:grpFill/>
            <a:ln w="548" cap="flat">
              <a:noFill/>
              <a:prstDash val="solid"/>
              <a:miter/>
            </a:ln>
          </p:spPr>
          <p:txBody>
            <a:bodyPr/>
            <a:lstStyle/>
            <a:p>
              <a:endParaRPr lang="en-US"/>
            </a:p>
          </p:txBody>
        </p:sp>
        <p:sp>
          <p:nvSpPr>
            <p:cNvPr id="224" name="Freeform: Shape 223">
              <a:extLst>
                <a:ext uri="{FF2B5EF4-FFF2-40B4-BE49-F238E27FC236}">
                  <a16:creationId xmlns:a16="http://schemas.microsoft.com/office/drawing/2014/main" id="{FA0254F7-FD4F-BDA4-2E0F-0721E7097710}"/>
                </a:ext>
              </a:extLst>
            </p:cNvPr>
            <p:cNvSpPr/>
            <p:nvPr/>
          </p:nvSpPr>
          <p:spPr>
            <a:xfrm flipV="1">
              <a:off x="24317387" y="3126798"/>
              <a:ext cx="15855" cy="12262"/>
            </a:xfrm>
            <a:custGeom>
              <a:avLst/>
              <a:gdLst>
                <a:gd name="csX0" fmla="*/ -8985 w 15855"/>
                <a:gd name="csY0" fmla="*/ -8298 h 12262"/>
                <a:gd name="csX1" fmla="*/ 6871 w 15855"/>
                <a:gd name="csY1" fmla="*/ -8298 h 12262"/>
                <a:gd name="csX2" fmla="*/ 6871 w 15855"/>
                <a:gd name="csY2" fmla="*/ 3965 h 12262"/>
                <a:gd name="csX3" fmla="*/ -8985 w 15855"/>
                <a:gd name="csY3" fmla="*/ 3965 h 12262"/>
                <a:gd name="csX4" fmla="*/ -8985 w 15855"/>
                <a:gd name="csY4" fmla="*/ -8298 h 12262"/>
              </a:gdLst>
              <a:ahLst/>
              <a:cxnLst>
                <a:cxn ang="0">
                  <a:pos x="csX0" y="csY0"/>
                </a:cxn>
                <a:cxn ang="0">
                  <a:pos x="csX1" y="csY1"/>
                </a:cxn>
                <a:cxn ang="0">
                  <a:pos x="csX2" y="csY2"/>
                </a:cxn>
                <a:cxn ang="0">
                  <a:pos x="csX3" y="csY3"/>
                </a:cxn>
                <a:cxn ang="0">
                  <a:pos x="csX4" y="csY4"/>
                </a:cxn>
              </a:cxnLst>
              <a:rect l="l" t="t" r="r" b="b"/>
              <a:pathLst>
                <a:path w="15855" h="12262">
                  <a:moveTo>
                    <a:pt x="-8985" y="-8298"/>
                  </a:moveTo>
                  <a:lnTo>
                    <a:pt x="6871" y="-8298"/>
                  </a:lnTo>
                  <a:lnTo>
                    <a:pt x="6871" y="3965"/>
                  </a:lnTo>
                  <a:lnTo>
                    <a:pt x="-8985" y="3965"/>
                  </a:lnTo>
                  <a:lnTo>
                    <a:pt x="-8985" y="-8298"/>
                  </a:lnTo>
                </a:path>
              </a:pathLst>
            </a:custGeom>
            <a:grpFill/>
            <a:ln w="548" cap="flat">
              <a:noFill/>
              <a:prstDash val="solid"/>
              <a:miter/>
            </a:ln>
          </p:spPr>
          <p:txBody>
            <a:bodyPr/>
            <a:lstStyle/>
            <a:p>
              <a:endParaRPr lang="en-US"/>
            </a:p>
          </p:txBody>
        </p:sp>
        <p:sp>
          <p:nvSpPr>
            <p:cNvPr id="225" name="Freeform: Shape 224">
              <a:extLst>
                <a:ext uri="{FF2B5EF4-FFF2-40B4-BE49-F238E27FC236}">
                  <a16:creationId xmlns:a16="http://schemas.microsoft.com/office/drawing/2014/main" id="{C4140DB3-C7C8-F97C-4947-772244AE32BD}"/>
                </a:ext>
              </a:extLst>
            </p:cNvPr>
            <p:cNvSpPr/>
            <p:nvPr/>
          </p:nvSpPr>
          <p:spPr>
            <a:xfrm flipV="1">
              <a:off x="24317387" y="3220928"/>
              <a:ext cx="15855" cy="14374"/>
            </a:xfrm>
            <a:custGeom>
              <a:avLst/>
              <a:gdLst>
                <a:gd name="csX0" fmla="*/ -8985 w 15855"/>
                <a:gd name="csY0" fmla="*/ -8069 h 14374"/>
                <a:gd name="csX1" fmla="*/ 6871 w 15855"/>
                <a:gd name="csY1" fmla="*/ -8069 h 14374"/>
                <a:gd name="csX2" fmla="*/ 6871 w 15855"/>
                <a:gd name="csY2" fmla="*/ 6306 h 14374"/>
                <a:gd name="csX3" fmla="*/ -8985 w 15855"/>
                <a:gd name="csY3" fmla="*/ 6306 h 14374"/>
                <a:gd name="csX4" fmla="*/ -8985 w 15855"/>
                <a:gd name="csY4" fmla="*/ -8069 h 14374"/>
              </a:gdLst>
              <a:ahLst/>
              <a:cxnLst>
                <a:cxn ang="0">
                  <a:pos x="csX0" y="csY0"/>
                </a:cxn>
                <a:cxn ang="0">
                  <a:pos x="csX1" y="csY1"/>
                </a:cxn>
                <a:cxn ang="0">
                  <a:pos x="csX2" y="csY2"/>
                </a:cxn>
                <a:cxn ang="0">
                  <a:pos x="csX3" y="csY3"/>
                </a:cxn>
                <a:cxn ang="0">
                  <a:pos x="csX4" y="csY4"/>
                </a:cxn>
              </a:cxnLst>
              <a:rect l="l" t="t" r="r" b="b"/>
              <a:pathLst>
                <a:path w="15855" h="14374">
                  <a:moveTo>
                    <a:pt x="-8985" y="-8069"/>
                  </a:moveTo>
                  <a:lnTo>
                    <a:pt x="6871" y="-8069"/>
                  </a:lnTo>
                  <a:lnTo>
                    <a:pt x="6871" y="6306"/>
                  </a:lnTo>
                  <a:lnTo>
                    <a:pt x="-8985" y="6306"/>
                  </a:lnTo>
                  <a:lnTo>
                    <a:pt x="-8985" y="-8069"/>
                  </a:lnTo>
                </a:path>
              </a:pathLst>
            </a:custGeom>
            <a:grpFill/>
            <a:ln w="548" cap="flat">
              <a:noFill/>
              <a:prstDash val="solid"/>
              <a:miter/>
            </a:ln>
          </p:spPr>
          <p:txBody>
            <a:bodyPr/>
            <a:lstStyle/>
            <a:p>
              <a:endParaRPr lang="en-US"/>
            </a:p>
          </p:txBody>
        </p:sp>
        <p:sp>
          <p:nvSpPr>
            <p:cNvPr id="226" name="Freeform: Shape 225">
              <a:extLst>
                <a:ext uri="{FF2B5EF4-FFF2-40B4-BE49-F238E27FC236}">
                  <a16:creationId xmlns:a16="http://schemas.microsoft.com/office/drawing/2014/main" id="{528D138E-7F06-3C72-BDFB-ABC4EA8EADDB}"/>
                </a:ext>
              </a:extLst>
            </p:cNvPr>
            <p:cNvSpPr/>
            <p:nvPr/>
          </p:nvSpPr>
          <p:spPr>
            <a:xfrm flipV="1">
              <a:off x="24317387" y="3254489"/>
              <a:ext cx="15855" cy="14379"/>
            </a:xfrm>
            <a:custGeom>
              <a:avLst/>
              <a:gdLst>
                <a:gd name="csX0" fmla="*/ -8985 w 15855"/>
                <a:gd name="csY0" fmla="*/ -7988 h 14379"/>
                <a:gd name="csX1" fmla="*/ 6871 w 15855"/>
                <a:gd name="csY1" fmla="*/ -7988 h 14379"/>
                <a:gd name="csX2" fmla="*/ 6871 w 15855"/>
                <a:gd name="csY2" fmla="*/ 6392 h 14379"/>
                <a:gd name="csX3" fmla="*/ -8985 w 15855"/>
                <a:gd name="csY3" fmla="*/ 6392 h 14379"/>
                <a:gd name="csX4" fmla="*/ -8985 w 15855"/>
                <a:gd name="csY4" fmla="*/ -7988 h 14379"/>
              </a:gdLst>
              <a:ahLst/>
              <a:cxnLst>
                <a:cxn ang="0">
                  <a:pos x="csX0" y="csY0"/>
                </a:cxn>
                <a:cxn ang="0">
                  <a:pos x="csX1" y="csY1"/>
                </a:cxn>
                <a:cxn ang="0">
                  <a:pos x="csX2" y="csY2"/>
                </a:cxn>
                <a:cxn ang="0">
                  <a:pos x="csX3" y="csY3"/>
                </a:cxn>
                <a:cxn ang="0">
                  <a:pos x="csX4" y="csY4"/>
                </a:cxn>
              </a:cxnLst>
              <a:rect l="l" t="t" r="r" b="b"/>
              <a:pathLst>
                <a:path w="15855" h="14379">
                  <a:moveTo>
                    <a:pt x="-8985" y="-7988"/>
                  </a:moveTo>
                  <a:lnTo>
                    <a:pt x="6871" y="-7988"/>
                  </a:lnTo>
                  <a:lnTo>
                    <a:pt x="6871" y="6392"/>
                  </a:lnTo>
                  <a:lnTo>
                    <a:pt x="-8985" y="6392"/>
                  </a:lnTo>
                  <a:lnTo>
                    <a:pt x="-8985" y="-7988"/>
                  </a:lnTo>
                </a:path>
              </a:pathLst>
            </a:custGeom>
            <a:grpFill/>
            <a:ln w="548" cap="flat">
              <a:noFill/>
              <a:prstDash val="solid"/>
              <a:miter/>
            </a:ln>
          </p:spPr>
          <p:txBody>
            <a:bodyPr/>
            <a:lstStyle/>
            <a:p>
              <a:endParaRPr lang="en-US"/>
            </a:p>
          </p:txBody>
        </p:sp>
        <p:sp>
          <p:nvSpPr>
            <p:cNvPr id="227" name="Freeform: Shape 226">
              <a:extLst>
                <a:ext uri="{FF2B5EF4-FFF2-40B4-BE49-F238E27FC236}">
                  <a16:creationId xmlns:a16="http://schemas.microsoft.com/office/drawing/2014/main" id="{E9E70C5B-B680-DC5C-0A35-342AA2FEB27A}"/>
                </a:ext>
              </a:extLst>
            </p:cNvPr>
            <p:cNvSpPr/>
            <p:nvPr/>
          </p:nvSpPr>
          <p:spPr>
            <a:xfrm flipV="1">
              <a:off x="24317387" y="3237706"/>
              <a:ext cx="15855" cy="14379"/>
            </a:xfrm>
            <a:custGeom>
              <a:avLst/>
              <a:gdLst>
                <a:gd name="csX0" fmla="*/ -8985 w 15855"/>
                <a:gd name="csY0" fmla="*/ -8028 h 14379"/>
                <a:gd name="csX1" fmla="*/ 6871 w 15855"/>
                <a:gd name="csY1" fmla="*/ -8028 h 14379"/>
                <a:gd name="csX2" fmla="*/ 6871 w 15855"/>
                <a:gd name="csY2" fmla="*/ 6351 h 14379"/>
                <a:gd name="csX3" fmla="*/ -8985 w 15855"/>
                <a:gd name="csY3" fmla="*/ 6351 h 14379"/>
                <a:gd name="csX4" fmla="*/ -8985 w 15855"/>
                <a:gd name="csY4" fmla="*/ -8028 h 14379"/>
              </a:gdLst>
              <a:ahLst/>
              <a:cxnLst>
                <a:cxn ang="0">
                  <a:pos x="csX0" y="csY0"/>
                </a:cxn>
                <a:cxn ang="0">
                  <a:pos x="csX1" y="csY1"/>
                </a:cxn>
                <a:cxn ang="0">
                  <a:pos x="csX2" y="csY2"/>
                </a:cxn>
                <a:cxn ang="0">
                  <a:pos x="csX3" y="csY3"/>
                </a:cxn>
                <a:cxn ang="0">
                  <a:pos x="csX4" y="csY4"/>
                </a:cxn>
              </a:cxnLst>
              <a:rect l="l" t="t" r="r" b="b"/>
              <a:pathLst>
                <a:path w="15855" h="14379">
                  <a:moveTo>
                    <a:pt x="-8985" y="-8028"/>
                  </a:moveTo>
                  <a:lnTo>
                    <a:pt x="6871" y="-8028"/>
                  </a:lnTo>
                  <a:lnTo>
                    <a:pt x="6871" y="6351"/>
                  </a:lnTo>
                  <a:lnTo>
                    <a:pt x="-8985" y="6351"/>
                  </a:lnTo>
                  <a:lnTo>
                    <a:pt x="-8985" y="-8028"/>
                  </a:lnTo>
                </a:path>
              </a:pathLst>
            </a:custGeom>
            <a:grpFill/>
            <a:ln w="548" cap="flat">
              <a:noFill/>
              <a:prstDash val="solid"/>
              <a:miter/>
            </a:ln>
          </p:spPr>
          <p:txBody>
            <a:bodyPr/>
            <a:lstStyle/>
            <a:p>
              <a:endParaRPr lang="en-US"/>
            </a:p>
          </p:txBody>
        </p:sp>
        <p:sp>
          <p:nvSpPr>
            <p:cNvPr id="228" name="Freeform: Shape 227">
              <a:extLst>
                <a:ext uri="{FF2B5EF4-FFF2-40B4-BE49-F238E27FC236}">
                  <a16:creationId xmlns:a16="http://schemas.microsoft.com/office/drawing/2014/main" id="{6FE220CB-25A7-451A-2FDB-54FBF92EB2E1}"/>
                </a:ext>
              </a:extLst>
            </p:cNvPr>
            <p:cNvSpPr/>
            <p:nvPr/>
          </p:nvSpPr>
          <p:spPr>
            <a:xfrm flipV="1">
              <a:off x="24317387" y="3204146"/>
              <a:ext cx="15855" cy="14374"/>
            </a:xfrm>
            <a:custGeom>
              <a:avLst/>
              <a:gdLst>
                <a:gd name="csX0" fmla="*/ -8985 w 15855"/>
                <a:gd name="csY0" fmla="*/ -8109 h 14374"/>
                <a:gd name="csX1" fmla="*/ 6871 w 15855"/>
                <a:gd name="csY1" fmla="*/ -8109 h 14374"/>
                <a:gd name="csX2" fmla="*/ 6871 w 15855"/>
                <a:gd name="csY2" fmla="*/ 6265 h 14374"/>
                <a:gd name="csX3" fmla="*/ -8985 w 15855"/>
                <a:gd name="csY3" fmla="*/ 6265 h 14374"/>
                <a:gd name="csX4" fmla="*/ -8985 w 15855"/>
                <a:gd name="csY4" fmla="*/ -8109 h 14374"/>
              </a:gdLst>
              <a:ahLst/>
              <a:cxnLst>
                <a:cxn ang="0">
                  <a:pos x="csX0" y="csY0"/>
                </a:cxn>
                <a:cxn ang="0">
                  <a:pos x="csX1" y="csY1"/>
                </a:cxn>
                <a:cxn ang="0">
                  <a:pos x="csX2" y="csY2"/>
                </a:cxn>
                <a:cxn ang="0">
                  <a:pos x="csX3" y="csY3"/>
                </a:cxn>
                <a:cxn ang="0">
                  <a:pos x="csX4" y="csY4"/>
                </a:cxn>
              </a:cxnLst>
              <a:rect l="l" t="t" r="r" b="b"/>
              <a:pathLst>
                <a:path w="15855" h="14374">
                  <a:moveTo>
                    <a:pt x="-8985" y="-8109"/>
                  </a:moveTo>
                  <a:lnTo>
                    <a:pt x="6871" y="-8109"/>
                  </a:lnTo>
                  <a:lnTo>
                    <a:pt x="6871" y="6265"/>
                  </a:lnTo>
                  <a:lnTo>
                    <a:pt x="-8985" y="6265"/>
                  </a:lnTo>
                  <a:lnTo>
                    <a:pt x="-8985" y="-8109"/>
                  </a:lnTo>
                </a:path>
              </a:pathLst>
            </a:custGeom>
            <a:grpFill/>
            <a:ln w="548" cap="flat">
              <a:noFill/>
              <a:prstDash val="solid"/>
              <a:miter/>
            </a:ln>
          </p:spPr>
          <p:txBody>
            <a:bodyPr/>
            <a:lstStyle/>
            <a:p>
              <a:endParaRPr lang="en-US"/>
            </a:p>
          </p:txBody>
        </p:sp>
        <p:sp>
          <p:nvSpPr>
            <p:cNvPr id="229" name="Freeform: Shape 228">
              <a:extLst>
                <a:ext uri="{FF2B5EF4-FFF2-40B4-BE49-F238E27FC236}">
                  <a16:creationId xmlns:a16="http://schemas.microsoft.com/office/drawing/2014/main" id="{E1ABF0DC-353A-E830-0A8B-B9734A0C4834}"/>
                </a:ext>
              </a:extLst>
            </p:cNvPr>
            <p:cNvSpPr/>
            <p:nvPr/>
          </p:nvSpPr>
          <p:spPr>
            <a:xfrm flipV="1">
              <a:off x="24317387" y="3187363"/>
              <a:ext cx="15855" cy="14379"/>
            </a:xfrm>
            <a:custGeom>
              <a:avLst/>
              <a:gdLst>
                <a:gd name="csX0" fmla="*/ -8985 w 15855"/>
                <a:gd name="csY0" fmla="*/ -8150 h 14379"/>
                <a:gd name="csX1" fmla="*/ 6871 w 15855"/>
                <a:gd name="csY1" fmla="*/ -8150 h 14379"/>
                <a:gd name="csX2" fmla="*/ 6871 w 15855"/>
                <a:gd name="csY2" fmla="*/ 6230 h 14379"/>
                <a:gd name="csX3" fmla="*/ -8985 w 15855"/>
                <a:gd name="csY3" fmla="*/ 6230 h 14379"/>
                <a:gd name="csX4" fmla="*/ -8985 w 15855"/>
                <a:gd name="csY4" fmla="*/ -8150 h 14379"/>
              </a:gdLst>
              <a:ahLst/>
              <a:cxnLst>
                <a:cxn ang="0">
                  <a:pos x="csX0" y="csY0"/>
                </a:cxn>
                <a:cxn ang="0">
                  <a:pos x="csX1" y="csY1"/>
                </a:cxn>
                <a:cxn ang="0">
                  <a:pos x="csX2" y="csY2"/>
                </a:cxn>
                <a:cxn ang="0">
                  <a:pos x="csX3" y="csY3"/>
                </a:cxn>
                <a:cxn ang="0">
                  <a:pos x="csX4" y="csY4"/>
                </a:cxn>
              </a:cxnLst>
              <a:rect l="l" t="t" r="r" b="b"/>
              <a:pathLst>
                <a:path w="15855" h="14379">
                  <a:moveTo>
                    <a:pt x="-8985" y="-8150"/>
                  </a:moveTo>
                  <a:lnTo>
                    <a:pt x="6871" y="-8150"/>
                  </a:lnTo>
                  <a:lnTo>
                    <a:pt x="6871" y="6230"/>
                  </a:lnTo>
                  <a:lnTo>
                    <a:pt x="-8985" y="6230"/>
                  </a:lnTo>
                  <a:lnTo>
                    <a:pt x="-8985" y="-8150"/>
                  </a:lnTo>
                </a:path>
              </a:pathLst>
            </a:custGeom>
            <a:grpFill/>
            <a:ln w="548" cap="flat">
              <a:noFill/>
              <a:prstDash val="solid"/>
              <a:miter/>
            </a:ln>
          </p:spPr>
          <p:txBody>
            <a:bodyPr/>
            <a:lstStyle/>
            <a:p>
              <a:endParaRPr lang="en-US"/>
            </a:p>
          </p:txBody>
        </p:sp>
        <p:sp>
          <p:nvSpPr>
            <p:cNvPr id="230" name="Freeform: Shape 229">
              <a:extLst>
                <a:ext uri="{FF2B5EF4-FFF2-40B4-BE49-F238E27FC236}">
                  <a16:creationId xmlns:a16="http://schemas.microsoft.com/office/drawing/2014/main" id="{6F83A898-D5C7-677E-454D-ABC994CF1A9A}"/>
                </a:ext>
              </a:extLst>
            </p:cNvPr>
            <p:cNvSpPr/>
            <p:nvPr/>
          </p:nvSpPr>
          <p:spPr>
            <a:xfrm flipV="1">
              <a:off x="24317387" y="3271271"/>
              <a:ext cx="15855" cy="14379"/>
            </a:xfrm>
            <a:custGeom>
              <a:avLst/>
              <a:gdLst>
                <a:gd name="csX0" fmla="*/ -8985 w 15855"/>
                <a:gd name="csY0" fmla="*/ -7948 h 14379"/>
                <a:gd name="csX1" fmla="*/ 6871 w 15855"/>
                <a:gd name="csY1" fmla="*/ -7948 h 14379"/>
                <a:gd name="csX2" fmla="*/ 6871 w 15855"/>
                <a:gd name="csY2" fmla="*/ 6432 h 14379"/>
                <a:gd name="csX3" fmla="*/ -8985 w 15855"/>
                <a:gd name="csY3" fmla="*/ 6432 h 14379"/>
                <a:gd name="csX4" fmla="*/ -8985 w 15855"/>
                <a:gd name="csY4" fmla="*/ -7948 h 14379"/>
              </a:gdLst>
              <a:ahLst/>
              <a:cxnLst>
                <a:cxn ang="0">
                  <a:pos x="csX0" y="csY0"/>
                </a:cxn>
                <a:cxn ang="0">
                  <a:pos x="csX1" y="csY1"/>
                </a:cxn>
                <a:cxn ang="0">
                  <a:pos x="csX2" y="csY2"/>
                </a:cxn>
                <a:cxn ang="0">
                  <a:pos x="csX3" y="csY3"/>
                </a:cxn>
                <a:cxn ang="0">
                  <a:pos x="csX4" y="csY4"/>
                </a:cxn>
              </a:cxnLst>
              <a:rect l="l" t="t" r="r" b="b"/>
              <a:pathLst>
                <a:path w="15855" h="14379">
                  <a:moveTo>
                    <a:pt x="-8985" y="-7948"/>
                  </a:moveTo>
                  <a:lnTo>
                    <a:pt x="6871" y="-7948"/>
                  </a:lnTo>
                  <a:lnTo>
                    <a:pt x="6871" y="6432"/>
                  </a:lnTo>
                  <a:lnTo>
                    <a:pt x="-8985" y="6432"/>
                  </a:lnTo>
                  <a:lnTo>
                    <a:pt x="-8985" y="-7948"/>
                  </a:lnTo>
                </a:path>
              </a:pathLst>
            </a:custGeom>
            <a:grpFill/>
            <a:ln w="548" cap="flat">
              <a:noFill/>
              <a:prstDash val="solid"/>
              <a:miter/>
            </a:ln>
          </p:spPr>
          <p:txBody>
            <a:bodyPr/>
            <a:lstStyle/>
            <a:p>
              <a:endParaRPr lang="en-US"/>
            </a:p>
          </p:txBody>
        </p:sp>
        <p:sp>
          <p:nvSpPr>
            <p:cNvPr id="231" name="Freeform: Shape 230">
              <a:extLst>
                <a:ext uri="{FF2B5EF4-FFF2-40B4-BE49-F238E27FC236}">
                  <a16:creationId xmlns:a16="http://schemas.microsoft.com/office/drawing/2014/main" id="{7EB98A98-5DFF-ADC9-1DEF-05E9CB4D0E7F}"/>
                </a:ext>
              </a:extLst>
            </p:cNvPr>
            <p:cNvSpPr/>
            <p:nvPr/>
          </p:nvSpPr>
          <p:spPr>
            <a:xfrm flipV="1">
              <a:off x="24317387" y="3172697"/>
              <a:ext cx="15855" cy="12261"/>
            </a:xfrm>
            <a:custGeom>
              <a:avLst/>
              <a:gdLst>
                <a:gd name="csX0" fmla="*/ -8985 w 15855"/>
                <a:gd name="csY0" fmla="*/ -8187 h 12261"/>
                <a:gd name="csX1" fmla="*/ 6871 w 15855"/>
                <a:gd name="csY1" fmla="*/ -8187 h 12261"/>
                <a:gd name="csX2" fmla="*/ 6871 w 15855"/>
                <a:gd name="csY2" fmla="*/ 4075 h 12261"/>
                <a:gd name="csX3" fmla="*/ -8985 w 15855"/>
                <a:gd name="csY3" fmla="*/ 4075 h 12261"/>
                <a:gd name="csX4" fmla="*/ -8985 w 15855"/>
                <a:gd name="csY4" fmla="*/ -8187 h 12261"/>
              </a:gdLst>
              <a:ahLst/>
              <a:cxnLst>
                <a:cxn ang="0">
                  <a:pos x="csX0" y="csY0"/>
                </a:cxn>
                <a:cxn ang="0">
                  <a:pos x="csX1" y="csY1"/>
                </a:cxn>
                <a:cxn ang="0">
                  <a:pos x="csX2" y="csY2"/>
                </a:cxn>
                <a:cxn ang="0">
                  <a:pos x="csX3" y="csY3"/>
                </a:cxn>
                <a:cxn ang="0">
                  <a:pos x="csX4" y="csY4"/>
                </a:cxn>
              </a:cxnLst>
              <a:rect l="l" t="t" r="r" b="b"/>
              <a:pathLst>
                <a:path w="15855" h="12261">
                  <a:moveTo>
                    <a:pt x="-8985" y="-8187"/>
                  </a:moveTo>
                  <a:lnTo>
                    <a:pt x="6871" y="-8187"/>
                  </a:lnTo>
                  <a:lnTo>
                    <a:pt x="6871" y="4075"/>
                  </a:lnTo>
                  <a:lnTo>
                    <a:pt x="-8985" y="4075"/>
                  </a:lnTo>
                  <a:lnTo>
                    <a:pt x="-8985" y="-8187"/>
                  </a:lnTo>
                </a:path>
              </a:pathLst>
            </a:custGeom>
            <a:grpFill/>
            <a:ln w="548" cap="flat">
              <a:noFill/>
              <a:prstDash val="solid"/>
              <a:miter/>
            </a:ln>
          </p:spPr>
          <p:txBody>
            <a:bodyPr/>
            <a:lstStyle/>
            <a:p>
              <a:endParaRPr lang="en-US"/>
            </a:p>
          </p:txBody>
        </p:sp>
        <p:sp>
          <p:nvSpPr>
            <p:cNvPr id="232" name="Freeform: Shape 231">
              <a:extLst>
                <a:ext uri="{FF2B5EF4-FFF2-40B4-BE49-F238E27FC236}">
                  <a16:creationId xmlns:a16="http://schemas.microsoft.com/office/drawing/2014/main" id="{D08D2E3C-A284-BCB7-9884-ED7F111B931B}"/>
                </a:ext>
              </a:extLst>
            </p:cNvPr>
            <p:cNvSpPr/>
            <p:nvPr/>
          </p:nvSpPr>
          <p:spPr>
            <a:xfrm flipV="1">
              <a:off x="24317387" y="3304832"/>
              <a:ext cx="15855" cy="14313"/>
            </a:xfrm>
            <a:custGeom>
              <a:avLst/>
              <a:gdLst>
                <a:gd name="csX0" fmla="*/ -8985 w 15855"/>
                <a:gd name="csY0" fmla="*/ -7867 h 14313"/>
                <a:gd name="csX1" fmla="*/ 6871 w 15855"/>
                <a:gd name="csY1" fmla="*/ -7867 h 14313"/>
                <a:gd name="csX2" fmla="*/ 6871 w 15855"/>
                <a:gd name="csY2" fmla="*/ 6447 h 14313"/>
                <a:gd name="csX3" fmla="*/ -8985 w 15855"/>
                <a:gd name="csY3" fmla="*/ 6447 h 14313"/>
                <a:gd name="csX4" fmla="*/ -8985 w 15855"/>
                <a:gd name="csY4" fmla="*/ -7867 h 14313"/>
              </a:gdLst>
              <a:ahLst/>
              <a:cxnLst>
                <a:cxn ang="0">
                  <a:pos x="csX0" y="csY0"/>
                </a:cxn>
                <a:cxn ang="0">
                  <a:pos x="csX1" y="csY1"/>
                </a:cxn>
                <a:cxn ang="0">
                  <a:pos x="csX2" y="csY2"/>
                </a:cxn>
                <a:cxn ang="0">
                  <a:pos x="csX3" y="csY3"/>
                </a:cxn>
                <a:cxn ang="0">
                  <a:pos x="csX4" y="csY4"/>
                </a:cxn>
              </a:cxnLst>
              <a:rect l="l" t="t" r="r" b="b"/>
              <a:pathLst>
                <a:path w="15855" h="14313">
                  <a:moveTo>
                    <a:pt x="-8985" y="-7867"/>
                  </a:moveTo>
                  <a:lnTo>
                    <a:pt x="6871" y="-7867"/>
                  </a:lnTo>
                  <a:lnTo>
                    <a:pt x="6871" y="6447"/>
                  </a:lnTo>
                  <a:lnTo>
                    <a:pt x="-8985" y="6447"/>
                  </a:lnTo>
                  <a:lnTo>
                    <a:pt x="-8985" y="-7867"/>
                  </a:lnTo>
                </a:path>
              </a:pathLst>
            </a:custGeom>
            <a:grpFill/>
            <a:ln w="548" cap="flat">
              <a:noFill/>
              <a:prstDash val="solid"/>
              <a:miter/>
            </a:ln>
          </p:spPr>
          <p:txBody>
            <a:bodyPr/>
            <a:lstStyle/>
            <a:p>
              <a:endParaRPr lang="en-US"/>
            </a:p>
          </p:txBody>
        </p:sp>
        <p:sp>
          <p:nvSpPr>
            <p:cNvPr id="233" name="Freeform: Shape 232">
              <a:extLst>
                <a:ext uri="{FF2B5EF4-FFF2-40B4-BE49-F238E27FC236}">
                  <a16:creationId xmlns:a16="http://schemas.microsoft.com/office/drawing/2014/main" id="{9388BFF6-5B53-8DB7-D4D5-4F1509C499EC}"/>
                </a:ext>
              </a:extLst>
            </p:cNvPr>
            <p:cNvSpPr/>
            <p:nvPr/>
          </p:nvSpPr>
          <p:spPr>
            <a:xfrm flipV="1">
              <a:off x="24317387" y="3288054"/>
              <a:ext cx="15855" cy="14379"/>
            </a:xfrm>
            <a:custGeom>
              <a:avLst/>
              <a:gdLst>
                <a:gd name="csX0" fmla="*/ -8985 w 15855"/>
                <a:gd name="csY0" fmla="*/ -7907 h 14379"/>
                <a:gd name="csX1" fmla="*/ 6871 w 15855"/>
                <a:gd name="csY1" fmla="*/ -7907 h 14379"/>
                <a:gd name="csX2" fmla="*/ 6871 w 15855"/>
                <a:gd name="csY2" fmla="*/ 6473 h 14379"/>
                <a:gd name="csX3" fmla="*/ -8985 w 15855"/>
                <a:gd name="csY3" fmla="*/ 6473 h 14379"/>
                <a:gd name="csX4" fmla="*/ -8985 w 15855"/>
                <a:gd name="csY4" fmla="*/ -7907 h 14379"/>
              </a:gdLst>
              <a:ahLst/>
              <a:cxnLst>
                <a:cxn ang="0">
                  <a:pos x="csX0" y="csY0"/>
                </a:cxn>
                <a:cxn ang="0">
                  <a:pos x="csX1" y="csY1"/>
                </a:cxn>
                <a:cxn ang="0">
                  <a:pos x="csX2" y="csY2"/>
                </a:cxn>
                <a:cxn ang="0">
                  <a:pos x="csX3" y="csY3"/>
                </a:cxn>
                <a:cxn ang="0">
                  <a:pos x="csX4" y="csY4"/>
                </a:cxn>
              </a:cxnLst>
              <a:rect l="l" t="t" r="r" b="b"/>
              <a:pathLst>
                <a:path w="15855" h="14379">
                  <a:moveTo>
                    <a:pt x="-8985" y="-7907"/>
                  </a:moveTo>
                  <a:lnTo>
                    <a:pt x="6871" y="-7907"/>
                  </a:lnTo>
                  <a:lnTo>
                    <a:pt x="6871" y="6473"/>
                  </a:lnTo>
                  <a:lnTo>
                    <a:pt x="-8985" y="6473"/>
                  </a:lnTo>
                  <a:lnTo>
                    <a:pt x="-8985" y="-7907"/>
                  </a:lnTo>
                </a:path>
              </a:pathLst>
            </a:custGeom>
            <a:grpFill/>
            <a:ln w="548" cap="flat">
              <a:noFill/>
              <a:prstDash val="solid"/>
              <a:miter/>
            </a:ln>
          </p:spPr>
          <p:txBody>
            <a:bodyPr/>
            <a:lstStyle/>
            <a:p>
              <a:endParaRPr lang="en-US"/>
            </a:p>
          </p:txBody>
        </p:sp>
        <p:sp>
          <p:nvSpPr>
            <p:cNvPr id="234" name="Freeform: Shape 233">
              <a:extLst>
                <a:ext uri="{FF2B5EF4-FFF2-40B4-BE49-F238E27FC236}">
                  <a16:creationId xmlns:a16="http://schemas.microsoft.com/office/drawing/2014/main" id="{0B31A4AF-290A-85F3-23DE-57F5B9F4854A}"/>
                </a:ext>
              </a:extLst>
            </p:cNvPr>
            <p:cNvSpPr/>
            <p:nvPr/>
          </p:nvSpPr>
          <p:spPr>
            <a:xfrm flipV="1">
              <a:off x="24317387" y="3396351"/>
              <a:ext cx="15855" cy="14379"/>
            </a:xfrm>
            <a:custGeom>
              <a:avLst/>
              <a:gdLst>
                <a:gd name="csX0" fmla="*/ -8985 w 15855"/>
                <a:gd name="csY0" fmla="*/ -7647 h 14379"/>
                <a:gd name="csX1" fmla="*/ 6871 w 15855"/>
                <a:gd name="csY1" fmla="*/ -7647 h 14379"/>
                <a:gd name="csX2" fmla="*/ 6871 w 15855"/>
                <a:gd name="csY2" fmla="*/ 6733 h 14379"/>
                <a:gd name="csX3" fmla="*/ -8985 w 15855"/>
                <a:gd name="csY3" fmla="*/ 6733 h 14379"/>
                <a:gd name="csX4" fmla="*/ -8985 w 15855"/>
                <a:gd name="csY4" fmla="*/ -7647 h 14379"/>
              </a:gdLst>
              <a:ahLst/>
              <a:cxnLst>
                <a:cxn ang="0">
                  <a:pos x="csX0" y="csY0"/>
                </a:cxn>
                <a:cxn ang="0">
                  <a:pos x="csX1" y="csY1"/>
                </a:cxn>
                <a:cxn ang="0">
                  <a:pos x="csX2" y="csY2"/>
                </a:cxn>
                <a:cxn ang="0">
                  <a:pos x="csX3" y="csY3"/>
                </a:cxn>
                <a:cxn ang="0">
                  <a:pos x="csX4" y="csY4"/>
                </a:cxn>
              </a:cxnLst>
              <a:rect l="l" t="t" r="r" b="b"/>
              <a:pathLst>
                <a:path w="15855" h="14379">
                  <a:moveTo>
                    <a:pt x="-8985" y="-7647"/>
                  </a:moveTo>
                  <a:lnTo>
                    <a:pt x="6871" y="-7647"/>
                  </a:lnTo>
                  <a:lnTo>
                    <a:pt x="6871" y="6733"/>
                  </a:lnTo>
                  <a:lnTo>
                    <a:pt x="-8985" y="6733"/>
                  </a:lnTo>
                  <a:lnTo>
                    <a:pt x="-8985" y="-7647"/>
                  </a:lnTo>
                </a:path>
              </a:pathLst>
            </a:custGeom>
            <a:grpFill/>
            <a:ln w="548" cap="flat">
              <a:noFill/>
              <a:prstDash val="solid"/>
              <a:miter/>
            </a:ln>
          </p:spPr>
          <p:txBody>
            <a:bodyPr/>
            <a:lstStyle/>
            <a:p>
              <a:endParaRPr lang="en-US"/>
            </a:p>
          </p:txBody>
        </p:sp>
        <p:sp>
          <p:nvSpPr>
            <p:cNvPr id="235" name="Freeform: Shape 234">
              <a:extLst>
                <a:ext uri="{FF2B5EF4-FFF2-40B4-BE49-F238E27FC236}">
                  <a16:creationId xmlns:a16="http://schemas.microsoft.com/office/drawing/2014/main" id="{FA7B99BB-EE0D-5A49-E61C-617C931A59D2}"/>
                </a:ext>
              </a:extLst>
            </p:cNvPr>
            <p:cNvSpPr/>
            <p:nvPr/>
          </p:nvSpPr>
          <p:spPr>
            <a:xfrm flipV="1">
              <a:off x="24317387" y="3379567"/>
              <a:ext cx="15855" cy="14380"/>
            </a:xfrm>
            <a:custGeom>
              <a:avLst/>
              <a:gdLst>
                <a:gd name="csX0" fmla="*/ -8985 w 15855"/>
                <a:gd name="csY0" fmla="*/ -7687 h 14380"/>
                <a:gd name="csX1" fmla="*/ 6871 w 15855"/>
                <a:gd name="csY1" fmla="*/ -7687 h 14380"/>
                <a:gd name="csX2" fmla="*/ 6871 w 15855"/>
                <a:gd name="csY2" fmla="*/ 6693 h 14380"/>
                <a:gd name="csX3" fmla="*/ -8985 w 15855"/>
                <a:gd name="csY3" fmla="*/ 6693 h 14380"/>
                <a:gd name="csX4" fmla="*/ -8985 w 15855"/>
                <a:gd name="csY4" fmla="*/ -7687 h 14380"/>
              </a:gdLst>
              <a:ahLst/>
              <a:cxnLst>
                <a:cxn ang="0">
                  <a:pos x="csX0" y="csY0"/>
                </a:cxn>
                <a:cxn ang="0">
                  <a:pos x="csX1" y="csY1"/>
                </a:cxn>
                <a:cxn ang="0">
                  <a:pos x="csX2" y="csY2"/>
                </a:cxn>
                <a:cxn ang="0">
                  <a:pos x="csX3" y="csY3"/>
                </a:cxn>
                <a:cxn ang="0">
                  <a:pos x="csX4" y="csY4"/>
                </a:cxn>
              </a:cxnLst>
              <a:rect l="l" t="t" r="r" b="b"/>
              <a:pathLst>
                <a:path w="15855" h="14380">
                  <a:moveTo>
                    <a:pt x="-8985" y="-7687"/>
                  </a:moveTo>
                  <a:lnTo>
                    <a:pt x="6871" y="-7687"/>
                  </a:lnTo>
                  <a:lnTo>
                    <a:pt x="6871" y="6693"/>
                  </a:lnTo>
                  <a:lnTo>
                    <a:pt x="-8985" y="6693"/>
                  </a:lnTo>
                  <a:lnTo>
                    <a:pt x="-8985" y="-7687"/>
                  </a:lnTo>
                </a:path>
              </a:pathLst>
            </a:custGeom>
            <a:grpFill/>
            <a:ln w="548" cap="flat">
              <a:noFill/>
              <a:prstDash val="solid"/>
              <a:miter/>
            </a:ln>
          </p:spPr>
          <p:txBody>
            <a:bodyPr/>
            <a:lstStyle/>
            <a:p>
              <a:endParaRPr lang="en-US"/>
            </a:p>
          </p:txBody>
        </p:sp>
        <p:sp>
          <p:nvSpPr>
            <p:cNvPr id="236" name="Freeform: Shape 235">
              <a:extLst>
                <a:ext uri="{FF2B5EF4-FFF2-40B4-BE49-F238E27FC236}">
                  <a16:creationId xmlns:a16="http://schemas.microsoft.com/office/drawing/2014/main" id="{2DD14B51-5630-9019-EF94-79852E5DC101}"/>
                </a:ext>
              </a:extLst>
            </p:cNvPr>
            <p:cNvSpPr/>
            <p:nvPr/>
          </p:nvSpPr>
          <p:spPr>
            <a:xfrm flipV="1">
              <a:off x="24317387" y="3362785"/>
              <a:ext cx="15855" cy="14379"/>
            </a:xfrm>
            <a:custGeom>
              <a:avLst/>
              <a:gdLst>
                <a:gd name="csX0" fmla="*/ -8985 w 15855"/>
                <a:gd name="csY0" fmla="*/ -7727 h 14379"/>
                <a:gd name="csX1" fmla="*/ 6871 w 15855"/>
                <a:gd name="csY1" fmla="*/ -7727 h 14379"/>
                <a:gd name="csX2" fmla="*/ 6871 w 15855"/>
                <a:gd name="csY2" fmla="*/ 6652 h 14379"/>
                <a:gd name="csX3" fmla="*/ -8985 w 15855"/>
                <a:gd name="csY3" fmla="*/ 6652 h 14379"/>
                <a:gd name="csX4" fmla="*/ -8985 w 15855"/>
                <a:gd name="csY4" fmla="*/ -7727 h 14379"/>
              </a:gdLst>
              <a:ahLst/>
              <a:cxnLst>
                <a:cxn ang="0">
                  <a:pos x="csX0" y="csY0"/>
                </a:cxn>
                <a:cxn ang="0">
                  <a:pos x="csX1" y="csY1"/>
                </a:cxn>
                <a:cxn ang="0">
                  <a:pos x="csX2" y="csY2"/>
                </a:cxn>
                <a:cxn ang="0">
                  <a:pos x="csX3" y="csY3"/>
                </a:cxn>
                <a:cxn ang="0">
                  <a:pos x="csX4" y="csY4"/>
                </a:cxn>
              </a:cxnLst>
              <a:rect l="l" t="t" r="r" b="b"/>
              <a:pathLst>
                <a:path w="15855" h="14379">
                  <a:moveTo>
                    <a:pt x="-8985" y="-7727"/>
                  </a:moveTo>
                  <a:lnTo>
                    <a:pt x="6871" y="-7727"/>
                  </a:lnTo>
                  <a:lnTo>
                    <a:pt x="6871" y="6652"/>
                  </a:lnTo>
                  <a:lnTo>
                    <a:pt x="-8985" y="6652"/>
                  </a:lnTo>
                  <a:lnTo>
                    <a:pt x="-8985" y="-7727"/>
                  </a:lnTo>
                </a:path>
              </a:pathLst>
            </a:custGeom>
            <a:grpFill/>
            <a:ln w="548" cap="flat">
              <a:noFill/>
              <a:prstDash val="solid"/>
              <a:miter/>
            </a:ln>
          </p:spPr>
          <p:txBody>
            <a:bodyPr/>
            <a:lstStyle/>
            <a:p>
              <a:endParaRPr lang="en-US"/>
            </a:p>
          </p:txBody>
        </p:sp>
        <p:sp>
          <p:nvSpPr>
            <p:cNvPr id="237" name="Freeform: Shape 236">
              <a:extLst>
                <a:ext uri="{FF2B5EF4-FFF2-40B4-BE49-F238E27FC236}">
                  <a16:creationId xmlns:a16="http://schemas.microsoft.com/office/drawing/2014/main" id="{ADD5CC0D-B4B9-3380-8B20-D5BDBA1EBEE4}"/>
                </a:ext>
              </a:extLst>
            </p:cNvPr>
            <p:cNvSpPr/>
            <p:nvPr/>
          </p:nvSpPr>
          <p:spPr>
            <a:xfrm flipV="1">
              <a:off x="24317387" y="3413133"/>
              <a:ext cx="15855" cy="14379"/>
            </a:xfrm>
            <a:custGeom>
              <a:avLst/>
              <a:gdLst>
                <a:gd name="csX0" fmla="*/ -8985 w 15855"/>
                <a:gd name="csY0" fmla="*/ -7606 h 14379"/>
                <a:gd name="csX1" fmla="*/ 6871 w 15855"/>
                <a:gd name="csY1" fmla="*/ -7606 h 14379"/>
                <a:gd name="csX2" fmla="*/ 6871 w 15855"/>
                <a:gd name="csY2" fmla="*/ 6773 h 14379"/>
                <a:gd name="csX3" fmla="*/ -8985 w 15855"/>
                <a:gd name="csY3" fmla="*/ 6773 h 14379"/>
                <a:gd name="csX4" fmla="*/ -8985 w 15855"/>
                <a:gd name="csY4" fmla="*/ -7606 h 14379"/>
              </a:gdLst>
              <a:ahLst/>
              <a:cxnLst>
                <a:cxn ang="0">
                  <a:pos x="csX0" y="csY0"/>
                </a:cxn>
                <a:cxn ang="0">
                  <a:pos x="csX1" y="csY1"/>
                </a:cxn>
                <a:cxn ang="0">
                  <a:pos x="csX2" y="csY2"/>
                </a:cxn>
                <a:cxn ang="0">
                  <a:pos x="csX3" y="csY3"/>
                </a:cxn>
                <a:cxn ang="0">
                  <a:pos x="csX4" y="csY4"/>
                </a:cxn>
              </a:cxnLst>
              <a:rect l="l" t="t" r="r" b="b"/>
              <a:pathLst>
                <a:path w="15855" h="14379">
                  <a:moveTo>
                    <a:pt x="-8985" y="-7606"/>
                  </a:moveTo>
                  <a:lnTo>
                    <a:pt x="6871" y="-7606"/>
                  </a:lnTo>
                  <a:lnTo>
                    <a:pt x="6871" y="6773"/>
                  </a:lnTo>
                  <a:lnTo>
                    <a:pt x="-8985" y="6773"/>
                  </a:lnTo>
                  <a:lnTo>
                    <a:pt x="-8985" y="-7606"/>
                  </a:lnTo>
                </a:path>
              </a:pathLst>
            </a:custGeom>
            <a:grpFill/>
            <a:ln w="548" cap="flat">
              <a:noFill/>
              <a:prstDash val="solid"/>
              <a:miter/>
            </a:ln>
          </p:spPr>
          <p:txBody>
            <a:bodyPr/>
            <a:lstStyle/>
            <a:p>
              <a:endParaRPr lang="en-US"/>
            </a:p>
          </p:txBody>
        </p:sp>
        <p:sp>
          <p:nvSpPr>
            <p:cNvPr id="238" name="Freeform: Shape 237">
              <a:extLst>
                <a:ext uri="{FF2B5EF4-FFF2-40B4-BE49-F238E27FC236}">
                  <a16:creationId xmlns:a16="http://schemas.microsoft.com/office/drawing/2014/main" id="{C8599DAE-46D2-EDA5-B23F-698FF49E6E47}"/>
                </a:ext>
              </a:extLst>
            </p:cNvPr>
            <p:cNvSpPr/>
            <p:nvPr/>
          </p:nvSpPr>
          <p:spPr>
            <a:xfrm flipV="1">
              <a:off x="24317387" y="3446694"/>
              <a:ext cx="15855" cy="14379"/>
            </a:xfrm>
            <a:custGeom>
              <a:avLst/>
              <a:gdLst>
                <a:gd name="csX0" fmla="*/ -8985 w 15855"/>
                <a:gd name="csY0" fmla="*/ -7526 h 14379"/>
                <a:gd name="csX1" fmla="*/ 6871 w 15855"/>
                <a:gd name="csY1" fmla="*/ -7526 h 14379"/>
                <a:gd name="csX2" fmla="*/ 6871 w 15855"/>
                <a:gd name="csY2" fmla="*/ 6854 h 14379"/>
                <a:gd name="csX3" fmla="*/ -8985 w 15855"/>
                <a:gd name="csY3" fmla="*/ 6854 h 14379"/>
                <a:gd name="csX4" fmla="*/ -8985 w 15855"/>
                <a:gd name="csY4" fmla="*/ -7526 h 14379"/>
              </a:gdLst>
              <a:ahLst/>
              <a:cxnLst>
                <a:cxn ang="0">
                  <a:pos x="csX0" y="csY0"/>
                </a:cxn>
                <a:cxn ang="0">
                  <a:pos x="csX1" y="csY1"/>
                </a:cxn>
                <a:cxn ang="0">
                  <a:pos x="csX2" y="csY2"/>
                </a:cxn>
                <a:cxn ang="0">
                  <a:pos x="csX3" y="csY3"/>
                </a:cxn>
                <a:cxn ang="0">
                  <a:pos x="csX4" y="csY4"/>
                </a:cxn>
              </a:cxnLst>
              <a:rect l="l" t="t" r="r" b="b"/>
              <a:pathLst>
                <a:path w="15855" h="14379">
                  <a:moveTo>
                    <a:pt x="-8985" y="-7526"/>
                  </a:moveTo>
                  <a:lnTo>
                    <a:pt x="6871" y="-7526"/>
                  </a:lnTo>
                  <a:lnTo>
                    <a:pt x="6871" y="6854"/>
                  </a:lnTo>
                  <a:lnTo>
                    <a:pt x="-8985" y="6854"/>
                  </a:lnTo>
                  <a:lnTo>
                    <a:pt x="-8985" y="-7526"/>
                  </a:lnTo>
                </a:path>
              </a:pathLst>
            </a:custGeom>
            <a:grpFill/>
            <a:ln w="548" cap="flat">
              <a:noFill/>
              <a:prstDash val="solid"/>
              <a:miter/>
            </a:ln>
          </p:spPr>
          <p:txBody>
            <a:bodyPr/>
            <a:lstStyle/>
            <a:p>
              <a:endParaRPr lang="en-US"/>
            </a:p>
          </p:txBody>
        </p:sp>
        <p:sp>
          <p:nvSpPr>
            <p:cNvPr id="239" name="Freeform: Shape 238">
              <a:extLst>
                <a:ext uri="{FF2B5EF4-FFF2-40B4-BE49-F238E27FC236}">
                  <a16:creationId xmlns:a16="http://schemas.microsoft.com/office/drawing/2014/main" id="{DA62599E-94C6-2EC5-A22A-D24079FA07E0}"/>
                </a:ext>
              </a:extLst>
            </p:cNvPr>
            <p:cNvSpPr/>
            <p:nvPr/>
          </p:nvSpPr>
          <p:spPr>
            <a:xfrm flipV="1">
              <a:off x="24317387" y="3480259"/>
              <a:ext cx="15855" cy="14313"/>
            </a:xfrm>
            <a:custGeom>
              <a:avLst/>
              <a:gdLst>
                <a:gd name="csX0" fmla="*/ -8985 w 15855"/>
                <a:gd name="csY0" fmla="*/ -7445 h 14313"/>
                <a:gd name="csX1" fmla="*/ 6871 w 15855"/>
                <a:gd name="csY1" fmla="*/ -7445 h 14313"/>
                <a:gd name="csX2" fmla="*/ 6871 w 15855"/>
                <a:gd name="csY2" fmla="*/ 6869 h 14313"/>
                <a:gd name="csX3" fmla="*/ -8985 w 15855"/>
                <a:gd name="csY3" fmla="*/ 6869 h 14313"/>
                <a:gd name="csX4" fmla="*/ -8985 w 15855"/>
                <a:gd name="csY4" fmla="*/ -7445 h 14313"/>
              </a:gdLst>
              <a:ahLst/>
              <a:cxnLst>
                <a:cxn ang="0">
                  <a:pos x="csX0" y="csY0"/>
                </a:cxn>
                <a:cxn ang="0">
                  <a:pos x="csX1" y="csY1"/>
                </a:cxn>
                <a:cxn ang="0">
                  <a:pos x="csX2" y="csY2"/>
                </a:cxn>
                <a:cxn ang="0">
                  <a:pos x="csX3" y="csY3"/>
                </a:cxn>
                <a:cxn ang="0">
                  <a:pos x="csX4" y="csY4"/>
                </a:cxn>
              </a:cxnLst>
              <a:rect l="l" t="t" r="r" b="b"/>
              <a:pathLst>
                <a:path w="15855" h="14313">
                  <a:moveTo>
                    <a:pt x="-8985" y="-7445"/>
                  </a:moveTo>
                  <a:lnTo>
                    <a:pt x="6871" y="-7445"/>
                  </a:lnTo>
                  <a:lnTo>
                    <a:pt x="6871" y="6869"/>
                  </a:lnTo>
                  <a:lnTo>
                    <a:pt x="-8985" y="6869"/>
                  </a:lnTo>
                  <a:lnTo>
                    <a:pt x="-8985" y="-7445"/>
                  </a:lnTo>
                </a:path>
              </a:pathLst>
            </a:custGeom>
            <a:grpFill/>
            <a:ln w="548" cap="flat">
              <a:noFill/>
              <a:prstDash val="solid"/>
              <a:miter/>
            </a:ln>
          </p:spPr>
          <p:txBody>
            <a:bodyPr/>
            <a:lstStyle/>
            <a:p>
              <a:endParaRPr lang="en-US"/>
            </a:p>
          </p:txBody>
        </p:sp>
        <p:sp>
          <p:nvSpPr>
            <p:cNvPr id="240" name="Freeform: Shape 239">
              <a:extLst>
                <a:ext uri="{FF2B5EF4-FFF2-40B4-BE49-F238E27FC236}">
                  <a16:creationId xmlns:a16="http://schemas.microsoft.com/office/drawing/2014/main" id="{E556B072-A83D-F58F-BBE1-799B4EE63628}"/>
                </a:ext>
              </a:extLst>
            </p:cNvPr>
            <p:cNvSpPr/>
            <p:nvPr/>
          </p:nvSpPr>
          <p:spPr>
            <a:xfrm flipV="1">
              <a:off x="24317387" y="3348125"/>
              <a:ext cx="15855" cy="12256"/>
            </a:xfrm>
            <a:custGeom>
              <a:avLst/>
              <a:gdLst>
                <a:gd name="csX0" fmla="*/ -8985 w 15855"/>
                <a:gd name="csY0" fmla="*/ -7765 h 12256"/>
                <a:gd name="csX1" fmla="*/ 6871 w 15855"/>
                <a:gd name="csY1" fmla="*/ -7765 h 12256"/>
                <a:gd name="csX2" fmla="*/ 6871 w 15855"/>
                <a:gd name="csY2" fmla="*/ 4491 h 12256"/>
                <a:gd name="csX3" fmla="*/ -8985 w 15855"/>
                <a:gd name="csY3" fmla="*/ 4491 h 12256"/>
                <a:gd name="csX4" fmla="*/ -8985 w 15855"/>
                <a:gd name="csY4" fmla="*/ -7765 h 12256"/>
              </a:gdLst>
              <a:ahLst/>
              <a:cxnLst>
                <a:cxn ang="0">
                  <a:pos x="csX0" y="csY0"/>
                </a:cxn>
                <a:cxn ang="0">
                  <a:pos x="csX1" y="csY1"/>
                </a:cxn>
                <a:cxn ang="0">
                  <a:pos x="csX2" y="csY2"/>
                </a:cxn>
                <a:cxn ang="0">
                  <a:pos x="csX3" y="csY3"/>
                </a:cxn>
                <a:cxn ang="0">
                  <a:pos x="csX4" y="csY4"/>
                </a:cxn>
              </a:cxnLst>
              <a:rect l="l" t="t" r="r" b="b"/>
              <a:pathLst>
                <a:path w="15855" h="12256">
                  <a:moveTo>
                    <a:pt x="-8985" y="-7765"/>
                  </a:moveTo>
                  <a:lnTo>
                    <a:pt x="6871" y="-7765"/>
                  </a:lnTo>
                  <a:lnTo>
                    <a:pt x="6871" y="4491"/>
                  </a:lnTo>
                  <a:lnTo>
                    <a:pt x="-8985" y="4491"/>
                  </a:lnTo>
                  <a:lnTo>
                    <a:pt x="-8985" y="-7765"/>
                  </a:lnTo>
                </a:path>
              </a:pathLst>
            </a:custGeom>
            <a:grpFill/>
            <a:ln w="548" cap="flat">
              <a:noFill/>
              <a:prstDash val="solid"/>
              <a:miter/>
            </a:ln>
          </p:spPr>
          <p:txBody>
            <a:bodyPr/>
            <a:lstStyle/>
            <a:p>
              <a:endParaRPr lang="en-US"/>
            </a:p>
          </p:txBody>
        </p:sp>
        <p:sp>
          <p:nvSpPr>
            <p:cNvPr id="241" name="Freeform: Shape 240">
              <a:extLst>
                <a:ext uri="{FF2B5EF4-FFF2-40B4-BE49-F238E27FC236}">
                  <a16:creationId xmlns:a16="http://schemas.microsoft.com/office/drawing/2014/main" id="{E1C818F1-1488-E9F7-BA99-146D05F13C8F}"/>
                </a:ext>
              </a:extLst>
            </p:cNvPr>
            <p:cNvSpPr/>
            <p:nvPr/>
          </p:nvSpPr>
          <p:spPr>
            <a:xfrm flipV="1">
              <a:off x="24317387" y="3429916"/>
              <a:ext cx="15855" cy="14379"/>
            </a:xfrm>
            <a:custGeom>
              <a:avLst/>
              <a:gdLst>
                <a:gd name="csX0" fmla="*/ -8985 w 15855"/>
                <a:gd name="csY0" fmla="*/ -7566 h 14379"/>
                <a:gd name="csX1" fmla="*/ 6871 w 15855"/>
                <a:gd name="csY1" fmla="*/ -7566 h 14379"/>
                <a:gd name="csX2" fmla="*/ 6871 w 15855"/>
                <a:gd name="csY2" fmla="*/ 6814 h 14379"/>
                <a:gd name="csX3" fmla="*/ -8985 w 15855"/>
                <a:gd name="csY3" fmla="*/ 6814 h 14379"/>
                <a:gd name="csX4" fmla="*/ -8985 w 15855"/>
                <a:gd name="csY4" fmla="*/ -7566 h 14379"/>
              </a:gdLst>
              <a:ahLst/>
              <a:cxnLst>
                <a:cxn ang="0">
                  <a:pos x="csX0" y="csY0"/>
                </a:cxn>
                <a:cxn ang="0">
                  <a:pos x="csX1" y="csY1"/>
                </a:cxn>
                <a:cxn ang="0">
                  <a:pos x="csX2" y="csY2"/>
                </a:cxn>
                <a:cxn ang="0">
                  <a:pos x="csX3" y="csY3"/>
                </a:cxn>
                <a:cxn ang="0">
                  <a:pos x="csX4" y="csY4"/>
                </a:cxn>
              </a:cxnLst>
              <a:rect l="l" t="t" r="r" b="b"/>
              <a:pathLst>
                <a:path w="15855" h="14379">
                  <a:moveTo>
                    <a:pt x="-8985" y="-7566"/>
                  </a:moveTo>
                  <a:lnTo>
                    <a:pt x="6871" y="-7566"/>
                  </a:lnTo>
                  <a:lnTo>
                    <a:pt x="6871" y="6814"/>
                  </a:lnTo>
                  <a:lnTo>
                    <a:pt x="-8985" y="6814"/>
                  </a:lnTo>
                  <a:lnTo>
                    <a:pt x="-8985" y="-7566"/>
                  </a:lnTo>
                </a:path>
              </a:pathLst>
            </a:custGeom>
            <a:grpFill/>
            <a:ln w="548" cap="flat">
              <a:noFill/>
              <a:prstDash val="solid"/>
              <a:miter/>
            </a:ln>
          </p:spPr>
          <p:txBody>
            <a:bodyPr/>
            <a:lstStyle/>
            <a:p>
              <a:endParaRPr lang="en-US"/>
            </a:p>
          </p:txBody>
        </p:sp>
        <p:sp>
          <p:nvSpPr>
            <p:cNvPr id="242" name="Freeform: Shape 241">
              <a:extLst>
                <a:ext uri="{FF2B5EF4-FFF2-40B4-BE49-F238E27FC236}">
                  <a16:creationId xmlns:a16="http://schemas.microsoft.com/office/drawing/2014/main" id="{CD551752-EFAA-6B36-D87D-D195195791A5}"/>
                </a:ext>
              </a:extLst>
            </p:cNvPr>
            <p:cNvSpPr/>
            <p:nvPr/>
          </p:nvSpPr>
          <p:spPr>
            <a:xfrm flipV="1">
              <a:off x="24317387" y="3463477"/>
              <a:ext cx="15855" cy="14379"/>
            </a:xfrm>
            <a:custGeom>
              <a:avLst/>
              <a:gdLst>
                <a:gd name="csX0" fmla="*/ -8985 w 15855"/>
                <a:gd name="csY0" fmla="*/ -7485 h 14379"/>
                <a:gd name="csX1" fmla="*/ 6871 w 15855"/>
                <a:gd name="csY1" fmla="*/ -7485 h 14379"/>
                <a:gd name="csX2" fmla="*/ 6871 w 15855"/>
                <a:gd name="csY2" fmla="*/ 6895 h 14379"/>
                <a:gd name="csX3" fmla="*/ -8985 w 15855"/>
                <a:gd name="csY3" fmla="*/ 6895 h 14379"/>
                <a:gd name="csX4" fmla="*/ -8985 w 15855"/>
                <a:gd name="csY4" fmla="*/ -7485 h 14379"/>
              </a:gdLst>
              <a:ahLst/>
              <a:cxnLst>
                <a:cxn ang="0">
                  <a:pos x="csX0" y="csY0"/>
                </a:cxn>
                <a:cxn ang="0">
                  <a:pos x="csX1" y="csY1"/>
                </a:cxn>
                <a:cxn ang="0">
                  <a:pos x="csX2" y="csY2"/>
                </a:cxn>
                <a:cxn ang="0">
                  <a:pos x="csX3" y="csY3"/>
                </a:cxn>
                <a:cxn ang="0">
                  <a:pos x="csX4" y="csY4"/>
                </a:cxn>
              </a:cxnLst>
              <a:rect l="l" t="t" r="r" b="b"/>
              <a:pathLst>
                <a:path w="15855" h="14379">
                  <a:moveTo>
                    <a:pt x="-8985" y="-7485"/>
                  </a:moveTo>
                  <a:lnTo>
                    <a:pt x="6871" y="-7485"/>
                  </a:lnTo>
                  <a:lnTo>
                    <a:pt x="6871" y="6895"/>
                  </a:lnTo>
                  <a:lnTo>
                    <a:pt x="-8985" y="6895"/>
                  </a:lnTo>
                  <a:lnTo>
                    <a:pt x="-8985" y="-7485"/>
                  </a:lnTo>
                </a:path>
              </a:pathLst>
            </a:custGeom>
            <a:grpFill/>
            <a:ln w="548" cap="flat">
              <a:noFill/>
              <a:prstDash val="solid"/>
              <a:miter/>
            </a:ln>
          </p:spPr>
          <p:txBody>
            <a:bodyPr/>
            <a:lstStyle/>
            <a:p>
              <a:endParaRPr lang="en-US"/>
            </a:p>
          </p:txBody>
        </p:sp>
        <p:sp>
          <p:nvSpPr>
            <p:cNvPr id="243" name="Freeform: Shape 242">
              <a:extLst>
                <a:ext uri="{FF2B5EF4-FFF2-40B4-BE49-F238E27FC236}">
                  <a16:creationId xmlns:a16="http://schemas.microsoft.com/office/drawing/2014/main" id="{38F2282C-4328-BE8F-7C8D-F3D47C1A2BE1}"/>
                </a:ext>
              </a:extLst>
            </p:cNvPr>
            <p:cNvSpPr/>
            <p:nvPr/>
          </p:nvSpPr>
          <p:spPr>
            <a:xfrm flipV="1">
              <a:off x="24367807" y="3112139"/>
              <a:ext cx="15855" cy="12256"/>
            </a:xfrm>
            <a:custGeom>
              <a:avLst/>
              <a:gdLst>
                <a:gd name="csX0" fmla="*/ -9048 w 15855"/>
                <a:gd name="csY0" fmla="*/ -8333 h 12256"/>
                <a:gd name="csX1" fmla="*/ 6808 w 15855"/>
                <a:gd name="csY1" fmla="*/ -8333 h 12256"/>
                <a:gd name="csX2" fmla="*/ 6808 w 15855"/>
                <a:gd name="csY2" fmla="*/ 3923 h 12256"/>
                <a:gd name="csX3" fmla="*/ -9048 w 15855"/>
                <a:gd name="csY3" fmla="*/ 3923 h 12256"/>
                <a:gd name="csX4" fmla="*/ -9048 w 15855"/>
                <a:gd name="csY4" fmla="*/ -8333 h 12256"/>
              </a:gdLst>
              <a:ahLst/>
              <a:cxnLst>
                <a:cxn ang="0">
                  <a:pos x="csX0" y="csY0"/>
                </a:cxn>
                <a:cxn ang="0">
                  <a:pos x="csX1" y="csY1"/>
                </a:cxn>
                <a:cxn ang="0">
                  <a:pos x="csX2" y="csY2"/>
                </a:cxn>
                <a:cxn ang="0">
                  <a:pos x="csX3" y="csY3"/>
                </a:cxn>
                <a:cxn ang="0">
                  <a:pos x="csX4" y="csY4"/>
                </a:cxn>
              </a:cxnLst>
              <a:rect l="l" t="t" r="r" b="b"/>
              <a:pathLst>
                <a:path w="15855" h="12256">
                  <a:moveTo>
                    <a:pt x="-9048" y="-8333"/>
                  </a:moveTo>
                  <a:lnTo>
                    <a:pt x="6808" y="-8333"/>
                  </a:lnTo>
                  <a:lnTo>
                    <a:pt x="6808" y="3923"/>
                  </a:lnTo>
                  <a:lnTo>
                    <a:pt x="-9048" y="3923"/>
                  </a:lnTo>
                  <a:lnTo>
                    <a:pt x="-9048" y="-8333"/>
                  </a:lnTo>
                </a:path>
              </a:pathLst>
            </a:custGeom>
            <a:grpFill/>
            <a:ln w="548" cap="flat">
              <a:noFill/>
              <a:prstDash val="solid"/>
              <a:miter/>
            </a:ln>
          </p:spPr>
          <p:txBody>
            <a:bodyPr/>
            <a:lstStyle/>
            <a:p>
              <a:endParaRPr lang="en-US"/>
            </a:p>
          </p:txBody>
        </p:sp>
        <p:sp>
          <p:nvSpPr>
            <p:cNvPr id="244" name="Freeform: Shape 243">
              <a:extLst>
                <a:ext uri="{FF2B5EF4-FFF2-40B4-BE49-F238E27FC236}">
                  <a16:creationId xmlns:a16="http://schemas.microsoft.com/office/drawing/2014/main" id="{E123209B-4110-3CC4-0A0F-B64F2B07CB76}"/>
                </a:ext>
              </a:extLst>
            </p:cNvPr>
            <p:cNvSpPr/>
            <p:nvPr/>
          </p:nvSpPr>
          <p:spPr>
            <a:xfrm flipV="1">
              <a:off x="24367807" y="3126798"/>
              <a:ext cx="15855" cy="12262"/>
            </a:xfrm>
            <a:custGeom>
              <a:avLst/>
              <a:gdLst>
                <a:gd name="csX0" fmla="*/ -9048 w 15855"/>
                <a:gd name="csY0" fmla="*/ -8298 h 12262"/>
                <a:gd name="csX1" fmla="*/ 6808 w 15855"/>
                <a:gd name="csY1" fmla="*/ -8298 h 12262"/>
                <a:gd name="csX2" fmla="*/ 6808 w 15855"/>
                <a:gd name="csY2" fmla="*/ 3965 h 12262"/>
                <a:gd name="csX3" fmla="*/ -9048 w 15855"/>
                <a:gd name="csY3" fmla="*/ 3965 h 12262"/>
                <a:gd name="csX4" fmla="*/ -9048 w 15855"/>
                <a:gd name="csY4" fmla="*/ -8298 h 12262"/>
              </a:gdLst>
              <a:ahLst/>
              <a:cxnLst>
                <a:cxn ang="0">
                  <a:pos x="csX0" y="csY0"/>
                </a:cxn>
                <a:cxn ang="0">
                  <a:pos x="csX1" y="csY1"/>
                </a:cxn>
                <a:cxn ang="0">
                  <a:pos x="csX2" y="csY2"/>
                </a:cxn>
                <a:cxn ang="0">
                  <a:pos x="csX3" y="csY3"/>
                </a:cxn>
                <a:cxn ang="0">
                  <a:pos x="csX4" y="csY4"/>
                </a:cxn>
              </a:cxnLst>
              <a:rect l="l" t="t" r="r" b="b"/>
              <a:pathLst>
                <a:path w="15855" h="12262">
                  <a:moveTo>
                    <a:pt x="-9048" y="-8298"/>
                  </a:moveTo>
                  <a:lnTo>
                    <a:pt x="6808" y="-8298"/>
                  </a:lnTo>
                  <a:lnTo>
                    <a:pt x="6808" y="3965"/>
                  </a:lnTo>
                  <a:lnTo>
                    <a:pt x="-9048" y="3965"/>
                  </a:lnTo>
                  <a:lnTo>
                    <a:pt x="-9048" y="-8298"/>
                  </a:lnTo>
                </a:path>
              </a:pathLst>
            </a:custGeom>
            <a:grpFill/>
            <a:ln w="548" cap="flat">
              <a:noFill/>
              <a:prstDash val="solid"/>
              <a:miter/>
            </a:ln>
          </p:spPr>
          <p:txBody>
            <a:bodyPr/>
            <a:lstStyle/>
            <a:p>
              <a:endParaRPr lang="en-US"/>
            </a:p>
          </p:txBody>
        </p:sp>
        <p:sp>
          <p:nvSpPr>
            <p:cNvPr id="245" name="Freeform: Shape 244">
              <a:extLst>
                <a:ext uri="{FF2B5EF4-FFF2-40B4-BE49-F238E27FC236}">
                  <a16:creationId xmlns:a16="http://schemas.microsoft.com/office/drawing/2014/main" id="{974A3F13-91F1-90E8-9C3A-386A46179A64}"/>
                </a:ext>
              </a:extLst>
            </p:cNvPr>
            <p:cNvSpPr/>
            <p:nvPr/>
          </p:nvSpPr>
          <p:spPr>
            <a:xfrm flipV="1">
              <a:off x="24367807" y="3220928"/>
              <a:ext cx="15855" cy="14374"/>
            </a:xfrm>
            <a:custGeom>
              <a:avLst/>
              <a:gdLst>
                <a:gd name="csX0" fmla="*/ -9048 w 15855"/>
                <a:gd name="csY0" fmla="*/ -8069 h 14374"/>
                <a:gd name="csX1" fmla="*/ 6808 w 15855"/>
                <a:gd name="csY1" fmla="*/ -8069 h 14374"/>
                <a:gd name="csX2" fmla="*/ 6808 w 15855"/>
                <a:gd name="csY2" fmla="*/ 6306 h 14374"/>
                <a:gd name="csX3" fmla="*/ -9048 w 15855"/>
                <a:gd name="csY3" fmla="*/ 6306 h 14374"/>
                <a:gd name="csX4" fmla="*/ -9048 w 15855"/>
                <a:gd name="csY4" fmla="*/ -8069 h 14374"/>
              </a:gdLst>
              <a:ahLst/>
              <a:cxnLst>
                <a:cxn ang="0">
                  <a:pos x="csX0" y="csY0"/>
                </a:cxn>
                <a:cxn ang="0">
                  <a:pos x="csX1" y="csY1"/>
                </a:cxn>
                <a:cxn ang="0">
                  <a:pos x="csX2" y="csY2"/>
                </a:cxn>
                <a:cxn ang="0">
                  <a:pos x="csX3" y="csY3"/>
                </a:cxn>
                <a:cxn ang="0">
                  <a:pos x="csX4" y="csY4"/>
                </a:cxn>
              </a:cxnLst>
              <a:rect l="l" t="t" r="r" b="b"/>
              <a:pathLst>
                <a:path w="15855" h="14374">
                  <a:moveTo>
                    <a:pt x="-9048" y="-8069"/>
                  </a:moveTo>
                  <a:lnTo>
                    <a:pt x="6808" y="-8069"/>
                  </a:lnTo>
                  <a:lnTo>
                    <a:pt x="6808" y="6306"/>
                  </a:lnTo>
                  <a:lnTo>
                    <a:pt x="-9048" y="6306"/>
                  </a:lnTo>
                  <a:lnTo>
                    <a:pt x="-9048" y="-8069"/>
                  </a:lnTo>
                </a:path>
              </a:pathLst>
            </a:custGeom>
            <a:grpFill/>
            <a:ln w="548" cap="flat">
              <a:noFill/>
              <a:prstDash val="solid"/>
              <a:miter/>
            </a:ln>
          </p:spPr>
          <p:txBody>
            <a:bodyPr/>
            <a:lstStyle/>
            <a:p>
              <a:endParaRPr lang="en-US"/>
            </a:p>
          </p:txBody>
        </p:sp>
        <p:sp>
          <p:nvSpPr>
            <p:cNvPr id="246" name="Freeform: Shape 245">
              <a:extLst>
                <a:ext uri="{FF2B5EF4-FFF2-40B4-BE49-F238E27FC236}">
                  <a16:creationId xmlns:a16="http://schemas.microsoft.com/office/drawing/2014/main" id="{7D730F99-5F03-FF93-9337-43EDE942D400}"/>
                </a:ext>
              </a:extLst>
            </p:cNvPr>
            <p:cNvSpPr/>
            <p:nvPr/>
          </p:nvSpPr>
          <p:spPr>
            <a:xfrm flipV="1">
              <a:off x="24367807" y="3254489"/>
              <a:ext cx="15855" cy="14379"/>
            </a:xfrm>
            <a:custGeom>
              <a:avLst/>
              <a:gdLst>
                <a:gd name="csX0" fmla="*/ -9048 w 15855"/>
                <a:gd name="csY0" fmla="*/ -7988 h 14379"/>
                <a:gd name="csX1" fmla="*/ 6808 w 15855"/>
                <a:gd name="csY1" fmla="*/ -7988 h 14379"/>
                <a:gd name="csX2" fmla="*/ 6808 w 15855"/>
                <a:gd name="csY2" fmla="*/ 6392 h 14379"/>
                <a:gd name="csX3" fmla="*/ -9048 w 15855"/>
                <a:gd name="csY3" fmla="*/ 6392 h 14379"/>
                <a:gd name="csX4" fmla="*/ -9048 w 15855"/>
                <a:gd name="csY4" fmla="*/ -7988 h 14379"/>
              </a:gdLst>
              <a:ahLst/>
              <a:cxnLst>
                <a:cxn ang="0">
                  <a:pos x="csX0" y="csY0"/>
                </a:cxn>
                <a:cxn ang="0">
                  <a:pos x="csX1" y="csY1"/>
                </a:cxn>
                <a:cxn ang="0">
                  <a:pos x="csX2" y="csY2"/>
                </a:cxn>
                <a:cxn ang="0">
                  <a:pos x="csX3" y="csY3"/>
                </a:cxn>
                <a:cxn ang="0">
                  <a:pos x="csX4" y="csY4"/>
                </a:cxn>
              </a:cxnLst>
              <a:rect l="l" t="t" r="r" b="b"/>
              <a:pathLst>
                <a:path w="15855" h="14379">
                  <a:moveTo>
                    <a:pt x="-9048" y="-7988"/>
                  </a:moveTo>
                  <a:lnTo>
                    <a:pt x="6808" y="-7988"/>
                  </a:lnTo>
                  <a:lnTo>
                    <a:pt x="6808" y="6392"/>
                  </a:lnTo>
                  <a:lnTo>
                    <a:pt x="-9048" y="6392"/>
                  </a:lnTo>
                  <a:lnTo>
                    <a:pt x="-9048" y="-7988"/>
                  </a:lnTo>
                </a:path>
              </a:pathLst>
            </a:custGeom>
            <a:grpFill/>
            <a:ln w="548" cap="flat">
              <a:noFill/>
              <a:prstDash val="solid"/>
              <a:miter/>
            </a:ln>
          </p:spPr>
          <p:txBody>
            <a:bodyPr/>
            <a:lstStyle/>
            <a:p>
              <a:endParaRPr lang="en-US"/>
            </a:p>
          </p:txBody>
        </p:sp>
        <p:sp>
          <p:nvSpPr>
            <p:cNvPr id="247" name="Freeform: Shape 246">
              <a:extLst>
                <a:ext uri="{FF2B5EF4-FFF2-40B4-BE49-F238E27FC236}">
                  <a16:creationId xmlns:a16="http://schemas.microsoft.com/office/drawing/2014/main" id="{21CDB5FA-68B9-9F99-97CA-D2E8D4A8DC04}"/>
                </a:ext>
              </a:extLst>
            </p:cNvPr>
            <p:cNvSpPr/>
            <p:nvPr/>
          </p:nvSpPr>
          <p:spPr>
            <a:xfrm flipV="1">
              <a:off x="24367807" y="3237706"/>
              <a:ext cx="15855" cy="14379"/>
            </a:xfrm>
            <a:custGeom>
              <a:avLst/>
              <a:gdLst>
                <a:gd name="csX0" fmla="*/ -9048 w 15855"/>
                <a:gd name="csY0" fmla="*/ -8028 h 14379"/>
                <a:gd name="csX1" fmla="*/ 6808 w 15855"/>
                <a:gd name="csY1" fmla="*/ -8028 h 14379"/>
                <a:gd name="csX2" fmla="*/ 6808 w 15855"/>
                <a:gd name="csY2" fmla="*/ 6351 h 14379"/>
                <a:gd name="csX3" fmla="*/ -9048 w 15855"/>
                <a:gd name="csY3" fmla="*/ 6351 h 14379"/>
                <a:gd name="csX4" fmla="*/ -9048 w 15855"/>
                <a:gd name="csY4" fmla="*/ -8028 h 14379"/>
              </a:gdLst>
              <a:ahLst/>
              <a:cxnLst>
                <a:cxn ang="0">
                  <a:pos x="csX0" y="csY0"/>
                </a:cxn>
                <a:cxn ang="0">
                  <a:pos x="csX1" y="csY1"/>
                </a:cxn>
                <a:cxn ang="0">
                  <a:pos x="csX2" y="csY2"/>
                </a:cxn>
                <a:cxn ang="0">
                  <a:pos x="csX3" y="csY3"/>
                </a:cxn>
                <a:cxn ang="0">
                  <a:pos x="csX4" y="csY4"/>
                </a:cxn>
              </a:cxnLst>
              <a:rect l="l" t="t" r="r" b="b"/>
              <a:pathLst>
                <a:path w="15855" h="14379">
                  <a:moveTo>
                    <a:pt x="-9048" y="-8028"/>
                  </a:moveTo>
                  <a:lnTo>
                    <a:pt x="6808" y="-8028"/>
                  </a:lnTo>
                  <a:lnTo>
                    <a:pt x="6808" y="6351"/>
                  </a:lnTo>
                  <a:lnTo>
                    <a:pt x="-9048" y="6351"/>
                  </a:lnTo>
                  <a:lnTo>
                    <a:pt x="-9048" y="-8028"/>
                  </a:lnTo>
                </a:path>
              </a:pathLst>
            </a:custGeom>
            <a:grpFill/>
            <a:ln w="548" cap="flat">
              <a:noFill/>
              <a:prstDash val="solid"/>
              <a:miter/>
            </a:ln>
          </p:spPr>
          <p:txBody>
            <a:bodyPr/>
            <a:lstStyle/>
            <a:p>
              <a:endParaRPr lang="en-US"/>
            </a:p>
          </p:txBody>
        </p:sp>
        <p:sp>
          <p:nvSpPr>
            <p:cNvPr id="248" name="Freeform: Shape 247">
              <a:extLst>
                <a:ext uri="{FF2B5EF4-FFF2-40B4-BE49-F238E27FC236}">
                  <a16:creationId xmlns:a16="http://schemas.microsoft.com/office/drawing/2014/main" id="{2EF2EE62-DA53-A4EE-57E8-112183A4243D}"/>
                </a:ext>
              </a:extLst>
            </p:cNvPr>
            <p:cNvSpPr/>
            <p:nvPr/>
          </p:nvSpPr>
          <p:spPr>
            <a:xfrm flipV="1">
              <a:off x="24367807" y="3204146"/>
              <a:ext cx="15855" cy="14374"/>
            </a:xfrm>
            <a:custGeom>
              <a:avLst/>
              <a:gdLst>
                <a:gd name="csX0" fmla="*/ -9048 w 15855"/>
                <a:gd name="csY0" fmla="*/ -8109 h 14374"/>
                <a:gd name="csX1" fmla="*/ 6808 w 15855"/>
                <a:gd name="csY1" fmla="*/ -8109 h 14374"/>
                <a:gd name="csX2" fmla="*/ 6808 w 15855"/>
                <a:gd name="csY2" fmla="*/ 6265 h 14374"/>
                <a:gd name="csX3" fmla="*/ -9048 w 15855"/>
                <a:gd name="csY3" fmla="*/ 6265 h 14374"/>
                <a:gd name="csX4" fmla="*/ -9048 w 15855"/>
                <a:gd name="csY4" fmla="*/ -8109 h 14374"/>
              </a:gdLst>
              <a:ahLst/>
              <a:cxnLst>
                <a:cxn ang="0">
                  <a:pos x="csX0" y="csY0"/>
                </a:cxn>
                <a:cxn ang="0">
                  <a:pos x="csX1" y="csY1"/>
                </a:cxn>
                <a:cxn ang="0">
                  <a:pos x="csX2" y="csY2"/>
                </a:cxn>
                <a:cxn ang="0">
                  <a:pos x="csX3" y="csY3"/>
                </a:cxn>
                <a:cxn ang="0">
                  <a:pos x="csX4" y="csY4"/>
                </a:cxn>
              </a:cxnLst>
              <a:rect l="l" t="t" r="r" b="b"/>
              <a:pathLst>
                <a:path w="15855" h="14374">
                  <a:moveTo>
                    <a:pt x="-9048" y="-8109"/>
                  </a:moveTo>
                  <a:lnTo>
                    <a:pt x="6808" y="-8109"/>
                  </a:lnTo>
                  <a:lnTo>
                    <a:pt x="6808" y="6265"/>
                  </a:lnTo>
                  <a:lnTo>
                    <a:pt x="-9048" y="6265"/>
                  </a:lnTo>
                  <a:lnTo>
                    <a:pt x="-9048" y="-8109"/>
                  </a:lnTo>
                </a:path>
              </a:pathLst>
            </a:custGeom>
            <a:grpFill/>
            <a:ln w="548" cap="flat">
              <a:noFill/>
              <a:prstDash val="solid"/>
              <a:miter/>
            </a:ln>
          </p:spPr>
          <p:txBody>
            <a:bodyPr/>
            <a:lstStyle/>
            <a:p>
              <a:endParaRPr lang="en-US"/>
            </a:p>
          </p:txBody>
        </p:sp>
        <p:sp>
          <p:nvSpPr>
            <p:cNvPr id="249" name="Freeform: Shape 248">
              <a:extLst>
                <a:ext uri="{FF2B5EF4-FFF2-40B4-BE49-F238E27FC236}">
                  <a16:creationId xmlns:a16="http://schemas.microsoft.com/office/drawing/2014/main" id="{93DA3158-4FD9-547B-9039-8F120CC25CC0}"/>
                </a:ext>
              </a:extLst>
            </p:cNvPr>
            <p:cNvSpPr/>
            <p:nvPr/>
          </p:nvSpPr>
          <p:spPr>
            <a:xfrm flipV="1">
              <a:off x="24367807" y="3187363"/>
              <a:ext cx="15855" cy="14379"/>
            </a:xfrm>
            <a:custGeom>
              <a:avLst/>
              <a:gdLst>
                <a:gd name="csX0" fmla="*/ -9048 w 15855"/>
                <a:gd name="csY0" fmla="*/ -8150 h 14379"/>
                <a:gd name="csX1" fmla="*/ 6808 w 15855"/>
                <a:gd name="csY1" fmla="*/ -8150 h 14379"/>
                <a:gd name="csX2" fmla="*/ 6808 w 15855"/>
                <a:gd name="csY2" fmla="*/ 6230 h 14379"/>
                <a:gd name="csX3" fmla="*/ -9048 w 15855"/>
                <a:gd name="csY3" fmla="*/ 6230 h 14379"/>
                <a:gd name="csX4" fmla="*/ -9048 w 15855"/>
                <a:gd name="csY4" fmla="*/ -8150 h 14379"/>
              </a:gdLst>
              <a:ahLst/>
              <a:cxnLst>
                <a:cxn ang="0">
                  <a:pos x="csX0" y="csY0"/>
                </a:cxn>
                <a:cxn ang="0">
                  <a:pos x="csX1" y="csY1"/>
                </a:cxn>
                <a:cxn ang="0">
                  <a:pos x="csX2" y="csY2"/>
                </a:cxn>
                <a:cxn ang="0">
                  <a:pos x="csX3" y="csY3"/>
                </a:cxn>
                <a:cxn ang="0">
                  <a:pos x="csX4" y="csY4"/>
                </a:cxn>
              </a:cxnLst>
              <a:rect l="l" t="t" r="r" b="b"/>
              <a:pathLst>
                <a:path w="15855" h="14379">
                  <a:moveTo>
                    <a:pt x="-9048" y="-8150"/>
                  </a:moveTo>
                  <a:lnTo>
                    <a:pt x="6808" y="-8150"/>
                  </a:lnTo>
                  <a:lnTo>
                    <a:pt x="6808" y="6230"/>
                  </a:lnTo>
                  <a:lnTo>
                    <a:pt x="-9048" y="6230"/>
                  </a:lnTo>
                  <a:lnTo>
                    <a:pt x="-9048" y="-8150"/>
                  </a:lnTo>
                </a:path>
              </a:pathLst>
            </a:custGeom>
            <a:grpFill/>
            <a:ln w="548" cap="flat">
              <a:noFill/>
              <a:prstDash val="solid"/>
              <a:miter/>
            </a:ln>
          </p:spPr>
          <p:txBody>
            <a:bodyPr/>
            <a:lstStyle/>
            <a:p>
              <a:endParaRPr lang="en-US"/>
            </a:p>
          </p:txBody>
        </p:sp>
        <p:sp>
          <p:nvSpPr>
            <p:cNvPr id="250" name="Freeform: Shape 249">
              <a:extLst>
                <a:ext uri="{FF2B5EF4-FFF2-40B4-BE49-F238E27FC236}">
                  <a16:creationId xmlns:a16="http://schemas.microsoft.com/office/drawing/2014/main" id="{F9430980-D0D7-41D4-D37C-6D74F324DB51}"/>
                </a:ext>
              </a:extLst>
            </p:cNvPr>
            <p:cNvSpPr/>
            <p:nvPr/>
          </p:nvSpPr>
          <p:spPr>
            <a:xfrm flipV="1">
              <a:off x="24367807" y="3271271"/>
              <a:ext cx="15855" cy="14379"/>
            </a:xfrm>
            <a:custGeom>
              <a:avLst/>
              <a:gdLst>
                <a:gd name="csX0" fmla="*/ -9048 w 15855"/>
                <a:gd name="csY0" fmla="*/ -7948 h 14379"/>
                <a:gd name="csX1" fmla="*/ 6808 w 15855"/>
                <a:gd name="csY1" fmla="*/ -7948 h 14379"/>
                <a:gd name="csX2" fmla="*/ 6808 w 15855"/>
                <a:gd name="csY2" fmla="*/ 6432 h 14379"/>
                <a:gd name="csX3" fmla="*/ -9048 w 15855"/>
                <a:gd name="csY3" fmla="*/ 6432 h 14379"/>
                <a:gd name="csX4" fmla="*/ -9048 w 15855"/>
                <a:gd name="csY4" fmla="*/ -7948 h 14379"/>
              </a:gdLst>
              <a:ahLst/>
              <a:cxnLst>
                <a:cxn ang="0">
                  <a:pos x="csX0" y="csY0"/>
                </a:cxn>
                <a:cxn ang="0">
                  <a:pos x="csX1" y="csY1"/>
                </a:cxn>
                <a:cxn ang="0">
                  <a:pos x="csX2" y="csY2"/>
                </a:cxn>
                <a:cxn ang="0">
                  <a:pos x="csX3" y="csY3"/>
                </a:cxn>
                <a:cxn ang="0">
                  <a:pos x="csX4" y="csY4"/>
                </a:cxn>
              </a:cxnLst>
              <a:rect l="l" t="t" r="r" b="b"/>
              <a:pathLst>
                <a:path w="15855" h="14379">
                  <a:moveTo>
                    <a:pt x="-9048" y="-7948"/>
                  </a:moveTo>
                  <a:lnTo>
                    <a:pt x="6808" y="-7948"/>
                  </a:lnTo>
                  <a:lnTo>
                    <a:pt x="6808" y="6432"/>
                  </a:lnTo>
                  <a:lnTo>
                    <a:pt x="-9048" y="6432"/>
                  </a:lnTo>
                  <a:lnTo>
                    <a:pt x="-9048" y="-7948"/>
                  </a:lnTo>
                </a:path>
              </a:pathLst>
            </a:custGeom>
            <a:grpFill/>
            <a:ln w="548" cap="flat">
              <a:noFill/>
              <a:prstDash val="solid"/>
              <a:miter/>
            </a:ln>
          </p:spPr>
          <p:txBody>
            <a:bodyPr/>
            <a:lstStyle/>
            <a:p>
              <a:endParaRPr lang="en-US"/>
            </a:p>
          </p:txBody>
        </p:sp>
        <p:sp>
          <p:nvSpPr>
            <p:cNvPr id="251" name="Freeform: Shape 250">
              <a:extLst>
                <a:ext uri="{FF2B5EF4-FFF2-40B4-BE49-F238E27FC236}">
                  <a16:creationId xmlns:a16="http://schemas.microsoft.com/office/drawing/2014/main" id="{DD9F8FB8-EE96-7902-4CE1-C951494A0EB5}"/>
                </a:ext>
              </a:extLst>
            </p:cNvPr>
            <p:cNvSpPr/>
            <p:nvPr/>
          </p:nvSpPr>
          <p:spPr>
            <a:xfrm flipV="1">
              <a:off x="24367807" y="3172697"/>
              <a:ext cx="15855" cy="12261"/>
            </a:xfrm>
            <a:custGeom>
              <a:avLst/>
              <a:gdLst>
                <a:gd name="csX0" fmla="*/ -9048 w 15855"/>
                <a:gd name="csY0" fmla="*/ -8187 h 12261"/>
                <a:gd name="csX1" fmla="*/ 6808 w 15855"/>
                <a:gd name="csY1" fmla="*/ -8187 h 12261"/>
                <a:gd name="csX2" fmla="*/ 6808 w 15855"/>
                <a:gd name="csY2" fmla="*/ 4075 h 12261"/>
                <a:gd name="csX3" fmla="*/ -9048 w 15855"/>
                <a:gd name="csY3" fmla="*/ 4075 h 12261"/>
                <a:gd name="csX4" fmla="*/ -9048 w 15855"/>
                <a:gd name="csY4" fmla="*/ -8187 h 12261"/>
              </a:gdLst>
              <a:ahLst/>
              <a:cxnLst>
                <a:cxn ang="0">
                  <a:pos x="csX0" y="csY0"/>
                </a:cxn>
                <a:cxn ang="0">
                  <a:pos x="csX1" y="csY1"/>
                </a:cxn>
                <a:cxn ang="0">
                  <a:pos x="csX2" y="csY2"/>
                </a:cxn>
                <a:cxn ang="0">
                  <a:pos x="csX3" y="csY3"/>
                </a:cxn>
                <a:cxn ang="0">
                  <a:pos x="csX4" y="csY4"/>
                </a:cxn>
              </a:cxnLst>
              <a:rect l="l" t="t" r="r" b="b"/>
              <a:pathLst>
                <a:path w="15855" h="12261">
                  <a:moveTo>
                    <a:pt x="-9048" y="-8187"/>
                  </a:moveTo>
                  <a:lnTo>
                    <a:pt x="6808" y="-8187"/>
                  </a:lnTo>
                  <a:lnTo>
                    <a:pt x="6808" y="4075"/>
                  </a:lnTo>
                  <a:lnTo>
                    <a:pt x="-9048" y="4075"/>
                  </a:lnTo>
                  <a:lnTo>
                    <a:pt x="-9048" y="-8187"/>
                  </a:lnTo>
                </a:path>
              </a:pathLst>
            </a:custGeom>
            <a:grpFill/>
            <a:ln w="548" cap="flat">
              <a:noFill/>
              <a:prstDash val="solid"/>
              <a:miter/>
            </a:ln>
          </p:spPr>
          <p:txBody>
            <a:bodyPr/>
            <a:lstStyle/>
            <a:p>
              <a:endParaRPr lang="en-US"/>
            </a:p>
          </p:txBody>
        </p:sp>
        <p:sp>
          <p:nvSpPr>
            <p:cNvPr id="252" name="Freeform: Shape 251">
              <a:extLst>
                <a:ext uri="{FF2B5EF4-FFF2-40B4-BE49-F238E27FC236}">
                  <a16:creationId xmlns:a16="http://schemas.microsoft.com/office/drawing/2014/main" id="{B22DB2F4-BFA8-9D0E-F81F-741EC5C7A127}"/>
                </a:ext>
              </a:extLst>
            </p:cNvPr>
            <p:cNvSpPr/>
            <p:nvPr/>
          </p:nvSpPr>
          <p:spPr>
            <a:xfrm flipV="1">
              <a:off x="24367807" y="3304832"/>
              <a:ext cx="15855" cy="14313"/>
            </a:xfrm>
            <a:custGeom>
              <a:avLst/>
              <a:gdLst>
                <a:gd name="csX0" fmla="*/ -9048 w 15855"/>
                <a:gd name="csY0" fmla="*/ -7867 h 14313"/>
                <a:gd name="csX1" fmla="*/ 6808 w 15855"/>
                <a:gd name="csY1" fmla="*/ -7867 h 14313"/>
                <a:gd name="csX2" fmla="*/ 6808 w 15855"/>
                <a:gd name="csY2" fmla="*/ 6447 h 14313"/>
                <a:gd name="csX3" fmla="*/ -9048 w 15855"/>
                <a:gd name="csY3" fmla="*/ 6447 h 14313"/>
                <a:gd name="csX4" fmla="*/ -9048 w 15855"/>
                <a:gd name="csY4" fmla="*/ -7867 h 14313"/>
              </a:gdLst>
              <a:ahLst/>
              <a:cxnLst>
                <a:cxn ang="0">
                  <a:pos x="csX0" y="csY0"/>
                </a:cxn>
                <a:cxn ang="0">
                  <a:pos x="csX1" y="csY1"/>
                </a:cxn>
                <a:cxn ang="0">
                  <a:pos x="csX2" y="csY2"/>
                </a:cxn>
                <a:cxn ang="0">
                  <a:pos x="csX3" y="csY3"/>
                </a:cxn>
                <a:cxn ang="0">
                  <a:pos x="csX4" y="csY4"/>
                </a:cxn>
              </a:cxnLst>
              <a:rect l="l" t="t" r="r" b="b"/>
              <a:pathLst>
                <a:path w="15855" h="14313">
                  <a:moveTo>
                    <a:pt x="-9048" y="-7867"/>
                  </a:moveTo>
                  <a:lnTo>
                    <a:pt x="6808" y="-7867"/>
                  </a:lnTo>
                  <a:lnTo>
                    <a:pt x="6808" y="6447"/>
                  </a:lnTo>
                  <a:lnTo>
                    <a:pt x="-9048" y="6447"/>
                  </a:lnTo>
                  <a:lnTo>
                    <a:pt x="-9048" y="-7867"/>
                  </a:lnTo>
                </a:path>
              </a:pathLst>
            </a:custGeom>
            <a:grpFill/>
            <a:ln w="548" cap="flat">
              <a:noFill/>
              <a:prstDash val="solid"/>
              <a:miter/>
            </a:ln>
          </p:spPr>
          <p:txBody>
            <a:bodyPr/>
            <a:lstStyle/>
            <a:p>
              <a:endParaRPr lang="en-US"/>
            </a:p>
          </p:txBody>
        </p:sp>
        <p:sp>
          <p:nvSpPr>
            <p:cNvPr id="253" name="Freeform: Shape 252">
              <a:extLst>
                <a:ext uri="{FF2B5EF4-FFF2-40B4-BE49-F238E27FC236}">
                  <a16:creationId xmlns:a16="http://schemas.microsoft.com/office/drawing/2014/main" id="{AC056943-D65E-CC4E-0571-91E29C45D606}"/>
                </a:ext>
              </a:extLst>
            </p:cNvPr>
            <p:cNvSpPr/>
            <p:nvPr/>
          </p:nvSpPr>
          <p:spPr>
            <a:xfrm flipV="1">
              <a:off x="24367807" y="3288054"/>
              <a:ext cx="15855" cy="14379"/>
            </a:xfrm>
            <a:custGeom>
              <a:avLst/>
              <a:gdLst>
                <a:gd name="csX0" fmla="*/ -9048 w 15855"/>
                <a:gd name="csY0" fmla="*/ -7907 h 14379"/>
                <a:gd name="csX1" fmla="*/ 6808 w 15855"/>
                <a:gd name="csY1" fmla="*/ -7907 h 14379"/>
                <a:gd name="csX2" fmla="*/ 6808 w 15855"/>
                <a:gd name="csY2" fmla="*/ 6473 h 14379"/>
                <a:gd name="csX3" fmla="*/ -9048 w 15855"/>
                <a:gd name="csY3" fmla="*/ 6473 h 14379"/>
                <a:gd name="csX4" fmla="*/ -9048 w 15855"/>
                <a:gd name="csY4" fmla="*/ -7907 h 14379"/>
              </a:gdLst>
              <a:ahLst/>
              <a:cxnLst>
                <a:cxn ang="0">
                  <a:pos x="csX0" y="csY0"/>
                </a:cxn>
                <a:cxn ang="0">
                  <a:pos x="csX1" y="csY1"/>
                </a:cxn>
                <a:cxn ang="0">
                  <a:pos x="csX2" y="csY2"/>
                </a:cxn>
                <a:cxn ang="0">
                  <a:pos x="csX3" y="csY3"/>
                </a:cxn>
                <a:cxn ang="0">
                  <a:pos x="csX4" y="csY4"/>
                </a:cxn>
              </a:cxnLst>
              <a:rect l="l" t="t" r="r" b="b"/>
              <a:pathLst>
                <a:path w="15855" h="14379">
                  <a:moveTo>
                    <a:pt x="-9048" y="-7907"/>
                  </a:moveTo>
                  <a:lnTo>
                    <a:pt x="6808" y="-7907"/>
                  </a:lnTo>
                  <a:lnTo>
                    <a:pt x="6808" y="6473"/>
                  </a:lnTo>
                  <a:lnTo>
                    <a:pt x="-9048" y="6473"/>
                  </a:lnTo>
                  <a:lnTo>
                    <a:pt x="-9048" y="-7907"/>
                  </a:lnTo>
                </a:path>
              </a:pathLst>
            </a:custGeom>
            <a:grpFill/>
            <a:ln w="548" cap="flat">
              <a:noFill/>
              <a:prstDash val="solid"/>
              <a:miter/>
            </a:ln>
          </p:spPr>
          <p:txBody>
            <a:bodyPr/>
            <a:lstStyle/>
            <a:p>
              <a:endParaRPr lang="en-US"/>
            </a:p>
          </p:txBody>
        </p:sp>
        <p:sp>
          <p:nvSpPr>
            <p:cNvPr id="254" name="Freeform: Shape 253">
              <a:extLst>
                <a:ext uri="{FF2B5EF4-FFF2-40B4-BE49-F238E27FC236}">
                  <a16:creationId xmlns:a16="http://schemas.microsoft.com/office/drawing/2014/main" id="{EE50BB20-156B-B02E-7BAE-E4343A6C1542}"/>
                </a:ext>
              </a:extLst>
            </p:cNvPr>
            <p:cNvSpPr/>
            <p:nvPr/>
          </p:nvSpPr>
          <p:spPr>
            <a:xfrm flipV="1">
              <a:off x="24367807" y="3396351"/>
              <a:ext cx="15855" cy="14379"/>
            </a:xfrm>
            <a:custGeom>
              <a:avLst/>
              <a:gdLst>
                <a:gd name="csX0" fmla="*/ -9048 w 15855"/>
                <a:gd name="csY0" fmla="*/ -7647 h 14379"/>
                <a:gd name="csX1" fmla="*/ 6808 w 15855"/>
                <a:gd name="csY1" fmla="*/ -7647 h 14379"/>
                <a:gd name="csX2" fmla="*/ 6808 w 15855"/>
                <a:gd name="csY2" fmla="*/ 6733 h 14379"/>
                <a:gd name="csX3" fmla="*/ -9048 w 15855"/>
                <a:gd name="csY3" fmla="*/ 6733 h 14379"/>
                <a:gd name="csX4" fmla="*/ -9048 w 15855"/>
                <a:gd name="csY4" fmla="*/ -7647 h 14379"/>
              </a:gdLst>
              <a:ahLst/>
              <a:cxnLst>
                <a:cxn ang="0">
                  <a:pos x="csX0" y="csY0"/>
                </a:cxn>
                <a:cxn ang="0">
                  <a:pos x="csX1" y="csY1"/>
                </a:cxn>
                <a:cxn ang="0">
                  <a:pos x="csX2" y="csY2"/>
                </a:cxn>
                <a:cxn ang="0">
                  <a:pos x="csX3" y="csY3"/>
                </a:cxn>
                <a:cxn ang="0">
                  <a:pos x="csX4" y="csY4"/>
                </a:cxn>
              </a:cxnLst>
              <a:rect l="l" t="t" r="r" b="b"/>
              <a:pathLst>
                <a:path w="15855" h="14379">
                  <a:moveTo>
                    <a:pt x="-9048" y="-7647"/>
                  </a:moveTo>
                  <a:lnTo>
                    <a:pt x="6808" y="-7647"/>
                  </a:lnTo>
                  <a:lnTo>
                    <a:pt x="6808" y="6733"/>
                  </a:lnTo>
                  <a:lnTo>
                    <a:pt x="-9048" y="6733"/>
                  </a:lnTo>
                  <a:lnTo>
                    <a:pt x="-9048" y="-7647"/>
                  </a:lnTo>
                </a:path>
              </a:pathLst>
            </a:custGeom>
            <a:grpFill/>
            <a:ln w="548" cap="flat">
              <a:noFill/>
              <a:prstDash val="solid"/>
              <a:miter/>
            </a:ln>
          </p:spPr>
          <p:txBody>
            <a:bodyPr/>
            <a:lstStyle/>
            <a:p>
              <a:endParaRPr lang="en-US"/>
            </a:p>
          </p:txBody>
        </p:sp>
        <p:sp>
          <p:nvSpPr>
            <p:cNvPr id="255" name="Freeform: Shape 254">
              <a:extLst>
                <a:ext uri="{FF2B5EF4-FFF2-40B4-BE49-F238E27FC236}">
                  <a16:creationId xmlns:a16="http://schemas.microsoft.com/office/drawing/2014/main" id="{D9CBF91D-0007-F93E-4619-597695342C7B}"/>
                </a:ext>
              </a:extLst>
            </p:cNvPr>
            <p:cNvSpPr/>
            <p:nvPr/>
          </p:nvSpPr>
          <p:spPr>
            <a:xfrm flipV="1">
              <a:off x="24367807" y="3379567"/>
              <a:ext cx="15855" cy="14380"/>
            </a:xfrm>
            <a:custGeom>
              <a:avLst/>
              <a:gdLst>
                <a:gd name="csX0" fmla="*/ -9048 w 15855"/>
                <a:gd name="csY0" fmla="*/ -7687 h 14380"/>
                <a:gd name="csX1" fmla="*/ 6808 w 15855"/>
                <a:gd name="csY1" fmla="*/ -7687 h 14380"/>
                <a:gd name="csX2" fmla="*/ 6808 w 15855"/>
                <a:gd name="csY2" fmla="*/ 6693 h 14380"/>
                <a:gd name="csX3" fmla="*/ -9048 w 15855"/>
                <a:gd name="csY3" fmla="*/ 6693 h 14380"/>
                <a:gd name="csX4" fmla="*/ -9048 w 15855"/>
                <a:gd name="csY4" fmla="*/ -7687 h 14380"/>
              </a:gdLst>
              <a:ahLst/>
              <a:cxnLst>
                <a:cxn ang="0">
                  <a:pos x="csX0" y="csY0"/>
                </a:cxn>
                <a:cxn ang="0">
                  <a:pos x="csX1" y="csY1"/>
                </a:cxn>
                <a:cxn ang="0">
                  <a:pos x="csX2" y="csY2"/>
                </a:cxn>
                <a:cxn ang="0">
                  <a:pos x="csX3" y="csY3"/>
                </a:cxn>
                <a:cxn ang="0">
                  <a:pos x="csX4" y="csY4"/>
                </a:cxn>
              </a:cxnLst>
              <a:rect l="l" t="t" r="r" b="b"/>
              <a:pathLst>
                <a:path w="15855" h="14380">
                  <a:moveTo>
                    <a:pt x="-9048" y="-7687"/>
                  </a:moveTo>
                  <a:lnTo>
                    <a:pt x="6808" y="-7687"/>
                  </a:lnTo>
                  <a:lnTo>
                    <a:pt x="6808" y="6693"/>
                  </a:lnTo>
                  <a:lnTo>
                    <a:pt x="-9048" y="6693"/>
                  </a:lnTo>
                  <a:lnTo>
                    <a:pt x="-9048" y="-7687"/>
                  </a:lnTo>
                </a:path>
              </a:pathLst>
            </a:custGeom>
            <a:grpFill/>
            <a:ln w="548" cap="flat">
              <a:noFill/>
              <a:prstDash val="solid"/>
              <a:miter/>
            </a:ln>
          </p:spPr>
          <p:txBody>
            <a:bodyPr/>
            <a:lstStyle/>
            <a:p>
              <a:endParaRPr lang="en-US"/>
            </a:p>
          </p:txBody>
        </p:sp>
        <p:sp>
          <p:nvSpPr>
            <p:cNvPr id="256" name="Freeform: Shape 255">
              <a:extLst>
                <a:ext uri="{FF2B5EF4-FFF2-40B4-BE49-F238E27FC236}">
                  <a16:creationId xmlns:a16="http://schemas.microsoft.com/office/drawing/2014/main" id="{5C84A6A5-5589-9658-FA45-71A88217F815}"/>
                </a:ext>
              </a:extLst>
            </p:cNvPr>
            <p:cNvSpPr/>
            <p:nvPr/>
          </p:nvSpPr>
          <p:spPr>
            <a:xfrm flipV="1">
              <a:off x="24367807" y="3362785"/>
              <a:ext cx="15855" cy="14379"/>
            </a:xfrm>
            <a:custGeom>
              <a:avLst/>
              <a:gdLst>
                <a:gd name="csX0" fmla="*/ -9048 w 15855"/>
                <a:gd name="csY0" fmla="*/ -7727 h 14379"/>
                <a:gd name="csX1" fmla="*/ 6808 w 15855"/>
                <a:gd name="csY1" fmla="*/ -7727 h 14379"/>
                <a:gd name="csX2" fmla="*/ 6808 w 15855"/>
                <a:gd name="csY2" fmla="*/ 6652 h 14379"/>
                <a:gd name="csX3" fmla="*/ -9048 w 15855"/>
                <a:gd name="csY3" fmla="*/ 6652 h 14379"/>
                <a:gd name="csX4" fmla="*/ -9048 w 15855"/>
                <a:gd name="csY4" fmla="*/ -7727 h 14379"/>
              </a:gdLst>
              <a:ahLst/>
              <a:cxnLst>
                <a:cxn ang="0">
                  <a:pos x="csX0" y="csY0"/>
                </a:cxn>
                <a:cxn ang="0">
                  <a:pos x="csX1" y="csY1"/>
                </a:cxn>
                <a:cxn ang="0">
                  <a:pos x="csX2" y="csY2"/>
                </a:cxn>
                <a:cxn ang="0">
                  <a:pos x="csX3" y="csY3"/>
                </a:cxn>
                <a:cxn ang="0">
                  <a:pos x="csX4" y="csY4"/>
                </a:cxn>
              </a:cxnLst>
              <a:rect l="l" t="t" r="r" b="b"/>
              <a:pathLst>
                <a:path w="15855" h="14379">
                  <a:moveTo>
                    <a:pt x="-9048" y="-7727"/>
                  </a:moveTo>
                  <a:lnTo>
                    <a:pt x="6808" y="-7727"/>
                  </a:lnTo>
                  <a:lnTo>
                    <a:pt x="6808" y="6652"/>
                  </a:lnTo>
                  <a:lnTo>
                    <a:pt x="-9048" y="6652"/>
                  </a:lnTo>
                  <a:lnTo>
                    <a:pt x="-9048" y="-7727"/>
                  </a:lnTo>
                </a:path>
              </a:pathLst>
            </a:custGeom>
            <a:grpFill/>
            <a:ln w="548" cap="flat">
              <a:noFill/>
              <a:prstDash val="solid"/>
              <a:miter/>
            </a:ln>
          </p:spPr>
          <p:txBody>
            <a:bodyPr/>
            <a:lstStyle/>
            <a:p>
              <a:endParaRPr lang="en-US"/>
            </a:p>
          </p:txBody>
        </p:sp>
        <p:sp>
          <p:nvSpPr>
            <p:cNvPr id="257" name="Freeform: Shape 256">
              <a:extLst>
                <a:ext uri="{FF2B5EF4-FFF2-40B4-BE49-F238E27FC236}">
                  <a16:creationId xmlns:a16="http://schemas.microsoft.com/office/drawing/2014/main" id="{8C95A188-E3E0-462D-ADCA-543EFFC42502}"/>
                </a:ext>
              </a:extLst>
            </p:cNvPr>
            <p:cNvSpPr/>
            <p:nvPr/>
          </p:nvSpPr>
          <p:spPr>
            <a:xfrm flipV="1">
              <a:off x="24367807" y="3413133"/>
              <a:ext cx="15855" cy="14379"/>
            </a:xfrm>
            <a:custGeom>
              <a:avLst/>
              <a:gdLst>
                <a:gd name="csX0" fmla="*/ -9048 w 15855"/>
                <a:gd name="csY0" fmla="*/ -7606 h 14379"/>
                <a:gd name="csX1" fmla="*/ 6808 w 15855"/>
                <a:gd name="csY1" fmla="*/ -7606 h 14379"/>
                <a:gd name="csX2" fmla="*/ 6808 w 15855"/>
                <a:gd name="csY2" fmla="*/ 6773 h 14379"/>
                <a:gd name="csX3" fmla="*/ -9048 w 15855"/>
                <a:gd name="csY3" fmla="*/ 6773 h 14379"/>
                <a:gd name="csX4" fmla="*/ -9048 w 15855"/>
                <a:gd name="csY4" fmla="*/ -7606 h 14379"/>
              </a:gdLst>
              <a:ahLst/>
              <a:cxnLst>
                <a:cxn ang="0">
                  <a:pos x="csX0" y="csY0"/>
                </a:cxn>
                <a:cxn ang="0">
                  <a:pos x="csX1" y="csY1"/>
                </a:cxn>
                <a:cxn ang="0">
                  <a:pos x="csX2" y="csY2"/>
                </a:cxn>
                <a:cxn ang="0">
                  <a:pos x="csX3" y="csY3"/>
                </a:cxn>
                <a:cxn ang="0">
                  <a:pos x="csX4" y="csY4"/>
                </a:cxn>
              </a:cxnLst>
              <a:rect l="l" t="t" r="r" b="b"/>
              <a:pathLst>
                <a:path w="15855" h="14379">
                  <a:moveTo>
                    <a:pt x="-9048" y="-7606"/>
                  </a:moveTo>
                  <a:lnTo>
                    <a:pt x="6808" y="-7606"/>
                  </a:lnTo>
                  <a:lnTo>
                    <a:pt x="6808" y="6773"/>
                  </a:lnTo>
                  <a:lnTo>
                    <a:pt x="-9048" y="6773"/>
                  </a:lnTo>
                  <a:lnTo>
                    <a:pt x="-9048" y="-7606"/>
                  </a:lnTo>
                </a:path>
              </a:pathLst>
            </a:custGeom>
            <a:grpFill/>
            <a:ln w="548" cap="flat">
              <a:noFill/>
              <a:prstDash val="solid"/>
              <a:miter/>
            </a:ln>
          </p:spPr>
          <p:txBody>
            <a:bodyPr/>
            <a:lstStyle/>
            <a:p>
              <a:endParaRPr lang="en-US"/>
            </a:p>
          </p:txBody>
        </p:sp>
        <p:sp>
          <p:nvSpPr>
            <p:cNvPr id="258" name="Freeform: Shape 257">
              <a:extLst>
                <a:ext uri="{FF2B5EF4-FFF2-40B4-BE49-F238E27FC236}">
                  <a16:creationId xmlns:a16="http://schemas.microsoft.com/office/drawing/2014/main" id="{223013C8-68F6-B3F9-68C3-5DFC0D66D5E7}"/>
                </a:ext>
              </a:extLst>
            </p:cNvPr>
            <p:cNvSpPr/>
            <p:nvPr/>
          </p:nvSpPr>
          <p:spPr>
            <a:xfrm flipV="1">
              <a:off x="24367807" y="3446694"/>
              <a:ext cx="15855" cy="14379"/>
            </a:xfrm>
            <a:custGeom>
              <a:avLst/>
              <a:gdLst>
                <a:gd name="csX0" fmla="*/ -9048 w 15855"/>
                <a:gd name="csY0" fmla="*/ -7526 h 14379"/>
                <a:gd name="csX1" fmla="*/ 6808 w 15855"/>
                <a:gd name="csY1" fmla="*/ -7526 h 14379"/>
                <a:gd name="csX2" fmla="*/ 6808 w 15855"/>
                <a:gd name="csY2" fmla="*/ 6854 h 14379"/>
                <a:gd name="csX3" fmla="*/ -9048 w 15855"/>
                <a:gd name="csY3" fmla="*/ 6854 h 14379"/>
                <a:gd name="csX4" fmla="*/ -9048 w 15855"/>
                <a:gd name="csY4" fmla="*/ -7526 h 14379"/>
              </a:gdLst>
              <a:ahLst/>
              <a:cxnLst>
                <a:cxn ang="0">
                  <a:pos x="csX0" y="csY0"/>
                </a:cxn>
                <a:cxn ang="0">
                  <a:pos x="csX1" y="csY1"/>
                </a:cxn>
                <a:cxn ang="0">
                  <a:pos x="csX2" y="csY2"/>
                </a:cxn>
                <a:cxn ang="0">
                  <a:pos x="csX3" y="csY3"/>
                </a:cxn>
                <a:cxn ang="0">
                  <a:pos x="csX4" y="csY4"/>
                </a:cxn>
              </a:cxnLst>
              <a:rect l="l" t="t" r="r" b="b"/>
              <a:pathLst>
                <a:path w="15855" h="14379">
                  <a:moveTo>
                    <a:pt x="-9048" y="-7526"/>
                  </a:moveTo>
                  <a:lnTo>
                    <a:pt x="6808" y="-7526"/>
                  </a:lnTo>
                  <a:lnTo>
                    <a:pt x="6808" y="6854"/>
                  </a:lnTo>
                  <a:lnTo>
                    <a:pt x="-9048" y="6854"/>
                  </a:lnTo>
                  <a:lnTo>
                    <a:pt x="-9048" y="-7526"/>
                  </a:lnTo>
                </a:path>
              </a:pathLst>
            </a:custGeom>
            <a:grpFill/>
            <a:ln w="548" cap="flat">
              <a:noFill/>
              <a:prstDash val="solid"/>
              <a:miter/>
            </a:ln>
          </p:spPr>
          <p:txBody>
            <a:bodyPr/>
            <a:lstStyle/>
            <a:p>
              <a:endParaRPr lang="en-US"/>
            </a:p>
          </p:txBody>
        </p:sp>
        <p:sp>
          <p:nvSpPr>
            <p:cNvPr id="259" name="Freeform: Shape 258">
              <a:extLst>
                <a:ext uri="{FF2B5EF4-FFF2-40B4-BE49-F238E27FC236}">
                  <a16:creationId xmlns:a16="http://schemas.microsoft.com/office/drawing/2014/main" id="{FA257D31-8307-E38C-05E7-619AE5A6CF71}"/>
                </a:ext>
              </a:extLst>
            </p:cNvPr>
            <p:cNvSpPr/>
            <p:nvPr/>
          </p:nvSpPr>
          <p:spPr>
            <a:xfrm flipV="1">
              <a:off x="24367807" y="3480259"/>
              <a:ext cx="15855" cy="14313"/>
            </a:xfrm>
            <a:custGeom>
              <a:avLst/>
              <a:gdLst>
                <a:gd name="csX0" fmla="*/ -9048 w 15855"/>
                <a:gd name="csY0" fmla="*/ -7445 h 14313"/>
                <a:gd name="csX1" fmla="*/ 6808 w 15855"/>
                <a:gd name="csY1" fmla="*/ -7445 h 14313"/>
                <a:gd name="csX2" fmla="*/ 6808 w 15855"/>
                <a:gd name="csY2" fmla="*/ 6869 h 14313"/>
                <a:gd name="csX3" fmla="*/ -9048 w 15855"/>
                <a:gd name="csY3" fmla="*/ 6869 h 14313"/>
                <a:gd name="csX4" fmla="*/ -9048 w 15855"/>
                <a:gd name="csY4" fmla="*/ -7445 h 14313"/>
              </a:gdLst>
              <a:ahLst/>
              <a:cxnLst>
                <a:cxn ang="0">
                  <a:pos x="csX0" y="csY0"/>
                </a:cxn>
                <a:cxn ang="0">
                  <a:pos x="csX1" y="csY1"/>
                </a:cxn>
                <a:cxn ang="0">
                  <a:pos x="csX2" y="csY2"/>
                </a:cxn>
                <a:cxn ang="0">
                  <a:pos x="csX3" y="csY3"/>
                </a:cxn>
                <a:cxn ang="0">
                  <a:pos x="csX4" y="csY4"/>
                </a:cxn>
              </a:cxnLst>
              <a:rect l="l" t="t" r="r" b="b"/>
              <a:pathLst>
                <a:path w="15855" h="14313">
                  <a:moveTo>
                    <a:pt x="-9048" y="-7445"/>
                  </a:moveTo>
                  <a:lnTo>
                    <a:pt x="6808" y="-7445"/>
                  </a:lnTo>
                  <a:lnTo>
                    <a:pt x="6808" y="6869"/>
                  </a:lnTo>
                  <a:lnTo>
                    <a:pt x="-9048" y="6869"/>
                  </a:lnTo>
                  <a:lnTo>
                    <a:pt x="-9048" y="-7445"/>
                  </a:lnTo>
                </a:path>
              </a:pathLst>
            </a:custGeom>
            <a:grpFill/>
            <a:ln w="548" cap="flat">
              <a:noFill/>
              <a:prstDash val="solid"/>
              <a:miter/>
            </a:ln>
          </p:spPr>
          <p:txBody>
            <a:bodyPr/>
            <a:lstStyle/>
            <a:p>
              <a:endParaRPr lang="en-US"/>
            </a:p>
          </p:txBody>
        </p:sp>
        <p:sp>
          <p:nvSpPr>
            <p:cNvPr id="260" name="Freeform: Shape 259">
              <a:extLst>
                <a:ext uri="{FF2B5EF4-FFF2-40B4-BE49-F238E27FC236}">
                  <a16:creationId xmlns:a16="http://schemas.microsoft.com/office/drawing/2014/main" id="{A04EDFF6-3F1E-2912-D500-48082B10B35E}"/>
                </a:ext>
              </a:extLst>
            </p:cNvPr>
            <p:cNvSpPr/>
            <p:nvPr/>
          </p:nvSpPr>
          <p:spPr>
            <a:xfrm flipV="1">
              <a:off x="24367807" y="3348125"/>
              <a:ext cx="15855" cy="12256"/>
            </a:xfrm>
            <a:custGeom>
              <a:avLst/>
              <a:gdLst>
                <a:gd name="csX0" fmla="*/ -9048 w 15855"/>
                <a:gd name="csY0" fmla="*/ -7765 h 12256"/>
                <a:gd name="csX1" fmla="*/ 6808 w 15855"/>
                <a:gd name="csY1" fmla="*/ -7765 h 12256"/>
                <a:gd name="csX2" fmla="*/ 6808 w 15855"/>
                <a:gd name="csY2" fmla="*/ 4491 h 12256"/>
                <a:gd name="csX3" fmla="*/ -9048 w 15855"/>
                <a:gd name="csY3" fmla="*/ 4491 h 12256"/>
                <a:gd name="csX4" fmla="*/ -9048 w 15855"/>
                <a:gd name="csY4" fmla="*/ -7765 h 12256"/>
              </a:gdLst>
              <a:ahLst/>
              <a:cxnLst>
                <a:cxn ang="0">
                  <a:pos x="csX0" y="csY0"/>
                </a:cxn>
                <a:cxn ang="0">
                  <a:pos x="csX1" y="csY1"/>
                </a:cxn>
                <a:cxn ang="0">
                  <a:pos x="csX2" y="csY2"/>
                </a:cxn>
                <a:cxn ang="0">
                  <a:pos x="csX3" y="csY3"/>
                </a:cxn>
                <a:cxn ang="0">
                  <a:pos x="csX4" y="csY4"/>
                </a:cxn>
              </a:cxnLst>
              <a:rect l="l" t="t" r="r" b="b"/>
              <a:pathLst>
                <a:path w="15855" h="12256">
                  <a:moveTo>
                    <a:pt x="-9048" y="-7765"/>
                  </a:moveTo>
                  <a:lnTo>
                    <a:pt x="6808" y="-7765"/>
                  </a:lnTo>
                  <a:lnTo>
                    <a:pt x="6808" y="4491"/>
                  </a:lnTo>
                  <a:lnTo>
                    <a:pt x="-9048" y="4491"/>
                  </a:lnTo>
                  <a:lnTo>
                    <a:pt x="-9048" y="-7765"/>
                  </a:lnTo>
                </a:path>
              </a:pathLst>
            </a:custGeom>
            <a:grpFill/>
            <a:ln w="548" cap="flat">
              <a:noFill/>
              <a:prstDash val="solid"/>
              <a:miter/>
            </a:ln>
          </p:spPr>
          <p:txBody>
            <a:bodyPr/>
            <a:lstStyle/>
            <a:p>
              <a:endParaRPr lang="en-US"/>
            </a:p>
          </p:txBody>
        </p:sp>
        <p:sp>
          <p:nvSpPr>
            <p:cNvPr id="261" name="Freeform: Shape 260">
              <a:extLst>
                <a:ext uri="{FF2B5EF4-FFF2-40B4-BE49-F238E27FC236}">
                  <a16:creationId xmlns:a16="http://schemas.microsoft.com/office/drawing/2014/main" id="{65A69800-2336-7BE6-3791-3F25FFD7DD19}"/>
                </a:ext>
              </a:extLst>
            </p:cNvPr>
            <p:cNvSpPr/>
            <p:nvPr/>
          </p:nvSpPr>
          <p:spPr>
            <a:xfrm flipV="1">
              <a:off x="24367807" y="3429916"/>
              <a:ext cx="15855" cy="14379"/>
            </a:xfrm>
            <a:custGeom>
              <a:avLst/>
              <a:gdLst>
                <a:gd name="csX0" fmla="*/ -9048 w 15855"/>
                <a:gd name="csY0" fmla="*/ -7566 h 14379"/>
                <a:gd name="csX1" fmla="*/ 6808 w 15855"/>
                <a:gd name="csY1" fmla="*/ -7566 h 14379"/>
                <a:gd name="csX2" fmla="*/ 6808 w 15855"/>
                <a:gd name="csY2" fmla="*/ 6814 h 14379"/>
                <a:gd name="csX3" fmla="*/ -9048 w 15855"/>
                <a:gd name="csY3" fmla="*/ 6814 h 14379"/>
                <a:gd name="csX4" fmla="*/ -9048 w 15855"/>
                <a:gd name="csY4" fmla="*/ -7566 h 14379"/>
              </a:gdLst>
              <a:ahLst/>
              <a:cxnLst>
                <a:cxn ang="0">
                  <a:pos x="csX0" y="csY0"/>
                </a:cxn>
                <a:cxn ang="0">
                  <a:pos x="csX1" y="csY1"/>
                </a:cxn>
                <a:cxn ang="0">
                  <a:pos x="csX2" y="csY2"/>
                </a:cxn>
                <a:cxn ang="0">
                  <a:pos x="csX3" y="csY3"/>
                </a:cxn>
                <a:cxn ang="0">
                  <a:pos x="csX4" y="csY4"/>
                </a:cxn>
              </a:cxnLst>
              <a:rect l="l" t="t" r="r" b="b"/>
              <a:pathLst>
                <a:path w="15855" h="14379">
                  <a:moveTo>
                    <a:pt x="-9048" y="-7566"/>
                  </a:moveTo>
                  <a:lnTo>
                    <a:pt x="6808" y="-7566"/>
                  </a:lnTo>
                  <a:lnTo>
                    <a:pt x="6808" y="6814"/>
                  </a:lnTo>
                  <a:lnTo>
                    <a:pt x="-9048" y="6814"/>
                  </a:lnTo>
                  <a:lnTo>
                    <a:pt x="-9048" y="-7566"/>
                  </a:lnTo>
                </a:path>
              </a:pathLst>
            </a:custGeom>
            <a:grpFill/>
            <a:ln w="548" cap="flat">
              <a:noFill/>
              <a:prstDash val="solid"/>
              <a:miter/>
            </a:ln>
          </p:spPr>
          <p:txBody>
            <a:bodyPr/>
            <a:lstStyle/>
            <a:p>
              <a:endParaRPr lang="en-US"/>
            </a:p>
          </p:txBody>
        </p:sp>
        <p:sp>
          <p:nvSpPr>
            <p:cNvPr id="262" name="Freeform: Shape 261">
              <a:extLst>
                <a:ext uri="{FF2B5EF4-FFF2-40B4-BE49-F238E27FC236}">
                  <a16:creationId xmlns:a16="http://schemas.microsoft.com/office/drawing/2014/main" id="{9155A575-5A9A-46DE-F182-EF1C2250DEAF}"/>
                </a:ext>
              </a:extLst>
            </p:cNvPr>
            <p:cNvSpPr/>
            <p:nvPr/>
          </p:nvSpPr>
          <p:spPr>
            <a:xfrm flipV="1">
              <a:off x="24367807" y="3463477"/>
              <a:ext cx="15855" cy="14379"/>
            </a:xfrm>
            <a:custGeom>
              <a:avLst/>
              <a:gdLst>
                <a:gd name="csX0" fmla="*/ -9048 w 15855"/>
                <a:gd name="csY0" fmla="*/ -7485 h 14379"/>
                <a:gd name="csX1" fmla="*/ 6808 w 15855"/>
                <a:gd name="csY1" fmla="*/ -7485 h 14379"/>
                <a:gd name="csX2" fmla="*/ 6808 w 15855"/>
                <a:gd name="csY2" fmla="*/ 6895 h 14379"/>
                <a:gd name="csX3" fmla="*/ -9048 w 15855"/>
                <a:gd name="csY3" fmla="*/ 6895 h 14379"/>
                <a:gd name="csX4" fmla="*/ -9048 w 15855"/>
                <a:gd name="csY4" fmla="*/ -7485 h 14379"/>
              </a:gdLst>
              <a:ahLst/>
              <a:cxnLst>
                <a:cxn ang="0">
                  <a:pos x="csX0" y="csY0"/>
                </a:cxn>
                <a:cxn ang="0">
                  <a:pos x="csX1" y="csY1"/>
                </a:cxn>
                <a:cxn ang="0">
                  <a:pos x="csX2" y="csY2"/>
                </a:cxn>
                <a:cxn ang="0">
                  <a:pos x="csX3" y="csY3"/>
                </a:cxn>
                <a:cxn ang="0">
                  <a:pos x="csX4" y="csY4"/>
                </a:cxn>
              </a:cxnLst>
              <a:rect l="l" t="t" r="r" b="b"/>
              <a:pathLst>
                <a:path w="15855" h="14379">
                  <a:moveTo>
                    <a:pt x="-9048" y="-7485"/>
                  </a:moveTo>
                  <a:lnTo>
                    <a:pt x="6808" y="-7485"/>
                  </a:lnTo>
                  <a:lnTo>
                    <a:pt x="6808" y="6895"/>
                  </a:lnTo>
                  <a:lnTo>
                    <a:pt x="-9048" y="6895"/>
                  </a:lnTo>
                  <a:lnTo>
                    <a:pt x="-9048" y="-7485"/>
                  </a:lnTo>
                </a:path>
              </a:pathLst>
            </a:custGeom>
            <a:grpFill/>
            <a:ln w="548" cap="flat">
              <a:noFill/>
              <a:prstDash val="solid"/>
              <a:miter/>
            </a:ln>
          </p:spPr>
          <p:txBody>
            <a:bodyPr/>
            <a:lstStyle/>
            <a:p>
              <a:endParaRPr lang="en-US"/>
            </a:p>
          </p:txBody>
        </p:sp>
        <p:sp>
          <p:nvSpPr>
            <p:cNvPr id="263" name="Freeform: Shape 262">
              <a:extLst>
                <a:ext uri="{FF2B5EF4-FFF2-40B4-BE49-F238E27FC236}">
                  <a16:creationId xmlns:a16="http://schemas.microsoft.com/office/drawing/2014/main" id="{FA3DFF21-8F7C-4F8C-CF37-2DCA602401EC}"/>
                </a:ext>
              </a:extLst>
            </p:cNvPr>
            <p:cNvSpPr/>
            <p:nvPr/>
          </p:nvSpPr>
          <p:spPr>
            <a:xfrm flipV="1">
              <a:off x="24108794" y="2438584"/>
              <a:ext cx="332256" cy="454619"/>
            </a:xfrm>
            <a:custGeom>
              <a:avLst/>
              <a:gdLst>
                <a:gd name="csX0" fmla="*/ -4204 w 332256"/>
                <a:gd name="csY0" fmla="*/ -9421 h 454619"/>
                <a:gd name="csX1" fmla="*/ 318615 w 332256"/>
                <a:gd name="csY1" fmla="*/ -9421 h 454619"/>
                <a:gd name="csX2" fmla="*/ 318615 w 332256"/>
                <a:gd name="csY2" fmla="*/ -1225 h 454619"/>
                <a:gd name="csX3" fmla="*/ 323334 w 332256"/>
                <a:gd name="csY3" fmla="*/ -1225 h 454619"/>
                <a:gd name="csX4" fmla="*/ 323334 w 332256"/>
                <a:gd name="csY4" fmla="*/ 6966 h 454619"/>
                <a:gd name="csX5" fmla="*/ 286465 w 332256"/>
                <a:gd name="csY5" fmla="*/ 6966 h 454619"/>
                <a:gd name="csX6" fmla="*/ 174213 w 332256"/>
                <a:gd name="csY6" fmla="*/ 150963 h 454619"/>
                <a:gd name="csX7" fmla="*/ 174213 w 332256"/>
                <a:gd name="csY7" fmla="*/ 178724 h 454619"/>
                <a:gd name="csX8" fmla="*/ 198573 w 332256"/>
                <a:gd name="csY8" fmla="*/ 178724 h 454619"/>
                <a:gd name="csX9" fmla="*/ 198573 w 332256"/>
                <a:gd name="csY9" fmla="*/ 218775 h 454619"/>
                <a:gd name="csX10" fmla="*/ 173665 w 332256"/>
                <a:gd name="csY10" fmla="*/ 218775 h 454619"/>
                <a:gd name="csX11" fmla="*/ 162692 w 332256"/>
                <a:gd name="csY11" fmla="*/ 445198 h 454619"/>
                <a:gd name="csX12" fmla="*/ 157205 w 332256"/>
                <a:gd name="csY12" fmla="*/ 445198 h 454619"/>
                <a:gd name="csX13" fmla="*/ 151719 w 332256"/>
                <a:gd name="csY13" fmla="*/ 445198 h 454619"/>
                <a:gd name="csX14" fmla="*/ 140746 w 332256"/>
                <a:gd name="csY14" fmla="*/ 218775 h 454619"/>
                <a:gd name="csX15" fmla="*/ 115838 w 332256"/>
                <a:gd name="csY15" fmla="*/ 218775 h 454619"/>
                <a:gd name="csX16" fmla="*/ 115838 w 332256"/>
                <a:gd name="csY16" fmla="*/ 178724 h 454619"/>
                <a:gd name="csX17" fmla="*/ 140253 w 332256"/>
                <a:gd name="csY17" fmla="*/ 178724 h 454619"/>
                <a:gd name="csX18" fmla="*/ 140253 w 332256"/>
                <a:gd name="csY18" fmla="*/ 150963 h 454619"/>
                <a:gd name="csX19" fmla="*/ 27946 w 332256"/>
                <a:gd name="csY19" fmla="*/ 6966 h 454619"/>
                <a:gd name="csX20" fmla="*/ -8923 w 332256"/>
                <a:gd name="csY20" fmla="*/ 6966 h 454619"/>
                <a:gd name="csX21" fmla="*/ -8923 w 332256"/>
                <a:gd name="csY21" fmla="*/ -1225 h 454619"/>
                <a:gd name="csX22" fmla="*/ -4204 w 332256"/>
                <a:gd name="csY22" fmla="*/ -1225 h 454619"/>
                <a:gd name="csX23" fmla="*/ 155450 w 332256"/>
                <a:gd name="csY23" fmla="*/ 438121 h 454619"/>
                <a:gd name="csX24" fmla="*/ 158961 w 332256"/>
                <a:gd name="csY24" fmla="*/ 438121 h 454619"/>
                <a:gd name="csX25" fmla="*/ 158961 w 332256"/>
                <a:gd name="csY25" fmla="*/ 408878 h 454619"/>
                <a:gd name="csX26" fmla="*/ 155450 w 332256"/>
                <a:gd name="csY26" fmla="*/ 408878 h 454619"/>
                <a:gd name="csX27" fmla="*/ 153859 w 332256"/>
                <a:gd name="csY27" fmla="*/ 392145 h 454619"/>
                <a:gd name="csX28" fmla="*/ 160607 w 332256"/>
                <a:gd name="csY28" fmla="*/ 392145 h 454619"/>
                <a:gd name="csX29" fmla="*/ 160607 w 332256"/>
                <a:gd name="csY29" fmla="*/ 362902 h 454619"/>
                <a:gd name="csX30" fmla="*/ 153859 w 332256"/>
                <a:gd name="csY30" fmla="*/ 362902 h 454619"/>
                <a:gd name="csX31" fmla="*/ 153859 w 332256"/>
                <a:gd name="csY31" fmla="*/ 346169 h 454619"/>
                <a:gd name="csX32" fmla="*/ 160607 w 332256"/>
                <a:gd name="csY32" fmla="*/ 346169 h 454619"/>
                <a:gd name="csX33" fmla="*/ 160607 w 332256"/>
                <a:gd name="csY33" fmla="*/ 316981 h 454619"/>
                <a:gd name="csX34" fmla="*/ 153859 w 332256"/>
                <a:gd name="csY34" fmla="*/ 316981 h 454619"/>
                <a:gd name="csX35" fmla="*/ 153859 w 332256"/>
                <a:gd name="csY35" fmla="*/ 300193 h 454619"/>
                <a:gd name="csX36" fmla="*/ 160607 w 332256"/>
                <a:gd name="csY36" fmla="*/ 300193 h 454619"/>
                <a:gd name="csX37" fmla="*/ 160607 w 332256"/>
                <a:gd name="csY37" fmla="*/ 271005 h 454619"/>
                <a:gd name="csX38" fmla="*/ 153859 w 332256"/>
                <a:gd name="csY38" fmla="*/ 271005 h 454619"/>
                <a:gd name="csX39" fmla="*/ 153859 w 332256"/>
                <a:gd name="csY39" fmla="*/ 254217 h 454619"/>
                <a:gd name="csX40" fmla="*/ 160607 w 332256"/>
                <a:gd name="csY40" fmla="*/ 254217 h 454619"/>
                <a:gd name="csX41" fmla="*/ 160607 w 332256"/>
                <a:gd name="csY41" fmla="*/ 225029 h 454619"/>
                <a:gd name="csX42" fmla="*/ 153859 w 332256"/>
                <a:gd name="csY42" fmla="*/ 225029 h 454619"/>
                <a:gd name="csX43" fmla="*/ 153859 w 332256"/>
                <a:gd name="csY43" fmla="*/ 254217 h 45461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Lst>
              <a:rect l="l" t="t" r="r" b="b"/>
              <a:pathLst>
                <a:path w="332256" h="454619">
                  <a:moveTo>
                    <a:pt x="-4204" y="-9421"/>
                  </a:moveTo>
                  <a:lnTo>
                    <a:pt x="318615" y="-9421"/>
                  </a:lnTo>
                  <a:lnTo>
                    <a:pt x="318615" y="-1225"/>
                  </a:lnTo>
                  <a:lnTo>
                    <a:pt x="323334" y="-1225"/>
                  </a:lnTo>
                  <a:lnTo>
                    <a:pt x="323334" y="6966"/>
                  </a:lnTo>
                  <a:lnTo>
                    <a:pt x="286465" y="6966"/>
                  </a:lnTo>
                  <a:lnTo>
                    <a:pt x="174213" y="150963"/>
                  </a:lnTo>
                  <a:lnTo>
                    <a:pt x="174213" y="178724"/>
                  </a:lnTo>
                  <a:lnTo>
                    <a:pt x="198573" y="178724"/>
                  </a:lnTo>
                  <a:lnTo>
                    <a:pt x="198573" y="218775"/>
                  </a:lnTo>
                  <a:lnTo>
                    <a:pt x="173665" y="218775"/>
                  </a:lnTo>
                  <a:lnTo>
                    <a:pt x="162692" y="445198"/>
                  </a:lnTo>
                  <a:lnTo>
                    <a:pt x="157205" y="445198"/>
                  </a:lnTo>
                  <a:lnTo>
                    <a:pt x="151719" y="445198"/>
                  </a:lnTo>
                  <a:lnTo>
                    <a:pt x="140746" y="218775"/>
                  </a:lnTo>
                  <a:lnTo>
                    <a:pt x="115838" y="218775"/>
                  </a:lnTo>
                  <a:lnTo>
                    <a:pt x="115838" y="178724"/>
                  </a:lnTo>
                  <a:lnTo>
                    <a:pt x="140253" y="178724"/>
                  </a:lnTo>
                  <a:lnTo>
                    <a:pt x="140253" y="150963"/>
                  </a:lnTo>
                  <a:lnTo>
                    <a:pt x="27946" y="6966"/>
                  </a:lnTo>
                  <a:lnTo>
                    <a:pt x="-8923" y="6966"/>
                  </a:lnTo>
                  <a:lnTo>
                    <a:pt x="-8923" y="-1225"/>
                  </a:lnTo>
                  <a:lnTo>
                    <a:pt x="-4204" y="-1225"/>
                  </a:lnTo>
                  <a:close/>
                  <a:moveTo>
                    <a:pt x="155450" y="438121"/>
                  </a:moveTo>
                  <a:lnTo>
                    <a:pt x="158961" y="438121"/>
                  </a:lnTo>
                  <a:lnTo>
                    <a:pt x="158961" y="408878"/>
                  </a:lnTo>
                  <a:lnTo>
                    <a:pt x="155450" y="408878"/>
                  </a:lnTo>
                  <a:close/>
                  <a:moveTo>
                    <a:pt x="153859" y="392145"/>
                  </a:moveTo>
                  <a:lnTo>
                    <a:pt x="160607" y="392145"/>
                  </a:lnTo>
                  <a:lnTo>
                    <a:pt x="160607" y="362902"/>
                  </a:lnTo>
                  <a:lnTo>
                    <a:pt x="153859" y="362902"/>
                  </a:lnTo>
                  <a:close/>
                  <a:moveTo>
                    <a:pt x="153859" y="346169"/>
                  </a:moveTo>
                  <a:lnTo>
                    <a:pt x="160607" y="346169"/>
                  </a:lnTo>
                  <a:lnTo>
                    <a:pt x="160607" y="316981"/>
                  </a:lnTo>
                  <a:lnTo>
                    <a:pt x="153859" y="316981"/>
                  </a:lnTo>
                  <a:close/>
                  <a:moveTo>
                    <a:pt x="153859" y="300193"/>
                  </a:moveTo>
                  <a:lnTo>
                    <a:pt x="160607" y="300193"/>
                  </a:lnTo>
                  <a:lnTo>
                    <a:pt x="160607" y="271005"/>
                  </a:lnTo>
                  <a:lnTo>
                    <a:pt x="153859" y="271005"/>
                  </a:lnTo>
                  <a:close/>
                  <a:moveTo>
                    <a:pt x="153859" y="254217"/>
                  </a:moveTo>
                  <a:lnTo>
                    <a:pt x="160607" y="254217"/>
                  </a:lnTo>
                  <a:lnTo>
                    <a:pt x="160607" y="225029"/>
                  </a:lnTo>
                  <a:lnTo>
                    <a:pt x="153859" y="225029"/>
                  </a:lnTo>
                  <a:lnTo>
                    <a:pt x="153859" y="254217"/>
                  </a:lnTo>
                </a:path>
              </a:pathLst>
            </a:custGeom>
            <a:grpFill/>
            <a:ln w="548" cap="flat">
              <a:noFill/>
              <a:prstDash val="solid"/>
              <a:miter/>
            </a:ln>
          </p:spPr>
          <p:txBody>
            <a:bodyPr/>
            <a:lstStyle/>
            <a:p>
              <a:endParaRPr lang="en-US"/>
            </a:p>
          </p:txBody>
        </p:sp>
        <p:sp>
          <p:nvSpPr>
            <p:cNvPr id="264" name="Freeform: Shape 263">
              <a:extLst>
                <a:ext uri="{FF2B5EF4-FFF2-40B4-BE49-F238E27FC236}">
                  <a16:creationId xmlns:a16="http://schemas.microsoft.com/office/drawing/2014/main" id="{D8709DC7-3EAC-44F3-19EB-E7C4242DC639}"/>
                </a:ext>
              </a:extLst>
            </p:cNvPr>
            <p:cNvSpPr/>
            <p:nvPr/>
          </p:nvSpPr>
          <p:spPr>
            <a:xfrm flipV="1">
              <a:off x="24119164" y="2900413"/>
              <a:ext cx="311517" cy="135832"/>
            </a:xfrm>
            <a:custGeom>
              <a:avLst/>
              <a:gdLst>
                <a:gd name="csX0" fmla="*/ 296231 w 311517"/>
                <a:gd name="csY0" fmla="*/ -8694 h 135832"/>
                <a:gd name="csX1" fmla="*/ 296231 w 311517"/>
                <a:gd name="csY1" fmla="*/ 118947 h 135832"/>
                <a:gd name="csX2" fmla="*/ 302595 w 311517"/>
                <a:gd name="csY2" fmla="*/ 118947 h 135832"/>
                <a:gd name="csX3" fmla="*/ 302595 w 311517"/>
                <a:gd name="csY3" fmla="*/ 127139 h 135832"/>
                <a:gd name="csX4" fmla="*/ -8923 w 311517"/>
                <a:gd name="csY4" fmla="*/ 127139 h 135832"/>
                <a:gd name="csX5" fmla="*/ -8923 w 311517"/>
                <a:gd name="csY5" fmla="*/ 118947 h 135832"/>
                <a:gd name="csX6" fmla="*/ -2559 w 311517"/>
                <a:gd name="csY6" fmla="*/ 118947 h 135832"/>
                <a:gd name="csX7" fmla="*/ -2559 w 311517"/>
                <a:gd name="csY7" fmla="*/ -8694 h 135832"/>
                <a:gd name="csX8" fmla="*/ 8524 w 311517"/>
                <a:gd name="csY8" fmla="*/ 35082 h 135832"/>
                <a:gd name="csX9" fmla="*/ 23447 w 311517"/>
                <a:gd name="csY9" fmla="*/ 35082 h 135832"/>
                <a:gd name="csX10" fmla="*/ 23447 w 311517"/>
                <a:gd name="csY10" fmla="*/ 16237 h 135832"/>
                <a:gd name="csX11" fmla="*/ 8524 w 311517"/>
                <a:gd name="csY11" fmla="*/ 16237 h 135832"/>
                <a:gd name="csX12" fmla="*/ 8524 w 311517"/>
                <a:gd name="csY12" fmla="*/ 92678 h 135832"/>
                <a:gd name="csX13" fmla="*/ 23447 w 311517"/>
                <a:gd name="csY13" fmla="*/ 92678 h 135832"/>
                <a:gd name="csX14" fmla="*/ 23447 w 311517"/>
                <a:gd name="csY14" fmla="*/ 73838 h 135832"/>
                <a:gd name="csX15" fmla="*/ 8524 w 311517"/>
                <a:gd name="csY15" fmla="*/ 73838 h 135832"/>
                <a:gd name="csX16" fmla="*/ 56914 w 311517"/>
                <a:gd name="csY16" fmla="*/ 73838 h 135832"/>
                <a:gd name="csX17" fmla="*/ 41991 w 311517"/>
                <a:gd name="csY17" fmla="*/ 73838 h 135832"/>
                <a:gd name="csX18" fmla="*/ 41991 w 311517"/>
                <a:gd name="csY18" fmla="*/ 92678 h 135832"/>
                <a:gd name="csX19" fmla="*/ 56914 w 311517"/>
                <a:gd name="csY19" fmla="*/ 92678 h 135832"/>
                <a:gd name="csX20" fmla="*/ 25861 w 311517"/>
                <a:gd name="csY20" fmla="*/ 37485 h 135832"/>
                <a:gd name="csX21" fmla="*/ 25861 w 311517"/>
                <a:gd name="csY21" fmla="*/ 51404 h 135832"/>
                <a:gd name="csX22" fmla="*/ 39577 w 311517"/>
                <a:gd name="csY22" fmla="*/ 51404 h 135832"/>
                <a:gd name="csX23" fmla="*/ 39577 w 311517"/>
                <a:gd name="csY23" fmla="*/ 37485 h 135832"/>
                <a:gd name="csX24" fmla="*/ 25861 w 311517"/>
                <a:gd name="csY24" fmla="*/ 71430 h 135832"/>
                <a:gd name="csX25" fmla="*/ 39577 w 311517"/>
                <a:gd name="csY25" fmla="*/ 71430 h 135832"/>
                <a:gd name="csX26" fmla="*/ 39577 w 311517"/>
                <a:gd name="csY26" fmla="*/ 60062 h 135832"/>
                <a:gd name="csX27" fmla="*/ 25861 w 311517"/>
                <a:gd name="csY27" fmla="*/ 60062 h 135832"/>
                <a:gd name="csX28" fmla="*/ 39577 w 311517"/>
                <a:gd name="csY28" fmla="*/ 73838 h 135832"/>
                <a:gd name="csX29" fmla="*/ 25861 w 311517"/>
                <a:gd name="csY29" fmla="*/ 73838 h 135832"/>
                <a:gd name="csX30" fmla="*/ 25861 w 311517"/>
                <a:gd name="csY30" fmla="*/ 92678 h 135832"/>
                <a:gd name="csX31" fmla="*/ 39577 w 311517"/>
                <a:gd name="csY31" fmla="*/ 92678 h 135832"/>
                <a:gd name="csX32" fmla="*/ 25861 w 311517"/>
                <a:gd name="csY32" fmla="*/ 35082 h 135832"/>
                <a:gd name="csX33" fmla="*/ 39577 w 311517"/>
                <a:gd name="csY33" fmla="*/ 35082 h 135832"/>
                <a:gd name="csX34" fmla="*/ 39577 w 311517"/>
                <a:gd name="csY34" fmla="*/ 16237 h 135832"/>
                <a:gd name="csX35" fmla="*/ 25861 w 311517"/>
                <a:gd name="csY35" fmla="*/ 16237 h 135832"/>
                <a:gd name="csX36" fmla="*/ 41991 w 311517"/>
                <a:gd name="csY36" fmla="*/ 37485 h 135832"/>
                <a:gd name="csX37" fmla="*/ 41991 w 311517"/>
                <a:gd name="csY37" fmla="*/ 51404 h 135832"/>
                <a:gd name="csX38" fmla="*/ 56914 w 311517"/>
                <a:gd name="csY38" fmla="*/ 51404 h 135832"/>
                <a:gd name="csX39" fmla="*/ 56914 w 311517"/>
                <a:gd name="csY39" fmla="*/ 37485 h 135832"/>
                <a:gd name="csX40" fmla="*/ 56914 w 311517"/>
                <a:gd name="csY40" fmla="*/ 60062 h 135832"/>
                <a:gd name="csX41" fmla="*/ 41991 w 311517"/>
                <a:gd name="csY41" fmla="*/ 60062 h 135832"/>
                <a:gd name="csX42" fmla="*/ 41991 w 311517"/>
                <a:gd name="csY42" fmla="*/ 71430 h 135832"/>
                <a:gd name="csX43" fmla="*/ 56914 w 311517"/>
                <a:gd name="csY43" fmla="*/ 71430 h 135832"/>
                <a:gd name="csX44" fmla="*/ 23447 w 311517"/>
                <a:gd name="csY44" fmla="*/ 71430 h 135832"/>
                <a:gd name="csX45" fmla="*/ 23447 w 311517"/>
                <a:gd name="csY45" fmla="*/ 60062 h 135832"/>
                <a:gd name="csX46" fmla="*/ 8524 w 311517"/>
                <a:gd name="csY46" fmla="*/ 60062 h 135832"/>
                <a:gd name="csX47" fmla="*/ 8524 w 311517"/>
                <a:gd name="csY47" fmla="*/ 71430 h 135832"/>
                <a:gd name="csX48" fmla="*/ 8524 w 311517"/>
                <a:gd name="csY48" fmla="*/ 51404 h 135832"/>
                <a:gd name="csX49" fmla="*/ 23447 w 311517"/>
                <a:gd name="csY49" fmla="*/ 51404 h 135832"/>
                <a:gd name="csX50" fmla="*/ 23447 w 311517"/>
                <a:gd name="csY50" fmla="*/ 37485 h 135832"/>
                <a:gd name="csX51" fmla="*/ 8524 w 311517"/>
                <a:gd name="csY51" fmla="*/ 37485 h 135832"/>
                <a:gd name="csX52" fmla="*/ 41991 w 311517"/>
                <a:gd name="csY52" fmla="*/ 16237 h 135832"/>
                <a:gd name="csX53" fmla="*/ 41991 w 311517"/>
                <a:gd name="csY53" fmla="*/ 35082 h 135832"/>
                <a:gd name="csX54" fmla="*/ 56914 w 311517"/>
                <a:gd name="csY54" fmla="*/ 35082 h 135832"/>
                <a:gd name="csX55" fmla="*/ 56914 w 311517"/>
                <a:gd name="csY55" fmla="*/ 16237 h 135832"/>
                <a:gd name="csX56" fmla="*/ 56914 w 311517"/>
                <a:gd name="csY56" fmla="*/ 95082 h 135832"/>
                <a:gd name="csX57" fmla="*/ 41991 w 311517"/>
                <a:gd name="csY57" fmla="*/ 95082 h 135832"/>
                <a:gd name="csX58" fmla="*/ 41991 w 311517"/>
                <a:gd name="csY58" fmla="*/ 109006 h 135832"/>
                <a:gd name="csX59" fmla="*/ 56914 w 311517"/>
                <a:gd name="csY59" fmla="*/ 109006 h 135832"/>
                <a:gd name="csX60" fmla="*/ 39577 w 311517"/>
                <a:gd name="csY60" fmla="*/ 95082 h 135832"/>
                <a:gd name="csX61" fmla="*/ 25861 w 311517"/>
                <a:gd name="csY61" fmla="*/ 95082 h 135832"/>
                <a:gd name="csX62" fmla="*/ 25861 w 311517"/>
                <a:gd name="csY62" fmla="*/ 109006 h 135832"/>
                <a:gd name="csX63" fmla="*/ 39577 w 311517"/>
                <a:gd name="csY63" fmla="*/ 109006 h 135832"/>
                <a:gd name="csX64" fmla="*/ 23447 w 311517"/>
                <a:gd name="csY64" fmla="*/ 95082 h 135832"/>
                <a:gd name="csX65" fmla="*/ 8524 w 311517"/>
                <a:gd name="csY65" fmla="*/ 95082 h 135832"/>
                <a:gd name="csX66" fmla="*/ 8524 w 311517"/>
                <a:gd name="csY66" fmla="*/ 109006 h 135832"/>
                <a:gd name="csX67" fmla="*/ 23447 w 311517"/>
                <a:gd name="csY67" fmla="*/ 109006 h 135832"/>
                <a:gd name="csX68" fmla="*/ 8524 w 311517"/>
                <a:gd name="csY68" fmla="*/ 2460 h 135832"/>
                <a:gd name="csX69" fmla="*/ 8524 w 311517"/>
                <a:gd name="csY69" fmla="*/ 13833 h 135832"/>
                <a:gd name="csX70" fmla="*/ 23447 w 311517"/>
                <a:gd name="csY70" fmla="*/ 13833 h 135832"/>
                <a:gd name="csX71" fmla="*/ 23447 w 311517"/>
                <a:gd name="csY71" fmla="*/ 2460 h 135832"/>
                <a:gd name="csX72" fmla="*/ 25861 w 311517"/>
                <a:gd name="csY72" fmla="*/ 2460 h 135832"/>
                <a:gd name="csX73" fmla="*/ 25861 w 311517"/>
                <a:gd name="csY73" fmla="*/ 13833 h 135832"/>
                <a:gd name="csX74" fmla="*/ 39577 w 311517"/>
                <a:gd name="csY74" fmla="*/ 13833 h 135832"/>
                <a:gd name="csX75" fmla="*/ 39577 w 311517"/>
                <a:gd name="csY75" fmla="*/ 2460 h 135832"/>
                <a:gd name="csX76" fmla="*/ 56914 w 311517"/>
                <a:gd name="csY76" fmla="*/ 2460 h 135832"/>
                <a:gd name="csX77" fmla="*/ 41991 w 311517"/>
                <a:gd name="csY77" fmla="*/ 2460 h 135832"/>
                <a:gd name="csX78" fmla="*/ 41991 w 311517"/>
                <a:gd name="csY78" fmla="*/ 13833 h 135832"/>
                <a:gd name="csX79" fmla="*/ 56914 w 311517"/>
                <a:gd name="csY79" fmla="*/ 13833 h 135832"/>
                <a:gd name="csX80" fmla="*/ 68765 w 311517"/>
                <a:gd name="csY80" fmla="*/ 34330 h 135832"/>
                <a:gd name="csX81" fmla="*/ 89942 w 311517"/>
                <a:gd name="csY81" fmla="*/ 34330 h 135832"/>
                <a:gd name="csX82" fmla="*/ 89942 w 311517"/>
                <a:gd name="csY82" fmla="*/ 20340 h 135832"/>
                <a:gd name="csX83" fmla="*/ 68765 w 311517"/>
                <a:gd name="csY83" fmla="*/ 20340 h 135832"/>
                <a:gd name="csX84" fmla="*/ 68765 w 311517"/>
                <a:gd name="csY84" fmla="*/ 91927 h 135832"/>
                <a:gd name="csX85" fmla="*/ 89942 w 311517"/>
                <a:gd name="csY85" fmla="*/ 91927 h 135832"/>
                <a:gd name="csX86" fmla="*/ 89942 w 311517"/>
                <a:gd name="csY86" fmla="*/ 77942 h 135832"/>
                <a:gd name="csX87" fmla="*/ 68765 w 311517"/>
                <a:gd name="csY87" fmla="*/ 77942 h 135832"/>
                <a:gd name="csX88" fmla="*/ 225237 w 311517"/>
                <a:gd name="csY88" fmla="*/ 77942 h 135832"/>
                <a:gd name="csX89" fmla="*/ 204114 w 311517"/>
                <a:gd name="csY89" fmla="*/ 77942 h 135832"/>
                <a:gd name="csX90" fmla="*/ 204114 w 311517"/>
                <a:gd name="csY90" fmla="*/ 91927 h 135832"/>
                <a:gd name="csX91" fmla="*/ 225237 w 311517"/>
                <a:gd name="csY91" fmla="*/ 91927 h 135832"/>
                <a:gd name="csX92" fmla="*/ 92301 w 311517"/>
                <a:gd name="csY92" fmla="*/ 75533 h 135832"/>
                <a:gd name="csX93" fmla="*/ 112272 w 311517"/>
                <a:gd name="csY93" fmla="*/ 75533 h 135832"/>
                <a:gd name="csX94" fmla="*/ 112272 w 311517"/>
                <a:gd name="csY94" fmla="*/ 60062 h 135832"/>
                <a:gd name="csX95" fmla="*/ 92301 w 311517"/>
                <a:gd name="csY95" fmla="*/ 60062 h 135832"/>
                <a:gd name="csX96" fmla="*/ 179315 w 311517"/>
                <a:gd name="csY96" fmla="*/ 60062 h 135832"/>
                <a:gd name="csX97" fmla="*/ 159400 w 311517"/>
                <a:gd name="csY97" fmla="*/ 60062 h 135832"/>
                <a:gd name="csX98" fmla="*/ 159400 w 311517"/>
                <a:gd name="csY98" fmla="*/ 75533 h 135832"/>
                <a:gd name="csX99" fmla="*/ 179315 w 311517"/>
                <a:gd name="csY99" fmla="*/ 75533 h 135832"/>
                <a:gd name="csX100" fmla="*/ 156986 w 311517"/>
                <a:gd name="csY100" fmla="*/ 60062 h 135832"/>
                <a:gd name="csX101" fmla="*/ 137016 w 311517"/>
                <a:gd name="csY101" fmla="*/ 60062 h 135832"/>
                <a:gd name="csX102" fmla="*/ 137016 w 311517"/>
                <a:gd name="csY102" fmla="*/ 75533 h 135832"/>
                <a:gd name="csX103" fmla="*/ 156986 w 311517"/>
                <a:gd name="csY103" fmla="*/ 75533 h 135832"/>
                <a:gd name="csX104" fmla="*/ 134601 w 311517"/>
                <a:gd name="csY104" fmla="*/ 60062 h 135832"/>
                <a:gd name="csX105" fmla="*/ 114686 w 311517"/>
                <a:gd name="csY105" fmla="*/ 60062 h 135832"/>
                <a:gd name="csX106" fmla="*/ 114686 w 311517"/>
                <a:gd name="csY106" fmla="*/ 75533 h 135832"/>
                <a:gd name="csX107" fmla="*/ 134601 w 311517"/>
                <a:gd name="csY107" fmla="*/ 75533 h 135832"/>
                <a:gd name="csX108" fmla="*/ 114686 w 311517"/>
                <a:gd name="csY108" fmla="*/ 51404 h 135832"/>
                <a:gd name="csX109" fmla="*/ 134601 w 311517"/>
                <a:gd name="csY109" fmla="*/ 51404 h 135832"/>
                <a:gd name="csX110" fmla="*/ 134601 w 311517"/>
                <a:gd name="csY110" fmla="*/ 36733 h 135832"/>
                <a:gd name="csX111" fmla="*/ 114686 w 311517"/>
                <a:gd name="csY111" fmla="*/ 36733 h 135832"/>
                <a:gd name="csX112" fmla="*/ 137016 w 311517"/>
                <a:gd name="csY112" fmla="*/ 51404 h 135832"/>
                <a:gd name="csX113" fmla="*/ 156986 w 311517"/>
                <a:gd name="csY113" fmla="*/ 51404 h 135832"/>
                <a:gd name="csX114" fmla="*/ 156986 w 311517"/>
                <a:gd name="csY114" fmla="*/ 36733 h 135832"/>
                <a:gd name="csX115" fmla="*/ 137016 w 311517"/>
                <a:gd name="csY115" fmla="*/ 36733 h 135832"/>
                <a:gd name="csX116" fmla="*/ 159400 w 311517"/>
                <a:gd name="csY116" fmla="*/ 51404 h 135832"/>
                <a:gd name="csX117" fmla="*/ 179315 w 311517"/>
                <a:gd name="csY117" fmla="*/ 51404 h 135832"/>
                <a:gd name="csX118" fmla="*/ 179315 w 311517"/>
                <a:gd name="csY118" fmla="*/ 36733 h 135832"/>
                <a:gd name="csX119" fmla="*/ 159400 w 311517"/>
                <a:gd name="csY119" fmla="*/ 36733 h 135832"/>
                <a:gd name="csX120" fmla="*/ 181730 w 311517"/>
                <a:gd name="csY120" fmla="*/ 75533 h 135832"/>
                <a:gd name="csX121" fmla="*/ 201700 w 311517"/>
                <a:gd name="csY121" fmla="*/ 75533 h 135832"/>
                <a:gd name="csX122" fmla="*/ 201700 w 311517"/>
                <a:gd name="csY122" fmla="*/ 60062 h 135832"/>
                <a:gd name="csX123" fmla="*/ 181730 w 311517"/>
                <a:gd name="csY123" fmla="*/ 60062 h 135832"/>
                <a:gd name="csX124" fmla="*/ 112272 w 311517"/>
                <a:gd name="csY124" fmla="*/ 51404 h 135832"/>
                <a:gd name="csX125" fmla="*/ 112272 w 311517"/>
                <a:gd name="csY125" fmla="*/ 36733 h 135832"/>
                <a:gd name="csX126" fmla="*/ 92301 w 311517"/>
                <a:gd name="csY126" fmla="*/ 36733 h 135832"/>
                <a:gd name="csX127" fmla="*/ 92301 w 311517"/>
                <a:gd name="csY127" fmla="*/ 51404 h 135832"/>
                <a:gd name="csX128" fmla="*/ 181730 w 311517"/>
                <a:gd name="csY128" fmla="*/ 36733 h 135832"/>
                <a:gd name="csX129" fmla="*/ 181730 w 311517"/>
                <a:gd name="csY129" fmla="*/ 51404 h 135832"/>
                <a:gd name="csX130" fmla="*/ 201700 w 311517"/>
                <a:gd name="csY130" fmla="*/ 51404 h 135832"/>
                <a:gd name="csX131" fmla="*/ 201700 w 311517"/>
                <a:gd name="csY131" fmla="*/ 36733 h 135832"/>
                <a:gd name="csX132" fmla="*/ 201700 w 311517"/>
                <a:gd name="csY132" fmla="*/ 77942 h 135832"/>
                <a:gd name="csX133" fmla="*/ 181730 w 311517"/>
                <a:gd name="csY133" fmla="*/ 77942 h 135832"/>
                <a:gd name="csX134" fmla="*/ 181730 w 311517"/>
                <a:gd name="csY134" fmla="*/ 91927 h 135832"/>
                <a:gd name="csX135" fmla="*/ 201700 w 311517"/>
                <a:gd name="csY135" fmla="*/ 91927 h 135832"/>
                <a:gd name="csX136" fmla="*/ 179315 w 311517"/>
                <a:gd name="csY136" fmla="*/ 77942 h 135832"/>
                <a:gd name="csX137" fmla="*/ 159400 w 311517"/>
                <a:gd name="csY137" fmla="*/ 77942 h 135832"/>
                <a:gd name="csX138" fmla="*/ 159400 w 311517"/>
                <a:gd name="csY138" fmla="*/ 91927 h 135832"/>
                <a:gd name="csX139" fmla="*/ 179315 w 311517"/>
                <a:gd name="csY139" fmla="*/ 91927 h 135832"/>
                <a:gd name="csX140" fmla="*/ 156986 w 311517"/>
                <a:gd name="csY140" fmla="*/ 77942 h 135832"/>
                <a:gd name="csX141" fmla="*/ 137016 w 311517"/>
                <a:gd name="csY141" fmla="*/ 77942 h 135832"/>
                <a:gd name="csX142" fmla="*/ 137016 w 311517"/>
                <a:gd name="csY142" fmla="*/ 91927 h 135832"/>
                <a:gd name="csX143" fmla="*/ 156986 w 311517"/>
                <a:gd name="csY143" fmla="*/ 91927 h 135832"/>
                <a:gd name="csX144" fmla="*/ 134601 w 311517"/>
                <a:gd name="csY144" fmla="*/ 77942 h 135832"/>
                <a:gd name="csX145" fmla="*/ 114686 w 311517"/>
                <a:gd name="csY145" fmla="*/ 77942 h 135832"/>
                <a:gd name="csX146" fmla="*/ 114686 w 311517"/>
                <a:gd name="csY146" fmla="*/ 91927 h 135832"/>
                <a:gd name="csX147" fmla="*/ 134601 w 311517"/>
                <a:gd name="csY147" fmla="*/ 91927 h 135832"/>
                <a:gd name="csX148" fmla="*/ 112272 w 311517"/>
                <a:gd name="csY148" fmla="*/ 77942 h 135832"/>
                <a:gd name="csX149" fmla="*/ 92301 w 311517"/>
                <a:gd name="csY149" fmla="*/ 77942 h 135832"/>
                <a:gd name="csX150" fmla="*/ 92301 w 311517"/>
                <a:gd name="csY150" fmla="*/ 91927 h 135832"/>
                <a:gd name="csX151" fmla="*/ 112272 w 311517"/>
                <a:gd name="csY151" fmla="*/ 91927 h 135832"/>
                <a:gd name="csX152" fmla="*/ 92301 w 311517"/>
                <a:gd name="csY152" fmla="*/ 34330 h 135832"/>
                <a:gd name="csX153" fmla="*/ 112272 w 311517"/>
                <a:gd name="csY153" fmla="*/ 34330 h 135832"/>
                <a:gd name="csX154" fmla="*/ 112272 w 311517"/>
                <a:gd name="csY154" fmla="*/ 20340 h 135832"/>
                <a:gd name="csX155" fmla="*/ 92301 w 311517"/>
                <a:gd name="csY155" fmla="*/ 20340 h 135832"/>
                <a:gd name="csX156" fmla="*/ 114686 w 311517"/>
                <a:gd name="csY156" fmla="*/ 34330 h 135832"/>
                <a:gd name="csX157" fmla="*/ 134601 w 311517"/>
                <a:gd name="csY157" fmla="*/ 34330 h 135832"/>
                <a:gd name="csX158" fmla="*/ 134601 w 311517"/>
                <a:gd name="csY158" fmla="*/ 20340 h 135832"/>
                <a:gd name="csX159" fmla="*/ 114686 w 311517"/>
                <a:gd name="csY159" fmla="*/ 20340 h 135832"/>
                <a:gd name="csX160" fmla="*/ 137016 w 311517"/>
                <a:gd name="csY160" fmla="*/ 34330 h 135832"/>
                <a:gd name="csX161" fmla="*/ 156986 w 311517"/>
                <a:gd name="csY161" fmla="*/ 34330 h 135832"/>
                <a:gd name="csX162" fmla="*/ 156986 w 311517"/>
                <a:gd name="csY162" fmla="*/ 20340 h 135832"/>
                <a:gd name="csX163" fmla="*/ 137016 w 311517"/>
                <a:gd name="csY163" fmla="*/ 20340 h 135832"/>
                <a:gd name="csX164" fmla="*/ 159400 w 311517"/>
                <a:gd name="csY164" fmla="*/ 34330 h 135832"/>
                <a:gd name="csX165" fmla="*/ 179315 w 311517"/>
                <a:gd name="csY165" fmla="*/ 34330 h 135832"/>
                <a:gd name="csX166" fmla="*/ 179315 w 311517"/>
                <a:gd name="csY166" fmla="*/ 20340 h 135832"/>
                <a:gd name="csX167" fmla="*/ 159400 w 311517"/>
                <a:gd name="csY167" fmla="*/ 20340 h 135832"/>
                <a:gd name="csX168" fmla="*/ 181730 w 311517"/>
                <a:gd name="csY168" fmla="*/ 34330 h 135832"/>
                <a:gd name="csX169" fmla="*/ 201700 w 311517"/>
                <a:gd name="csY169" fmla="*/ 34330 h 135832"/>
                <a:gd name="csX170" fmla="*/ 201700 w 311517"/>
                <a:gd name="csY170" fmla="*/ 20340 h 135832"/>
                <a:gd name="csX171" fmla="*/ 181730 w 311517"/>
                <a:gd name="csY171" fmla="*/ 20340 h 135832"/>
                <a:gd name="csX172" fmla="*/ 204114 w 311517"/>
                <a:gd name="csY172" fmla="*/ 36733 h 135832"/>
                <a:gd name="csX173" fmla="*/ 204114 w 311517"/>
                <a:gd name="csY173" fmla="*/ 51404 h 135832"/>
                <a:gd name="csX174" fmla="*/ 225237 w 311517"/>
                <a:gd name="csY174" fmla="*/ 51404 h 135832"/>
                <a:gd name="csX175" fmla="*/ 225237 w 311517"/>
                <a:gd name="csY175" fmla="*/ 36733 h 135832"/>
                <a:gd name="csX176" fmla="*/ 225237 w 311517"/>
                <a:gd name="csY176" fmla="*/ 60062 h 135832"/>
                <a:gd name="csX177" fmla="*/ 204114 w 311517"/>
                <a:gd name="csY177" fmla="*/ 60062 h 135832"/>
                <a:gd name="csX178" fmla="*/ 204114 w 311517"/>
                <a:gd name="csY178" fmla="*/ 75533 h 135832"/>
                <a:gd name="csX179" fmla="*/ 225237 w 311517"/>
                <a:gd name="csY179" fmla="*/ 75533 h 135832"/>
                <a:gd name="csX180" fmla="*/ 89942 w 311517"/>
                <a:gd name="csY180" fmla="*/ 75533 h 135832"/>
                <a:gd name="csX181" fmla="*/ 89942 w 311517"/>
                <a:gd name="csY181" fmla="*/ 60062 h 135832"/>
                <a:gd name="csX182" fmla="*/ 68765 w 311517"/>
                <a:gd name="csY182" fmla="*/ 60062 h 135832"/>
                <a:gd name="csX183" fmla="*/ 68765 w 311517"/>
                <a:gd name="csY183" fmla="*/ 75533 h 135832"/>
                <a:gd name="csX184" fmla="*/ 68765 w 311517"/>
                <a:gd name="csY184" fmla="*/ 51404 h 135832"/>
                <a:gd name="csX185" fmla="*/ 89942 w 311517"/>
                <a:gd name="csY185" fmla="*/ 51404 h 135832"/>
                <a:gd name="csX186" fmla="*/ 89942 w 311517"/>
                <a:gd name="csY186" fmla="*/ 36733 h 135832"/>
                <a:gd name="csX187" fmla="*/ 68765 w 311517"/>
                <a:gd name="csY187" fmla="*/ 36733 h 135832"/>
                <a:gd name="csX188" fmla="*/ 204114 w 311517"/>
                <a:gd name="csY188" fmla="*/ 20340 h 135832"/>
                <a:gd name="csX189" fmla="*/ 204114 w 311517"/>
                <a:gd name="csY189" fmla="*/ 34330 h 135832"/>
                <a:gd name="csX190" fmla="*/ 225237 w 311517"/>
                <a:gd name="csY190" fmla="*/ 34330 h 135832"/>
                <a:gd name="csX191" fmla="*/ 225237 w 311517"/>
                <a:gd name="csY191" fmla="*/ 20340 h 135832"/>
                <a:gd name="csX192" fmla="*/ 225237 w 311517"/>
                <a:gd name="csY192" fmla="*/ 94330 h 135832"/>
                <a:gd name="csX193" fmla="*/ 204114 w 311517"/>
                <a:gd name="csY193" fmla="*/ 94330 h 135832"/>
                <a:gd name="csX194" fmla="*/ 204114 w 311517"/>
                <a:gd name="csY194" fmla="*/ 109006 h 135832"/>
                <a:gd name="csX195" fmla="*/ 225237 w 311517"/>
                <a:gd name="csY195" fmla="*/ 109006 h 135832"/>
                <a:gd name="csX196" fmla="*/ 201700 w 311517"/>
                <a:gd name="csY196" fmla="*/ 94330 h 135832"/>
                <a:gd name="csX197" fmla="*/ 181730 w 311517"/>
                <a:gd name="csY197" fmla="*/ 94330 h 135832"/>
                <a:gd name="csX198" fmla="*/ 181730 w 311517"/>
                <a:gd name="csY198" fmla="*/ 109006 h 135832"/>
                <a:gd name="csX199" fmla="*/ 201700 w 311517"/>
                <a:gd name="csY199" fmla="*/ 109006 h 135832"/>
                <a:gd name="csX200" fmla="*/ 179315 w 311517"/>
                <a:gd name="csY200" fmla="*/ 94330 h 135832"/>
                <a:gd name="csX201" fmla="*/ 159400 w 311517"/>
                <a:gd name="csY201" fmla="*/ 94330 h 135832"/>
                <a:gd name="csX202" fmla="*/ 159400 w 311517"/>
                <a:gd name="csY202" fmla="*/ 109006 h 135832"/>
                <a:gd name="csX203" fmla="*/ 179315 w 311517"/>
                <a:gd name="csY203" fmla="*/ 109006 h 135832"/>
                <a:gd name="csX204" fmla="*/ 156986 w 311517"/>
                <a:gd name="csY204" fmla="*/ 94330 h 135832"/>
                <a:gd name="csX205" fmla="*/ 137016 w 311517"/>
                <a:gd name="csY205" fmla="*/ 94330 h 135832"/>
                <a:gd name="csX206" fmla="*/ 137016 w 311517"/>
                <a:gd name="csY206" fmla="*/ 109006 h 135832"/>
                <a:gd name="csX207" fmla="*/ 156986 w 311517"/>
                <a:gd name="csY207" fmla="*/ 109006 h 135832"/>
                <a:gd name="csX208" fmla="*/ 134601 w 311517"/>
                <a:gd name="csY208" fmla="*/ 94330 h 135832"/>
                <a:gd name="csX209" fmla="*/ 114686 w 311517"/>
                <a:gd name="csY209" fmla="*/ 94330 h 135832"/>
                <a:gd name="csX210" fmla="*/ 114686 w 311517"/>
                <a:gd name="csY210" fmla="*/ 109006 h 135832"/>
                <a:gd name="csX211" fmla="*/ 134601 w 311517"/>
                <a:gd name="csY211" fmla="*/ 109006 h 135832"/>
                <a:gd name="csX212" fmla="*/ 112272 w 311517"/>
                <a:gd name="csY212" fmla="*/ 94330 h 135832"/>
                <a:gd name="csX213" fmla="*/ 92301 w 311517"/>
                <a:gd name="csY213" fmla="*/ 94330 h 135832"/>
                <a:gd name="csX214" fmla="*/ 92301 w 311517"/>
                <a:gd name="csY214" fmla="*/ 109006 h 135832"/>
                <a:gd name="csX215" fmla="*/ 112272 w 311517"/>
                <a:gd name="csY215" fmla="*/ 109006 h 135832"/>
                <a:gd name="csX216" fmla="*/ 89942 w 311517"/>
                <a:gd name="csY216" fmla="*/ 94330 h 135832"/>
                <a:gd name="csX217" fmla="*/ 68765 w 311517"/>
                <a:gd name="csY217" fmla="*/ 94330 h 135832"/>
                <a:gd name="csX218" fmla="*/ 68765 w 311517"/>
                <a:gd name="csY218" fmla="*/ 109006 h 135832"/>
                <a:gd name="csX219" fmla="*/ 89942 w 311517"/>
                <a:gd name="csY219" fmla="*/ 109006 h 135832"/>
                <a:gd name="csX220" fmla="*/ 68765 w 311517"/>
                <a:gd name="csY220" fmla="*/ 2460 h 135832"/>
                <a:gd name="csX221" fmla="*/ 68765 w 311517"/>
                <a:gd name="csY221" fmla="*/ 17937 h 135832"/>
                <a:gd name="csX222" fmla="*/ 89942 w 311517"/>
                <a:gd name="csY222" fmla="*/ 17937 h 135832"/>
                <a:gd name="csX223" fmla="*/ 89942 w 311517"/>
                <a:gd name="csY223" fmla="*/ 2460 h 135832"/>
                <a:gd name="csX224" fmla="*/ 92301 w 311517"/>
                <a:gd name="csY224" fmla="*/ 2460 h 135832"/>
                <a:gd name="csX225" fmla="*/ 92301 w 311517"/>
                <a:gd name="csY225" fmla="*/ 17937 h 135832"/>
                <a:gd name="csX226" fmla="*/ 112272 w 311517"/>
                <a:gd name="csY226" fmla="*/ 17937 h 135832"/>
                <a:gd name="csX227" fmla="*/ 112272 w 311517"/>
                <a:gd name="csY227" fmla="*/ 2460 h 135832"/>
                <a:gd name="csX228" fmla="*/ 114686 w 311517"/>
                <a:gd name="csY228" fmla="*/ 2460 h 135832"/>
                <a:gd name="csX229" fmla="*/ 114686 w 311517"/>
                <a:gd name="csY229" fmla="*/ 17937 h 135832"/>
                <a:gd name="csX230" fmla="*/ 134601 w 311517"/>
                <a:gd name="csY230" fmla="*/ 17937 h 135832"/>
                <a:gd name="csX231" fmla="*/ 134601 w 311517"/>
                <a:gd name="csY231" fmla="*/ 2460 h 135832"/>
                <a:gd name="csX232" fmla="*/ 137016 w 311517"/>
                <a:gd name="csY232" fmla="*/ 2460 h 135832"/>
                <a:gd name="csX233" fmla="*/ 137016 w 311517"/>
                <a:gd name="csY233" fmla="*/ 17937 h 135832"/>
                <a:gd name="csX234" fmla="*/ 156986 w 311517"/>
                <a:gd name="csY234" fmla="*/ 17937 h 135832"/>
                <a:gd name="csX235" fmla="*/ 156986 w 311517"/>
                <a:gd name="csY235" fmla="*/ 2460 h 135832"/>
                <a:gd name="csX236" fmla="*/ 159400 w 311517"/>
                <a:gd name="csY236" fmla="*/ 2460 h 135832"/>
                <a:gd name="csX237" fmla="*/ 159400 w 311517"/>
                <a:gd name="csY237" fmla="*/ 17937 h 135832"/>
                <a:gd name="csX238" fmla="*/ 179315 w 311517"/>
                <a:gd name="csY238" fmla="*/ 17937 h 135832"/>
                <a:gd name="csX239" fmla="*/ 179315 w 311517"/>
                <a:gd name="csY239" fmla="*/ 2460 h 135832"/>
                <a:gd name="csX240" fmla="*/ 181730 w 311517"/>
                <a:gd name="csY240" fmla="*/ 2460 h 135832"/>
                <a:gd name="csX241" fmla="*/ 181730 w 311517"/>
                <a:gd name="csY241" fmla="*/ 17937 h 135832"/>
                <a:gd name="csX242" fmla="*/ 201700 w 311517"/>
                <a:gd name="csY242" fmla="*/ 17937 h 135832"/>
                <a:gd name="csX243" fmla="*/ 201700 w 311517"/>
                <a:gd name="csY243" fmla="*/ 2460 h 135832"/>
                <a:gd name="csX244" fmla="*/ 225237 w 311517"/>
                <a:gd name="csY244" fmla="*/ 2460 h 135832"/>
                <a:gd name="csX245" fmla="*/ 204114 w 311517"/>
                <a:gd name="csY245" fmla="*/ 2460 h 135832"/>
                <a:gd name="csX246" fmla="*/ 204114 w 311517"/>
                <a:gd name="csY246" fmla="*/ 17937 h 135832"/>
                <a:gd name="csX247" fmla="*/ 225237 w 311517"/>
                <a:gd name="csY247" fmla="*/ 17937 h 135832"/>
                <a:gd name="csX248" fmla="*/ 237087 w 311517"/>
                <a:gd name="csY248" fmla="*/ 35082 h 135832"/>
                <a:gd name="csX249" fmla="*/ 252010 w 311517"/>
                <a:gd name="csY249" fmla="*/ 35082 h 135832"/>
                <a:gd name="csX250" fmla="*/ 252010 w 311517"/>
                <a:gd name="csY250" fmla="*/ 16237 h 135832"/>
                <a:gd name="csX251" fmla="*/ 237087 w 311517"/>
                <a:gd name="csY251" fmla="*/ 16237 h 135832"/>
                <a:gd name="csX252" fmla="*/ 237087 w 311517"/>
                <a:gd name="csY252" fmla="*/ 92678 h 135832"/>
                <a:gd name="csX253" fmla="*/ 252010 w 311517"/>
                <a:gd name="csY253" fmla="*/ 92678 h 135832"/>
                <a:gd name="csX254" fmla="*/ 252010 w 311517"/>
                <a:gd name="csY254" fmla="*/ 73838 h 135832"/>
                <a:gd name="csX255" fmla="*/ 237087 w 311517"/>
                <a:gd name="csY255" fmla="*/ 73838 h 135832"/>
                <a:gd name="csX256" fmla="*/ 285477 w 311517"/>
                <a:gd name="csY256" fmla="*/ 73838 h 135832"/>
                <a:gd name="csX257" fmla="*/ 270554 w 311517"/>
                <a:gd name="csY257" fmla="*/ 73838 h 135832"/>
                <a:gd name="csX258" fmla="*/ 270554 w 311517"/>
                <a:gd name="csY258" fmla="*/ 92678 h 135832"/>
                <a:gd name="csX259" fmla="*/ 285477 w 311517"/>
                <a:gd name="csY259" fmla="*/ 92678 h 135832"/>
                <a:gd name="csX260" fmla="*/ 254425 w 311517"/>
                <a:gd name="csY260" fmla="*/ 37485 h 135832"/>
                <a:gd name="csX261" fmla="*/ 254425 w 311517"/>
                <a:gd name="csY261" fmla="*/ 51404 h 135832"/>
                <a:gd name="csX262" fmla="*/ 268141 w 311517"/>
                <a:gd name="csY262" fmla="*/ 51404 h 135832"/>
                <a:gd name="csX263" fmla="*/ 268141 w 311517"/>
                <a:gd name="csY263" fmla="*/ 37485 h 135832"/>
                <a:gd name="csX264" fmla="*/ 254425 w 311517"/>
                <a:gd name="csY264" fmla="*/ 71430 h 135832"/>
                <a:gd name="csX265" fmla="*/ 268141 w 311517"/>
                <a:gd name="csY265" fmla="*/ 71430 h 135832"/>
                <a:gd name="csX266" fmla="*/ 268141 w 311517"/>
                <a:gd name="csY266" fmla="*/ 60062 h 135832"/>
                <a:gd name="csX267" fmla="*/ 254425 w 311517"/>
                <a:gd name="csY267" fmla="*/ 60062 h 135832"/>
                <a:gd name="csX268" fmla="*/ 268141 w 311517"/>
                <a:gd name="csY268" fmla="*/ 73838 h 135832"/>
                <a:gd name="csX269" fmla="*/ 254425 w 311517"/>
                <a:gd name="csY269" fmla="*/ 73838 h 135832"/>
                <a:gd name="csX270" fmla="*/ 254425 w 311517"/>
                <a:gd name="csY270" fmla="*/ 92678 h 135832"/>
                <a:gd name="csX271" fmla="*/ 268141 w 311517"/>
                <a:gd name="csY271" fmla="*/ 92678 h 135832"/>
                <a:gd name="csX272" fmla="*/ 254425 w 311517"/>
                <a:gd name="csY272" fmla="*/ 35082 h 135832"/>
                <a:gd name="csX273" fmla="*/ 268141 w 311517"/>
                <a:gd name="csY273" fmla="*/ 35082 h 135832"/>
                <a:gd name="csX274" fmla="*/ 268141 w 311517"/>
                <a:gd name="csY274" fmla="*/ 16237 h 135832"/>
                <a:gd name="csX275" fmla="*/ 254425 w 311517"/>
                <a:gd name="csY275" fmla="*/ 16237 h 135832"/>
                <a:gd name="csX276" fmla="*/ 270554 w 311517"/>
                <a:gd name="csY276" fmla="*/ 37485 h 135832"/>
                <a:gd name="csX277" fmla="*/ 270554 w 311517"/>
                <a:gd name="csY277" fmla="*/ 51404 h 135832"/>
                <a:gd name="csX278" fmla="*/ 285477 w 311517"/>
                <a:gd name="csY278" fmla="*/ 51404 h 135832"/>
                <a:gd name="csX279" fmla="*/ 285477 w 311517"/>
                <a:gd name="csY279" fmla="*/ 37485 h 135832"/>
                <a:gd name="csX280" fmla="*/ 285477 w 311517"/>
                <a:gd name="csY280" fmla="*/ 60062 h 135832"/>
                <a:gd name="csX281" fmla="*/ 270554 w 311517"/>
                <a:gd name="csY281" fmla="*/ 60062 h 135832"/>
                <a:gd name="csX282" fmla="*/ 270554 w 311517"/>
                <a:gd name="csY282" fmla="*/ 71430 h 135832"/>
                <a:gd name="csX283" fmla="*/ 285477 w 311517"/>
                <a:gd name="csY283" fmla="*/ 71430 h 135832"/>
                <a:gd name="csX284" fmla="*/ 252010 w 311517"/>
                <a:gd name="csY284" fmla="*/ 71430 h 135832"/>
                <a:gd name="csX285" fmla="*/ 252010 w 311517"/>
                <a:gd name="csY285" fmla="*/ 60062 h 135832"/>
                <a:gd name="csX286" fmla="*/ 237087 w 311517"/>
                <a:gd name="csY286" fmla="*/ 60062 h 135832"/>
                <a:gd name="csX287" fmla="*/ 237087 w 311517"/>
                <a:gd name="csY287" fmla="*/ 71430 h 135832"/>
                <a:gd name="csX288" fmla="*/ 237087 w 311517"/>
                <a:gd name="csY288" fmla="*/ 51404 h 135832"/>
                <a:gd name="csX289" fmla="*/ 252010 w 311517"/>
                <a:gd name="csY289" fmla="*/ 51404 h 135832"/>
                <a:gd name="csX290" fmla="*/ 252010 w 311517"/>
                <a:gd name="csY290" fmla="*/ 37485 h 135832"/>
                <a:gd name="csX291" fmla="*/ 237087 w 311517"/>
                <a:gd name="csY291" fmla="*/ 37485 h 135832"/>
                <a:gd name="csX292" fmla="*/ 270554 w 311517"/>
                <a:gd name="csY292" fmla="*/ 16237 h 135832"/>
                <a:gd name="csX293" fmla="*/ 270554 w 311517"/>
                <a:gd name="csY293" fmla="*/ 35082 h 135832"/>
                <a:gd name="csX294" fmla="*/ 285477 w 311517"/>
                <a:gd name="csY294" fmla="*/ 35082 h 135832"/>
                <a:gd name="csX295" fmla="*/ 285477 w 311517"/>
                <a:gd name="csY295" fmla="*/ 16237 h 135832"/>
                <a:gd name="csX296" fmla="*/ 285477 w 311517"/>
                <a:gd name="csY296" fmla="*/ 95082 h 135832"/>
                <a:gd name="csX297" fmla="*/ 270554 w 311517"/>
                <a:gd name="csY297" fmla="*/ 95082 h 135832"/>
                <a:gd name="csX298" fmla="*/ 270554 w 311517"/>
                <a:gd name="csY298" fmla="*/ 109006 h 135832"/>
                <a:gd name="csX299" fmla="*/ 285477 w 311517"/>
                <a:gd name="csY299" fmla="*/ 109006 h 135832"/>
                <a:gd name="csX300" fmla="*/ 268141 w 311517"/>
                <a:gd name="csY300" fmla="*/ 95082 h 135832"/>
                <a:gd name="csX301" fmla="*/ 254425 w 311517"/>
                <a:gd name="csY301" fmla="*/ 95082 h 135832"/>
                <a:gd name="csX302" fmla="*/ 254425 w 311517"/>
                <a:gd name="csY302" fmla="*/ 109006 h 135832"/>
                <a:gd name="csX303" fmla="*/ 268141 w 311517"/>
                <a:gd name="csY303" fmla="*/ 109006 h 135832"/>
                <a:gd name="csX304" fmla="*/ 252010 w 311517"/>
                <a:gd name="csY304" fmla="*/ 95082 h 135832"/>
                <a:gd name="csX305" fmla="*/ 237087 w 311517"/>
                <a:gd name="csY305" fmla="*/ 95082 h 135832"/>
                <a:gd name="csX306" fmla="*/ 237087 w 311517"/>
                <a:gd name="csY306" fmla="*/ 109006 h 135832"/>
                <a:gd name="csX307" fmla="*/ 252010 w 311517"/>
                <a:gd name="csY307" fmla="*/ 109006 h 135832"/>
                <a:gd name="csX308" fmla="*/ 237087 w 311517"/>
                <a:gd name="csY308" fmla="*/ 2460 h 135832"/>
                <a:gd name="csX309" fmla="*/ 237087 w 311517"/>
                <a:gd name="csY309" fmla="*/ 13833 h 135832"/>
                <a:gd name="csX310" fmla="*/ 252010 w 311517"/>
                <a:gd name="csY310" fmla="*/ 13833 h 135832"/>
                <a:gd name="csX311" fmla="*/ 252010 w 311517"/>
                <a:gd name="csY311" fmla="*/ 2460 h 135832"/>
                <a:gd name="csX312" fmla="*/ 254425 w 311517"/>
                <a:gd name="csY312" fmla="*/ 2460 h 135832"/>
                <a:gd name="csX313" fmla="*/ 254425 w 311517"/>
                <a:gd name="csY313" fmla="*/ 13833 h 135832"/>
                <a:gd name="csX314" fmla="*/ 268141 w 311517"/>
                <a:gd name="csY314" fmla="*/ 13833 h 135832"/>
                <a:gd name="csX315" fmla="*/ 268141 w 311517"/>
                <a:gd name="csY315" fmla="*/ 2460 h 135832"/>
                <a:gd name="csX316" fmla="*/ 285477 w 311517"/>
                <a:gd name="csY316" fmla="*/ 2460 h 135832"/>
                <a:gd name="csX317" fmla="*/ 270554 w 311517"/>
                <a:gd name="csY317" fmla="*/ 2460 h 135832"/>
                <a:gd name="csX318" fmla="*/ 270554 w 311517"/>
                <a:gd name="csY318" fmla="*/ 13833 h 135832"/>
                <a:gd name="csX319" fmla="*/ 285477 w 311517"/>
                <a:gd name="csY319" fmla="*/ 13833 h 135832"/>
                <a:gd name="csX320" fmla="*/ 285477 w 311517"/>
                <a:gd name="csY320" fmla="*/ 2460 h 13583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 ang="0">
                  <a:pos x="csX97" y="csY97"/>
                </a:cxn>
                <a:cxn ang="0">
                  <a:pos x="csX98" y="csY98"/>
                </a:cxn>
                <a:cxn ang="0">
                  <a:pos x="csX99" y="csY99"/>
                </a:cxn>
                <a:cxn ang="0">
                  <a:pos x="csX100" y="csY100"/>
                </a:cxn>
                <a:cxn ang="0">
                  <a:pos x="csX101" y="csY101"/>
                </a:cxn>
                <a:cxn ang="0">
                  <a:pos x="csX102" y="csY102"/>
                </a:cxn>
                <a:cxn ang="0">
                  <a:pos x="csX103" y="csY103"/>
                </a:cxn>
                <a:cxn ang="0">
                  <a:pos x="csX104" y="csY104"/>
                </a:cxn>
                <a:cxn ang="0">
                  <a:pos x="csX105" y="csY105"/>
                </a:cxn>
                <a:cxn ang="0">
                  <a:pos x="csX106" y="csY106"/>
                </a:cxn>
                <a:cxn ang="0">
                  <a:pos x="csX107" y="csY107"/>
                </a:cxn>
                <a:cxn ang="0">
                  <a:pos x="csX108" y="csY108"/>
                </a:cxn>
                <a:cxn ang="0">
                  <a:pos x="csX109" y="csY109"/>
                </a:cxn>
                <a:cxn ang="0">
                  <a:pos x="csX110" y="csY110"/>
                </a:cxn>
                <a:cxn ang="0">
                  <a:pos x="csX111" y="csY111"/>
                </a:cxn>
                <a:cxn ang="0">
                  <a:pos x="csX112" y="csY112"/>
                </a:cxn>
                <a:cxn ang="0">
                  <a:pos x="csX113" y="csY113"/>
                </a:cxn>
                <a:cxn ang="0">
                  <a:pos x="csX114" y="csY114"/>
                </a:cxn>
                <a:cxn ang="0">
                  <a:pos x="csX115" y="csY115"/>
                </a:cxn>
                <a:cxn ang="0">
                  <a:pos x="csX116" y="csY116"/>
                </a:cxn>
                <a:cxn ang="0">
                  <a:pos x="csX117" y="csY117"/>
                </a:cxn>
                <a:cxn ang="0">
                  <a:pos x="csX118" y="csY118"/>
                </a:cxn>
                <a:cxn ang="0">
                  <a:pos x="csX119" y="csY119"/>
                </a:cxn>
                <a:cxn ang="0">
                  <a:pos x="csX120" y="csY120"/>
                </a:cxn>
                <a:cxn ang="0">
                  <a:pos x="csX121" y="csY121"/>
                </a:cxn>
                <a:cxn ang="0">
                  <a:pos x="csX122" y="csY122"/>
                </a:cxn>
                <a:cxn ang="0">
                  <a:pos x="csX123" y="csY123"/>
                </a:cxn>
                <a:cxn ang="0">
                  <a:pos x="csX124" y="csY124"/>
                </a:cxn>
                <a:cxn ang="0">
                  <a:pos x="csX125" y="csY125"/>
                </a:cxn>
                <a:cxn ang="0">
                  <a:pos x="csX126" y="csY126"/>
                </a:cxn>
                <a:cxn ang="0">
                  <a:pos x="csX127" y="csY127"/>
                </a:cxn>
                <a:cxn ang="0">
                  <a:pos x="csX128" y="csY128"/>
                </a:cxn>
                <a:cxn ang="0">
                  <a:pos x="csX129" y="csY129"/>
                </a:cxn>
                <a:cxn ang="0">
                  <a:pos x="csX130" y="csY130"/>
                </a:cxn>
                <a:cxn ang="0">
                  <a:pos x="csX131" y="csY131"/>
                </a:cxn>
                <a:cxn ang="0">
                  <a:pos x="csX132" y="csY132"/>
                </a:cxn>
                <a:cxn ang="0">
                  <a:pos x="csX133" y="csY133"/>
                </a:cxn>
                <a:cxn ang="0">
                  <a:pos x="csX134" y="csY134"/>
                </a:cxn>
                <a:cxn ang="0">
                  <a:pos x="csX135" y="csY135"/>
                </a:cxn>
                <a:cxn ang="0">
                  <a:pos x="csX136" y="csY136"/>
                </a:cxn>
                <a:cxn ang="0">
                  <a:pos x="csX137" y="csY137"/>
                </a:cxn>
                <a:cxn ang="0">
                  <a:pos x="csX138" y="csY138"/>
                </a:cxn>
                <a:cxn ang="0">
                  <a:pos x="csX139" y="csY139"/>
                </a:cxn>
                <a:cxn ang="0">
                  <a:pos x="csX140" y="csY140"/>
                </a:cxn>
                <a:cxn ang="0">
                  <a:pos x="csX141" y="csY141"/>
                </a:cxn>
                <a:cxn ang="0">
                  <a:pos x="csX142" y="csY142"/>
                </a:cxn>
                <a:cxn ang="0">
                  <a:pos x="csX143" y="csY143"/>
                </a:cxn>
                <a:cxn ang="0">
                  <a:pos x="csX144" y="csY144"/>
                </a:cxn>
                <a:cxn ang="0">
                  <a:pos x="csX145" y="csY145"/>
                </a:cxn>
                <a:cxn ang="0">
                  <a:pos x="csX146" y="csY146"/>
                </a:cxn>
                <a:cxn ang="0">
                  <a:pos x="csX147" y="csY147"/>
                </a:cxn>
                <a:cxn ang="0">
                  <a:pos x="csX148" y="csY148"/>
                </a:cxn>
                <a:cxn ang="0">
                  <a:pos x="csX149" y="csY149"/>
                </a:cxn>
                <a:cxn ang="0">
                  <a:pos x="csX150" y="csY150"/>
                </a:cxn>
                <a:cxn ang="0">
                  <a:pos x="csX151" y="csY151"/>
                </a:cxn>
                <a:cxn ang="0">
                  <a:pos x="csX152" y="csY152"/>
                </a:cxn>
                <a:cxn ang="0">
                  <a:pos x="csX153" y="csY153"/>
                </a:cxn>
                <a:cxn ang="0">
                  <a:pos x="csX154" y="csY154"/>
                </a:cxn>
                <a:cxn ang="0">
                  <a:pos x="csX155" y="csY155"/>
                </a:cxn>
                <a:cxn ang="0">
                  <a:pos x="csX156" y="csY156"/>
                </a:cxn>
                <a:cxn ang="0">
                  <a:pos x="csX157" y="csY157"/>
                </a:cxn>
                <a:cxn ang="0">
                  <a:pos x="csX158" y="csY158"/>
                </a:cxn>
                <a:cxn ang="0">
                  <a:pos x="csX159" y="csY159"/>
                </a:cxn>
                <a:cxn ang="0">
                  <a:pos x="csX160" y="csY160"/>
                </a:cxn>
                <a:cxn ang="0">
                  <a:pos x="csX161" y="csY161"/>
                </a:cxn>
                <a:cxn ang="0">
                  <a:pos x="csX162" y="csY162"/>
                </a:cxn>
                <a:cxn ang="0">
                  <a:pos x="csX163" y="csY163"/>
                </a:cxn>
                <a:cxn ang="0">
                  <a:pos x="csX164" y="csY164"/>
                </a:cxn>
                <a:cxn ang="0">
                  <a:pos x="csX165" y="csY165"/>
                </a:cxn>
                <a:cxn ang="0">
                  <a:pos x="csX166" y="csY166"/>
                </a:cxn>
                <a:cxn ang="0">
                  <a:pos x="csX167" y="csY167"/>
                </a:cxn>
                <a:cxn ang="0">
                  <a:pos x="csX168" y="csY168"/>
                </a:cxn>
                <a:cxn ang="0">
                  <a:pos x="csX169" y="csY169"/>
                </a:cxn>
                <a:cxn ang="0">
                  <a:pos x="csX170" y="csY170"/>
                </a:cxn>
                <a:cxn ang="0">
                  <a:pos x="csX171" y="csY171"/>
                </a:cxn>
                <a:cxn ang="0">
                  <a:pos x="csX172" y="csY172"/>
                </a:cxn>
                <a:cxn ang="0">
                  <a:pos x="csX173" y="csY173"/>
                </a:cxn>
                <a:cxn ang="0">
                  <a:pos x="csX174" y="csY174"/>
                </a:cxn>
                <a:cxn ang="0">
                  <a:pos x="csX175" y="csY175"/>
                </a:cxn>
                <a:cxn ang="0">
                  <a:pos x="csX176" y="csY176"/>
                </a:cxn>
                <a:cxn ang="0">
                  <a:pos x="csX177" y="csY177"/>
                </a:cxn>
                <a:cxn ang="0">
                  <a:pos x="csX178" y="csY178"/>
                </a:cxn>
                <a:cxn ang="0">
                  <a:pos x="csX179" y="csY179"/>
                </a:cxn>
                <a:cxn ang="0">
                  <a:pos x="csX180" y="csY180"/>
                </a:cxn>
                <a:cxn ang="0">
                  <a:pos x="csX181" y="csY181"/>
                </a:cxn>
                <a:cxn ang="0">
                  <a:pos x="csX182" y="csY182"/>
                </a:cxn>
                <a:cxn ang="0">
                  <a:pos x="csX183" y="csY183"/>
                </a:cxn>
                <a:cxn ang="0">
                  <a:pos x="csX184" y="csY184"/>
                </a:cxn>
                <a:cxn ang="0">
                  <a:pos x="csX185" y="csY185"/>
                </a:cxn>
                <a:cxn ang="0">
                  <a:pos x="csX186" y="csY186"/>
                </a:cxn>
                <a:cxn ang="0">
                  <a:pos x="csX187" y="csY187"/>
                </a:cxn>
                <a:cxn ang="0">
                  <a:pos x="csX188" y="csY188"/>
                </a:cxn>
                <a:cxn ang="0">
                  <a:pos x="csX189" y="csY189"/>
                </a:cxn>
                <a:cxn ang="0">
                  <a:pos x="csX190" y="csY190"/>
                </a:cxn>
                <a:cxn ang="0">
                  <a:pos x="csX191" y="csY191"/>
                </a:cxn>
                <a:cxn ang="0">
                  <a:pos x="csX192" y="csY192"/>
                </a:cxn>
                <a:cxn ang="0">
                  <a:pos x="csX193" y="csY193"/>
                </a:cxn>
                <a:cxn ang="0">
                  <a:pos x="csX194" y="csY194"/>
                </a:cxn>
                <a:cxn ang="0">
                  <a:pos x="csX195" y="csY195"/>
                </a:cxn>
                <a:cxn ang="0">
                  <a:pos x="csX196" y="csY196"/>
                </a:cxn>
                <a:cxn ang="0">
                  <a:pos x="csX197" y="csY197"/>
                </a:cxn>
                <a:cxn ang="0">
                  <a:pos x="csX198" y="csY198"/>
                </a:cxn>
                <a:cxn ang="0">
                  <a:pos x="csX199" y="csY199"/>
                </a:cxn>
                <a:cxn ang="0">
                  <a:pos x="csX200" y="csY200"/>
                </a:cxn>
                <a:cxn ang="0">
                  <a:pos x="csX201" y="csY201"/>
                </a:cxn>
                <a:cxn ang="0">
                  <a:pos x="csX202" y="csY202"/>
                </a:cxn>
                <a:cxn ang="0">
                  <a:pos x="csX203" y="csY203"/>
                </a:cxn>
                <a:cxn ang="0">
                  <a:pos x="csX204" y="csY204"/>
                </a:cxn>
                <a:cxn ang="0">
                  <a:pos x="csX205" y="csY205"/>
                </a:cxn>
                <a:cxn ang="0">
                  <a:pos x="csX206" y="csY206"/>
                </a:cxn>
                <a:cxn ang="0">
                  <a:pos x="csX207" y="csY207"/>
                </a:cxn>
                <a:cxn ang="0">
                  <a:pos x="csX208" y="csY208"/>
                </a:cxn>
                <a:cxn ang="0">
                  <a:pos x="csX209" y="csY209"/>
                </a:cxn>
                <a:cxn ang="0">
                  <a:pos x="csX210" y="csY210"/>
                </a:cxn>
                <a:cxn ang="0">
                  <a:pos x="csX211" y="csY211"/>
                </a:cxn>
                <a:cxn ang="0">
                  <a:pos x="csX212" y="csY212"/>
                </a:cxn>
                <a:cxn ang="0">
                  <a:pos x="csX213" y="csY213"/>
                </a:cxn>
                <a:cxn ang="0">
                  <a:pos x="csX214" y="csY214"/>
                </a:cxn>
                <a:cxn ang="0">
                  <a:pos x="csX215" y="csY215"/>
                </a:cxn>
                <a:cxn ang="0">
                  <a:pos x="csX216" y="csY216"/>
                </a:cxn>
                <a:cxn ang="0">
                  <a:pos x="csX217" y="csY217"/>
                </a:cxn>
                <a:cxn ang="0">
                  <a:pos x="csX218" y="csY218"/>
                </a:cxn>
                <a:cxn ang="0">
                  <a:pos x="csX219" y="csY219"/>
                </a:cxn>
                <a:cxn ang="0">
                  <a:pos x="csX220" y="csY220"/>
                </a:cxn>
                <a:cxn ang="0">
                  <a:pos x="csX221" y="csY221"/>
                </a:cxn>
                <a:cxn ang="0">
                  <a:pos x="csX222" y="csY222"/>
                </a:cxn>
                <a:cxn ang="0">
                  <a:pos x="csX223" y="csY223"/>
                </a:cxn>
                <a:cxn ang="0">
                  <a:pos x="csX224" y="csY224"/>
                </a:cxn>
                <a:cxn ang="0">
                  <a:pos x="csX225" y="csY225"/>
                </a:cxn>
                <a:cxn ang="0">
                  <a:pos x="csX226" y="csY226"/>
                </a:cxn>
                <a:cxn ang="0">
                  <a:pos x="csX227" y="csY227"/>
                </a:cxn>
                <a:cxn ang="0">
                  <a:pos x="csX228" y="csY228"/>
                </a:cxn>
                <a:cxn ang="0">
                  <a:pos x="csX229" y="csY229"/>
                </a:cxn>
                <a:cxn ang="0">
                  <a:pos x="csX230" y="csY230"/>
                </a:cxn>
                <a:cxn ang="0">
                  <a:pos x="csX231" y="csY231"/>
                </a:cxn>
                <a:cxn ang="0">
                  <a:pos x="csX232" y="csY232"/>
                </a:cxn>
                <a:cxn ang="0">
                  <a:pos x="csX233" y="csY233"/>
                </a:cxn>
                <a:cxn ang="0">
                  <a:pos x="csX234" y="csY234"/>
                </a:cxn>
                <a:cxn ang="0">
                  <a:pos x="csX235" y="csY235"/>
                </a:cxn>
                <a:cxn ang="0">
                  <a:pos x="csX236" y="csY236"/>
                </a:cxn>
                <a:cxn ang="0">
                  <a:pos x="csX237" y="csY237"/>
                </a:cxn>
                <a:cxn ang="0">
                  <a:pos x="csX238" y="csY238"/>
                </a:cxn>
                <a:cxn ang="0">
                  <a:pos x="csX239" y="csY239"/>
                </a:cxn>
                <a:cxn ang="0">
                  <a:pos x="csX240" y="csY240"/>
                </a:cxn>
                <a:cxn ang="0">
                  <a:pos x="csX241" y="csY241"/>
                </a:cxn>
                <a:cxn ang="0">
                  <a:pos x="csX242" y="csY242"/>
                </a:cxn>
                <a:cxn ang="0">
                  <a:pos x="csX243" y="csY243"/>
                </a:cxn>
                <a:cxn ang="0">
                  <a:pos x="csX244" y="csY244"/>
                </a:cxn>
                <a:cxn ang="0">
                  <a:pos x="csX245" y="csY245"/>
                </a:cxn>
                <a:cxn ang="0">
                  <a:pos x="csX246" y="csY246"/>
                </a:cxn>
                <a:cxn ang="0">
                  <a:pos x="csX247" y="csY247"/>
                </a:cxn>
                <a:cxn ang="0">
                  <a:pos x="csX248" y="csY248"/>
                </a:cxn>
                <a:cxn ang="0">
                  <a:pos x="csX249" y="csY249"/>
                </a:cxn>
                <a:cxn ang="0">
                  <a:pos x="csX250" y="csY250"/>
                </a:cxn>
                <a:cxn ang="0">
                  <a:pos x="csX251" y="csY251"/>
                </a:cxn>
                <a:cxn ang="0">
                  <a:pos x="csX252" y="csY252"/>
                </a:cxn>
                <a:cxn ang="0">
                  <a:pos x="csX253" y="csY253"/>
                </a:cxn>
                <a:cxn ang="0">
                  <a:pos x="csX254" y="csY254"/>
                </a:cxn>
                <a:cxn ang="0">
                  <a:pos x="csX255" y="csY255"/>
                </a:cxn>
                <a:cxn ang="0">
                  <a:pos x="csX256" y="csY256"/>
                </a:cxn>
                <a:cxn ang="0">
                  <a:pos x="csX257" y="csY257"/>
                </a:cxn>
                <a:cxn ang="0">
                  <a:pos x="csX258" y="csY258"/>
                </a:cxn>
                <a:cxn ang="0">
                  <a:pos x="csX259" y="csY259"/>
                </a:cxn>
                <a:cxn ang="0">
                  <a:pos x="csX260" y="csY260"/>
                </a:cxn>
                <a:cxn ang="0">
                  <a:pos x="csX261" y="csY261"/>
                </a:cxn>
                <a:cxn ang="0">
                  <a:pos x="csX262" y="csY262"/>
                </a:cxn>
                <a:cxn ang="0">
                  <a:pos x="csX263" y="csY263"/>
                </a:cxn>
                <a:cxn ang="0">
                  <a:pos x="csX264" y="csY264"/>
                </a:cxn>
                <a:cxn ang="0">
                  <a:pos x="csX265" y="csY265"/>
                </a:cxn>
                <a:cxn ang="0">
                  <a:pos x="csX266" y="csY266"/>
                </a:cxn>
                <a:cxn ang="0">
                  <a:pos x="csX267" y="csY267"/>
                </a:cxn>
                <a:cxn ang="0">
                  <a:pos x="csX268" y="csY268"/>
                </a:cxn>
                <a:cxn ang="0">
                  <a:pos x="csX269" y="csY269"/>
                </a:cxn>
                <a:cxn ang="0">
                  <a:pos x="csX270" y="csY270"/>
                </a:cxn>
                <a:cxn ang="0">
                  <a:pos x="csX271" y="csY271"/>
                </a:cxn>
                <a:cxn ang="0">
                  <a:pos x="csX272" y="csY272"/>
                </a:cxn>
                <a:cxn ang="0">
                  <a:pos x="csX273" y="csY273"/>
                </a:cxn>
                <a:cxn ang="0">
                  <a:pos x="csX274" y="csY274"/>
                </a:cxn>
                <a:cxn ang="0">
                  <a:pos x="csX275" y="csY275"/>
                </a:cxn>
                <a:cxn ang="0">
                  <a:pos x="csX276" y="csY276"/>
                </a:cxn>
                <a:cxn ang="0">
                  <a:pos x="csX277" y="csY277"/>
                </a:cxn>
                <a:cxn ang="0">
                  <a:pos x="csX278" y="csY278"/>
                </a:cxn>
                <a:cxn ang="0">
                  <a:pos x="csX279" y="csY279"/>
                </a:cxn>
                <a:cxn ang="0">
                  <a:pos x="csX280" y="csY280"/>
                </a:cxn>
                <a:cxn ang="0">
                  <a:pos x="csX281" y="csY281"/>
                </a:cxn>
                <a:cxn ang="0">
                  <a:pos x="csX282" y="csY282"/>
                </a:cxn>
                <a:cxn ang="0">
                  <a:pos x="csX283" y="csY283"/>
                </a:cxn>
                <a:cxn ang="0">
                  <a:pos x="csX284" y="csY284"/>
                </a:cxn>
                <a:cxn ang="0">
                  <a:pos x="csX285" y="csY285"/>
                </a:cxn>
                <a:cxn ang="0">
                  <a:pos x="csX286" y="csY286"/>
                </a:cxn>
                <a:cxn ang="0">
                  <a:pos x="csX287" y="csY287"/>
                </a:cxn>
                <a:cxn ang="0">
                  <a:pos x="csX288" y="csY288"/>
                </a:cxn>
                <a:cxn ang="0">
                  <a:pos x="csX289" y="csY289"/>
                </a:cxn>
                <a:cxn ang="0">
                  <a:pos x="csX290" y="csY290"/>
                </a:cxn>
                <a:cxn ang="0">
                  <a:pos x="csX291" y="csY291"/>
                </a:cxn>
                <a:cxn ang="0">
                  <a:pos x="csX292" y="csY292"/>
                </a:cxn>
                <a:cxn ang="0">
                  <a:pos x="csX293" y="csY293"/>
                </a:cxn>
                <a:cxn ang="0">
                  <a:pos x="csX294" y="csY294"/>
                </a:cxn>
                <a:cxn ang="0">
                  <a:pos x="csX295" y="csY295"/>
                </a:cxn>
                <a:cxn ang="0">
                  <a:pos x="csX296" y="csY296"/>
                </a:cxn>
                <a:cxn ang="0">
                  <a:pos x="csX297" y="csY297"/>
                </a:cxn>
                <a:cxn ang="0">
                  <a:pos x="csX298" y="csY298"/>
                </a:cxn>
                <a:cxn ang="0">
                  <a:pos x="csX299" y="csY299"/>
                </a:cxn>
                <a:cxn ang="0">
                  <a:pos x="csX300" y="csY300"/>
                </a:cxn>
                <a:cxn ang="0">
                  <a:pos x="csX301" y="csY301"/>
                </a:cxn>
                <a:cxn ang="0">
                  <a:pos x="csX302" y="csY302"/>
                </a:cxn>
                <a:cxn ang="0">
                  <a:pos x="csX303" y="csY303"/>
                </a:cxn>
                <a:cxn ang="0">
                  <a:pos x="csX304" y="csY304"/>
                </a:cxn>
                <a:cxn ang="0">
                  <a:pos x="csX305" y="csY305"/>
                </a:cxn>
                <a:cxn ang="0">
                  <a:pos x="csX306" y="csY306"/>
                </a:cxn>
                <a:cxn ang="0">
                  <a:pos x="csX307" y="csY307"/>
                </a:cxn>
                <a:cxn ang="0">
                  <a:pos x="csX308" y="csY308"/>
                </a:cxn>
                <a:cxn ang="0">
                  <a:pos x="csX309" y="csY309"/>
                </a:cxn>
                <a:cxn ang="0">
                  <a:pos x="csX310" y="csY310"/>
                </a:cxn>
                <a:cxn ang="0">
                  <a:pos x="csX311" y="csY311"/>
                </a:cxn>
                <a:cxn ang="0">
                  <a:pos x="csX312" y="csY312"/>
                </a:cxn>
                <a:cxn ang="0">
                  <a:pos x="csX313" y="csY313"/>
                </a:cxn>
                <a:cxn ang="0">
                  <a:pos x="csX314" y="csY314"/>
                </a:cxn>
                <a:cxn ang="0">
                  <a:pos x="csX315" y="csY315"/>
                </a:cxn>
                <a:cxn ang="0">
                  <a:pos x="csX316" y="csY316"/>
                </a:cxn>
                <a:cxn ang="0">
                  <a:pos x="csX317" y="csY317"/>
                </a:cxn>
                <a:cxn ang="0">
                  <a:pos x="csX318" y="csY318"/>
                </a:cxn>
                <a:cxn ang="0">
                  <a:pos x="csX319" y="csY319"/>
                </a:cxn>
                <a:cxn ang="0">
                  <a:pos x="csX320" y="csY320"/>
                </a:cxn>
              </a:cxnLst>
              <a:rect l="l" t="t" r="r" b="b"/>
              <a:pathLst>
                <a:path w="311517" h="135832">
                  <a:moveTo>
                    <a:pt x="296231" y="-8694"/>
                  </a:moveTo>
                  <a:lnTo>
                    <a:pt x="296231" y="118947"/>
                  </a:lnTo>
                  <a:lnTo>
                    <a:pt x="302595" y="118947"/>
                  </a:lnTo>
                  <a:lnTo>
                    <a:pt x="302595" y="127139"/>
                  </a:lnTo>
                  <a:lnTo>
                    <a:pt x="-8923" y="127139"/>
                  </a:lnTo>
                  <a:lnTo>
                    <a:pt x="-8923" y="118947"/>
                  </a:lnTo>
                  <a:lnTo>
                    <a:pt x="-2559" y="118947"/>
                  </a:lnTo>
                  <a:lnTo>
                    <a:pt x="-2559" y="-8694"/>
                  </a:lnTo>
                  <a:close/>
                  <a:moveTo>
                    <a:pt x="8524" y="35082"/>
                  </a:moveTo>
                  <a:lnTo>
                    <a:pt x="23447" y="35082"/>
                  </a:lnTo>
                  <a:lnTo>
                    <a:pt x="23447" y="16237"/>
                  </a:lnTo>
                  <a:lnTo>
                    <a:pt x="8524" y="16237"/>
                  </a:lnTo>
                  <a:close/>
                  <a:moveTo>
                    <a:pt x="8524" y="92678"/>
                  </a:moveTo>
                  <a:lnTo>
                    <a:pt x="23447" y="92678"/>
                  </a:lnTo>
                  <a:lnTo>
                    <a:pt x="23447" y="73838"/>
                  </a:lnTo>
                  <a:lnTo>
                    <a:pt x="8524" y="73838"/>
                  </a:lnTo>
                  <a:close/>
                  <a:moveTo>
                    <a:pt x="56914" y="73838"/>
                  </a:moveTo>
                  <a:lnTo>
                    <a:pt x="41991" y="73838"/>
                  </a:lnTo>
                  <a:lnTo>
                    <a:pt x="41991" y="92678"/>
                  </a:lnTo>
                  <a:lnTo>
                    <a:pt x="56914" y="92678"/>
                  </a:lnTo>
                  <a:close/>
                  <a:moveTo>
                    <a:pt x="25861" y="37485"/>
                  </a:moveTo>
                  <a:lnTo>
                    <a:pt x="25861" y="51404"/>
                  </a:lnTo>
                  <a:lnTo>
                    <a:pt x="39577" y="51404"/>
                  </a:lnTo>
                  <a:lnTo>
                    <a:pt x="39577" y="37485"/>
                  </a:lnTo>
                  <a:close/>
                  <a:moveTo>
                    <a:pt x="25861" y="71430"/>
                  </a:moveTo>
                  <a:lnTo>
                    <a:pt x="39577" y="71430"/>
                  </a:lnTo>
                  <a:lnTo>
                    <a:pt x="39577" y="60062"/>
                  </a:lnTo>
                  <a:lnTo>
                    <a:pt x="25861" y="60062"/>
                  </a:lnTo>
                  <a:close/>
                  <a:moveTo>
                    <a:pt x="39577" y="73838"/>
                  </a:moveTo>
                  <a:lnTo>
                    <a:pt x="25861" y="73838"/>
                  </a:lnTo>
                  <a:lnTo>
                    <a:pt x="25861" y="92678"/>
                  </a:lnTo>
                  <a:lnTo>
                    <a:pt x="39577" y="92678"/>
                  </a:lnTo>
                  <a:close/>
                  <a:moveTo>
                    <a:pt x="25861" y="35082"/>
                  </a:moveTo>
                  <a:lnTo>
                    <a:pt x="39577" y="35082"/>
                  </a:lnTo>
                  <a:lnTo>
                    <a:pt x="39577" y="16237"/>
                  </a:lnTo>
                  <a:lnTo>
                    <a:pt x="25861" y="16237"/>
                  </a:lnTo>
                  <a:close/>
                  <a:moveTo>
                    <a:pt x="41991" y="37485"/>
                  </a:moveTo>
                  <a:lnTo>
                    <a:pt x="41991" y="51404"/>
                  </a:lnTo>
                  <a:lnTo>
                    <a:pt x="56914" y="51404"/>
                  </a:lnTo>
                  <a:lnTo>
                    <a:pt x="56914" y="37485"/>
                  </a:lnTo>
                  <a:close/>
                  <a:moveTo>
                    <a:pt x="56914" y="60062"/>
                  </a:moveTo>
                  <a:lnTo>
                    <a:pt x="41991" y="60062"/>
                  </a:lnTo>
                  <a:lnTo>
                    <a:pt x="41991" y="71430"/>
                  </a:lnTo>
                  <a:lnTo>
                    <a:pt x="56914" y="71430"/>
                  </a:lnTo>
                  <a:close/>
                  <a:moveTo>
                    <a:pt x="23447" y="71430"/>
                  </a:moveTo>
                  <a:lnTo>
                    <a:pt x="23447" y="60062"/>
                  </a:lnTo>
                  <a:lnTo>
                    <a:pt x="8524" y="60062"/>
                  </a:lnTo>
                  <a:lnTo>
                    <a:pt x="8524" y="71430"/>
                  </a:lnTo>
                  <a:close/>
                  <a:moveTo>
                    <a:pt x="8524" y="51404"/>
                  </a:moveTo>
                  <a:lnTo>
                    <a:pt x="23447" y="51404"/>
                  </a:lnTo>
                  <a:lnTo>
                    <a:pt x="23447" y="37485"/>
                  </a:lnTo>
                  <a:lnTo>
                    <a:pt x="8524" y="37485"/>
                  </a:lnTo>
                  <a:close/>
                  <a:moveTo>
                    <a:pt x="41991" y="16237"/>
                  </a:moveTo>
                  <a:lnTo>
                    <a:pt x="41991" y="35082"/>
                  </a:lnTo>
                  <a:lnTo>
                    <a:pt x="56914" y="35082"/>
                  </a:lnTo>
                  <a:lnTo>
                    <a:pt x="56914" y="16237"/>
                  </a:lnTo>
                  <a:close/>
                  <a:moveTo>
                    <a:pt x="56914" y="95082"/>
                  </a:moveTo>
                  <a:lnTo>
                    <a:pt x="41991" y="95082"/>
                  </a:lnTo>
                  <a:lnTo>
                    <a:pt x="41991" y="109006"/>
                  </a:lnTo>
                  <a:lnTo>
                    <a:pt x="56914" y="109006"/>
                  </a:lnTo>
                  <a:close/>
                  <a:moveTo>
                    <a:pt x="39577" y="95082"/>
                  </a:moveTo>
                  <a:lnTo>
                    <a:pt x="25861" y="95082"/>
                  </a:lnTo>
                  <a:lnTo>
                    <a:pt x="25861" y="109006"/>
                  </a:lnTo>
                  <a:lnTo>
                    <a:pt x="39577" y="109006"/>
                  </a:lnTo>
                  <a:close/>
                  <a:moveTo>
                    <a:pt x="23447" y="95082"/>
                  </a:moveTo>
                  <a:lnTo>
                    <a:pt x="8524" y="95082"/>
                  </a:lnTo>
                  <a:lnTo>
                    <a:pt x="8524" y="109006"/>
                  </a:lnTo>
                  <a:lnTo>
                    <a:pt x="23447" y="109006"/>
                  </a:lnTo>
                  <a:close/>
                  <a:moveTo>
                    <a:pt x="8524" y="2460"/>
                  </a:moveTo>
                  <a:lnTo>
                    <a:pt x="8524" y="13833"/>
                  </a:lnTo>
                  <a:lnTo>
                    <a:pt x="23447" y="13833"/>
                  </a:lnTo>
                  <a:lnTo>
                    <a:pt x="23447" y="2460"/>
                  </a:lnTo>
                  <a:close/>
                  <a:moveTo>
                    <a:pt x="25861" y="2460"/>
                  </a:moveTo>
                  <a:lnTo>
                    <a:pt x="25861" y="13833"/>
                  </a:lnTo>
                  <a:lnTo>
                    <a:pt x="39577" y="13833"/>
                  </a:lnTo>
                  <a:lnTo>
                    <a:pt x="39577" y="2460"/>
                  </a:lnTo>
                  <a:close/>
                  <a:moveTo>
                    <a:pt x="56914" y="2460"/>
                  </a:moveTo>
                  <a:lnTo>
                    <a:pt x="41991" y="2460"/>
                  </a:lnTo>
                  <a:lnTo>
                    <a:pt x="41991" y="13833"/>
                  </a:lnTo>
                  <a:lnTo>
                    <a:pt x="56914" y="13833"/>
                  </a:lnTo>
                  <a:close/>
                  <a:moveTo>
                    <a:pt x="68765" y="34330"/>
                  </a:moveTo>
                  <a:lnTo>
                    <a:pt x="89942" y="34330"/>
                  </a:lnTo>
                  <a:lnTo>
                    <a:pt x="89942" y="20340"/>
                  </a:lnTo>
                  <a:lnTo>
                    <a:pt x="68765" y="20340"/>
                  </a:lnTo>
                  <a:close/>
                  <a:moveTo>
                    <a:pt x="68765" y="91927"/>
                  </a:moveTo>
                  <a:lnTo>
                    <a:pt x="89942" y="91927"/>
                  </a:lnTo>
                  <a:lnTo>
                    <a:pt x="89942" y="77942"/>
                  </a:lnTo>
                  <a:lnTo>
                    <a:pt x="68765" y="77942"/>
                  </a:lnTo>
                  <a:close/>
                  <a:moveTo>
                    <a:pt x="225237" y="77942"/>
                  </a:moveTo>
                  <a:lnTo>
                    <a:pt x="204114" y="77942"/>
                  </a:lnTo>
                  <a:lnTo>
                    <a:pt x="204114" y="91927"/>
                  </a:lnTo>
                  <a:lnTo>
                    <a:pt x="225237" y="91927"/>
                  </a:lnTo>
                  <a:close/>
                  <a:moveTo>
                    <a:pt x="92301" y="75533"/>
                  </a:moveTo>
                  <a:lnTo>
                    <a:pt x="112272" y="75533"/>
                  </a:lnTo>
                  <a:lnTo>
                    <a:pt x="112272" y="60062"/>
                  </a:lnTo>
                  <a:lnTo>
                    <a:pt x="92301" y="60062"/>
                  </a:lnTo>
                  <a:close/>
                  <a:moveTo>
                    <a:pt x="179315" y="60062"/>
                  </a:moveTo>
                  <a:lnTo>
                    <a:pt x="159400" y="60062"/>
                  </a:lnTo>
                  <a:lnTo>
                    <a:pt x="159400" y="75533"/>
                  </a:lnTo>
                  <a:lnTo>
                    <a:pt x="179315" y="75533"/>
                  </a:lnTo>
                  <a:close/>
                  <a:moveTo>
                    <a:pt x="156986" y="60062"/>
                  </a:moveTo>
                  <a:lnTo>
                    <a:pt x="137016" y="60062"/>
                  </a:lnTo>
                  <a:lnTo>
                    <a:pt x="137016" y="75533"/>
                  </a:lnTo>
                  <a:lnTo>
                    <a:pt x="156986" y="75533"/>
                  </a:lnTo>
                  <a:close/>
                  <a:moveTo>
                    <a:pt x="134601" y="60062"/>
                  </a:moveTo>
                  <a:lnTo>
                    <a:pt x="114686" y="60062"/>
                  </a:lnTo>
                  <a:lnTo>
                    <a:pt x="114686" y="75533"/>
                  </a:lnTo>
                  <a:lnTo>
                    <a:pt x="134601" y="75533"/>
                  </a:lnTo>
                  <a:close/>
                  <a:moveTo>
                    <a:pt x="114686" y="51404"/>
                  </a:moveTo>
                  <a:lnTo>
                    <a:pt x="134601" y="51404"/>
                  </a:lnTo>
                  <a:lnTo>
                    <a:pt x="134601" y="36733"/>
                  </a:lnTo>
                  <a:lnTo>
                    <a:pt x="114686" y="36733"/>
                  </a:lnTo>
                  <a:close/>
                  <a:moveTo>
                    <a:pt x="137016" y="51404"/>
                  </a:moveTo>
                  <a:lnTo>
                    <a:pt x="156986" y="51404"/>
                  </a:lnTo>
                  <a:lnTo>
                    <a:pt x="156986" y="36733"/>
                  </a:lnTo>
                  <a:lnTo>
                    <a:pt x="137016" y="36733"/>
                  </a:lnTo>
                  <a:close/>
                  <a:moveTo>
                    <a:pt x="159400" y="51404"/>
                  </a:moveTo>
                  <a:lnTo>
                    <a:pt x="179315" y="51404"/>
                  </a:lnTo>
                  <a:lnTo>
                    <a:pt x="179315" y="36733"/>
                  </a:lnTo>
                  <a:lnTo>
                    <a:pt x="159400" y="36733"/>
                  </a:lnTo>
                  <a:close/>
                  <a:moveTo>
                    <a:pt x="181730" y="75533"/>
                  </a:moveTo>
                  <a:lnTo>
                    <a:pt x="201700" y="75533"/>
                  </a:lnTo>
                  <a:lnTo>
                    <a:pt x="201700" y="60062"/>
                  </a:lnTo>
                  <a:lnTo>
                    <a:pt x="181730" y="60062"/>
                  </a:lnTo>
                  <a:close/>
                  <a:moveTo>
                    <a:pt x="112272" y="51404"/>
                  </a:moveTo>
                  <a:lnTo>
                    <a:pt x="112272" y="36733"/>
                  </a:lnTo>
                  <a:lnTo>
                    <a:pt x="92301" y="36733"/>
                  </a:lnTo>
                  <a:lnTo>
                    <a:pt x="92301" y="51404"/>
                  </a:lnTo>
                  <a:close/>
                  <a:moveTo>
                    <a:pt x="181730" y="36733"/>
                  </a:moveTo>
                  <a:lnTo>
                    <a:pt x="181730" y="51404"/>
                  </a:lnTo>
                  <a:lnTo>
                    <a:pt x="201700" y="51404"/>
                  </a:lnTo>
                  <a:lnTo>
                    <a:pt x="201700" y="36733"/>
                  </a:lnTo>
                  <a:close/>
                  <a:moveTo>
                    <a:pt x="201700" y="77942"/>
                  </a:moveTo>
                  <a:lnTo>
                    <a:pt x="181730" y="77942"/>
                  </a:lnTo>
                  <a:lnTo>
                    <a:pt x="181730" y="91927"/>
                  </a:lnTo>
                  <a:lnTo>
                    <a:pt x="201700" y="91927"/>
                  </a:lnTo>
                  <a:close/>
                  <a:moveTo>
                    <a:pt x="179315" y="77942"/>
                  </a:moveTo>
                  <a:lnTo>
                    <a:pt x="159400" y="77942"/>
                  </a:lnTo>
                  <a:lnTo>
                    <a:pt x="159400" y="91927"/>
                  </a:lnTo>
                  <a:lnTo>
                    <a:pt x="179315" y="91927"/>
                  </a:lnTo>
                  <a:close/>
                  <a:moveTo>
                    <a:pt x="156986" y="77942"/>
                  </a:moveTo>
                  <a:lnTo>
                    <a:pt x="137016" y="77942"/>
                  </a:lnTo>
                  <a:lnTo>
                    <a:pt x="137016" y="91927"/>
                  </a:lnTo>
                  <a:lnTo>
                    <a:pt x="156986" y="91927"/>
                  </a:lnTo>
                  <a:close/>
                  <a:moveTo>
                    <a:pt x="134601" y="77942"/>
                  </a:moveTo>
                  <a:lnTo>
                    <a:pt x="114686" y="77942"/>
                  </a:lnTo>
                  <a:lnTo>
                    <a:pt x="114686" y="91927"/>
                  </a:lnTo>
                  <a:lnTo>
                    <a:pt x="134601" y="91927"/>
                  </a:lnTo>
                  <a:close/>
                  <a:moveTo>
                    <a:pt x="112272" y="77942"/>
                  </a:moveTo>
                  <a:lnTo>
                    <a:pt x="92301" y="77942"/>
                  </a:lnTo>
                  <a:lnTo>
                    <a:pt x="92301" y="91927"/>
                  </a:lnTo>
                  <a:lnTo>
                    <a:pt x="112272" y="91927"/>
                  </a:lnTo>
                  <a:close/>
                  <a:moveTo>
                    <a:pt x="92301" y="34330"/>
                  </a:moveTo>
                  <a:lnTo>
                    <a:pt x="112272" y="34330"/>
                  </a:lnTo>
                  <a:lnTo>
                    <a:pt x="112272" y="20340"/>
                  </a:lnTo>
                  <a:lnTo>
                    <a:pt x="92301" y="20340"/>
                  </a:lnTo>
                  <a:close/>
                  <a:moveTo>
                    <a:pt x="114686" y="34330"/>
                  </a:moveTo>
                  <a:lnTo>
                    <a:pt x="134601" y="34330"/>
                  </a:lnTo>
                  <a:lnTo>
                    <a:pt x="134601" y="20340"/>
                  </a:lnTo>
                  <a:lnTo>
                    <a:pt x="114686" y="20340"/>
                  </a:lnTo>
                  <a:close/>
                  <a:moveTo>
                    <a:pt x="137016" y="34330"/>
                  </a:moveTo>
                  <a:lnTo>
                    <a:pt x="156986" y="34330"/>
                  </a:lnTo>
                  <a:lnTo>
                    <a:pt x="156986" y="20340"/>
                  </a:lnTo>
                  <a:lnTo>
                    <a:pt x="137016" y="20340"/>
                  </a:lnTo>
                  <a:close/>
                  <a:moveTo>
                    <a:pt x="159400" y="34330"/>
                  </a:moveTo>
                  <a:lnTo>
                    <a:pt x="179315" y="34330"/>
                  </a:lnTo>
                  <a:lnTo>
                    <a:pt x="179315" y="20340"/>
                  </a:lnTo>
                  <a:lnTo>
                    <a:pt x="159400" y="20340"/>
                  </a:lnTo>
                  <a:close/>
                  <a:moveTo>
                    <a:pt x="181730" y="34330"/>
                  </a:moveTo>
                  <a:lnTo>
                    <a:pt x="201700" y="34330"/>
                  </a:lnTo>
                  <a:lnTo>
                    <a:pt x="201700" y="20340"/>
                  </a:lnTo>
                  <a:lnTo>
                    <a:pt x="181730" y="20340"/>
                  </a:lnTo>
                  <a:close/>
                  <a:moveTo>
                    <a:pt x="204114" y="36733"/>
                  </a:moveTo>
                  <a:lnTo>
                    <a:pt x="204114" y="51404"/>
                  </a:lnTo>
                  <a:lnTo>
                    <a:pt x="225237" y="51404"/>
                  </a:lnTo>
                  <a:lnTo>
                    <a:pt x="225237" y="36733"/>
                  </a:lnTo>
                  <a:close/>
                  <a:moveTo>
                    <a:pt x="225237" y="60062"/>
                  </a:moveTo>
                  <a:lnTo>
                    <a:pt x="204114" y="60062"/>
                  </a:lnTo>
                  <a:lnTo>
                    <a:pt x="204114" y="75533"/>
                  </a:lnTo>
                  <a:lnTo>
                    <a:pt x="225237" y="75533"/>
                  </a:lnTo>
                  <a:close/>
                  <a:moveTo>
                    <a:pt x="89942" y="75533"/>
                  </a:moveTo>
                  <a:lnTo>
                    <a:pt x="89942" y="60062"/>
                  </a:lnTo>
                  <a:lnTo>
                    <a:pt x="68765" y="60062"/>
                  </a:lnTo>
                  <a:lnTo>
                    <a:pt x="68765" y="75533"/>
                  </a:lnTo>
                  <a:close/>
                  <a:moveTo>
                    <a:pt x="68765" y="51404"/>
                  </a:moveTo>
                  <a:lnTo>
                    <a:pt x="89942" y="51404"/>
                  </a:lnTo>
                  <a:lnTo>
                    <a:pt x="89942" y="36733"/>
                  </a:lnTo>
                  <a:lnTo>
                    <a:pt x="68765" y="36733"/>
                  </a:lnTo>
                  <a:close/>
                  <a:moveTo>
                    <a:pt x="204114" y="20340"/>
                  </a:moveTo>
                  <a:lnTo>
                    <a:pt x="204114" y="34330"/>
                  </a:lnTo>
                  <a:lnTo>
                    <a:pt x="225237" y="34330"/>
                  </a:lnTo>
                  <a:lnTo>
                    <a:pt x="225237" y="20340"/>
                  </a:lnTo>
                  <a:close/>
                  <a:moveTo>
                    <a:pt x="225237" y="94330"/>
                  </a:moveTo>
                  <a:lnTo>
                    <a:pt x="204114" y="94330"/>
                  </a:lnTo>
                  <a:lnTo>
                    <a:pt x="204114" y="109006"/>
                  </a:lnTo>
                  <a:lnTo>
                    <a:pt x="225237" y="109006"/>
                  </a:lnTo>
                  <a:close/>
                  <a:moveTo>
                    <a:pt x="201700" y="94330"/>
                  </a:moveTo>
                  <a:lnTo>
                    <a:pt x="181730" y="94330"/>
                  </a:lnTo>
                  <a:lnTo>
                    <a:pt x="181730" y="109006"/>
                  </a:lnTo>
                  <a:lnTo>
                    <a:pt x="201700" y="109006"/>
                  </a:lnTo>
                  <a:close/>
                  <a:moveTo>
                    <a:pt x="179315" y="94330"/>
                  </a:moveTo>
                  <a:lnTo>
                    <a:pt x="159400" y="94330"/>
                  </a:lnTo>
                  <a:lnTo>
                    <a:pt x="159400" y="109006"/>
                  </a:lnTo>
                  <a:lnTo>
                    <a:pt x="179315" y="109006"/>
                  </a:lnTo>
                  <a:close/>
                  <a:moveTo>
                    <a:pt x="156986" y="94330"/>
                  </a:moveTo>
                  <a:lnTo>
                    <a:pt x="137016" y="94330"/>
                  </a:lnTo>
                  <a:lnTo>
                    <a:pt x="137016" y="109006"/>
                  </a:lnTo>
                  <a:lnTo>
                    <a:pt x="156986" y="109006"/>
                  </a:lnTo>
                  <a:close/>
                  <a:moveTo>
                    <a:pt x="134601" y="94330"/>
                  </a:moveTo>
                  <a:lnTo>
                    <a:pt x="114686" y="94330"/>
                  </a:lnTo>
                  <a:lnTo>
                    <a:pt x="114686" y="109006"/>
                  </a:lnTo>
                  <a:lnTo>
                    <a:pt x="134601" y="109006"/>
                  </a:lnTo>
                  <a:close/>
                  <a:moveTo>
                    <a:pt x="112272" y="94330"/>
                  </a:moveTo>
                  <a:lnTo>
                    <a:pt x="92301" y="94330"/>
                  </a:lnTo>
                  <a:lnTo>
                    <a:pt x="92301" y="109006"/>
                  </a:lnTo>
                  <a:lnTo>
                    <a:pt x="112272" y="109006"/>
                  </a:lnTo>
                  <a:close/>
                  <a:moveTo>
                    <a:pt x="89942" y="94330"/>
                  </a:moveTo>
                  <a:lnTo>
                    <a:pt x="68765" y="94330"/>
                  </a:lnTo>
                  <a:lnTo>
                    <a:pt x="68765" y="109006"/>
                  </a:lnTo>
                  <a:lnTo>
                    <a:pt x="89942" y="109006"/>
                  </a:lnTo>
                  <a:close/>
                  <a:moveTo>
                    <a:pt x="68765" y="2460"/>
                  </a:moveTo>
                  <a:lnTo>
                    <a:pt x="68765" y="17937"/>
                  </a:lnTo>
                  <a:lnTo>
                    <a:pt x="89942" y="17937"/>
                  </a:lnTo>
                  <a:lnTo>
                    <a:pt x="89942" y="2460"/>
                  </a:lnTo>
                  <a:close/>
                  <a:moveTo>
                    <a:pt x="92301" y="2460"/>
                  </a:moveTo>
                  <a:lnTo>
                    <a:pt x="92301" y="17937"/>
                  </a:lnTo>
                  <a:lnTo>
                    <a:pt x="112272" y="17937"/>
                  </a:lnTo>
                  <a:lnTo>
                    <a:pt x="112272" y="2460"/>
                  </a:lnTo>
                  <a:close/>
                  <a:moveTo>
                    <a:pt x="114686" y="2460"/>
                  </a:moveTo>
                  <a:lnTo>
                    <a:pt x="114686" y="17937"/>
                  </a:lnTo>
                  <a:lnTo>
                    <a:pt x="134601" y="17937"/>
                  </a:lnTo>
                  <a:lnTo>
                    <a:pt x="134601" y="2460"/>
                  </a:lnTo>
                  <a:close/>
                  <a:moveTo>
                    <a:pt x="137016" y="2460"/>
                  </a:moveTo>
                  <a:lnTo>
                    <a:pt x="137016" y="17937"/>
                  </a:lnTo>
                  <a:lnTo>
                    <a:pt x="156986" y="17937"/>
                  </a:lnTo>
                  <a:lnTo>
                    <a:pt x="156986" y="2460"/>
                  </a:lnTo>
                  <a:close/>
                  <a:moveTo>
                    <a:pt x="159400" y="2460"/>
                  </a:moveTo>
                  <a:lnTo>
                    <a:pt x="159400" y="17937"/>
                  </a:lnTo>
                  <a:lnTo>
                    <a:pt x="179315" y="17937"/>
                  </a:lnTo>
                  <a:lnTo>
                    <a:pt x="179315" y="2460"/>
                  </a:lnTo>
                  <a:close/>
                  <a:moveTo>
                    <a:pt x="181730" y="2460"/>
                  </a:moveTo>
                  <a:lnTo>
                    <a:pt x="181730" y="17937"/>
                  </a:lnTo>
                  <a:lnTo>
                    <a:pt x="201700" y="17937"/>
                  </a:lnTo>
                  <a:lnTo>
                    <a:pt x="201700" y="2460"/>
                  </a:lnTo>
                  <a:close/>
                  <a:moveTo>
                    <a:pt x="225237" y="2460"/>
                  </a:moveTo>
                  <a:lnTo>
                    <a:pt x="204114" y="2460"/>
                  </a:lnTo>
                  <a:lnTo>
                    <a:pt x="204114" y="17937"/>
                  </a:lnTo>
                  <a:lnTo>
                    <a:pt x="225237" y="17937"/>
                  </a:lnTo>
                  <a:close/>
                  <a:moveTo>
                    <a:pt x="237087" y="35082"/>
                  </a:moveTo>
                  <a:lnTo>
                    <a:pt x="252010" y="35082"/>
                  </a:lnTo>
                  <a:lnTo>
                    <a:pt x="252010" y="16237"/>
                  </a:lnTo>
                  <a:lnTo>
                    <a:pt x="237087" y="16237"/>
                  </a:lnTo>
                  <a:close/>
                  <a:moveTo>
                    <a:pt x="237087" y="92678"/>
                  </a:moveTo>
                  <a:lnTo>
                    <a:pt x="252010" y="92678"/>
                  </a:lnTo>
                  <a:lnTo>
                    <a:pt x="252010" y="73838"/>
                  </a:lnTo>
                  <a:lnTo>
                    <a:pt x="237087" y="73838"/>
                  </a:lnTo>
                  <a:close/>
                  <a:moveTo>
                    <a:pt x="285477" y="73838"/>
                  </a:moveTo>
                  <a:lnTo>
                    <a:pt x="270554" y="73838"/>
                  </a:lnTo>
                  <a:lnTo>
                    <a:pt x="270554" y="92678"/>
                  </a:lnTo>
                  <a:lnTo>
                    <a:pt x="285477" y="92678"/>
                  </a:lnTo>
                  <a:close/>
                  <a:moveTo>
                    <a:pt x="254425" y="37485"/>
                  </a:moveTo>
                  <a:lnTo>
                    <a:pt x="254425" y="51404"/>
                  </a:lnTo>
                  <a:lnTo>
                    <a:pt x="268141" y="51404"/>
                  </a:lnTo>
                  <a:lnTo>
                    <a:pt x="268141" y="37485"/>
                  </a:lnTo>
                  <a:close/>
                  <a:moveTo>
                    <a:pt x="254425" y="71430"/>
                  </a:moveTo>
                  <a:lnTo>
                    <a:pt x="268141" y="71430"/>
                  </a:lnTo>
                  <a:lnTo>
                    <a:pt x="268141" y="60062"/>
                  </a:lnTo>
                  <a:lnTo>
                    <a:pt x="254425" y="60062"/>
                  </a:lnTo>
                  <a:close/>
                  <a:moveTo>
                    <a:pt x="268141" y="73838"/>
                  </a:moveTo>
                  <a:lnTo>
                    <a:pt x="254425" y="73838"/>
                  </a:lnTo>
                  <a:lnTo>
                    <a:pt x="254425" y="92678"/>
                  </a:lnTo>
                  <a:lnTo>
                    <a:pt x="268141" y="92678"/>
                  </a:lnTo>
                  <a:close/>
                  <a:moveTo>
                    <a:pt x="254425" y="35082"/>
                  </a:moveTo>
                  <a:lnTo>
                    <a:pt x="268141" y="35082"/>
                  </a:lnTo>
                  <a:lnTo>
                    <a:pt x="268141" y="16237"/>
                  </a:lnTo>
                  <a:lnTo>
                    <a:pt x="254425" y="16237"/>
                  </a:lnTo>
                  <a:close/>
                  <a:moveTo>
                    <a:pt x="270554" y="37485"/>
                  </a:moveTo>
                  <a:lnTo>
                    <a:pt x="270554" y="51404"/>
                  </a:lnTo>
                  <a:lnTo>
                    <a:pt x="285477" y="51404"/>
                  </a:lnTo>
                  <a:lnTo>
                    <a:pt x="285477" y="37485"/>
                  </a:lnTo>
                  <a:close/>
                  <a:moveTo>
                    <a:pt x="285477" y="60062"/>
                  </a:moveTo>
                  <a:lnTo>
                    <a:pt x="270554" y="60062"/>
                  </a:lnTo>
                  <a:lnTo>
                    <a:pt x="270554" y="71430"/>
                  </a:lnTo>
                  <a:lnTo>
                    <a:pt x="285477" y="71430"/>
                  </a:lnTo>
                  <a:close/>
                  <a:moveTo>
                    <a:pt x="252010" y="71430"/>
                  </a:moveTo>
                  <a:lnTo>
                    <a:pt x="252010" y="60062"/>
                  </a:lnTo>
                  <a:lnTo>
                    <a:pt x="237087" y="60062"/>
                  </a:lnTo>
                  <a:lnTo>
                    <a:pt x="237087" y="71430"/>
                  </a:lnTo>
                  <a:close/>
                  <a:moveTo>
                    <a:pt x="237087" y="51404"/>
                  </a:moveTo>
                  <a:lnTo>
                    <a:pt x="252010" y="51404"/>
                  </a:lnTo>
                  <a:lnTo>
                    <a:pt x="252010" y="37485"/>
                  </a:lnTo>
                  <a:lnTo>
                    <a:pt x="237087" y="37485"/>
                  </a:lnTo>
                  <a:close/>
                  <a:moveTo>
                    <a:pt x="270554" y="16237"/>
                  </a:moveTo>
                  <a:lnTo>
                    <a:pt x="270554" y="35082"/>
                  </a:lnTo>
                  <a:lnTo>
                    <a:pt x="285477" y="35082"/>
                  </a:lnTo>
                  <a:lnTo>
                    <a:pt x="285477" y="16237"/>
                  </a:lnTo>
                  <a:close/>
                  <a:moveTo>
                    <a:pt x="285477" y="95082"/>
                  </a:moveTo>
                  <a:lnTo>
                    <a:pt x="270554" y="95082"/>
                  </a:lnTo>
                  <a:lnTo>
                    <a:pt x="270554" y="109006"/>
                  </a:lnTo>
                  <a:lnTo>
                    <a:pt x="285477" y="109006"/>
                  </a:lnTo>
                  <a:close/>
                  <a:moveTo>
                    <a:pt x="268141" y="95082"/>
                  </a:moveTo>
                  <a:lnTo>
                    <a:pt x="254425" y="95082"/>
                  </a:lnTo>
                  <a:lnTo>
                    <a:pt x="254425" y="109006"/>
                  </a:lnTo>
                  <a:lnTo>
                    <a:pt x="268141" y="109006"/>
                  </a:lnTo>
                  <a:close/>
                  <a:moveTo>
                    <a:pt x="252010" y="95082"/>
                  </a:moveTo>
                  <a:lnTo>
                    <a:pt x="237087" y="95082"/>
                  </a:lnTo>
                  <a:lnTo>
                    <a:pt x="237087" y="109006"/>
                  </a:lnTo>
                  <a:lnTo>
                    <a:pt x="252010" y="109006"/>
                  </a:lnTo>
                  <a:close/>
                  <a:moveTo>
                    <a:pt x="237087" y="2460"/>
                  </a:moveTo>
                  <a:lnTo>
                    <a:pt x="237087" y="13833"/>
                  </a:lnTo>
                  <a:lnTo>
                    <a:pt x="252010" y="13833"/>
                  </a:lnTo>
                  <a:lnTo>
                    <a:pt x="252010" y="2460"/>
                  </a:lnTo>
                  <a:close/>
                  <a:moveTo>
                    <a:pt x="254425" y="2460"/>
                  </a:moveTo>
                  <a:lnTo>
                    <a:pt x="254425" y="13833"/>
                  </a:lnTo>
                  <a:lnTo>
                    <a:pt x="268141" y="13833"/>
                  </a:lnTo>
                  <a:lnTo>
                    <a:pt x="268141" y="2460"/>
                  </a:lnTo>
                  <a:close/>
                  <a:moveTo>
                    <a:pt x="285477" y="2460"/>
                  </a:moveTo>
                  <a:lnTo>
                    <a:pt x="270554" y="2460"/>
                  </a:lnTo>
                  <a:lnTo>
                    <a:pt x="270554" y="13833"/>
                  </a:lnTo>
                  <a:lnTo>
                    <a:pt x="285477" y="13833"/>
                  </a:lnTo>
                  <a:lnTo>
                    <a:pt x="285477" y="2460"/>
                  </a:lnTo>
                </a:path>
              </a:pathLst>
            </a:custGeom>
            <a:grpFill/>
            <a:ln w="548" cap="flat">
              <a:noFill/>
              <a:prstDash val="solid"/>
              <a:miter/>
            </a:ln>
          </p:spPr>
          <p:txBody>
            <a:bodyPr/>
            <a:lstStyle/>
            <a:p>
              <a:endParaRPr lang="en-US"/>
            </a:p>
          </p:txBody>
        </p:sp>
        <p:sp>
          <p:nvSpPr>
            <p:cNvPr id="265" name="Freeform: Shape 264">
              <a:extLst>
                <a:ext uri="{FF2B5EF4-FFF2-40B4-BE49-F238E27FC236}">
                  <a16:creationId xmlns:a16="http://schemas.microsoft.com/office/drawing/2014/main" id="{86749670-7C6C-9E42-914B-C0D4E2F06384}"/>
                </a:ext>
              </a:extLst>
            </p:cNvPr>
            <p:cNvSpPr/>
            <p:nvPr/>
          </p:nvSpPr>
          <p:spPr>
            <a:xfrm flipV="1">
              <a:off x="24076699" y="4394277"/>
              <a:ext cx="18983" cy="12070"/>
            </a:xfrm>
            <a:custGeom>
              <a:avLst/>
              <a:gdLst>
                <a:gd name="csX0" fmla="*/ -8689 w 18983"/>
                <a:gd name="csY0" fmla="*/ -5249 h 12070"/>
                <a:gd name="csX1" fmla="*/ 10294 w 18983"/>
                <a:gd name="csY1" fmla="*/ -5249 h 12070"/>
                <a:gd name="csX2" fmla="*/ 10294 w 18983"/>
                <a:gd name="csY2" fmla="*/ 6822 h 12070"/>
                <a:gd name="csX3" fmla="*/ -8689 w 18983"/>
                <a:gd name="csY3" fmla="*/ 6822 h 12070"/>
                <a:gd name="csX4" fmla="*/ -8689 w 18983"/>
                <a:gd name="csY4" fmla="*/ -5249 h 12070"/>
              </a:gdLst>
              <a:ahLst/>
              <a:cxnLst>
                <a:cxn ang="0">
                  <a:pos x="csX0" y="csY0"/>
                </a:cxn>
                <a:cxn ang="0">
                  <a:pos x="csX1" y="csY1"/>
                </a:cxn>
                <a:cxn ang="0">
                  <a:pos x="csX2" y="csY2"/>
                </a:cxn>
                <a:cxn ang="0">
                  <a:pos x="csX3" y="csY3"/>
                </a:cxn>
                <a:cxn ang="0">
                  <a:pos x="csX4" y="csY4"/>
                </a:cxn>
              </a:cxnLst>
              <a:rect l="l" t="t" r="r" b="b"/>
              <a:pathLst>
                <a:path w="18983" h="12070">
                  <a:moveTo>
                    <a:pt x="-8689" y="-5249"/>
                  </a:moveTo>
                  <a:lnTo>
                    <a:pt x="10294" y="-5249"/>
                  </a:lnTo>
                  <a:lnTo>
                    <a:pt x="10294" y="6822"/>
                  </a:lnTo>
                  <a:lnTo>
                    <a:pt x="-8689" y="6822"/>
                  </a:lnTo>
                  <a:lnTo>
                    <a:pt x="-8689" y="-5249"/>
                  </a:lnTo>
                </a:path>
              </a:pathLst>
            </a:custGeom>
            <a:grpFill/>
            <a:ln w="548" cap="flat">
              <a:noFill/>
              <a:prstDash val="solid"/>
              <a:miter/>
            </a:ln>
          </p:spPr>
          <p:txBody>
            <a:bodyPr/>
            <a:lstStyle/>
            <a:p>
              <a:endParaRPr lang="en-US"/>
            </a:p>
          </p:txBody>
        </p:sp>
        <p:sp>
          <p:nvSpPr>
            <p:cNvPr id="266" name="Freeform: Shape 265">
              <a:extLst>
                <a:ext uri="{FF2B5EF4-FFF2-40B4-BE49-F238E27FC236}">
                  <a16:creationId xmlns:a16="http://schemas.microsoft.com/office/drawing/2014/main" id="{93C9D564-AF93-F26B-F852-1BB3E117A8FE}"/>
                </a:ext>
              </a:extLst>
            </p:cNvPr>
            <p:cNvSpPr/>
            <p:nvPr/>
          </p:nvSpPr>
          <p:spPr>
            <a:xfrm flipV="1">
              <a:off x="24076699" y="4408756"/>
              <a:ext cx="18983" cy="12081"/>
            </a:xfrm>
            <a:custGeom>
              <a:avLst/>
              <a:gdLst>
                <a:gd name="csX0" fmla="*/ -8689 w 18983"/>
                <a:gd name="csY0" fmla="*/ -5214 h 12081"/>
                <a:gd name="csX1" fmla="*/ 10294 w 18983"/>
                <a:gd name="csY1" fmla="*/ -5214 h 12081"/>
                <a:gd name="csX2" fmla="*/ 10294 w 18983"/>
                <a:gd name="csY2" fmla="*/ 6867 h 12081"/>
                <a:gd name="csX3" fmla="*/ -8689 w 18983"/>
                <a:gd name="csY3" fmla="*/ 6867 h 12081"/>
                <a:gd name="csX4" fmla="*/ -8689 w 18983"/>
                <a:gd name="csY4" fmla="*/ -5214 h 12081"/>
              </a:gdLst>
              <a:ahLst/>
              <a:cxnLst>
                <a:cxn ang="0">
                  <a:pos x="csX0" y="csY0"/>
                </a:cxn>
                <a:cxn ang="0">
                  <a:pos x="csX1" y="csY1"/>
                </a:cxn>
                <a:cxn ang="0">
                  <a:pos x="csX2" y="csY2"/>
                </a:cxn>
                <a:cxn ang="0">
                  <a:pos x="csX3" y="csY3"/>
                </a:cxn>
                <a:cxn ang="0">
                  <a:pos x="csX4" y="csY4"/>
                </a:cxn>
              </a:cxnLst>
              <a:rect l="l" t="t" r="r" b="b"/>
              <a:pathLst>
                <a:path w="18983" h="12081">
                  <a:moveTo>
                    <a:pt x="-8689" y="-5214"/>
                  </a:moveTo>
                  <a:lnTo>
                    <a:pt x="10294" y="-5214"/>
                  </a:lnTo>
                  <a:lnTo>
                    <a:pt x="10294" y="6867"/>
                  </a:lnTo>
                  <a:lnTo>
                    <a:pt x="-8689" y="6867"/>
                  </a:lnTo>
                  <a:lnTo>
                    <a:pt x="-8689" y="-5214"/>
                  </a:lnTo>
                </a:path>
              </a:pathLst>
            </a:custGeom>
            <a:grpFill/>
            <a:ln w="548" cap="flat">
              <a:noFill/>
              <a:prstDash val="solid"/>
              <a:miter/>
            </a:ln>
          </p:spPr>
          <p:txBody>
            <a:bodyPr/>
            <a:lstStyle/>
            <a:p>
              <a:endParaRPr lang="en-US"/>
            </a:p>
          </p:txBody>
        </p:sp>
        <p:sp>
          <p:nvSpPr>
            <p:cNvPr id="267" name="Freeform: Shape 266">
              <a:extLst>
                <a:ext uri="{FF2B5EF4-FFF2-40B4-BE49-F238E27FC236}">
                  <a16:creationId xmlns:a16="http://schemas.microsoft.com/office/drawing/2014/main" id="{ABB64953-5488-0AAB-74D6-554FDE88D25D}"/>
                </a:ext>
              </a:extLst>
            </p:cNvPr>
            <p:cNvSpPr/>
            <p:nvPr/>
          </p:nvSpPr>
          <p:spPr>
            <a:xfrm flipV="1">
              <a:off x="24076699" y="4453070"/>
              <a:ext cx="18983" cy="12075"/>
            </a:xfrm>
            <a:custGeom>
              <a:avLst/>
              <a:gdLst>
                <a:gd name="csX0" fmla="*/ -8689 w 18983"/>
                <a:gd name="csY0" fmla="*/ -5107 h 12075"/>
                <a:gd name="csX1" fmla="*/ 10294 w 18983"/>
                <a:gd name="csY1" fmla="*/ -5107 h 12075"/>
                <a:gd name="csX2" fmla="*/ 10294 w 18983"/>
                <a:gd name="csY2" fmla="*/ 6968 h 12075"/>
                <a:gd name="csX3" fmla="*/ -8689 w 18983"/>
                <a:gd name="csY3" fmla="*/ 6968 h 12075"/>
                <a:gd name="csX4" fmla="*/ -8689 w 18983"/>
                <a:gd name="csY4" fmla="*/ -5107 h 12075"/>
              </a:gdLst>
              <a:ahLst/>
              <a:cxnLst>
                <a:cxn ang="0">
                  <a:pos x="csX0" y="csY0"/>
                </a:cxn>
                <a:cxn ang="0">
                  <a:pos x="csX1" y="csY1"/>
                </a:cxn>
                <a:cxn ang="0">
                  <a:pos x="csX2" y="csY2"/>
                </a:cxn>
                <a:cxn ang="0">
                  <a:pos x="csX3" y="csY3"/>
                </a:cxn>
                <a:cxn ang="0">
                  <a:pos x="csX4" y="csY4"/>
                </a:cxn>
              </a:cxnLst>
              <a:rect l="l" t="t" r="r" b="b"/>
              <a:pathLst>
                <a:path w="18983" h="12075">
                  <a:moveTo>
                    <a:pt x="-8689" y="-5107"/>
                  </a:moveTo>
                  <a:lnTo>
                    <a:pt x="10294" y="-5107"/>
                  </a:lnTo>
                  <a:lnTo>
                    <a:pt x="10294" y="6968"/>
                  </a:lnTo>
                  <a:lnTo>
                    <a:pt x="-8689" y="6968"/>
                  </a:lnTo>
                  <a:lnTo>
                    <a:pt x="-8689" y="-5107"/>
                  </a:lnTo>
                </a:path>
              </a:pathLst>
            </a:custGeom>
            <a:grpFill/>
            <a:ln w="548" cap="flat">
              <a:noFill/>
              <a:prstDash val="solid"/>
              <a:miter/>
            </a:ln>
          </p:spPr>
          <p:txBody>
            <a:bodyPr/>
            <a:lstStyle/>
            <a:p>
              <a:endParaRPr lang="en-US"/>
            </a:p>
          </p:txBody>
        </p:sp>
        <p:sp>
          <p:nvSpPr>
            <p:cNvPr id="268" name="Freeform: Shape 267">
              <a:extLst>
                <a:ext uri="{FF2B5EF4-FFF2-40B4-BE49-F238E27FC236}">
                  <a16:creationId xmlns:a16="http://schemas.microsoft.com/office/drawing/2014/main" id="{016FD289-495A-FFDF-10A1-87C67B99E41D}"/>
                </a:ext>
              </a:extLst>
            </p:cNvPr>
            <p:cNvSpPr/>
            <p:nvPr/>
          </p:nvSpPr>
          <p:spPr>
            <a:xfrm flipV="1">
              <a:off x="24076699" y="4467548"/>
              <a:ext cx="18983" cy="12081"/>
            </a:xfrm>
            <a:custGeom>
              <a:avLst/>
              <a:gdLst>
                <a:gd name="csX0" fmla="*/ -8689 w 18983"/>
                <a:gd name="csY0" fmla="*/ -5072 h 12081"/>
                <a:gd name="csX1" fmla="*/ 10294 w 18983"/>
                <a:gd name="csY1" fmla="*/ -5072 h 12081"/>
                <a:gd name="csX2" fmla="*/ 10294 w 18983"/>
                <a:gd name="csY2" fmla="*/ 7009 h 12081"/>
                <a:gd name="csX3" fmla="*/ -8689 w 18983"/>
                <a:gd name="csY3" fmla="*/ 7009 h 12081"/>
                <a:gd name="csX4" fmla="*/ -8689 w 18983"/>
                <a:gd name="csY4" fmla="*/ -5072 h 12081"/>
              </a:gdLst>
              <a:ahLst/>
              <a:cxnLst>
                <a:cxn ang="0">
                  <a:pos x="csX0" y="csY0"/>
                </a:cxn>
                <a:cxn ang="0">
                  <a:pos x="csX1" y="csY1"/>
                </a:cxn>
                <a:cxn ang="0">
                  <a:pos x="csX2" y="csY2"/>
                </a:cxn>
                <a:cxn ang="0">
                  <a:pos x="csX3" y="csY3"/>
                </a:cxn>
                <a:cxn ang="0">
                  <a:pos x="csX4" y="csY4"/>
                </a:cxn>
              </a:cxnLst>
              <a:rect l="l" t="t" r="r" b="b"/>
              <a:pathLst>
                <a:path w="18983" h="12081">
                  <a:moveTo>
                    <a:pt x="-8689" y="-5072"/>
                  </a:moveTo>
                  <a:lnTo>
                    <a:pt x="10294" y="-5072"/>
                  </a:lnTo>
                  <a:lnTo>
                    <a:pt x="10294" y="7009"/>
                  </a:lnTo>
                  <a:lnTo>
                    <a:pt x="-8689" y="7009"/>
                  </a:lnTo>
                  <a:lnTo>
                    <a:pt x="-8689" y="-5072"/>
                  </a:lnTo>
                </a:path>
              </a:pathLst>
            </a:custGeom>
            <a:grpFill/>
            <a:ln w="548" cap="flat">
              <a:noFill/>
              <a:prstDash val="solid"/>
              <a:miter/>
            </a:ln>
          </p:spPr>
          <p:txBody>
            <a:bodyPr/>
            <a:lstStyle/>
            <a:p>
              <a:endParaRPr lang="en-US"/>
            </a:p>
          </p:txBody>
        </p:sp>
        <p:sp>
          <p:nvSpPr>
            <p:cNvPr id="269" name="Freeform: Shape 268">
              <a:extLst>
                <a:ext uri="{FF2B5EF4-FFF2-40B4-BE49-F238E27FC236}">
                  <a16:creationId xmlns:a16="http://schemas.microsoft.com/office/drawing/2014/main" id="{2036A401-7F49-5002-880A-3C999418AF02}"/>
                </a:ext>
              </a:extLst>
            </p:cNvPr>
            <p:cNvSpPr/>
            <p:nvPr/>
          </p:nvSpPr>
          <p:spPr>
            <a:xfrm flipV="1">
              <a:off x="24076699" y="4511862"/>
              <a:ext cx="18983" cy="12075"/>
            </a:xfrm>
            <a:custGeom>
              <a:avLst/>
              <a:gdLst>
                <a:gd name="csX0" fmla="*/ -8689 w 18983"/>
                <a:gd name="csY0" fmla="*/ -4966 h 12075"/>
                <a:gd name="csX1" fmla="*/ 10294 w 18983"/>
                <a:gd name="csY1" fmla="*/ -4966 h 12075"/>
                <a:gd name="csX2" fmla="*/ 10294 w 18983"/>
                <a:gd name="csY2" fmla="*/ 7110 h 12075"/>
                <a:gd name="csX3" fmla="*/ -8689 w 18983"/>
                <a:gd name="csY3" fmla="*/ 7110 h 12075"/>
                <a:gd name="csX4" fmla="*/ -8689 w 18983"/>
                <a:gd name="csY4" fmla="*/ -4966 h 12075"/>
              </a:gdLst>
              <a:ahLst/>
              <a:cxnLst>
                <a:cxn ang="0">
                  <a:pos x="csX0" y="csY0"/>
                </a:cxn>
                <a:cxn ang="0">
                  <a:pos x="csX1" y="csY1"/>
                </a:cxn>
                <a:cxn ang="0">
                  <a:pos x="csX2" y="csY2"/>
                </a:cxn>
                <a:cxn ang="0">
                  <a:pos x="csX3" y="csY3"/>
                </a:cxn>
                <a:cxn ang="0">
                  <a:pos x="csX4" y="csY4"/>
                </a:cxn>
              </a:cxnLst>
              <a:rect l="l" t="t" r="r" b="b"/>
              <a:pathLst>
                <a:path w="18983" h="12075">
                  <a:moveTo>
                    <a:pt x="-8689" y="-4966"/>
                  </a:moveTo>
                  <a:lnTo>
                    <a:pt x="10294" y="-4966"/>
                  </a:lnTo>
                  <a:lnTo>
                    <a:pt x="10294" y="7110"/>
                  </a:lnTo>
                  <a:lnTo>
                    <a:pt x="-8689" y="7110"/>
                  </a:lnTo>
                  <a:lnTo>
                    <a:pt x="-8689" y="-4966"/>
                  </a:lnTo>
                </a:path>
              </a:pathLst>
            </a:custGeom>
            <a:grpFill/>
            <a:ln w="548" cap="flat">
              <a:noFill/>
              <a:prstDash val="solid"/>
              <a:miter/>
            </a:ln>
          </p:spPr>
          <p:txBody>
            <a:bodyPr/>
            <a:lstStyle/>
            <a:p>
              <a:endParaRPr lang="en-US"/>
            </a:p>
          </p:txBody>
        </p:sp>
        <p:sp>
          <p:nvSpPr>
            <p:cNvPr id="270" name="Freeform: Shape 269">
              <a:extLst>
                <a:ext uri="{FF2B5EF4-FFF2-40B4-BE49-F238E27FC236}">
                  <a16:creationId xmlns:a16="http://schemas.microsoft.com/office/drawing/2014/main" id="{9A07280D-6DE0-4AB0-55C3-274F232B0DA4}"/>
                </a:ext>
              </a:extLst>
            </p:cNvPr>
            <p:cNvSpPr/>
            <p:nvPr/>
          </p:nvSpPr>
          <p:spPr>
            <a:xfrm flipV="1">
              <a:off x="24076699" y="4526340"/>
              <a:ext cx="18983" cy="12081"/>
            </a:xfrm>
            <a:custGeom>
              <a:avLst/>
              <a:gdLst>
                <a:gd name="csX0" fmla="*/ -8689 w 18983"/>
                <a:gd name="csY0" fmla="*/ -4931 h 12081"/>
                <a:gd name="csX1" fmla="*/ 10294 w 18983"/>
                <a:gd name="csY1" fmla="*/ -4931 h 12081"/>
                <a:gd name="csX2" fmla="*/ 10294 w 18983"/>
                <a:gd name="csY2" fmla="*/ 7150 h 12081"/>
                <a:gd name="csX3" fmla="*/ -8689 w 18983"/>
                <a:gd name="csY3" fmla="*/ 7150 h 12081"/>
                <a:gd name="csX4" fmla="*/ -8689 w 18983"/>
                <a:gd name="csY4" fmla="*/ -4931 h 12081"/>
              </a:gdLst>
              <a:ahLst/>
              <a:cxnLst>
                <a:cxn ang="0">
                  <a:pos x="csX0" y="csY0"/>
                </a:cxn>
                <a:cxn ang="0">
                  <a:pos x="csX1" y="csY1"/>
                </a:cxn>
                <a:cxn ang="0">
                  <a:pos x="csX2" y="csY2"/>
                </a:cxn>
                <a:cxn ang="0">
                  <a:pos x="csX3" y="csY3"/>
                </a:cxn>
                <a:cxn ang="0">
                  <a:pos x="csX4" y="csY4"/>
                </a:cxn>
              </a:cxnLst>
              <a:rect l="l" t="t" r="r" b="b"/>
              <a:pathLst>
                <a:path w="18983" h="12081">
                  <a:moveTo>
                    <a:pt x="-8689" y="-4931"/>
                  </a:moveTo>
                  <a:lnTo>
                    <a:pt x="10294" y="-4931"/>
                  </a:lnTo>
                  <a:lnTo>
                    <a:pt x="10294" y="7150"/>
                  </a:lnTo>
                  <a:lnTo>
                    <a:pt x="-8689" y="7150"/>
                  </a:lnTo>
                  <a:lnTo>
                    <a:pt x="-8689" y="-4931"/>
                  </a:lnTo>
                </a:path>
              </a:pathLst>
            </a:custGeom>
            <a:grpFill/>
            <a:ln w="548" cap="flat">
              <a:noFill/>
              <a:prstDash val="solid"/>
              <a:miter/>
            </a:ln>
          </p:spPr>
          <p:txBody>
            <a:bodyPr/>
            <a:lstStyle/>
            <a:p>
              <a:endParaRPr lang="en-US"/>
            </a:p>
          </p:txBody>
        </p:sp>
        <p:sp>
          <p:nvSpPr>
            <p:cNvPr id="271" name="Freeform: Shape 270">
              <a:extLst>
                <a:ext uri="{FF2B5EF4-FFF2-40B4-BE49-F238E27FC236}">
                  <a16:creationId xmlns:a16="http://schemas.microsoft.com/office/drawing/2014/main" id="{47E999D7-3D17-5FD8-8A8C-C1E0743DF066}"/>
                </a:ext>
              </a:extLst>
            </p:cNvPr>
            <p:cNvSpPr/>
            <p:nvPr/>
          </p:nvSpPr>
          <p:spPr>
            <a:xfrm flipV="1">
              <a:off x="24076699" y="4686582"/>
              <a:ext cx="18983" cy="12081"/>
            </a:xfrm>
            <a:custGeom>
              <a:avLst/>
              <a:gdLst>
                <a:gd name="csX0" fmla="*/ -8689 w 18983"/>
                <a:gd name="csY0" fmla="*/ -4545 h 12081"/>
                <a:gd name="csX1" fmla="*/ 10294 w 18983"/>
                <a:gd name="csY1" fmla="*/ -4545 h 12081"/>
                <a:gd name="csX2" fmla="*/ 10294 w 18983"/>
                <a:gd name="csY2" fmla="*/ 7536 h 12081"/>
                <a:gd name="csX3" fmla="*/ -8689 w 18983"/>
                <a:gd name="csY3" fmla="*/ 7536 h 12081"/>
                <a:gd name="csX4" fmla="*/ -8689 w 18983"/>
                <a:gd name="csY4" fmla="*/ -4545 h 12081"/>
              </a:gdLst>
              <a:ahLst/>
              <a:cxnLst>
                <a:cxn ang="0">
                  <a:pos x="csX0" y="csY0"/>
                </a:cxn>
                <a:cxn ang="0">
                  <a:pos x="csX1" y="csY1"/>
                </a:cxn>
                <a:cxn ang="0">
                  <a:pos x="csX2" y="csY2"/>
                </a:cxn>
                <a:cxn ang="0">
                  <a:pos x="csX3" y="csY3"/>
                </a:cxn>
                <a:cxn ang="0">
                  <a:pos x="csX4" y="csY4"/>
                </a:cxn>
              </a:cxnLst>
              <a:rect l="l" t="t" r="r" b="b"/>
              <a:pathLst>
                <a:path w="18983" h="12081">
                  <a:moveTo>
                    <a:pt x="-8689" y="-4545"/>
                  </a:moveTo>
                  <a:lnTo>
                    <a:pt x="10294" y="-4545"/>
                  </a:lnTo>
                  <a:lnTo>
                    <a:pt x="10294" y="7536"/>
                  </a:lnTo>
                  <a:lnTo>
                    <a:pt x="-8689" y="7536"/>
                  </a:lnTo>
                  <a:lnTo>
                    <a:pt x="-8689" y="-4545"/>
                  </a:lnTo>
                </a:path>
              </a:pathLst>
            </a:custGeom>
            <a:grpFill/>
            <a:ln w="548" cap="flat">
              <a:noFill/>
              <a:prstDash val="solid"/>
              <a:miter/>
            </a:ln>
          </p:spPr>
          <p:txBody>
            <a:bodyPr/>
            <a:lstStyle/>
            <a:p>
              <a:endParaRPr lang="en-US"/>
            </a:p>
          </p:txBody>
        </p:sp>
        <p:sp>
          <p:nvSpPr>
            <p:cNvPr id="272" name="Freeform: Shape 271">
              <a:extLst>
                <a:ext uri="{FF2B5EF4-FFF2-40B4-BE49-F238E27FC236}">
                  <a16:creationId xmlns:a16="http://schemas.microsoft.com/office/drawing/2014/main" id="{D7C0F9BA-7F4E-0BAF-FDDA-9DBFC1C9C240}"/>
                </a:ext>
              </a:extLst>
            </p:cNvPr>
            <p:cNvSpPr/>
            <p:nvPr/>
          </p:nvSpPr>
          <p:spPr>
            <a:xfrm flipV="1">
              <a:off x="24076699" y="4701066"/>
              <a:ext cx="18983" cy="12075"/>
            </a:xfrm>
            <a:custGeom>
              <a:avLst/>
              <a:gdLst>
                <a:gd name="csX0" fmla="*/ -8689 w 18983"/>
                <a:gd name="csY0" fmla="*/ -4510 h 12075"/>
                <a:gd name="csX1" fmla="*/ 10294 w 18983"/>
                <a:gd name="csY1" fmla="*/ -4510 h 12075"/>
                <a:gd name="csX2" fmla="*/ 10294 w 18983"/>
                <a:gd name="csY2" fmla="*/ 7565 h 12075"/>
                <a:gd name="csX3" fmla="*/ -8689 w 18983"/>
                <a:gd name="csY3" fmla="*/ 7565 h 12075"/>
                <a:gd name="csX4" fmla="*/ -8689 w 18983"/>
                <a:gd name="csY4" fmla="*/ -4510 h 12075"/>
              </a:gdLst>
              <a:ahLst/>
              <a:cxnLst>
                <a:cxn ang="0">
                  <a:pos x="csX0" y="csY0"/>
                </a:cxn>
                <a:cxn ang="0">
                  <a:pos x="csX1" y="csY1"/>
                </a:cxn>
                <a:cxn ang="0">
                  <a:pos x="csX2" y="csY2"/>
                </a:cxn>
                <a:cxn ang="0">
                  <a:pos x="csX3" y="csY3"/>
                </a:cxn>
                <a:cxn ang="0">
                  <a:pos x="csX4" y="csY4"/>
                </a:cxn>
              </a:cxnLst>
              <a:rect l="l" t="t" r="r" b="b"/>
              <a:pathLst>
                <a:path w="18983" h="12075">
                  <a:moveTo>
                    <a:pt x="-8689" y="-4510"/>
                  </a:moveTo>
                  <a:lnTo>
                    <a:pt x="10294" y="-4510"/>
                  </a:lnTo>
                  <a:lnTo>
                    <a:pt x="10294" y="7565"/>
                  </a:lnTo>
                  <a:lnTo>
                    <a:pt x="-8689" y="7565"/>
                  </a:lnTo>
                  <a:lnTo>
                    <a:pt x="-8689" y="-4510"/>
                  </a:lnTo>
                </a:path>
              </a:pathLst>
            </a:custGeom>
            <a:grpFill/>
            <a:ln w="548" cap="flat">
              <a:noFill/>
              <a:prstDash val="solid"/>
              <a:miter/>
            </a:ln>
          </p:spPr>
          <p:txBody>
            <a:bodyPr/>
            <a:lstStyle/>
            <a:p>
              <a:endParaRPr lang="en-US"/>
            </a:p>
          </p:txBody>
        </p:sp>
        <p:sp>
          <p:nvSpPr>
            <p:cNvPr id="273" name="Freeform: Shape 272">
              <a:extLst>
                <a:ext uri="{FF2B5EF4-FFF2-40B4-BE49-F238E27FC236}">
                  <a16:creationId xmlns:a16="http://schemas.microsoft.com/office/drawing/2014/main" id="{FDA9BC5C-A773-19E0-9FD7-957575CA0567}"/>
                </a:ext>
              </a:extLst>
            </p:cNvPr>
            <p:cNvSpPr/>
            <p:nvPr/>
          </p:nvSpPr>
          <p:spPr>
            <a:xfrm flipV="1">
              <a:off x="24076699" y="4587848"/>
              <a:ext cx="18983" cy="12668"/>
            </a:xfrm>
            <a:custGeom>
              <a:avLst/>
              <a:gdLst>
                <a:gd name="csX0" fmla="*/ -8689 w 18983"/>
                <a:gd name="csY0" fmla="*/ -4782 h 12668"/>
                <a:gd name="csX1" fmla="*/ 10294 w 18983"/>
                <a:gd name="csY1" fmla="*/ -4782 h 12668"/>
                <a:gd name="csX2" fmla="*/ 10294 w 18983"/>
                <a:gd name="csY2" fmla="*/ 7886 h 12668"/>
                <a:gd name="csX3" fmla="*/ -8689 w 18983"/>
                <a:gd name="csY3" fmla="*/ 7886 h 12668"/>
                <a:gd name="csX4" fmla="*/ -8689 w 18983"/>
                <a:gd name="csY4" fmla="*/ -4782 h 12668"/>
              </a:gdLst>
              <a:ahLst/>
              <a:cxnLst>
                <a:cxn ang="0">
                  <a:pos x="csX0" y="csY0"/>
                </a:cxn>
                <a:cxn ang="0">
                  <a:pos x="csX1" y="csY1"/>
                </a:cxn>
                <a:cxn ang="0">
                  <a:pos x="csX2" y="csY2"/>
                </a:cxn>
                <a:cxn ang="0">
                  <a:pos x="csX3" y="csY3"/>
                </a:cxn>
                <a:cxn ang="0">
                  <a:pos x="csX4" y="csY4"/>
                </a:cxn>
              </a:cxnLst>
              <a:rect l="l" t="t" r="r" b="b"/>
              <a:pathLst>
                <a:path w="18983" h="12668">
                  <a:moveTo>
                    <a:pt x="-8689" y="-4782"/>
                  </a:moveTo>
                  <a:lnTo>
                    <a:pt x="10294" y="-4782"/>
                  </a:lnTo>
                  <a:lnTo>
                    <a:pt x="10294" y="7886"/>
                  </a:lnTo>
                  <a:lnTo>
                    <a:pt x="-8689" y="7886"/>
                  </a:lnTo>
                  <a:lnTo>
                    <a:pt x="-8689" y="-4782"/>
                  </a:lnTo>
                </a:path>
              </a:pathLst>
            </a:custGeom>
            <a:grpFill/>
            <a:ln w="548" cap="flat">
              <a:noFill/>
              <a:prstDash val="solid"/>
              <a:miter/>
            </a:ln>
          </p:spPr>
          <p:txBody>
            <a:bodyPr/>
            <a:lstStyle/>
            <a:p>
              <a:endParaRPr lang="en-US"/>
            </a:p>
          </p:txBody>
        </p:sp>
        <p:sp>
          <p:nvSpPr>
            <p:cNvPr id="274" name="Freeform: Shape 273">
              <a:extLst>
                <a:ext uri="{FF2B5EF4-FFF2-40B4-BE49-F238E27FC236}">
                  <a16:creationId xmlns:a16="http://schemas.microsoft.com/office/drawing/2014/main" id="{7A396597-5486-53A0-4E45-7B406126086B}"/>
                </a:ext>
              </a:extLst>
            </p:cNvPr>
            <p:cNvSpPr/>
            <p:nvPr/>
          </p:nvSpPr>
          <p:spPr>
            <a:xfrm flipV="1">
              <a:off x="24076699" y="4618002"/>
              <a:ext cx="18983" cy="12668"/>
            </a:xfrm>
            <a:custGeom>
              <a:avLst/>
              <a:gdLst>
                <a:gd name="csX0" fmla="*/ -8689 w 18983"/>
                <a:gd name="csY0" fmla="*/ -4710 h 12668"/>
                <a:gd name="csX1" fmla="*/ 10294 w 18983"/>
                <a:gd name="csY1" fmla="*/ -4710 h 12668"/>
                <a:gd name="csX2" fmla="*/ 10294 w 18983"/>
                <a:gd name="csY2" fmla="*/ 7959 h 12668"/>
                <a:gd name="csX3" fmla="*/ -8689 w 18983"/>
                <a:gd name="csY3" fmla="*/ 7959 h 12668"/>
                <a:gd name="csX4" fmla="*/ -8689 w 18983"/>
                <a:gd name="csY4" fmla="*/ -4710 h 12668"/>
              </a:gdLst>
              <a:ahLst/>
              <a:cxnLst>
                <a:cxn ang="0">
                  <a:pos x="csX0" y="csY0"/>
                </a:cxn>
                <a:cxn ang="0">
                  <a:pos x="csX1" y="csY1"/>
                </a:cxn>
                <a:cxn ang="0">
                  <a:pos x="csX2" y="csY2"/>
                </a:cxn>
                <a:cxn ang="0">
                  <a:pos x="csX3" y="csY3"/>
                </a:cxn>
                <a:cxn ang="0">
                  <a:pos x="csX4" y="csY4"/>
                </a:cxn>
              </a:cxnLst>
              <a:rect l="l" t="t" r="r" b="b"/>
              <a:pathLst>
                <a:path w="18983" h="12668">
                  <a:moveTo>
                    <a:pt x="-8689" y="-4710"/>
                  </a:moveTo>
                  <a:lnTo>
                    <a:pt x="10294" y="-4710"/>
                  </a:lnTo>
                  <a:lnTo>
                    <a:pt x="10294" y="7959"/>
                  </a:lnTo>
                  <a:lnTo>
                    <a:pt x="-8689" y="7959"/>
                  </a:lnTo>
                  <a:lnTo>
                    <a:pt x="-8689" y="-4710"/>
                  </a:lnTo>
                </a:path>
              </a:pathLst>
            </a:custGeom>
            <a:grpFill/>
            <a:ln w="548" cap="flat">
              <a:noFill/>
              <a:prstDash val="solid"/>
              <a:miter/>
            </a:ln>
          </p:spPr>
          <p:txBody>
            <a:bodyPr/>
            <a:lstStyle/>
            <a:p>
              <a:endParaRPr lang="en-US"/>
            </a:p>
          </p:txBody>
        </p:sp>
        <p:sp>
          <p:nvSpPr>
            <p:cNvPr id="275" name="Freeform: Shape 274">
              <a:extLst>
                <a:ext uri="{FF2B5EF4-FFF2-40B4-BE49-F238E27FC236}">
                  <a16:creationId xmlns:a16="http://schemas.microsoft.com/office/drawing/2014/main" id="{62F68CA0-54E8-DA3C-C854-141F0391530D}"/>
                </a:ext>
              </a:extLst>
            </p:cNvPr>
            <p:cNvSpPr/>
            <p:nvPr/>
          </p:nvSpPr>
          <p:spPr>
            <a:xfrm flipV="1">
              <a:off x="24076699" y="4602925"/>
              <a:ext cx="18983" cy="12668"/>
            </a:xfrm>
            <a:custGeom>
              <a:avLst/>
              <a:gdLst>
                <a:gd name="csX0" fmla="*/ -8689 w 18983"/>
                <a:gd name="csY0" fmla="*/ -4746 h 12668"/>
                <a:gd name="csX1" fmla="*/ 10294 w 18983"/>
                <a:gd name="csY1" fmla="*/ -4746 h 12668"/>
                <a:gd name="csX2" fmla="*/ 10294 w 18983"/>
                <a:gd name="csY2" fmla="*/ 7922 h 12668"/>
                <a:gd name="csX3" fmla="*/ -8689 w 18983"/>
                <a:gd name="csY3" fmla="*/ 7922 h 12668"/>
                <a:gd name="csX4" fmla="*/ -8689 w 18983"/>
                <a:gd name="csY4" fmla="*/ -4746 h 12668"/>
              </a:gdLst>
              <a:ahLst/>
              <a:cxnLst>
                <a:cxn ang="0">
                  <a:pos x="csX0" y="csY0"/>
                </a:cxn>
                <a:cxn ang="0">
                  <a:pos x="csX1" y="csY1"/>
                </a:cxn>
                <a:cxn ang="0">
                  <a:pos x="csX2" y="csY2"/>
                </a:cxn>
                <a:cxn ang="0">
                  <a:pos x="csX3" y="csY3"/>
                </a:cxn>
                <a:cxn ang="0">
                  <a:pos x="csX4" y="csY4"/>
                </a:cxn>
              </a:cxnLst>
              <a:rect l="l" t="t" r="r" b="b"/>
              <a:pathLst>
                <a:path w="18983" h="12668">
                  <a:moveTo>
                    <a:pt x="-8689" y="-4746"/>
                  </a:moveTo>
                  <a:lnTo>
                    <a:pt x="10294" y="-4746"/>
                  </a:lnTo>
                  <a:lnTo>
                    <a:pt x="10294" y="7922"/>
                  </a:lnTo>
                  <a:lnTo>
                    <a:pt x="-8689" y="7922"/>
                  </a:lnTo>
                  <a:lnTo>
                    <a:pt x="-8689" y="-4746"/>
                  </a:lnTo>
                </a:path>
              </a:pathLst>
            </a:custGeom>
            <a:grpFill/>
            <a:ln w="548" cap="flat">
              <a:noFill/>
              <a:prstDash val="solid"/>
              <a:miter/>
            </a:ln>
          </p:spPr>
          <p:txBody>
            <a:bodyPr/>
            <a:lstStyle/>
            <a:p>
              <a:endParaRPr lang="en-US"/>
            </a:p>
          </p:txBody>
        </p:sp>
        <p:sp>
          <p:nvSpPr>
            <p:cNvPr id="276" name="Freeform: Shape 275">
              <a:extLst>
                <a:ext uri="{FF2B5EF4-FFF2-40B4-BE49-F238E27FC236}">
                  <a16:creationId xmlns:a16="http://schemas.microsoft.com/office/drawing/2014/main" id="{6FC869C7-E365-1AC7-FF73-E456F8AE8B1C}"/>
                </a:ext>
              </a:extLst>
            </p:cNvPr>
            <p:cNvSpPr/>
            <p:nvPr/>
          </p:nvSpPr>
          <p:spPr>
            <a:xfrm flipV="1">
              <a:off x="24076699" y="4633073"/>
              <a:ext cx="18983" cy="12673"/>
            </a:xfrm>
            <a:custGeom>
              <a:avLst/>
              <a:gdLst>
                <a:gd name="csX0" fmla="*/ -8689 w 18983"/>
                <a:gd name="csY0" fmla="*/ -4673 h 12673"/>
                <a:gd name="csX1" fmla="*/ 10294 w 18983"/>
                <a:gd name="csY1" fmla="*/ -4673 h 12673"/>
                <a:gd name="csX2" fmla="*/ 10294 w 18983"/>
                <a:gd name="csY2" fmla="*/ 8000 h 12673"/>
                <a:gd name="csX3" fmla="*/ -8689 w 18983"/>
                <a:gd name="csY3" fmla="*/ 8000 h 12673"/>
                <a:gd name="csX4" fmla="*/ -8689 w 18983"/>
                <a:gd name="csY4" fmla="*/ -4673 h 12673"/>
              </a:gdLst>
              <a:ahLst/>
              <a:cxnLst>
                <a:cxn ang="0">
                  <a:pos x="csX0" y="csY0"/>
                </a:cxn>
                <a:cxn ang="0">
                  <a:pos x="csX1" y="csY1"/>
                </a:cxn>
                <a:cxn ang="0">
                  <a:pos x="csX2" y="csY2"/>
                </a:cxn>
                <a:cxn ang="0">
                  <a:pos x="csX3" y="csY3"/>
                </a:cxn>
                <a:cxn ang="0">
                  <a:pos x="csX4" y="csY4"/>
                </a:cxn>
              </a:cxnLst>
              <a:rect l="l" t="t" r="r" b="b"/>
              <a:pathLst>
                <a:path w="18983" h="12673">
                  <a:moveTo>
                    <a:pt x="-8689" y="-4673"/>
                  </a:moveTo>
                  <a:lnTo>
                    <a:pt x="10294" y="-4673"/>
                  </a:lnTo>
                  <a:lnTo>
                    <a:pt x="10294" y="8000"/>
                  </a:lnTo>
                  <a:lnTo>
                    <a:pt x="-8689" y="8000"/>
                  </a:lnTo>
                  <a:lnTo>
                    <a:pt x="-8689" y="-4673"/>
                  </a:lnTo>
                </a:path>
              </a:pathLst>
            </a:custGeom>
            <a:grpFill/>
            <a:ln w="548" cap="flat">
              <a:noFill/>
              <a:prstDash val="solid"/>
              <a:miter/>
            </a:ln>
          </p:spPr>
          <p:txBody>
            <a:bodyPr/>
            <a:lstStyle/>
            <a:p>
              <a:endParaRPr lang="en-US"/>
            </a:p>
          </p:txBody>
        </p:sp>
        <p:sp>
          <p:nvSpPr>
            <p:cNvPr id="277" name="Freeform: Shape 276">
              <a:extLst>
                <a:ext uri="{FF2B5EF4-FFF2-40B4-BE49-F238E27FC236}">
                  <a16:creationId xmlns:a16="http://schemas.microsoft.com/office/drawing/2014/main" id="{8B79D1BB-A695-DDC2-0124-FFA02976B61B}"/>
                </a:ext>
              </a:extLst>
            </p:cNvPr>
            <p:cNvSpPr/>
            <p:nvPr/>
          </p:nvSpPr>
          <p:spPr>
            <a:xfrm flipV="1">
              <a:off x="24076699" y="4570654"/>
              <a:ext cx="18983" cy="14785"/>
            </a:xfrm>
            <a:custGeom>
              <a:avLst/>
              <a:gdLst>
                <a:gd name="csX0" fmla="*/ -8689 w 18983"/>
                <a:gd name="csY0" fmla="*/ -4821 h 14785"/>
                <a:gd name="csX1" fmla="*/ 10294 w 18983"/>
                <a:gd name="csY1" fmla="*/ -4821 h 14785"/>
                <a:gd name="csX2" fmla="*/ 10294 w 18983"/>
                <a:gd name="csY2" fmla="*/ 9965 h 14785"/>
                <a:gd name="csX3" fmla="*/ -8689 w 18983"/>
                <a:gd name="csY3" fmla="*/ 9965 h 14785"/>
                <a:gd name="csX4" fmla="*/ -8689 w 18983"/>
                <a:gd name="csY4" fmla="*/ -4821 h 14785"/>
              </a:gdLst>
              <a:ahLst/>
              <a:cxnLst>
                <a:cxn ang="0">
                  <a:pos x="csX0" y="csY0"/>
                </a:cxn>
                <a:cxn ang="0">
                  <a:pos x="csX1" y="csY1"/>
                </a:cxn>
                <a:cxn ang="0">
                  <a:pos x="csX2" y="csY2"/>
                </a:cxn>
                <a:cxn ang="0">
                  <a:pos x="csX3" y="csY3"/>
                </a:cxn>
                <a:cxn ang="0">
                  <a:pos x="csX4" y="csY4"/>
                </a:cxn>
              </a:cxnLst>
              <a:rect l="l" t="t" r="r" b="b"/>
              <a:pathLst>
                <a:path w="18983" h="14785">
                  <a:moveTo>
                    <a:pt x="-8689" y="-4821"/>
                  </a:moveTo>
                  <a:lnTo>
                    <a:pt x="10294" y="-4821"/>
                  </a:lnTo>
                  <a:lnTo>
                    <a:pt x="10294" y="9965"/>
                  </a:lnTo>
                  <a:lnTo>
                    <a:pt x="-8689" y="9965"/>
                  </a:lnTo>
                  <a:lnTo>
                    <a:pt x="-8689" y="-4821"/>
                  </a:lnTo>
                </a:path>
              </a:pathLst>
            </a:custGeom>
            <a:grpFill/>
            <a:ln w="548" cap="flat">
              <a:noFill/>
              <a:prstDash val="solid"/>
              <a:miter/>
            </a:ln>
          </p:spPr>
          <p:txBody>
            <a:bodyPr/>
            <a:lstStyle/>
            <a:p>
              <a:endParaRPr lang="en-US"/>
            </a:p>
          </p:txBody>
        </p:sp>
        <p:sp>
          <p:nvSpPr>
            <p:cNvPr id="278" name="Freeform: Shape 277">
              <a:extLst>
                <a:ext uri="{FF2B5EF4-FFF2-40B4-BE49-F238E27FC236}">
                  <a16:creationId xmlns:a16="http://schemas.microsoft.com/office/drawing/2014/main" id="{27C2DE0A-87D9-A072-55AC-96F4013B99A7}"/>
                </a:ext>
              </a:extLst>
            </p:cNvPr>
            <p:cNvSpPr/>
            <p:nvPr/>
          </p:nvSpPr>
          <p:spPr>
            <a:xfrm flipV="1">
              <a:off x="24076699" y="4648149"/>
              <a:ext cx="18983" cy="14774"/>
            </a:xfrm>
            <a:custGeom>
              <a:avLst/>
              <a:gdLst>
                <a:gd name="csX0" fmla="*/ -8689 w 18983"/>
                <a:gd name="csY0" fmla="*/ -4634 h 14774"/>
                <a:gd name="csX1" fmla="*/ 10294 w 18983"/>
                <a:gd name="csY1" fmla="*/ -4634 h 14774"/>
                <a:gd name="csX2" fmla="*/ 10294 w 18983"/>
                <a:gd name="csY2" fmla="*/ 10140 h 14774"/>
                <a:gd name="csX3" fmla="*/ -8689 w 18983"/>
                <a:gd name="csY3" fmla="*/ 10140 h 14774"/>
                <a:gd name="csX4" fmla="*/ -8689 w 18983"/>
                <a:gd name="csY4" fmla="*/ -4634 h 14774"/>
              </a:gdLst>
              <a:ahLst/>
              <a:cxnLst>
                <a:cxn ang="0">
                  <a:pos x="csX0" y="csY0"/>
                </a:cxn>
                <a:cxn ang="0">
                  <a:pos x="csX1" y="csY1"/>
                </a:cxn>
                <a:cxn ang="0">
                  <a:pos x="csX2" y="csY2"/>
                </a:cxn>
                <a:cxn ang="0">
                  <a:pos x="csX3" y="csY3"/>
                </a:cxn>
                <a:cxn ang="0">
                  <a:pos x="csX4" y="csY4"/>
                </a:cxn>
              </a:cxnLst>
              <a:rect l="l" t="t" r="r" b="b"/>
              <a:pathLst>
                <a:path w="18983" h="14774">
                  <a:moveTo>
                    <a:pt x="-8689" y="-4634"/>
                  </a:moveTo>
                  <a:lnTo>
                    <a:pt x="10294" y="-4634"/>
                  </a:lnTo>
                  <a:lnTo>
                    <a:pt x="10294" y="10140"/>
                  </a:lnTo>
                  <a:lnTo>
                    <a:pt x="-8689" y="10140"/>
                  </a:lnTo>
                  <a:lnTo>
                    <a:pt x="-8689" y="-4634"/>
                  </a:lnTo>
                </a:path>
              </a:pathLst>
            </a:custGeom>
            <a:grpFill/>
            <a:ln w="548" cap="flat">
              <a:noFill/>
              <a:prstDash val="solid"/>
              <a:miter/>
            </a:ln>
          </p:spPr>
          <p:txBody>
            <a:bodyPr/>
            <a:lstStyle/>
            <a:p>
              <a:endParaRPr lang="en-US"/>
            </a:p>
          </p:txBody>
        </p:sp>
        <p:sp>
          <p:nvSpPr>
            <p:cNvPr id="279" name="Freeform: Shape 278">
              <a:extLst>
                <a:ext uri="{FF2B5EF4-FFF2-40B4-BE49-F238E27FC236}">
                  <a16:creationId xmlns:a16="http://schemas.microsoft.com/office/drawing/2014/main" id="{C7C05049-1DD0-A1E6-7802-B1D96BAF487F}"/>
                </a:ext>
              </a:extLst>
            </p:cNvPr>
            <p:cNvSpPr/>
            <p:nvPr/>
          </p:nvSpPr>
          <p:spPr>
            <a:xfrm flipV="1">
              <a:off x="24133318" y="4394277"/>
              <a:ext cx="18982" cy="12070"/>
            </a:xfrm>
            <a:custGeom>
              <a:avLst/>
              <a:gdLst>
                <a:gd name="csX0" fmla="*/ -8759 w 18982"/>
                <a:gd name="csY0" fmla="*/ -5249 h 12070"/>
                <a:gd name="csX1" fmla="*/ 10224 w 18982"/>
                <a:gd name="csY1" fmla="*/ -5249 h 12070"/>
                <a:gd name="csX2" fmla="*/ 10224 w 18982"/>
                <a:gd name="csY2" fmla="*/ 6822 h 12070"/>
                <a:gd name="csX3" fmla="*/ -8759 w 18982"/>
                <a:gd name="csY3" fmla="*/ 6822 h 12070"/>
                <a:gd name="csX4" fmla="*/ -8759 w 18982"/>
                <a:gd name="csY4" fmla="*/ -5249 h 12070"/>
              </a:gdLst>
              <a:ahLst/>
              <a:cxnLst>
                <a:cxn ang="0">
                  <a:pos x="csX0" y="csY0"/>
                </a:cxn>
                <a:cxn ang="0">
                  <a:pos x="csX1" y="csY1"/>
                </a:cxn>
                <a:cxn ang="0">
                  <a:pos x="csX2" y="csY2"/>
                </a:cxn>
                <a:cxn ang="0">
                  <a:pos x="csX3" y="csY3"/>
                </a:cxn>
                <a:cxn ang="0">
                  <a:pos x="csX4" y="csY4"/>
                </a:cxn>
              </a:cxnLst>
              <a:rect l="l" t="t" r="r" b="b"/>
              <a:pathLst>
                <a:path w="18982" h="12070">
                  <a:moveTo>
                    <a:pt x="-8759" y="-5249"/>
                  </a:moveTo>
                  <a:lnTo>
                    <a:pt x="10224" y="-5249"/>
                  </a:lnTo>
                  <a:lnTo>
                    <a:pt x="10224" y="6822"/>
                  </a:lnTo>
                  <a:lnTo>
                    <a:pt x="-8759" y="6822"/>
                  </a:lnTo>
                  <a:lnTo>
                    <a:pt x="-8759" y="-5249"/>
                  </a:lnTo>
                </a:path>
              </a:pathLst>
            </a:custGeom>
            <a:grpFill/>
            <a:ln w="548" cap="flat">
              <a:noFill/>
              <a:prstDash val="solid"/>
              <a:miter/>
            </a:ln>
          </p:spPr>
          <p:txBody>
            <a:bodyPr/>
            <a:lstStyle/>
            <a:p>
              <a:endParaRPr lang="en-US"/>
            </a:p>
          </p:txBody>
        </p:sp>
        <p:sp>
          <p:nvSpPr>
            <p:cNvPr id="280" name="Freeform: Shape 279">
              <a:extLst>
                <a:ext uri="{FF2B5EF4-FFF2-40B4-BE49-F238E27FC236}">
                  <a16:creationId xmlns:a16="http://schemas.microsoft.com/office/drawing/2014/main" id="{13FCB761-6136-FE46-9114-10EC25B322D8}"/>
                </a:ext>
              </a:extLst>
            </p:cNvPr>
            <p:cNvSpPr/>
            <p:nvPr/>
          </p:nvSpPr>
          <p:spPr>
            <a:xfrm flipV="1">
              <a:off x="24133318" y="4408756"/>
              <a:ext cx="18982" cy="12081"/>
            </a:xfrm>
            <a:custGeom>
              <a:avLst/>
              <a:gdLst>
                <a:gd name="csX0" fmla="*/ -8759 w 18982"/>
                <a:gd name="csY0" fmla="*/ -5214 h 12081"/>
                <a:gd name="csX1" fmla="*/ 10224 w 18982"/>
                <a:gd name="csY1" fmla="*/ -5214 h 12081"/>
                <a:gd name="csX2" fmla="*/ 10224 w 18982"/>
                <a:gd name="csY2" fmla="*/ 6867 h 12081"/>
                <a:gd name="csX3" fmla="*/ -8759 w 18982"/>
                <a:gd name="csY3" fmla="*/ 6867 h 12081"/>
                <a:gd name="csX4" fmla="*/ -8759 w 18982"/>
                <a:gd name="csY4" fmla="*/ -5214 h 12081"/>
              </a:gdLst>
              <a:ahLst/>
              <a:cxnLst>
                <a:cxn ang="0">
                  <a:pos x="csX0" y="csY0"/>
                </a:cxn>
                <a:cxn ang="0">
                  <a:pos x="csX1" y="csY1"/>
                </a:cxn>
                <a:cxn ang="0">
                  <a:pos x="csX2" y="csY2"/>
                </a:cxn>
                <a:cxn ang="0">
                  <a:pos x="csX3" y="csY3"/>
                </a:cxn>
                <a:cxn ang="0">
                  <a:pos x="csX4" y="csY4"/>
                </a:cxn>
              </a:cxnLst>
              <a:rect l="l" t="t" r="r" b="b"/>
              <a:pathLst>
                <a:path w="18982" h="12081">
                  <a:moveTo>
                    <a:pt x="-8759" y="-5214"/>
                  </a:moveTo>
                  <a:lnTo>
                    <a:pt x="10224" y="-5214"/>
                  </a:lnTo>
                  <a:lnTo>
                    <a:pt x="10224" y="6867"/>
                  </a:lnTo>
                  <a:lnTo>
                    <a:pt x="-8759" y="6867"/>
                  </a:lnTo>
                  <a:lnTo>
                    <a:pt x="-8759" y="-5214"/>
                  </a:lnTo>
                </a:path>
              </a:pathLst>
            </a:custGeom>
            <a:grpFill/>
            <a:ln w="548" cap="flat">
              <a:noFill/>
              <a:prstDash val="solid"/>
              <a:miter/>
            </a:ln>
          </p:spPr>
          <p:txBody>
            <a:bodyPr/>
            <a:lstStyle/>
            <a:p>
              <a:endParaRPr lang="en-US"/>
            </a:p>
          </p:txBody>
        </p:sp>
        <p:sp>
          <p:nvSpPr>
            <p:cNvPr id="281" name="Freeform: Shape 280">
              <a:extLst>
                <a:ext uri="{FF2B5EF4-FFF2-40B4-BE49-F238E27FC236}">
                  <a16:creationId xmlns:a16="http://schemas.microsoft.com/office/drawing/2014/main" id="{C49FA0AD-3D04-F40F-867B-E915F00DDDEE}"/>
                </a:ext>
              </a:extLst>
            </p:cNvPr>
            <p:cNvSpPr/>
            <p:nvPr/>
          </p:nvSpPr>
          <p:spPr>
            <a:xfrm flipV="1">
              <a:off x="24133318" y="4453070"/>
              <a:ext cx="18982" cy="12075"/>
            </a:xfrm>
            <a:custGeom>
              <a:avLst/>
              <a:gdLst>
                <a:gd name="csX0" fmla="*/ -8759 w 18982"/>
                <a:gd name="csY0" fmla="*/ -5107 h 12075"/>
                <a:gd name="csX1" fmla="*/ 10224 w 18982"/>
                <a:gd name="csY1" fmla="*/ -5107 h 12075"/>
                <a:gd name="csX2" fmla="*/ 10224 w 18982"/>
                <a:gd name="csY2" fmla="*/ 6968 h 12075"/>
                <a:gd name="csX3" fmla="*/ -8759 w 18982"/>
                <a:gd name="csY3" fmla="*/ 6968 h 12075"/>
                <a:gd name="csX4" fmla="*/ -8759 w 18982"/>
                <a:gd name="csY4" fmla="*/ -5107 h 12075"/>
              </a:gdLst>
              <a:ahLst/>
              <a:cxnLst>
                <a:cxn ang="0">
                  <a:pos x="csX0" y="csY0"/>
                </a:cxn>
                <a:cxn ang="0">
                  <a:pos x="csX1" y="csY1"/>
                </a:cxn>
                <a:cxn ang="0">
                  <a:pos x="csX2" y="csY2"/>
                </a:cxn>
                <a:cxn ang="0">
                  <a:pos x="csX3" y="csY3"/>
                </a:cxn>
                <a:cxn ang="0">
                  <a:pos x="csX4" y="csY4"/>
                </a:cxn>
              </a:cxnLst>
              <a:rect l="l" t="t" r="r" b="b"/>
              <a:pathLst>
                <a:path w="18982" h="12075">
                  <a:moveTo>
                    <a:pt x="-8759" y="-5107"/>
                  </a:moveTo>
                  <a:lnTo>
                    <a:pt x="10224" y="-5107"/>
                  </a:lnTo>
                  <a:lnTo>
                    <a:pt x="10224" y="6968"/>
                  </a:lnTo>
                  <a:lnTo>
                    <a:pt x="-8759" y="6968"/>
                  </a:lnTo>
                  <a:lnTo>
                    <a:pt x="-8759" y="-5107"/>
                  </a:lnTo>
                </a:path>
              </a:pathLst>
            </a:custGeom>
            <a:grpFill/>
            <a:ln w="548" cap="flat">
              <a:noFill/>
              <a:prstDash val="solid"/>
              <a:miter/>
            </a:ln>
          </p:spPr>
          <p:txBody>
            <a:bodyPr/>
            <a:lstStyle/>
            <a:p>
              <a:endParaRPr lang="en-US"/>
            </a:p>
          </p:txBody>
        </p:sp>
        <p:sp>
          <p:nvSpPr>
            <p:cNvPr id="282" name="Freeform: Shape 281">
              <a:extLst>
                <a:ext uri="{FF2B5EF4-FFF2-40B4-BE49-F238E27FC236}">
                  <a16:creationId xmlns:a16="http://schemas.microsoft.com/office/drawing/2014/main" id="{843DD6B3-EB8B-EDF2-3829-00A40DDFF7E0}"/>
                </a:ext>
              </a:extLst>
            </p:cNvPr>
            <p:cNvSpPr/>
            <p:nvPr/>
          </p:nvSpPr>
          <p:spPr>
            <a:xfrm flipV="1">
              <a:off x="24133318" y="4467548"/>
              <a:ext cx="18982" cy="12081"/>
            </a:xfrm>
            <a:custGeom>
              <a:avLst/>
              <a:gdLst>
                <a:gd name="csX0" fmla="*/ -8759 w 18982"/>
                <a:gd name="csY0" fmla="*/ -5072 h 12081"/>
                <a:gd name="csX1" fmla="*/ 10224 w 18982"/>
                <a:gd name="csY1" fmla="*/ -5072 h 12081"/>
                <a:gd name="csX2" fmla="*/ 10224 w 18982"/>
                <a:gd name="csY2" fmla="*/ 7009 h 12081"/>
                <a:gd name="csX3" fmla="*/ -8759 w 18982"/>
                <a:gd name="csY3" fmla="*/ 7009 h 12081"/>
                <a:gd name="csX4" fmla="*/ -8759 w 18982"/>
                <a:gd name="csY4" fmla="*/ -5072 h 12081"/>
              </a:gdLst>
              <a:ahLst/>
              <a:cxnLst>
                <a:cxn ang="0">
                  <a:pos x="csX0" y="csY0"/>
                </a:cxn>
                <a:cxn ang="0">
                  <a:pos x="csX1" y="csY1"/>
                </a:cxn>
                <a:cxn ang="0">
                  <a:pos x="csX2" y="csY2"/>
                </a:cxn>
                <a:cxn ang="0">
                  <a:pos x="csX3" y="csY3"/>
                </a:cxn>
                <a:cxn ang="0">
                  <a:pos x="csX4" y="csY4"/>
                </a:cxn>
              </a:cxnLst>
              <a:rect l="l" t="t" r="r" b="b"/>
              <a:pathLst>
                <a:path w="18982" h="12081">
                  <a:moveTo>
                    <a:pt x="-8759" y="-5072"/>
                  </a:moveTo>
                  <a:lnTo>
                    <a:pt x="10224" y="-5072"/>
                  </a:lnTo>
                  <a:lnTo>
                    <a:pt x="10224" y="7009"/>
                  </a:lnTo>
                  <a:lnTo>
                    <a:pt x="-8759" y="7009"/>
                  </a:lnTo>
                  <a:lnTo>
                    <a:pt x="-8759" y="-5072"/>
                  </a:lnTo>
                </a:path>
              </a:pathLst>
            </a:custGeom>
            <a:grpFill/>
            <a:ln w="548" cap="flat">
              <a:noFill/>
              <a:prstDash val="solid"/>
              <a:miter/>
            </a:ln>
          </p:spPr>
          <p:txBody>
            <a:bodyPr/>
            <a:lstStyle/>
            <a:p>
              <a:endParaRPr lang="en-US"/>
            </a:p>
          </p:txBody>
        </p:sp>
        <p:sp>
          <p:nvSpPr>
            <p:cNvPr id="283" name="Freeform: Shape 282">
              <a:extLst>
                <a:ext uri="{FF2B5EF4-FFF2-40B4-BE49-F238E27FC236}">
                  <a16:creationId xmlns:a16="http://schemas.microsoft.com/office/drawing/2014/main" id="{2EB25990-F6D2-50C0-F89D-4B4B5F1CD78D}"/>
                </a:ext>
              </a:extLst>
            </p:cNvPr>
            <p:cNvSpPr/>
            <p:nvPr/>
          </p:nvSpPr>
          <p:spPr>
            <a:xfrm flipV="1">
              <a:off x="24133318" y="4511862"/>
              <a:ext cx="18982" cy="12075"/>
            </a:xfrm>
            <a:custGeom>
              <a:avLst/>
              <a:gdLst>
                <a:gd name="csX0" fmla="*/ -8759 w 18982"/>
                <a:gd name="csY0" fmla="*/ -4966 h 12075"/>
                <a:gd name="csX1" fmla="*/ 10224 w 18982"/>
                <a:gd name="csY1" fmla="*/ -4966 h 12075"/>
                <a:gd name="csX2" fmla="*/ 10224 w 18982"/>
                <a:gd name="csY2" fmla="*/ 7110 h 12075"/>
                <a:gd name="csX3" fmla="*/ -8759 w 18982"/>
                <a:gd name="csY3" fmla="*/ 7110 h 12075"/>
                <a:gd name="csX4" fmla="*/ -8759 w 18982"/>
                <a:gd name="csY4" fmla="*/ -4966 h 12075"/>
              </a:gdLst>
              <a:ahLst/>
              <a:cxnLst>
                <a:cxn ang="0">
                  <a:pos x="csX0" y="csY0"/>
                </a:cxn>
                <a:cxn ang="0">
                  <a:pos x="csX1" y="csY1"/>
                </a:cxn>
                <a:cxn ang="0">
                  <a:pos x="csX2" y="csY2"/>
                </a:cxn>
                <a:cxn ang="0">
                  <a:pos x="csX3" y="csY3"/>
                </a:cxn>
                <a:cxn ang="0">
                  <a:pos x="csX4" y="csY4"/>
                </a:cxn>
              </a:cxnLst>
              <a:rect l="l" t="t" r="r" b="b"/>
              <a:pathLst>
                <a:path w="18982" h="12075">
                  <a:moveTo>
                    <a:pt x="-8759" y="-4966"/>
                  </a:moveTo>
                  <a:lnTo>
                    <a:pt x="10224" y="-4966"/>
                  </a:lnTo>
                  <a:lnTo>
                    <a:pt x="10224" y="7110"/>
                  </a:lnTo>
                  <a:lnTo>
                    <a:pt x="-8759" y="7110"/>
                  </a:lnTo>
                  <a:lnTo>
                    <a:pt x="-8759" y="-4966"/>
                  </a:lnTo>
                </a:path>
              </a:pathLst>
            </a:custGeom>
            <a:grpFill/>
            <a:ln w="548" cap="flat">
              <a:noFill/>
              <a:prstDash val="solid"/>
              <a:miter/>
            </a:ln>
          </p:spPr>
          <p:txBody>
            <a:bodyPr/>
            <a:lstStyle/>
            <a:p>
              <a:endParaRPr lang="en-US"/>
            </a:p>
          </p:txBody>
        </p:sp>
        <p:sp>
          <p:nvSpPr>
            <p:cNvPr id="284" name="Freeform: Shape 283">
              <a:extLst>
                <a:ext uri="{FF2B5EF4-FFF2-40B4-BE49-F238E27FC236}">
                  <a16:creationId xmlns:a16="http://schemas.microsoft.com/office/drawing/2014/main" id="{DFA99447-4B47-0D31-443A-EC7BA225E02E}"/>
                </a:ext>
              </a:extLst>
            </p:cNvPr>
            <p:cNvSpPr/>
            <p:nvPr/>
          </p:nvSpPr>
          <p:spPr>
            <a:xfrm flipV="1">
              <a:off x="24133318" y="4526340"/>
              <a:ext cx="18982" cy="12081"/>
            </a:xfrm>
            <a:custGeom>
              <a:avLst/>
              <a:gdLst>
                <a:gd name="csX0" fmla="*/ -8759 w 18982"/>
                <a:gd name="csY0" fmla="*/ -4931 h 12081"/>
                <a:gd name="csX1" fmla="*/ 10224 w 18982"/>
                <a:gd name="csY1" fmla="*/ -4931 h 12081"/>
                <a:gd name="csX2" fmla="*/ 10224 w 18982"/>
                <a:gd name="csY2" fmla="*/ 7150 h 12081"/>
                <a:gd name="csX3" fmla="*/ -8759 w 18982"/>
                <a:gd name="csY3" fmla="*/ 7150 h 12081"/>
                <a:gd name="csX4" fmla="*/ -8759 w 18982"/>
                <a:gd name="csY4" fmla="*/ -4931 h 12081"/>
              </a:gdLst>
              <a:ahLst/>
              <a:cxnLst>
                <a:cxn ang="0">
                  <a:pos x="csX0" y="csY0"/>
                </a:cxn>
                <a:cxn ang="0">
                  <a:pos x="csX1" y="csY1"/>
                </a:cxn>
                <a:cxn ang="0">
                  <a:pos x="csX2" y="csY2"/>
                </a:cxn>
                <a:cxn ang="0">
                  <a:pos x="csX3" y="csY3"/>
                </a:cxn>
                <a:cxn ang="0">
                  <a:pos x="csX4" y="csY4"/>
                </a:cxn>
              </a:cxnLst>
              <a:rect l="l" t="t" r="r" b="b"/>
              <a:pathLst>
                <a:path w="18982" h="12081">
                  <a:moveTo>
                    <a:pt x="-8759" y="-4931"/>
                  </a:moveTo>
                  <a:lnTo>
                    <a:pt x="10224" y="-4931"/>
                  </a:lnTo>
                  <a:lnTo>
                    <a:pt x="10224" y="7150"/>
                  </a:lnTo>
                  <a:lnTo>
                    <a:pt x="-8759" y="7150"/>
                  </a:lnTo>
                  <a:lnTo>
                    <a:pt x="-8759" y="-4931"/>
                  </a:lnTo>
                </a:path>
              </a:pathLst>
            </a:custGeom>
            <a:grpFill/>
            <a:ln w="548" cap="flat">
              <a:noFill/>
              <a:prstDash val="solid"/>
              <a:miter/>
            </a:ln>
          </p:spPr>
          <p:txBody>
            <a:bodyPr/>
            <a:lstStyle/>
            <a:p>
              <a:endParaRPr lang="en-US"/>
            </a:p>
          </p:txBody>
        </p:sp>
        <p:sp>
          <p:nvSpPr>
            <p:cNvPr id="285" name="Freeform: Shape 284">
              <a:extLst>
                <a:ext uri="{FF2B5EF4-FFF2-40B4-BE49-F238E27FC236}">
                  <a16:creationId xmlns:a16="http://schemas.microsoft.com/office/drawing/2014/main" id="{128748DA-8916-D2C4-C1D1-0EB9A2EB11D3}"/>
                </a:ext>
              </a:extLst>
            </p:cNvPr>
            <p:cNvSpPr/>
            <p:nvPr/>
          </p:nvSpPr>
          <p:spPr>
            <a:xfrm flipV="1">
              <a:off x="24133318" y="4686582"/>
              <a:ext cx="18982" cy="12081"/>
            </a:xfrm>
            <a:custGeom>
              <a:avLst/>
              <a:gdLst>
                <a:gd name="csX0" fmla="*/ -8759 w 18982"/>
                <a:gd name="csY0" fmla="*/ -4545 h 12081"/>
                <a:gd name="csX1" fmla="*/ 10224 w 18982"/>
                <a:gd name="csY1" fmla="*/ -4545 h 12081"/>
                <a:gd name="csX2" fmla="*/ 10224 w 18982"/>
                <a:gd name="csY2" fmla="*/ 7536 h 12081"/>
                <a:gd name="csX3" fmla="*/ -8759 w 18982"/>
                <a:gd name="csY3" fmla="*/ 7536 h 12081"/>
                <a:gd name="csX4" fmla="*/ -8759 w 18982"/>
                <a:gd name="csY4" fmla="*/ -4545 h 12081"/>
              </a:gdLst>
              <a:ahLst/>
              <a:cxnLst>
                <a:cxn ang="0">
                  <a:pos x="csX0" y="csY0"/>
                </a:cxn>
                <a:cxn ang="0">
                  <a:pos x="csX1" y="csY1"/>
                </a:cxn>
                <a:cxn ang="0">
                  <a:pos x="csX2" y="csY2"/>
                </a:cxn>
                <a:cxn ang="0">
                  <a:pos x="csX3" y="csY3"/>
                </a:cxn>
                <a:cxn ang="0">
                  <a:pos x="csX4" y="csY4"/>
                </a:cxn>
              </a:cxnLst>
              <a:rect l="l" t="t" r="r" b="b"/>
              <a:pathLst>
                <a:path w="18982" h="12081">
                  <a:moveTo>
                    <a:pt x="-8759" y="-4545"/>
                  </a:moveTo>
                  <a:lnTo>
                    <a:pt x="10224" y="-4545"/>
                  </a:lnTo>
                  <a:lnTo>
                    <a:pt x="10224" y="7536"/>
                  </a:lnTo>
                  <a:lnTo>
                    <a:pt x="-8759" y="7536"/>
                  </a:lnTo>
                  <a:lnTo>
                    <a:pt x="-8759" y="-4545"/>
                  </a:lnTo>
                </a:path>
              </a:pathLst>
            </a:custGeom>
            <a:grpFill/>
            <a:ln w="548" cap="flat">
              <a:noFill/>
              <a:prstDash val="solid"/>
              <a:miter/>
            </a:ln>
          </p:spPr>
          <p:txBody>
            <a:bodyPr/>
            <a:lstStyle/>
            <a:p>
              <a:endParaRPr lang="en-US"/>
            </a:p>
          </p:txBody>
        </p:sp>
        <p:sp>
          <p:nvSpPr>
            <p:cNvPr id="286" name="Freeform: Shape 285">
              <a:extLst>
                <a:ext uri="{FF2B5EF4-FFF2-40B4-BE49-F238E27FC236}">
                  <a16:creationId xmlns:a16="http://schemas.microsoft.com/office/drawing/2014/main" id="{23523966-58EF-67DB-CE64-426AD3692397}"/>
                </a:ext>
              </a:extLst>
            </p:cNvPr>
            <p:cNvSpPr/>
            <p:nvPr/>
          </p:nvSpPr>
          <p:spPr>
            <a:xfrm flipV="1">
              <a:off x="24133318" y="4701066"/>
              <a:ext cx="18982" cy="12075"/>
            </a:xfrm>
            <a:custGeom>
              <a:avLst/>
              <a:gdLst>
                <a:gd name="csX0" fmla="*/ -8759 w 18982"/>
                <a:gd name="csY0" fmla="*/ -4510 h 12075"/>
                <a:gd name="csX1" fmla="*/ 10224 w 18982"/>
                <a:gd name="csY1" fmla="*/ -4510 h 12075"/>
                <a:gd name="csX2" fmla="*/ 10224 w 18982"/>
                <a:gd name="csY2" fmla="*/ 7565 h 12075"/>
                <a:gd name="csX3" fmla="*/ -8759 w 18982"/>
                <a:gd name="csY3" fmla="*/ 7565 h 12075"/>
                <a:gd name="csX4" fmla="*/ -8759 w 18982"/>
                <a:gd name="csY4" fmla="*/ -4510 h 12075"/>
              </a:gdLst>
              <a:ahLst/>
              <a:cxnLst>
                <a:cxn ang="0">
                  <a:pos x="csX0" y="csY0"/>
                </a:cxn>
                <a:cxn ang="0">
                  <a:pos x="csX1" y="csY1"/>
                </a:cxn>
                <a:cxn ang="0">
                  <a:pos x="csX2" y="csY2"/>
                </a:cxn>
                <a:cxn ang="0">
                  <a:pos x="csX3" y="csY3"/>
                </a:cxn>
                <a:cxn ang="0">
                  <a:pos x="csX4" y="csY4"/>
                </a:cxn>
              </a:cxnLst>
              <a:rect l="l" t="t" r="r" b="b"/>
              <a:pathLst>
                <a:path w="18982" h="12075">
                  <a:moveTo>
                    <a:pt x="-8759" y="-4510"/>
                  </a:moveTo>
                  <a:lnTo>
                    <a:pt x="10224" y="-4510"/>
                  </a:lnTo>
                  <a:lnTo>
                    <a:pt x="10224" y="7565"/>
                  </a:lnTo>
                  <a:lnTo>
                    <a:pt x="-8759" y="7565"/>
                  </a:lnTo>
                  <a:lnTo>
                    <a:pt x="-8759" y="-4510"/>
                  </a:lnTo>
                </a:path>
              </a:pathLst>
            </a:custGeom>
            <a:grpFill/>
            <a:ln w="548" cap="flat">
              <a:noFill/>
              <a:prstDash val="solid"/>
              <a:miter/>
            </a:ln>
          </p:spPr>
          <p:txBody>
            <a:bodyPr/>
            <a:lstStyle/>
            <a:p>
              <a:endParaRPr lang="en-US"/>
            </a:p>
          </p:txBody>
        </p:sp>
        <p:sp>
          <p:nvSpPr>
            <p:cNvPr id="287" name="Freeform: Shape 286">
              <a:extLst>
                <a:ext uri="{FF2B5EF4-FFF2-40B4-BE49-F238E27FC236}">
                  <a16:creationId xmlns:a16="http://schemas.microsoft.com/office/drawing/2014/main" id="{81ECDB0C-744A-BCD1-EE87-E93C5EE1FD43}"/>
                </a:ext>
              </a:extLst>
            </p:cNvPr>
            <p:cNvSpPr/>
            <p:nvPr/>
          </p:nvSpPr>
          <p:spPr>
            <a:xfrm flipV="1">
              <a:off x="24133318" y="4587848"/>
              <a:ext cx="18982" cy="12668"/>
            </a:xfrm>
            <a:custGeom>
              <a:avLst/>
              <a:gdLst>
                <a:gd name="csX0" fmla="*/ -8759 w 18982"/>
                <a:gd name="csY0" fmla="*/ -4782 h 12668"/>
                <a:gd name="csX1" fmla="*/ 10224 w 18982"/>
                <a:gd name="csY1" fmla="*/ -4782 h 12668"/>
                <a:gd name="csX2" fmla="*/ 10224 w 18982"/>
                <a:gd name="csY2" fmla="*/ 7886 h 12668"/>
                <a:gd name="csX3" fmla="*/ -8759 w 18982"/>
                <a:gd name="csY3" fmla="*/ 7886 h 12668"/>
                <a:gd name="csX4" fmla="*/ -8759 w 18982"/>
                <a:gd name="csY4" fmla="*/ -4782 h 12668"/>
              </a:gdLst>
              <a:ahLst/>
              <a:cxnLst>
                <a:cxn ang="0">
                  <a:pos x="csX0" y="csY0"/>
                </a:cxn>
                <a:cxn ang="0">
                  <a:pos x="csX1" y="csY1"/>
                </a:cxn>
                <a:cxn ang="0">
                  <a:pos x="csX2" y="csY2"/>
                </a:cxn>
                <a:cxn ang="0">
                  <a:pos x="csX3" y="csY3"/>
                </a:cxn>
                <a:cxn ang="0">
                  <a:pos x="csX4" y="csY4"/>
                </a:cxn>
              </a:cxnLst>
              <a:rect l="l" t="t" r="r" b="b"/>
              <a:pathLst>
                <a:path w="18982" h="12668">
                  <a:moveTo>
                    <a:pt x="-8759" y="-4782"/>
                  </a:moveTo>
                  <a:lnTo>
                    <a:pt x="10224" y="-4782"/>
                  </a:lnTo>
                  <a:lnTo>
                    <a:pt x="10224" y="7886"/>
                  </a:lnTo>
                  <a:lnTo>
                    <a:pt x="-8759" y="7886"/>
                  </a:lnTo>
                  <a:lnTo>
                    <a:pt x="-8759" y="-4782"/>
                  </a:lnTo>
                </a:path>
              </a:pathLst>
            </a:custGeom>
            <a:grpFill/>
            <a:ln w="548" cap="flat">
              <a:noFill/>
              <a:prstDash val="solid"/>
              <a:miter/>
            </a:ln>
          </p:spPr>
          <p:txBody>
            <a:bodyPr/>
            <a:lstStyle/>
            <a:p>
              <a:endParaRPr lang="en-US"/>
            </a:p>
          </p:txBody>
        </p:sp>
        <p:sp>
          <p:nvSpPr>
            <p:cNvPr id="288" name="Freeform: Shape 287">
              <a:extLst>
                <a:ext uri="{FF2B5EF4-FFF2-40B4-BE49-F238E27FC236}">
                  <a16:creationId xmlns:a16="http://schemas.microsoft.com/office/drawing/2014/main" id="{465D3913-D36E-170E-3CE0-912EACB5E2AA}"/>
                </a:ext>
              </a:extLst>
            </p:cNvPr>
            <p:cNvSpPr/>
            <p:nvPr/>
          </p:nvSpPr>
          <p:spPr>
            <a:xfrm flipV="1">
              <a:off x="24133318" y="4618002"/>
              <a:ext cx="18982" cy="12668"/>
            </a:xfrm>
            <a:custGeom>
              <a:avLst/>
              <a:gdLst>
                <a:gd name="csX0" fmla="*/ -8759 w 18982"/>
                <a:gd name="csY0" fmla="*/ -4710 h 12668"/>
                <a:gd name="csX1" fmla="*/ 10224 w 18982"/>
                <a:gd name="csY1" fmla="*/ -4710 h 12668"/>
                <a:gd name="csX2" fmla="*/ 10224 w 18982"/>
                <a:gd name="csY2" fmla="*/ 7959 h 12668"/>
                <a:gd name="csX3" fmla="*/ -8759 w 18982"/>
                <a:gd name="csY3" fmla="*/ 7959 h 12668"/>
                <a:gd name="csX4" fmla="*/ -8759 w 18982"/>
                <a:gd name="csY4" fmla="*/ -4710 h 12668"/>
              </a:gdLst>
              <a:ahLst/>
              <a:cxnLst>
                <a:cxn ang="0">
                  <a:pos x="csX0" y="csY0"/>
                </a:cxn>
                <a:cxn ang="0">
                  <a:pos x="csX1" y="csY1"/>
                </a:cxn>
                <a:cxn ang="0">
                  <a:pos x="csX2" y="csY2"/>
                </a:cxn>
                <a:cxn ang="0">
                  <a:pos x="csX3" y="csY3"/>
                </a:cxn>
                <a:cxn ang="0">
                  <a:pos x="csX4" y="csY4"/>
                </a:cxn>
              </a:cxnLst>
              <a:rect l="l" t="t" r="r" b="b"/>
              <a:pathLst>
                <a:path w="18982" h="12668">
                  <a:moveTo>
                    <a:pt x="-8759" y="-4710"/>
                  </a:moveTo>
                  <a:lnTo>
                    <a:pt x="10224" y="-4710"/>
                  </a:lnTo>
                  <a:lnTo>
                    <a:pt x="10224" y="7959"/>
                  </a:lnTo>
                  <a:lnTo>
                    <a:pt x="-8759" y="7959"/>
                  </a:lnTo>
                  <a:lnTo>
                    <a:pt x="-8759" y="-4710"/>
                  </a:lnTo>
                </a:path>
              </a:pathLst>
            </a:custGeom>
            <a:grpFill/>
            <a:ln w="548" cap="flat">
              <a:noFill/>
              <a:prstDash val="solid"/>
              <a:miter/>
            </a:ln>
          </p:spPr>
          <p:txBody>
            <a:bodyPr/>
            <a:lstStyle/>
            <a:p>
              <a:endParaRPr lang="en-US"/>
            </a:p>
          </p:txBody>
        </p:sp>
        <p:sp>
          <p:nvSpPr>
            <p:cNvPr id="289" name="Freeform: Shape 288">
              <a:extLst>
                <a:ext uri="{FF2B5EF4-FFF2-40B4-BE49-F238E27FC236}">
                  <a16:creationId xmlns:a16="http://schemas.microsoft.com/office/drawing/2014/main" id="{31A44758-8FC1-3503-F47C-5F62378C6389}"/>
                </a:ext>
              </a:extLst>
            </p:cNvPr>
            <p:cNvSpPr/>
            <p:nvPr/>
          </p:nvSpPr>
          <p:spPr>
            <a:xfrm flipV="1">
              <a:off x="24133318" y="4602925"/>
              <a:ext cx="18982" cy="12668"/>
            </a:xfrm>
            <a:custGeom>
              <a:avLst/>
              <a:gdLst>
                <a:gd name="csX0" fmla="*/ -8759 w 18982"/>
                <a:gd name="csY0" fmla="*/ -4746 h 12668"/>
                <a:gd name="csX1" fmla="*/ 10224 w 18982"/>
                <a:gd name="csY1" fmla="*/ -4746 h 12668"/>
                <a:gd name="csX2" fmla="*/ 10224 w 18982"/>
                <a:gd name="csY2" fmla="*/ 7922 h 12668"/>
                <a:gd name="csX3" fmla="*/ -8759 w 18982"/>
                <a:gd name="csY3" fmla="*/ 7922 h 12668"/>
                <a:gd name="csX4" fmla="*/ -8759 w 18982"/>
                <a:gd name="csY4" fmla="*/ -4746 h 12668"/>
              </a:gdLst>
              <a:ahLst/>
              <a:cxnLst>
                <a:cxn ang="0">
                  <a:pos x="csX0" y="csY0"/>
                </a:cxn>
                <a:cxn ang="0">
                  <a:pos x="csX1" y="csY1"/>
                </a:cxn>
                <a:cxn ang="0">
                  <a:pos x="csX2" y="csY2"/>
                </a:cxn>
                <a:cxn ang="0">
                  <a:pos x="csX3" y="csY3"/>
                </a:cxn>
                <a:cxn ang="0">
                  <a:pos x="csX4" y="csY4"/>
                </a:cxn>
              </a:cxnLst>
              <a:rect l="l" t="t" r="r" b="b"/>
              <a:pathLst>
                <a:path w="18982" h="12668">
                  <a:moveTo>
                    <a:pt x="-8759" y="-4746"/>
                  </a:moveTo>
                  <a:lnTo>
                    <a:pt x="10224" y="-4746"/>
                  </a:lnTo>
                  <a:lnTo>
                    <a:pt x="10224" y="7922"/>
                  </a:lnTo>
                  <a:lnTo>
                    <a:pt x="-8759" y="7922"/>
                  </a:lnTo>
                  <a:lnTo>
                    <a:pt x="-8759" y="-4746"/>
                  </a:lnTo>
                </a:path>
              </a:pathLst>
            </a:custGeom>
            <a:grpFill/>
            <a:ln w="548" cap="flat">
              <a:noFill/>
              <a:prstDash val="solid"/>
              <a:miter/>
            </a:ln>
          </p:spPr>
          <p:txBody>
            <a:bodyPr/>
            <a:lstStyle/>
            <a:p>
              <a:endParaRPr lang="en-US"/>
            </a:p>
          </p:txBody>
        </p:sp>
        <p:sp>
          <p:nvSpPr>
            <p:cNvPr id="290" name="Freeform: Shape 289">
              <a:extLst>
                <a:ext uri="{FF2B5EF4-FFF2-40B4-BE49-F238E27FC236}">
                  <a16:creationId xmlns:a16="http://schemas.microsoft.com/office/drawing/2014/main" id="{1541414F-6208-C485-B956-EE5824F1859F}"/>
                </a:ext>
              </a:extLst>
            </p:cNvPr>
            <p:cNvSpPr/>
            <p:nvPr/>
          </p:nvSpPr>
          <p:spPr>
            <a:xfrm flipV="1">
              <a:off x="24133318" y="4633073"/>
              <a:ext cx="18982" cy="12673"/>
            </a:xfrm>
            <a:custGeom>
              <a:avLst/>
              <a:gdLst>
                <a:gd name="csX0" fmla="*/ -8759 w 18982"/>
                <a:gd name="csY0" fmla="*/ -4673 h 12673"/>
                <a:gd name="csX1" fmla="*/ 10224 w 18982"/>
                <a:gd name="csY1" fmla="*/ -4673 h 12673"/>
                <a:gd name="csX2" fmla="*/ 10224 w 18982"/>
                <a:gd name="csY2" fmla="*/ 8000 h 12673"/>
                <a:gd name="csX3" fmla="*/ -8759 w 18982"/>
                <a:gd name="csY3" fmla="*/ 8000 h 12673"/>
                <a:gd name="csX4" fmla="*/ -8759 w 18982"/>
                <a:gd name="csY4" fmla="*/ -4673 h 12673"/>
              </a:gdLst>
              <a:ahLst/>
              <a:cxnLst>
                <a:cxn ang="0">
                  <a:pos x="csX0" y="csY0"/>
                </a:cxn>
                <a:cxn ang="0">
                  <a:pos x="csX1" y="csY1"/>
                </a:cxn>
                <a:cxn ang="0">
                  <a:pos x="csX2" y="csY2"/>
                </a:cxn>
                <a:cxn ang="0">
                  <a:pos x="csX3" y="csY3"/>
                </a:cxn>
                <a:cxn ang="0">
                  <a:pos x="csX4" y="csY4"/>
                </a:cxn>
              </a:cxnLst>
              <a:rect l="l" t="t" r="r" b="b"/>
              <a:pathLst>
                <a:path w="18982" h="12673">
                  <a:moveTo>
                    <a:pt x="-8759" y="-4673"/>
                  </a:moveTo>
                  <a:lnTo>
                    <a:pt x="10224" y="-4673"/>
                  </a:lnTo>
                  <a:lnTo>
                    <a:pt x="10224" y="8000"/>
                  </a:lnTo>
                  <a:lnTo>
                    <a:pt x="-8759" y="8000"/>
                  </a:lnTo>
                  <a:lnTo>
                    <a:pt x="-8759" y="-4673"/>
                  </a:lnTo>
                </a:path>
              </a:pathLst>
            </a:custGeom>
            <a:grpFill/>
            <a:ln w="548" cap="flat">
              <a:noFill/>
              <a:prstDash val="solid"/>
              <a:miter/>
            </a:ln>
          </p:spPr>
          <p:txBody>
            <a:bodyPr/>
            <a:lstStyle/>
            <a:p>
              <a:endParaRPr lang="en-US"/>
            </a:p>
          </p:txBody>
        </p:sp>
        <p:sp>
          <p:nvSpPr>
            <p:cNvPr id="291" name="Freeform: Shape 290">
              <a:extLst>
                <a:ext uri="{FF2B5EF4-FFF2-40B4-BE49-F238E27FC236}">
                  <a16:creationId xmlns:a16="http://schemas.microsoft.com/office/drawing/2014/main" id="{6FB6D665-0BC4-4557-7398-B69B6E93A837}"/>
                </a:ext>
              </a:extLst>
            </p:cNvPr>
            <p:cNvSpPr/>
            <p:nvPr/>
          </p:nvSpPr>
          <p:spPr>
            <a:xfrm flipV="1">
              <a:off x="24133318" y="4570654"/>
              <a:ext cx="18982" cy="14785"/>
            </a:xfrm>
            <a:custGeom>
              <a:avLst/>
              <a:gdLst>
                <a:gd name="csX0" fmla="*/ -8759 w 18982"/>
                <a:gd name="csY0" fmla="*/ -4821 h 14785"/>
                <a:gd name="csX1" fmla="*/ 10224 w 18982"/>
                <a:gd name="csY1" fmla="*/ -4821 h 14785"/>
                <a:gd name="csX2" fmla="*/ 10224 w 18982"/>
                <a:gd name="csY2" fmla="*/ 9965 h 14785"/>
                <a:gd name="csX3" fmla="*/ -8759 w 18982"/>
                <a:gd name="csY3" fmla="*/ 9965 h 14785"/>
                <a:gd name="csX4" fmla="*/ -8759 w 18982"/>
                <a:gd name="csY4" fmla="*/ -4821 h 14785"/>
              </a:gdLst>
              <a:ahLst/>
              <a:cxnLst>
                <a:cxn ang="0">
                  <a:pos x="csX0" y="csY0"/>
                </a:cxn>
                <a:cxn ang="0">
                  <a:pos x="csX1" y="csY1"/>
                </a:cxn>
                <a:cxn ang="0">
                  <a:pos x="csX2" y="csY2"/>
                </a:cxn>
                <a:cxn ang="0">
                  <a:pos x="csX3" y="csY3"/>
                </a:cxn>
                <a:cxn ang="0">
                  <a:pos x="csX4" y="csY4"/>
                </a:cxn>
              </a:cxnLst>
              <a:rect l="l" t="t" r="r" b="b"/>
              <a:pathLst>
                <a:path w="18982" h="14785">
                  <a:moveTo>
                    <a:pt x="-8759" y="-4821"/>
                  </a:moveTo>
                  <a:lnTo>
                    <a:pt x="10224" y="-4821"/>
                  </a:lnTo>
                  <a:lnTo>
                    <a:pt x="10224" y="9965"/>
                  </a:lnTo>
                  <a:lnTo>
                    <a:pt x="-8759" y="9965"/>
                  </a:lnTo>
                  <a:lnTo>
                    <a:pt x="-8759" y="-4821"/>
                  </a:lnTo>
                </a:path>
              </a:pathLst>
            </a:custGeom>
            <a:grpFill/>
            <a:ln w="548" cap="flat">
              <a:noFill/>
              <a:prstDash val="solid"/>
              <a:miter/>
            </a:ln>
          </p:spPr>
          <p:txBody>
            <a:bodyPr/>
            <a:lstStyle/>
            <a:p>
              <a:endParaRPr lang="en-US"/>
            </a:p>
          </p:txBody>
        </p:sp>
        <p:sp>
          <p:nvSpPr>
            <p:cNvPr id="292" name="Freeform: Shape 291">
              <a:extLst>
                <a:ext uri="{FF2B5EF4-FFF2-40B4-BE49-F238E27FC236}">
                  <a16:creationId xmlns:a16="http://schemas.microsoft.com/office/drawing/2014/main" id="{DF85239F-D151-1401-1784-C59CBD3EB7FE}"/>
                </a:ext>
              </a:extLst>
            </p:cNvPr>
            <p:cNvSpPr/>
            <p:nvPr/>
          </p:nvSpPr>
          <p:spPr>
            <a:xfrm flipV="1">
              <a:off x="24133318" y="4648149"/>
              <a:ext cx="18982" cy="14774"/>
            </a:xfrm>
            <a:custGeom>
              <a:avLst/>
              <a:gdLst>
                <a:gd name="csX0" fmla="*/ -8759 w 18982"/>
                <a:gd name="csY0" fmla="*/ -4634 h 14774"/>
                <a:gd name="csX1" fmla="*/ 10224 w 18982"/>
                <a:gd name="csY1" fmla="*/ -4634 h 14774"/>
                <a:gd name="csX2" fmla="*/ 10224 w 18982"/>
                <a:gd name="csY2" fmla="*/ 10140 h 14774"/>
                <a:gd name="csX3" fmla="*/ -8759 w 18982"/>
                <a:gd name="csY3" fmla="*/ 10140 h 14774"/>
                <a:gd name="csX4" fmla="*/ -8759 w 18982"/>
                <a:gd name="csY4" fmla="*/ -4634 h 14774"/>
              </a:gdLst>
              <a:ahLst/>
              <a:cxnLst>
                <a:cxn ang="0">
                  <a:pos x="csX0" y="csY0"/>
                </a:cxn>
                <a:cxn ang="0">
                  <a:pos x="csX1" y="csY1"/>
                </a:cxn>
                <a:cxn ang="0">
                  <a:pos x="csX2" y="csY2"/>
                </a:cxn>
                <a:cxn ang="0">
                  <a:pos x="csX3" y="csY3"/>
                </a:cxn>
                <a:cxn ang="0">
                  <a:pos x="csX4" y="csY4"/>
                </a:cxn>
              </a:cxnLst>
              <a:rect l="l" t="t" r="r" b="b"/>
              <a:pathLst>
                <a:path w="18982" h="14774">
                  <a:moveTo>
                    <a:pt x="-8759" y="-4634"/>
                  </a:moveTo>
                  <a:lnTo>
                    <a:pt x="10224" y="-4634"/>
                  </a:lnTo>
                  <a:lnTo>
                    <a:pt x="10224" y="10140"/>
                  </a:lnTo>
                  <a:lnTo>
                    <a:pt x="-8759" y="10140"/>
                  </a:lnTo>
                  <a:lnTo>
                    <a:pt x="-8759" y="-4634"/>
                  </a:lnTo>
                </a:path>
              </a:pathLst>
            </a:custGeom>
            <a:grpFill/>
            <a:ln w="548" cap="flat">
              <a:noFill/>
              <a:prstDash val="solid"/>
              <a:miter/>
            </a:ln>
          </p:spPr>
          <p:txBody>
            <a:bodyPr/>
            <a:lstStyle/>
            <a:p>
              <a:endParaRPr lang="en-US"/>
            </a:p>
          </p:txBody>
        </p:sp>
        <p:sp>
          <p:nvSpPr>
            <p:cNvPr id="293" name="Freeform: Shape 292">
              <a:extLst>
                <a:ext uri="{FF2B5EF4-FFF2-40B4-BE49-F238E27FC236}">
                  <a16:creationId xmlns:a16="http://schemas.microsoft.com/office/drawing/2014/main" id="{170617FB-B6A2-29FB-57E5-87BFD535DC5B}"/>
                </a:ext>
              </a:extLst>
            </p:cNvPr>
            <p:cNvSpPr/>
            <p:nvPr/>
          </p:nvSpPr>
          <p:spPr>
            <a:xfrm flipV="1">
              <a:off x="24112854" y="3149830"/>
              <a:ext cx="12673" cy="12821"/>
            </a:xfrm>
            <a:custGeom>
              <a:avLst/>
              <a:gdLst>
                <a:gd name="csX0" fmla="*/ 3944 w 12673"/>
                <a:gd name="csY0" fmla="*/ 4580 h 12821"/>
                <a:gd name="csX1" fmla="*/ -8730 w 12673"/>
                <a:gd name="csY1" fmla="*/ 4580 h 12821"/>
                <a:gd name="csX2" fmla="*/ -8730 w 12673"/>
                <a:gd name="csY2" fmla="*/ -8242 h 12821"/>
                <a:gd name="csX3" fmla="*/ 3944 w 12673"/>
                <a:gd name="csY3" fmla="*/ -8242 h 12821"/>
                <a:gd name="csX4" fmla="*/ 3944 w 12673"/>
                <a:gd name="csY4" fmla="*/ 4580 h 12821"/>
              </a:gdLst>
              <a:ahLst/>
              <a:cxnLst>
                <a:cxn ang="0">
                  <a:pos x="csX0" y="csY0"/>
                </a:cxn>
                <a:cxn ang="0">
                  <a:pos x="csX1" y="csY1"/>
                </a:cxn>
                <a:cxn ang="0">
                  <a:pos x="csX2" y="csY2"/>
                </a:cxn>
                <a:cxn ang="0">
                  <a:pos x="csX3" y="csY3"/>
                </a:cxn>
                <a:cxn ang="0">
                  <a:pos x="csX4" y="csY4"/>
                </a:cxn>
              </a:cxnLst>
              <a:rect l="l" t="t" r="r" b="b"/>
              <a:pathLst>
                <a:path w="12673" h="12821">
                  <a:moveTo>
                    <a:pt x="3944" y="4580"/>
                  </a:moveTo>
                  <a:lnTo>
                    <a:pt x="-8730" y="4580"/>
                  </a:lnTo>
                  <a:lnTo>
                    <a:pt x="-8730" y="-8242"/>
                  </a:lnTo>
                  <a:lnTo>
                    <a:pt x="3944" y="-8242"/>
                  </a:lnTo>
                  <a:lnTo>
                    <a:pt x="3944" y="4580"/>
                  </a:lnTo>
                </a:path>
              </a:pathLst>
            </a:custGeom>
            <a:grpFill/>
            <a:ln w="548" cap="flat">
              <a:noFill/>
              <a:prstDash val="solid"/>
              <a:miter/>
            </a:ln>
          </p:spPr>
          <p:txBody>
            <a:bodyPr/>
            <a:lstStyle/>
            <a:p>
              <a:endParaRPr lang="en-US"/>
            </a:p>
          </p:txBody>
        </p:sp>
        <p:sp>
          <p:nvSpPr>
            <p:cNvPr id="294" name="Freeform: Shape 293">
              <a:extLst>
                <a:ext uri="{FF2B5EF4-FFF2-40B4-BE49-F238E27FC236}">
                  <a16:creationId xmlns:a16="http://schemas.microsoft.com/office/drawing/2014/main" id="{1B0B9236-C7C7-35BD-8D68-7C9DD2B37194}"/>
                </a:ext>
              </a:extLst>
            </p:cNvPr>
            <p:cNvSpPr/>
            <p:nvPr/>
          </p:nvSpPr>
          <p:spPr>
            <a:xfrm flipV="1">
              <a:off x="24112854" y="3165055"/>
              <a:ext cx="12673" cy="12827"/>
            </a:xfrm>
            <a:custGeom>
              <a:avLst/>
              <a:gdLst>
                <a:gd name="csX0" fmla="*/ 3944 w 12673"/>
                <a:gd name="csY0" fmla="*/ 4622 h 12827"/>
                <a:gd name="csX1" fmla="*/ -8730 w 12673"/>
                <a:gd name="csY1" fmla="*/ 4622 h 12827"/>
                <a:gd name="csX2" fmla="*/ -8730 w 12673"/>
                <a:gd name="csY2" fmla="*/ -8205 h 12827"/>
                <a:gd name="csX3" fmla="*/ 3944 w 12673"/>
                <a:gd name="csY3" fmla="*/ -8205 h 12827"/>
                <a:gd name="csX4" fmla="*/ 3944 w 12673"/>
                <a:gd name="csY4" fmla="*/ 4622 h 12827"/>
              </a:gdLst>
              <a:ahLst/>
              <a:cxnLst>
                <a:cxn ang="0">
                  <a:pos x="csX0" y="csY0"/>
                </a:cxn>
                <a:cxn ang="0">
                  <a:pos x="csX1" y="csY1"/>
                </a:cxn>
                <a:cxn ang="0">
                  <a:pos x="csX2" y="csY2"/>
                </a:cxn>
                <a:cxn ang="0">
                  <a:pos x="csX3" y="csY3"/>
                </a:cxn>
                <a:cxn ang="0">
                  <a:pos x="csX4" y="csY4"/>
                </a:cxn>
              </a:cxnLst>
              <a:rect l="l" t="t" r="r" b="b"/>
              <a:pathLst>
                <a:path w="12673" h="12827">
                  <a:moveTo>
                    <a:pt x="3944" y="4622"/>
                  </a:moveTo>
                  <a:lnTo>
                    <a:pt x="-8730" y="4622"/>
                  </a:lnTo>
                  <a:lnTo>
                    <a:pt x="-8730" y="-8205"/>
                  </a:lnTo>
                  <a:lnTo>
                    <a:pt x="3944" y="-8205"/>
                  </a:lnTo>
                  <a:lnTo>
                    <a:pt x="3944" y="4622"/>
                  </a:lnTo>
                </a:path>
              </a:pathLst>
            </a:custGeom>
            <a:grpFill/>
            <a:ln w="548" cap="flat">
              <a:noFill/>
              <a:prstDash val="solid"/>
              <a:miter/>
            </a:ln>
          </p:spPr>
          <p:txBody>
            <a:bodyPr/>
            <a:lstStyle/>
            <a:p>
              <a:endParaRPr lang="en-US"/>
            </a:p>
          </p:txBody>
        </p:sp>
        <p:sp>
          <p:nvSpPr>
            <p:cNvPr id="295" name="Freeform: Shape 294">
              <a:extLst>
                <a:ext uri="{FF2B5EF4-FFF2-40B4-BE49-F238E27FC236}">
                  <a16:creationId xmlns:a16="http://schemas.microsoft.com/office/drawing/2014/main" id="{BB834209-2FF3-8715-2D24-81EA5FE49061}"/>
                </a:ext>
              </a:extLst>
            </p:cNvPr>
            <p:cNvSpPr/>
            <p:nvPr/>
          </p:nvSpPr>
          <p:spPr>
            <a:xfrm flipV="1">
              <a:off x="24071542" y="3149830"/>
              <a:ext cx="12673" cy="12821"/>
            </a:xfrm>
            <a:custGeom>
              <a:avLst/>
              <a:gdLst>
                <a:gd name="csX0" fmla="*/ 3995 w 12673"/>
                <a:gd name="csY0" fmla="*/ 4580 h 12821"/>
                <a:gd name="csX1" fmla="*/ -8678 w 12673"/>
                <a:gd name="csY1" fmla="*/ 4580 h 12821"/>
                <a:gd name="csX2" fmla="*/ -8678 w 12673"/>
                <a:gd name="csY2" fmla="*/ -8242 h 12821"/>
                <a:gd name="csX3" fmla="*/ 3995 w 12673"/>
                <a:gd name="csY3" fmla="*/ -8242 h 12821"/>
                <a:gd name="csX4" fmla="*/ 3995 w 12673"/>
                <a:gd name="csY4" fmla="*/ 4580 h 12821"/>
              </a:gdLst>
              <a:ahLst/>
              <a:cxnLst>
                <a:cxn ang="0">
                  <a:pos x="csX0" y="csY0"/>
                </a:cxn>
                <a:cxn ang="0">
                  <a:pos x="csX1" y="csY1"/>
                </a:cxn>
                <a:cxn ang="0">
                  <a:pos x="csX2" y="csY2"/>
                </a:cxn>
                <a:cxn ang="0">
                  <a:pos x="csX3" y="csY3"/>
                </a:cxn>
                <a:cxn ang="0">
                  <a:pos x="csX4" y="csY4"/>
                </a:cxn>
              </a:cxnLst>
              <a:rect l="l" t="t" r="r" b="b"/>
              <a:pathLst>
                <a:path w="12673" h="12821">
                  <a:moveTo>
                    <a:pt x="3995" y="4580"/>
                  </a:moveTo>
                  <a:lnTo>
                    <a:pt x="-8678" y="4580"/>
                  </a:lnTo>
                  <a:lnTo>
                    <a:pt x="-8678" y="-8242"/>
                  </a:lnTo>
                  <a:lnTo>
                    <a:pt x="3995" y="-8242"/>
                  </a:lnTo>
                  <a:lnTo>
                    <a:pt x="3995" y="4580"/>
                  </a:lnTo>
                </a:path>
              </a:pathLst>
            </a:custGeom>
            <a:grpFill/>
            <a:ln w="548" cap="flat">
              <a:noFill/>
              <a:prstDash val="solid"/>
              <a:miter/>
            </a:ln>
          </p:spPr>
          <p:txBody>
            <a:bodyPr/>
            <a:lstStyle/>
            <a:p>
              <a:endParaRPr lang="en-US"/>
            </a:p>
          </p:txBody>
        </p:sp>
        <p:sp>
          <p:nvSpPr>
            <p:cNvPr id="296" name="Freeform: Shape 295">
              <a:extLst>
                <a:ext uri="{FF2B5EF4-FFF2-40B4-BE49-F238E27FC236}">
                  <a16:creationId xmlns:a16="http://schemas.microsoft.com/office/drawing/2014/main" id="{2BCCA2FC-6320-ABF3-94DD-E3A5CE439EC2}"/>
                </a:ext>
              </a:extLst>
            </p:cNvPr>
            <p:cNvSpPr/>
            <p:nvPr/>
          </p:nvSpPr>
          <p:spPr>
            <a:xfrm flipV="1">
              <a:off x="24071542" y="3165055"/>
              <a:ext cx="12673" cy="12827"/>
            </a:xfrm>
            <a:custGeom>
              <a:avLst/>
              <a:gdLst>
                <a:gd name="csX0" fmla="*/ 3995 w 12673"/>
                <a:gd name="csY0" fmla="*/ 4622 h 12827"/>
                <a:gd name="csX1" fmla="*/ -8678 w 12673"/>
                <a:gd name="csY1" fmla="*/ 4622 h 12827"/>
                <a:gd name="csX2" fmla="*/ -8678 w 12673"/>
                <a:gd name="csY2" fmla="*/ -8205 h 12827"/>
                <a:gd name="csX3" fmla="*/ 3995 w 12673"/>
                <a:gd name="csY3" fmla="*/ -8205 h 12827"/>
                <a:gd name="csX4" fmla="*/ 3995 w 12673"/>
                <a:gd name="csY4" fmla="*/ 4622 h 12827"/>
              </a:gdLst>
              <a:ahLst/>
              <a:cxnLst>
                <a:cxn ang="0">
                  <a:pos x="csX0" y="csY0"/>
                </a:cxn>
                <a:cxn ang="0">
                  <a:pos x="csX1" y="csY1"/>
                </a:cxn>
                <a:cxn ang="0">
                  <a:pos x="csX2" y="csY2"/>
                </a:cxn>
                <a:cxn ang="0">
                  <a:pos x="csX3" y="csY3"/>
                </a:cxn>
                <a:cxn ang="0">
                  <a:pos x="csX4" y="csY4"/>
                </a:cxn>
              </a:cxnLst>
              <a:rect l="l" t="t" r="r" b="b"/>
              <a:pathLst>
                <a:path w="12673" h="12827">
                  <a:moveTo>
                    <a:pt x="3995" y="4622"/>
                  </a:moveTo>
                  <a:lnTo>
                    <a:pt x="-8678" y="4622"/>
                  </a:lnTo>
                  <a:lnTo>
                    <a:pt x="-8678" y="-8205"/>
                  </a:lnTo>
                  <a:lnTo>
                    <a:pt x="3995" y="-8205"/>
                  </a:lnTo>
                  <a:lnTo>
                    <a:pt x="3995" y="4622"/>
                  </a:lnTo>
                </a:path>
              </a:pathLst>
            </a:custGeom>
            <a:grpFill/>
            <a:ln w="548" cap="flat">
              <a:noFill/>
              <a:prstDash val="solid"/>
              <a:miter/>
            </a:ln>
          </p:spPr>
          <p:txBody>
            <a:bodyPr/>
            <a:lstStyle/>
            <a:p>
              <a:endParaRPr lang="en-US"/>
            </a:p>
          </p:txBody>
        </p:sp>
        <p:sp>
          <p:nvSpPr>
            <p:cNvPr id="297" name="Freeform: Shape 296">
              <a:extLst>
                <a:ext uri="{FF2B5EF4-FFF2-40B4-BE49-F238E27FC236}">
                  <a16:creationId xmlns:a16="http://schemas.microsoft.com/office/drawing/2014/main" id="{3BACA613-4F5C-D12C-C76A-DAC79203DF58}"/>
                </a:ext>
              </a:extLst>
            </p:cNvPr>
            <p:cNvSpPr/>
            <p:nvPr/>
          </p:nvSpPr>
          <p:spPr>
            <a:xfrm flipV="1">
              <a:off x="24112854" y="3209072"/>
              <a:ext cx="12673" cy="12821"/>
            </a:xfrm>
            <a:custGeom>
              <a:avLst/>
              <a:gdLst>
                <a:gd name="csX0" fmla="*/ 3944 w 12673"/>
                <a:gd name="csY0" fmla="*/ 4723 h 12821"/>
                <a:gd name="csX1" fmla="*/ -8730 w 12673"/>
                <a:gd name="csY1" fmla="*/ 4723 h 12821"/>
                <a:gd name="csX2" fmla="*/ -8730 w 12673"/>
                <a:gd name="csY2" fmla="*/ -8099 h 12821"/>
                <a:gd name="csX3" fmla="*/ 3944 w 12673"/>
                <a:gd name="csY3" fmla="*/ -8099 h 12821"/>
                <a:gd name="csX4" fmla="*/ 3944 w 12673"/>
                <a:gd name="csY4" fmla="*/ 4723 h 12821"/>
              </a:gdLst>
              <a:ahLst/>
              <a:cxnLst>
                <a:cxn ang="0">
                  <a:pos x="csX0" y="csY0"/>
                </a:cxn>
                <a:cxn ang="0">
                  <a:pos x="csX1" y="csY1"/>
                </a:cxn>
                <a:cxn ang="0">
                  <a:pos x="csX2" y="csY2"/>
                </a:cxn>
                <a:cxn ang="0">
                  <a:pos x="csX3" y="csY3"/>
                </a:cxn>
                <a:cxn ang="0">
                  <a:pos x="csX4" y="csY4"/>
                </a:cxn>
              </a:cxnLst>
              <a:rect l="l" t="t" r="r" b="b"/>
              <a:pathLst>
                <a:path w="12673" h="12821">
                  <a:moveTo>
                    <a:pt x="3944" y="4723"/>
                  </a:moveTo>
                  <a:lnTo>
                    <a:pt x="-8730" y="4723"/>
                  </a:lnTo>
                  <a:lnTo>
                    <a:pt x="-8730" y="-8099"/>
                  </a:lnTo>
                  <a:lnTo>
                    <a:pt x="3944" y="-8099"/>
                  </a:lnTo>
                  <a:lnTo>
                    <a:pt x="3944" y="4723"/>
                  </a:lnTo>
                </a:path>
              </a:pathLst>
            </a:custGeom>
            <a:grpFill/>
            <a:ln w="548" cap="flat">
              <a:noFill/>
              <a:prstDash val="solid"/>
              <a:miter/>
            </a:ln>
          </p:spPr>
          <p:txBody>
            <a:bodyPr/>
            <a:lstStyle/>
            <a:p>
              <a:endParaRPr lang="en-US"/>
            </a:p>
          </p:txBody>
        </p:sp>
        <p:sp>
          <p:nvSpPr>
            <p:cNvPr id="298" name="Freeform: Shape 297">
              <a:extLst>
                <a:ext uri="{FF2B5EF4-FFF2-40B4-BE49-F238E27FC236}">
                  <a16:creationId xmlns:a16="http://schemas.microsoft.com/office/drawing/2014/main" id="{EFBBFBC4-FFD5-B9E0-E5D7-BDD3BBA078DA}"/>
                </a:ext>
              </a:extLst>
            </p:cNvPr>
            <p:cNvSpPr/>
            <p:nvPr/>
          </p:nvSpPr>
          <p:spPr>
            <a:xfrm flipV="1">
              <a:off x="24112854" y="3224297"/>
              <a:ext cx="12673" cy="12821"/>
            </a:xfrm>
            <a:custGeom>
              <a:avLst/>
              <a:gdLst>
                <a:gd name="csX0" fmla="*/ 3944 w 12673"/>
                <a:gd name="csY0" fmla="*/ 4759 h 12821"/>
                <a:gd name="csX1" fmla="*/ -8730 w 12673"/>
                <a:gd name="csY1" fmla="*/ 4759 h 12821"/>
                <a:gd name="csX2" fmla="*/ -8730 w 12673"/>
                <a:gd name="csY2" fmla="*/ -8063 h 12821"/>
                <a:gd name="csX3" fmla="*/ 3944 w 12673"/>
                <a:gd name="csY3" fmla="*/ -8063 h 12821"/>
                <a:gd name="csX4" fmla="*/ 3944 w 12673"/>
                <a:gd name="csY4" fmla="*/ 4759 h 12821"/>
              </a:gdLst>
              <a:ahLst/>
              <a:cxnLst>
                <a:cxn ang="0">
                  <a:pos x="csX0" y="csY0"/>
                </a:cxn>
                <a:cxn ang="0">
                  <a:pos x="csX1" y="csY1"/>
                </a:cxn>
                <a:cxn ang="0">
                  <a:pos x="csX2" y="csY2"/>
                </a:cxn>
                <a:cxn ang="0">
                  <a:pos x="csX3" y="csY3"/>
                </a:cxn>
                <a:cxn ang="0">
                  <a:pos x="csX4" y="csY4"/>
                </a:cxn>
              </a:cxnLst>
              <a:rect l="l" t="t" r="r" b="b"/>
              <a:pathLst>
                <a:path w="12673" h="12821">
                  <a:moveTo>
                    <a:pt x="3944" y="4759"/>
                  </a:moveTo>
                  <a:lnTo>
                    <a:pt x="-8730" y="4759"/>
                  </a:lnTo>
                  <a:lnTo>
                    <a:pt x="-8730" y="-8063"/>
                  </a:lnTo>
                  <a:lnTo>
                    <a:pt x="3944" y="-8063"/>
                  </a:lnTo>
                  <a:lnTo>
                    <a:pt x="3944" y="4759"/>
                  </a:lnTo>
                </a:path>
              </a:pathLst>
            </a:custGeom>
            <a:grpFill/>
            <a:ln w="548" cap="flat">
              <a:noFill/>
              <a:prstDash val="solid"/>
              <a:miter/>
            </a:ln>
          </p:spPr>
          <p:txBody>
            <a:bodyPr/>
            <a:lstStyle/>
            <a:p>
              <a:endParaRPr lang="en-US"/>
            </a:p>
          </p:txBody>
        </p:sp>
        <p:sp>
          <p:nvSpPr>
            <p:cNvPr id="299" name="Freeform: Shape 298">
              <a:extLst>
                <a:ext uri="{FF2B5EF4-FFF2-40B4-BE49-F238E27FC236}">
                  <a16:creationId xmlns:a16="http://schemas.microsoft.com/office/drawing/2014/main" id="{72239BEE-9E9E-DA22-9897-917599047690}"/>
                </a:ext>
              </a:extLst>
            </p:cNvPr>
            <p:cNvSpPr/>
            <p:nvPr/>
          </p:nvSpPr>
          <p:spPr>
            <a:xfrm flipV="1">
              <a:off x="24071542" y="3209072"/>
              <a:ext cx="12673" cy="12821"/>
            </a:xfrm>
            <a:custGeom>
              <a:avLst/>
              <a:gdLst>
                <a:gd name="csX0" fmla="*/ 3995 w 12673"/>
                <a:gd name="csY0" fmla="*/ 4723 h 12821"/>
                <a:gd name="csX1" fmla="*/ -8678 w 12673"/>
                <a:gd name="csY1" fmla="*/ 4723 h 12821"/>
                <a:gd name="csX2" fmla="*/ -8678 w 12673"/>
                <a:gd name="csY2" fmla="*/ -8099 h 12821"/>
                <a:gd name="csX3" fmla="*/ 3995 w 12673"/>
                <a:gd name="csY3" fmla="*/ -8099 h 12821"/>
                <a:gd name="csX4" fmla="*/ 3995 w 12673"/>
                <a:gd name="csY4" fmla="*/ 4723 h 12821"/>
              </a:gdLst>
              <a:ahLst/>
              <a:cxnLst>
                <a:cxn ang="0">
                  <a:pos x="csX0" y="csY0"/>
                </a:cxn>
                <a:cxn ang="0">
                  <a:pos x="csX1" y="csY1"/>
                </a:cxn>
                <a:cxn ang="0">
                  <a:pos x="csX2" y="csY2"/>
                </a:cxn>
                <a:cxn ang="0">
                  <a:pos x="csX3" y="csY3"/>
                </a:cxn>
                <a:cxn ang="0">
                  <a:pos x="csX4" y="csY4"/>
                </a:cxn>
              </a:cxnLst>
              <a:rect l="l" t="t" r="r" b="b"/>
              <a:pathLst>
                <a:path w="12673" h="12821">
                  <a:moveTo>
                    <a:pt x="3995" y="4723"/>
                  </a:moveTo>
                  <a:lnTo>
                    <a:pt x="-8678" y="4723"/>
                  </a:lnTo>
                  <a:lnTo>
                    <a:pt x="-8678" y="-8099"/>
                  </a:lnTo>
                  <a:lnTo>
                    <a:pt x="3995" y="-8099"/>
                  </a:lnTo>
                  <a:lnTo>
                    <a:pt x="3995" y="4723"/>
                  </a:lnTo>
                </a:path>
              </a:pathLst>
            </a:custGeom>
            <a:grpFill/>
            <a:ln w="548" cap="flat">
              <a:noFill/>
              <a:prstDash val="solid"/>
              <a:miter/>
            </a:ln>
          </p:spPr>
          <p:txBody>
            <a:bodyPr/>
            <a:lstStyle/>
            <a:p>
              <a:endParaRPr lang="en-US"/>
            </a:p>
          </p:txBody>
        </p:sp>
        <p:sp>
          <p:nvSpPr>
            <p:cNvPr id="300" name="Freeform: Shape 299">
              <a:extLst>
                <a:ext uri="{FF2B5EF4-FFF2-40B4-BE49-F238E27FC236}">
                  <a16:creationId xmlns:a16="http://schemas.microsoft.com/office/drawing/2014/main" id="{F17473BB-4E17-B09E-6087-4BC1368F6F63}"/>
                </a:ext>
              </a:extLst>
            </p:cNvPr>
            <p:cNvSpPr/>
            <p:nvPr/>
          </p:nvSpPr>
          <p:spPr>
            <a:xfrm flipV="1">
              <a:off x="24071542" y="3224297"/>
              <a:ext cx="12673" cy="12821"/>
            </a:xfrm>
            <a:custGeom>
              <a:avLst/>
              <a:gdLst>
                <a:gd name="csX0" fmla="*/ 3995 w 12673"/>
                <a:gd name="csY0" fmla="*/ 4759 h 12821"/>
                <a:gd name="csX1" fmla="*/ -8678 w 12673"/>
                <a:gd name="csY1" fmla="*/ 4759 h 12821"/>
                <a:gd name="csX2" fmla="*/ -8678 w 12673"/>
                <a:gd name="csY2" fmla="*/ -8063 h 12821"/>
                <a:gd name="csX3" fmla="*/ 3995 w 12673"/>
                <a:gd name="csY3" fmla="*/ -8063 h 12821"/>
                <a:gd name="csX4" fmla="*/ 3995 w 12673"/>
                <a:gd name="csY4" fmla="*/ 4759 h 12821"/>
              </a:gdLst>
              <a:ahLst/>
              <a:cxnLst>
                <a:cxn ang="0">
                  <a:pos x="csX0" y="csY0"/>
                </a:cxn>
                <a:cxn ang="0">
                  <a:pos x="csX1" y="csY1"/>
                </a:cxn>
                <a:cxn ang="0">
                  <a:pos x="csX2" y="csY2"/>
                </a:cxn>
                <a:cxn ang="0">
                  <a:pos x="csX3" y="csY3"/>
                </a:cxn>
                <a:cxn ang="0">
                  <a:pos x="csX4" y="csY4"/>
                </a:cxn>
              </a:cxnLst>
              <a:rect l="l" t="t" r="r" b="b"/>
              <a:pathLst>
                <a:path w="12673" h="12821">
                  <a:moveTo>
                    <a:pt x="3995" y="4759"/>
                  </a:moveTo>
                  <a:lnTo>
                    <a:pt x="-8678" y="4759"/>
                  </a:lnTo>
                  <a:lnTo>
                    <a:pt x="-8678" y="-8063"/>
                  </a:lnTo>
                  <a:lnTo>
                    <a:pt x="3995" y="-8063"/>
                  </a:lnTo>
                  <a:lnTo>
                    <a:pt x="3995" y="4759"/>
                  </a:lnTo>
                </a:path>
              </a:pathLst>
            </a:custGeom>
            <a:grpFill/>
            <a:ln w="548" cap="flat">
              <a:noFill/>
              <a:prstDash val="solid"/>
              <a:miter/>
            </a:ln>
          </p:spPr>
          <p:txBody>
            <a:bodyPr/>
            <a:lstStyle/>
            <a:p>
              <a:endParaRPr lang="en-US"/>
            </a:p>
          </p:txBody>
        </p:sp>
        <p:sp>
          <p:nvSpPr>
            <p:cNvPr id="301" name="Freeform: Shape 300">
              <a:extLst>
                <a:ext uri="{FF2B5EF4-FFF2-40B4-BE49-F238E27FC236}">
                  <a16:creationId xmlns:a16="http://schemas.microsoft.com/office/drawing/2014/main" id="{A39C0755-7A44-DCFC-C7E2-810217616FEA}"/>
                </a:ext>
              </a:extLst>
            </p:cNvPr>
            <p:cNvSpPr/>
            <p:nvPr/>
          </p:nvSpPr>
          <p:spPr>
            <a:xfrm flipV="1">
              <a:off x="24112854" y="3268315"/>
              <a:ext cx="12673" cy="12821"/>
            </a:xfrm>
            <a:custGeom>
              <a:avLst/>
              <a:gdLst>
                <a:gd name="csX0" fmla="*/ 3944 w 12673"/>
                <a:gd name="csY0" fmla="*/ 4865 h 12821"/>
                <a:gd name="csX1" fmla="*/ -8730 w 12673"/>
                <a:gd name="csY1" fmla="*/ 4865 h 12821"/>
                <a:gd name="csX2" fmla="*/ -8730 w 12673"/>
                <a:gd name="csY2" fmla="*/ -7957 h 12821"/>
                <a:gd name="csX3" fmla="*/ 3944 w 12673"/>
                <a:gd name="csY3" fmla="*/ -7957 h 12821"/>
                <a:gd name="csX4" fmla="*/ 3944 w 12673"/>
                <a:gd name="csY4" fmla="*/ 4865 h 12821"/>
              </a:gdLst>
              <a:ahLst/>
              <a:cxnLst>
                <a:cxn ang="0">
                  <a:pos x="csX0" y="csY0"/>
                </a:cxn>
                <a:cxn ang="0">
                  <a:pos x="csX1" y="csY1"/>
                </a:cxn>
                <a:cxn ang="0">
                  <a:pos x="csX2" y="csY2"/>
                </a:cxn>
                <a:cxn ang="0">
                  <a:pos x="csX3" y="csY3"/>
                </a:cxn>
                <a:cxn ang="0">
                  <a:pos x="csX4" y="csY4"/>
                </a:cxn>
              </a:cxnLst>
              <a:rect l="l" t="t" r="r" b="b"/>
              <a:pathLst>
                <a:path w="12673" h="12821">
                  <a:moveTo>
                    <a:pt x="3944" y="4865"/>
                  </a:moveTo>
                  <a:lnTo>
                    <a:pt x="-8730" y="4865"/>
                  </a:lnTo>
                  <a:lnTo>
                    <a:pt x="-8730" y="-7957"/>
                  </a:lnTo>
                  <a:lnTo>
                    <a:pt x="3944" y="-7957"/>
                  </a:lnTo>
                  <a:lnTo>
                    <a:pt x="3944" y="4865"/>
                  </a:lnTo>
                </a:path>
              </a:pathLst>
            </a:custGeom>
            <a:grpFill/>
            <a:ln w="548" cap="flat">
              <a:noFill/>
              <a:prstDash val="solid"/>
              <a:miter/>
            </a:ln>
          </p:spPr>
          <p:txBody>
            <a:bodyPr/>
            <a:lstStyle/>
            <a:p>
              <a:endParaRPr lang="en-US"/>
            </a:p>
          </p:txBody>
        </p:sp>
        <p:sp>
          <p:nvSpPr>
            <p:cNvPr id="302" name="Freeform: Shape 301">
              <a:extLst>
                <a:ext uri="{FF2B5EF4-FFF2-40B4-BE49-F238E27FC236}">
                  <a16:creationId xmlns:a16="http://schemas.microsoft.com/office/drawing/2014/main" id="{EF890898-1806-8D9A-BD51-E7082F2F9E72}"/>
                </a:ext>
              </a:extLst>
            </p:cNvPr>
            <p:cNvSpPr/>
            <p:nvPr/>
          </p:nvSpPr>
          <p:spPr>
            <a:xfrm flipV="1">
              <a:off x="24112854" y="3283539"/>
              <a:ext cx="12673" cy="12821"/>
            </a:xfrm>
            <a:custGeom>
              <a:avLst/>
              <a:gdLst>
                <a:gd name="csX0" fmla="*/ 3944 w 12673"/>
                <a:gd name="csY0" fmla="*/ 4902 h 12821"/>
                <a:gd name="csX1" fmla="*/ -8730 w 12673"/>
                <a:gd name="csY1" fmla="*/ 4902 h 12821"/>
                <a:gd name="csX2" fmla="*/ -8730 w 12673"/>
                <a:gd name="csY2" fmla="*/ -7920 h 12821"/>
                <a:gd name="csX3" fmla="*/ 3944 w 12673"/>
                <a:gd name="csY3" fmla="*/ -7920 h 12821"/>
                <a:gd name="csX4" fmla="*/ 3944 w 12673"/>
                <a:gd name="csY4" fmla="*/ 4902 h 12821"/>
              </a:gdLst>
              <a:ahLst/>
              <a:cxnLst>
                <a:cxn ang="0">
                  <a:pos x="csX0" y="csY0"/>
                </a:cxn>
                <a:cxn ang="0">
                  <a:pos x="csX1" y="csY1"/>
                </a:cxn>
                <a:cxn ang="0">
                  <a:pos x="csX2" y="csY2"/>
                </a:cxn>
                <a:cxn ang="0">
                  <a:pos x="csX3" y="csY3"/>
                </a:cxn>
                <a:cxn ang="0">
                  <a:pos x="csX4" y="csY4"/>
                </a:cxn>
              </a:cxnLst>
              <a:rect l="l" t="t" r="r" b="b"/>
              <a:pathLst>
                <a:path w="12673" h="12821">
                  <a:moveTo>
                    <a:pt x="3944" y="4902"/>
                  </a:moveTo>
                  <a:lnTo>
                    <a:pt x="-8730" y="4902"/>
                  </a:lnTo>
                  <a:lnTo>
                    <a:pt x="-8730" y="-7920"/>
                  </a:lnTo>
                  <a:lnTo>
                    <a:pt x="3944" y="-7920"/>
                  </a:lnTo>
                  <a:lnTo>
                    <a:pt x="3944" y="4902"/>
                  </a:lnTo>
                </a:path>
              </a:pathLst>
            </a:custGeom>
            <a:grpFill/>
            <a:ln w="548" cap="flat">
              <a:noFill/>
              <a:prstDash val="solid"/>
              <a:miter/>
            </a:ln>
          </p:spPr>
          <p:txBody>
            <a:bodyPr/>
            <a:lstStyle/>
            <a:p>
              <a:endParaRPr lang="en-US"/>
            </a:p>
          </p:txBody>
        </p:sp>
        <p:sp>
          <p:nvSpPr>
            <p:cNvPr id="303" name="Freeform: Shape 302">
              <a:extLst>
                <a:ext uri="{FF2B5EF4-FFF2-40B4-BE49-F238E27FC236}">
                  <a16:creationId xmlns:a16="http://schemas.microsoft.com/office/drawing/2014/main" id="{491A4B41-0965-64E7-65B4-DBA40864B8A1}"/>
                </a:ext>
              </a:extLst>
            </p:cNvPr>
            <p:cNvSpPr/>
            <p:nvPr/>
          </p:nvSpPr>
          <p:spPr>
            <a:xfrm flipV="1">
              <a:off x="24071542" y="3268315"/>
              <a:ext cx="12673" cy="12821"/>
            </a:xfrm>
            <a:custGeom>
              <a:avLst/>
              <a:gdLst>
                <a:gd name="csX0" fmla="*/ 3995 w 12673"/>
                <a:gd name="csY0" fmla="*/ 4865 h 12821"/>
                <a:gd name="csX1" fmla="*/ -8678 w 12673"/>
                <a:gd name="csY1" fmla="*/ 4865 h 12821"/>
                <a:gd name="csX2" fmla="*/ -8678 w 12673"/>
                <a:gd name="csY2" fmla="*/ -7957 h 12821"/>
                <a:gd name="csX3" fmla="*/ 3995 w 12673"/>
                <a:gd name="csY3" fmla="*/ -7957 h 12821"/>
                <a:gd name="csX4" fmla="*/ 3995 w 12673"/>
                <a:gd name="csY4" fmla="*/ 4865 h 12821"/>
              </a:gdLst>
              <a:ahLst/>
              <a:cxnLst>
                <a:cxn ang="0">
                  <a:pos x="csX0" y="csY0"/>
                </a:cxn>
                <a:cxn ang="0">
                  <a:pos x="csX1" y="csY1"/>
                </a:cxn>
                <a:cxn ang="0">
                  <a:pos x="csX2" y="csY2"/>
                </a:cxn>
                <a:cxn ang="0">
                  <a:pos x="csX3" y="csY3"/>
                </a:cxn>
                <a:cxn ang="0">
                  <a:pos x="csX4" y="csY4"/>
                </a:cxn>
              </a:cxnLst>
              <a:rect l="l" t="t" r="r" b="b"/>
              <a:pathLst>
                <a:path w="12673" h="12821">
                  <a:moveTo>
                    <a:pt x="3995" y="4865"/>
                  </a:moveTo>
                  <a:lnTo>
                    <a:pt x="-8678" y="4865"/>
                  </a:lnTo>
                  <a:lnTo>
                    <a:pt x="-8678" y="-7957"/>
                  </a:lnTo>
                  <a:lnTo>
                    <a:pt x="3995" y="-7957"/>
                  </a:lnTo>
                  <a:lnTo>
                    <a:pt x="3995" y="4865"/>
                  </a:lnTo>
                </a:path>
              </a:pathLst>
            </a:custGeom>
            <a:grpFill/>
            <a:ln w="548" cap="flat">
              <a:noFill/>
              <a:prstDash val="solid"/>
              <a:miter/>
            </a:ln>
          </p:spPr>
          <p:txBody>
            <a:bodyPr/>
            <a:lstStyle/>
            <a:p>
              <a:endParaRPr lang="en-US"/>
            </a:p>
          </p:txBody>
        </p:sp>
        <p:sp>
          <p:nvSpPr>
            <p:cNvPr id="304" name="Freeform: Shape 303">
              <a:extLst>
                <a:ext uri="{FF2B5EF4-FFF2-40B4-BE49-F238E27FC236}">
                  <a16:creationId xmlns:a16="http://schemas.microsoft.com/office/drawing/2014/main" id="{B224EAB9-21D3-EE31-79CF-95A3BB0C5AAE}"/>
                </a:ext>
              </a:extLst>
            </p:cNvPr>
            <p:cNvSpPr/>
            <p:nvPr/>
          </p:nvSpPr>
          <p:spPr>
            <a:xfrm flipV="1">
              <a:off x="24071542" y="3283539"/>
              <a:ext cx="12673" cy="12821"/>
            </a:xfrm>
            <a:custGeom>
              <a:avLst/>
              <a:gdLst>
                <a:gd name="csX0" fmla="*/ 3995 w 12673"/>
                <a:gd name="csY0" fmla="*/ 4902 h 12821"/>
                <a:gd name="csX1" fmla="*/ -8678 w 12673"/>
                <a:gd name="csY1" fmla="*/ 4902 h 12821"/>
                <a:gd name="csX2" fmla="*/ -8678 w 12673"/>
                <a:gd name="csY2" fmla="*/ -7920 h 12821"/>
                <a:gd name="csX3" fmla="*/ 3995 w 12673"/>
                <a:gd name="csY3" fmla="*/ -7920 h 12821"/>
                <a:gd name="csX4" fmla="*/ 3995 w 12673"/>
                <a:gd name="csY4" fmla="*/ 4902 h 12821"/>
              </a:gdLst>
              <a:ahLst/>
              <a:cxnLst>
                <a:cxn ang="0">
                  <a:pos x="csX0" y="csY0"/>
                </a:cxn>
                <a:cxn ang="0">
                  <a:pos x="csX1" y="csY1"/>
                </a:cxn>
                <a:cxn ang="0">
                  <a:pos x="csX2" y="csY2"/>
                </a:cxn>
                <a:cxn ang="0">
                  <a:pos x="csX3" y="csY3"/>
                </a:cxn>
                <a:cxn ang="0">
                  <a:pos x="csX4" y="csY4"/>
                </a:cxn>
              </a:cxnLst>
              <a:rect l="l" t="t" r="r" b="b"/>
              <a:pathLst>
                <a:path w="12673" h="12821">
                  <a:moveTo>
                    <a:pt x="3995" y="4902"/>
                  </a:moveTo>
                  <a:lnTo>
                    <a:pt x="-8678" y="4902"/>
                  </a:lnTo>
                  <a:lnTo>
                    <a:pt x="-8678" y="-7920"/>
                  </a:lnTo>
                  <a:lnTo>
                    <a:pt x="3995" y="-7920"/>
                  </a:lnTo>
                  <a:lnTo>
                    <a:pt x="3995" y="4902"/>
                  </a:lnTo>
                </a:path>
              </a:pathLst>
            </a:custGeom>
            <a:grpFill/>
            <a:ln w="548" cap="flat">
              <a:noFill/>
              <a:prstDash val="solid"/>
              <a:miter/>
            </a:ln>
          </p:spPr>
          <p:txBody>
            <a:bodyPr/>
            <a:lstStyle/>
            <a:p>
              <a:endParaRPr lang="en-US"/>
            </a:p>
          </p:txBody>
        </p:sp>
        <p:sp>
          <p:nvSpPr>
            <p:cNvPr id="305" name="Freeform: Shape 304">
              <a:extLst>
                <a:ext uri="{FF2B5EF4-FFF2-40B4-BE49-F238E27FC236}">
                  <a16:creationId xmlns:a16="http://schemas.microsoft.com/office/drawing/2014/main" id="{A4D77F4B-068E-DDBE-7680-9E271330DBF8}"/>
                </a:ext>
              </a:extLst>
            </p:cNvPr>
            <p:cNvSpPr/>
            <p:nvPr/>
          </p:nvSpPr>
          <p:spPr>
            <a:xfrm flipV="1">
              <a:off x="24112854" y="3327551"/>
              <a:ext cx="12673" cy="12827"/>
            </a:xfrm>
            <a:custGeom>
              <a:avLst/>
              <a:gdLst>
                <a:gd name="csX0" fmla="*/ 3944 w 12673"/>
                <a:gd name="csY0" fmla="*/ 5013 h 12827"/>
                <a:gd name="csX1" fmla="*/ -8730 w 12673"/>
                <a:gd name="csY1" fmla="*/ 5013 h 12827"/>
                <a:gd name="csX2" fmla="*/ -8730 w 12673"/>
                <a:gd name="csY2" fmla="*/ -7814 h 12827"/>
                <a:gd name="csX3" fmla="*/ 3944 w 12673"/>
                <a:gd name="csY3" fmla="*/ -7814 h 12827"/>
                <a:gd name="csX4" fmla="*/ 3944 w 12673"/>
                <a:gd name="csY4" fmla="*/ 5013 h 12827"/>
              </a:gdLst>
              <a:ahLst/>
              <a:cxnLst>
                <a:cxn ang="0">
                  <a:pos x="csX0" y="csY0"/>
                </a:cxn>
                <a:cxn ang="0">
                  <a:pos x="csX1" y="csY1"/>
                </a:cxn>
                <a:cxn ang="0">
                  <a:pos x="csX2" y="csY2"/>
                </a:cxn>
                <a:cxn ang="0">
                  <a:pos x="csX3" y="csY3"/>
                </a:cxn>
                <a:cxn ang="0">
                  <a:pos x="csX4" y="csY4"/>
                </a:cxn>
              </a:cxnLst>
              <a:rect l="l" t="t" r="r" b="b"/>
              <a:pathLst>
                <a:path w="12673" h="12827">
                  <a:moveTo>
                    <a:pt x="3944" y="5013"/>
                  </a:moveTo>
                  <a:lnTo>
                    <a:pt x="-8730" y="5013"/>
                  </a:lnTo>
                  <a:lnTo>
                    <a:pt x="-8730" y="-7814"/>
                  </a:lnTo>
                  <a:lnTo>
                    <a:pt x="3944" y="-7814"/>
                  </a:lnTo>
                  <a:lnTo>
                    <a:pt x="3944" y="5013"/>
                  </a:lnTo>
                </a:path>
              </a:pathLst>
            </a:custGeom>
            <a:grpFill/>
            <a:ln w="548" cap="flat">
              <a:noFill/>
              <a:prstDash val="solid"/>
              <a:miter/>
            </a:ln>
          </p:spPr>
          <p:txBody>
            <a:bodyPr/>
            <a:lstStyle/>
            <a:p>
              <a:endParaRPr lang="en-US"/>
            </a:p>
          </p:txBody>
        </p:sp>
        <p:sp>
          <p:nvSpPr>
            <p:cNvPr id="306" name="Freeform: Shape 305">
              <a:extLst>
                <a:ext uri="{FF2B5EF4-FFF2-40B4-BE49-F238E27FC236}">
                  <a16:creationId xmlns:a16="http://schemas.microsoft.com/office/drawing/2014/main" id="{40597D2D-0AD6-DDE4-1319-C8E68761576D}"/>
                </a:ext>
              </a:extLst>
            </p:cNvPr>
            <p:cNvSpPr/>
            <p:nvPr/>
          </p:nvSpPr>
          <p:spPr>
            <a:xfrm flipV="1">
              <a:off x="24112854" y="3342776"/>
              <a:ext cx="12673" cy="12827"/>
            </a:xfrm>
            <a:custGeom>
              <a:avLst/>
              <a:gdLst>
                <a:gd name="csX0" fmla="*/ 3944 w 12673"/>
                <a:gd name="csY0" fmla="*/ 5050 h 12827"/>
                <a:gd name="csX1" fmla="*/ -8730 w 12673"/>
                <a:gd name="csY1" fmla="*/ 5050 h 12827"/>
                <a:gd name="csX2" fmla="*/ -8730 w 12673"/>
                <a:gd name="csY2" fmla="*/ -7778 h 12827"/>
                <a:gd name="csX3" fmla="*/ 3944 w 12673"/>
                <a:gd name="csY3" fmla="*/ -7778 h 12827"/>
                <a:gd name="csX4" fmla="*/ 3944 w 12673"/>
                <a:gd name="csY4" fmla="*/ 5050 h 12827"/>
              </a:gdLst>
              <a:ahLst/>
              <a:cxnLst>
                <a:cxn ang="0">
                  <a:pos x="csX0" y="csY0"/>
                </a:cxn>
                <a:cxn ang="0">
                  <a:pos x="csX1" y="csY1"/>
                </a:cxn>
                <a:cxn ang="0">
                  <a:pos x="csX2" y="csY2"/>
                </a:cxn>
                <a:cxn ang="0">
                  <a:pos x="csX3" y="csY3"/>
                </a:cxn>
                <a:cxn ang="0">
                  <a:pos x="csX4" y="csY4"/>
                </a:cxn>
              </a:cxnLst>
              <a:rect l="l" t="t" r="r" b="b"/>
              <a:pathLst>
                <a:path w="12673" h="12827">
                  <a:moveTo>
                    <a:pt x="3944" y="5050"/>
                  </a:moveTo>
                  <a:lnTo>
                    <a:pt x="-8730" y="5050"/>
                  </a:lnTo>
                  <a:lnTo>
                    <a:pt x="-8730" y="-7778"/>
                  </a:lnTo>
                  <a:lnTo>
                    <a:pt x="3944" y="-7778"/>
                  </a:lnTo>
                  <a:lnTo>
                    <a:pt x="3944" y="5050"/>
                  </a:lnTo>
                </a:path>
              </a:pathLst>
            </a:custGeom>
            <a:grpFill/>
            <a:ln w="548" cap="flat">
              <a:noFill/>
              <a:prstDash val="solid"/>
              <a:miter/>
            </a:ln>
          </p:spPr>
          <p:txBody>
            <a:bodyPr/>
            <a:lstStyle/>
            <a:p>
              <a:endParaRPr lang="en-US"/>
            </a:p>
          </p:txBody>
        </p:sp>
        <p:sp>
          <p:nvSpPr>
            <p:cNvPr id="307" name="Freeform: Shape 306">
              <a:extLst>
                <a:ext uri="{FF2B5EF4-FFF2-40B4-BE49-F238E27FC236}">
                  <a16:creationId xmlns:a16="http://schemas.microsoft.com/office/drawing/2014/main" id="{2BC54C6C-DCDE-786A-3CAF-347F031D4CAC}"/>
                </a:ext>
              </a:extLst>
            </p:cNvPr>
            <p:cNvSpPr/>
            <p:nvPr/>
          </p:nvSpPr>
          <p:spPr>
            <a:xfrm flipV="1">
              <a:off x="24071542" y="3342776"/>
              <a:ext cx="12673" cy="12827"/>
            </a:xfrm>
            <a:custGeom>
              <a:avLst/>
              <a:gdLst>
                <a:gd name="csX0" fmla="*/ 3995 w 12673"/>
                <a:gd name="csY0" fmla="*/ 5050 h 12827"/>
                <a:gd name="csX1" fmla="*/ -8678 w 12673"/>
                <a:gd name="csY1" fmla="*/ 5050 h 12827"/>
                <a:gd name="csX2" fmla="*/ -8678 w 12673"/>
                <a:gd name="csY2" fmla="*/ -7778 h 12827"/>
                <a:gd name="csX3" fmla="*/ 3995 w 12673"/>
                <a:gd name="csY3" fmla="*/ -7778 h 12827"/>
                <a:gd name="csX4" fmla="*/ 3995 w 12673"/>
                <a:gd name="csY4" fmla="*/ 5050 h 12827"/>
              </a:gdLst>
              <a:ahLst/>
              <a:cxnLst>
                <a:cxn ang="0">
                  <a:pos x="csX0" y="csY0"/>
                </a:cxn>
                <a:cxn ang="0">
                  <a:pos x="csX1" y="csY1"/>
                </a:cxn>
                <a:cxn ang="0">
                  <a:pos x="csX2" y="csY2"/>
                </a:cxn>
                <a:cxn ang="0">
                  <a:pos x="csX3" y="csY3"/>
                </a:cxn>
                <a:cxn ang="0">
                  <a:pos x="csX4" y="csY4"/>
                </a:cxn>
              </a:cxnLst>
              <a:rect l="l" t="t" r="r" b="b"/>
              <a:pathLst>
                <a:path w="12673" h="12827">
                  <a:moveTo>
                    <a:pt x="3995" y="5050"/>
                  </a:moveTo>
                  <a:lnTo>
                    <a:pt x="-8678" y="5050"/>
                  </a:lnTo>
                  <a:lnTo>
                    <a:pt x="-8678" y="-7778"/>
                  </a:lnTo>
                  <a:lnTo>
                    <a:pt x="3995" y="-7778"/>
                  </a:lnTo>
                  <a:lnTo>
                    <a:pt x="3995" y="5050"/>
                  </a:lnTo>
                </a:path>
              </a:pathLst>
            </a:custGeom>
            <a:grpFill/>
            <a:ln w="548" cap="flat">
              <a:noFill/>
              <a:prstDash val="solid"/>
              <a:miter/>
            </a:ln>
          </p:spPr>
          <p:txBody>
            <a:bodyPr/>
            <a:lstStyle/>
            <a:p>
              <a:endParaRPr lang="en-US"/>
            </a:p>
          </p:txBody>
        </p:sp>
        <p:sp>
          <p:nvSpPr>
            <p:cNvPr id="308" name="Freeform: Shape 307">
              <a:extLst>
                <a:ext uri="{FF2B5EF4-FFF2-40B4-BE49-F238E27FC236}">
                  <a16:creationId xmlns:a16="http://schemas.microsoft.com/office/drawing/2014/main" id="{3CD93F40-08CF-0E04-66B1-3D44DF754047}"/>
                </a:ext>
              </a:extLst>
            </p:cNvPr>
            <p:cNvSpPr/>
            <p:nvPr/>
          </p:nvSpPr>
          <p:spPr>
            <a:xfrm flipV="1">
              <a:off x="24071542" y="3327551"/>
              <a:ext cx="12673" cy="12827"/>
            </a:xfrm>
            <a:custGeom>
              <a:avLst/>
              <a:gdLst>
                <a:gd name="csX0" fmla="*/ 3995 w 12673"/>
                <a:gd name="csY0" fmla="*/ 5013 h 12827"/>
                <a:gd name="csX1" fmla="*/ -8678 w 12673"/>
                <a:gd name="csY1" fmla="*/ 5013 h 12827"/>
                <a:gd name="csX2" fmla="*/ -8678 w 12673"/>
                <a:gd name="csY2" fmla="*/ -7814 h 12827"/>
                <a:gd name="csX3" fmla="*/ 3995 w 12673"/>
                <a:gd name="csY3" fmla="*/ -7814 h 12827"/>
                <a:gd name="csX4" fmla="*/ 3995 w 12673"/>
                <a:gd name="csY4" fmla="*/ 5013 h 12827"/>
              </a:gdLst>
              <a:ahLst/>
              <a:cxnLst>
                <a:cxn ang="0">
                  <a:pos x="csX0" y="csY0"/>
                </a:cxn>
                <a:cxn ang="0">
                  <a:pos x="csX1" y="csY1"/>
                </a:cxn>
                <a:cxn ang="0">
                  <a:pos x="csX2" y="csY2"/>
                </a:cxn>
                <a:cxn ang="0">
                  <a:pos x="csX3" y="csY3"/>
                </a:cxn>
                <a:cxn ang="0">
                  <a:pos x="csX4" y="csY4"/>
                </a:cxn>
              </a:cxnLst>
              <a:rect l="l" t="t" r="r" b="b"/>
              <a:pathLst>
                <a:path w="12673" h="12827">
                  <a:moveTo>
                    <a:pt x="3995" y="5013"/>
                  </a:moveTo>
                  <a:lnTo>
                    <a:pt x="-8678" y="5013"/>
                  </a:lnTo>
                  <a:lnTo>
                    <a:pt x="-8678" y="-7814"/>
                  </a:lnTo>
                  <a:lnTo>
                    <a:pt x="3995" y="-7814"/>
                  </a:lnTo>
                  <a:lnTo>
                    <a:pt x="3995" y="5013"/>
                  </a:lnTo>
                </a:path>
              </a:pathLst>
            </a:custGeom>
            <a:grpFill/>
            <a:ln w="548" cap="flat">
              <a:noFill/>
              <a:prstDash val="solid"/>
              <a:miter/>
            </a:ln>
          </p:spPr>
          <p:txBody>
            <a:bodyPr/>
            <a:lstStyle/>
            <a:p>
              <a:endParaRPr lang="en-US"/>
            </a:p>
          </p:txBody>
        </p:sp>
        <p:sp>
          <p:nvSpPr>
            <p:cNvPr id="309" name="Freeform: Shape 308">
              <a:extLst>
                <a:ext uri="{FF2B5EF4-FFF2-40B4-BE49-F238E27FC236}">
                  <a16:creationId xmlns:a16="http://schemas.microsoft.com/office/drawing/2014/main" id="{A3A44551-57E1-E543-66D7-853C115EB190}"/>
                </a:ext>
              </a:extLst>
            </p:cNvPr>
            <p:cNvSpPr/>
            <p:nvPr/>
          </p:nvSpPr>
          <p:spPr>
            <a:xfrm flipV="1">
              <a:off x="24112854" y="3386793"/>
              <a:ext cx="12673" cy="12821"/>
            </a:xfrm>
            <a:custGeom>
              <a:avLst/>
              <a:gdLst>
                <a:gd name="csX0" fmla="*/ 3944 w 12673"/>
                <a:gd name="csY0" fmla="*/ 5150 h 12821"/>
                <a:gd name="csX1" fmla="*/ -8730 w 12673"/>
                <a:gd name="csY1" fmla="*/ 5150 h 12821"/>
                <a:gd name="csX2" fmla="*/ -8730 w 12673"/>
                <a:gd name="csY2" fmla="*/ -7672 h 12821"/>
                <a:gd name="csX3" fmla="*/ 3944 w 12673"/>
                <a:gd name="csY3" fmla="*/ -7672 h 12821"/>
                <a:gd name="csX4" fmla="*/ 3944 w 12673"/>
                <a:gd name="csY4" fmla="*/ 5150 h 12821"/>
              </a:gdLst>
              <a:ahLst/>
              <a:cxnLst>
                <a:cxn ang="0">
                  <a:pos x="csX0" y="csY0"/>
                </a:cxn>
                <a:cxn ang="0">
                  <a:pos x="csX1" y="csY1"/>
                </a:cxn>
                <a:cxn ang="0">
                  <a:pos x="csX2" y="csY2"/>
                </a:cxn>
                <a:cxn ang="0">
                  <a:pos x="csX3" y="csY3"/>
                </a:cxn>
                <a:cxn ang="0">
                  <a:pos x="csX4" y="csY4"/>
                </a:cxn>
              </a:cxnLst>
              <a:rect l="l" t="t" r="r" b="b"/>
              <a:pathLst>
                <a:path w="12673" h="12821">
                  <a:moveTo>
                    <a:pt x="3944" y="5150"/>
                  </a:moveTo>
                  <a:lnTo>
                    <a:pt x="-8730" y="5150"/>
                  </a:lnTo>
                  <a:lnTo>
                    <a:pt x="-8730" y="-7672"/>
                  </a:lnTo>
                  <a:lnTo>
                    <a:pt x="3944" y="-7672"/>
                  </a:lnTo>
                  <a:lnTo>
                    <a:pt x="3944" y="5150"/>
                  </a:lnTo>
                </a:path>
              </a:pathLst>
            </a:custGeom>
            <a:grpFill/>
            <a:ln w="548" cap="flat">
              <a:noFill/>
              <a:prstDash val="solid"/>
              <a:miter/>
            </a:ln>
          </p:spPr>
          <p:txBody>
            <a:bodyPr/>
            <a:lstStyle/>
            <a:p>
              <a:endParaRPr lang="en-US"/>
            </a:p>
          </p:txBody>
        </p:sp>
        <p:sp>
          <p:nvSpPr>
            <p:cNvPr id="310" name="Freeform: Shape 309">
              <a:extLst>
                <a:ext uri="{FF2B5EF4-FFF2-40B4-BE49-F238E27FC236}">
                  <a16:creationId xmlns:a16="http://schemas.microsoft.com/office/drawing/2014/main" id="{5158715D-B62D-7AEF-9061-0153FE45275C}"/>
                </a:ext>
              </a:extLst>
            </p:cNvPr>
            <p:cNvSpPr/>
            <p:nvPr/>
          </p:nvSpPr>
          <p:spPr>
            <a:xfrm flipV="1">
              <a:off x="24112854" y="3402018"/>
              <a:ext cx="12673" cy="12821"/>
            </a:xfrm>
            <a:custGeom>
              <a:avLst/>
              <a:gdLst>
                <a:gd name="csX0" fmla="*/ 3944 w 12673"/>
                <a:gd name="csY0" fmla="*/ 5186 h 12821"/>
                <a:gd name="csX1" fmla="*/ -8730 w 12673"/>
                <a:gd name="csY1" fmla="*/ 5186 h 12821"/>
                <a:gd name="csX2" fmla="*/ -8730 w 12673"/>
                <a:gd name="csY2" fmla="*/ -7635 h 12821"/>
                <a:gd name="csX3" fmla="*/ 3944 w 12673"/>
                <a:gd name="csY3" fmla="*/ -7635 h 12821"/>
                <a:gd name="csX4" fmla="*/ 3944 w 12673"/>
                <a:gd name="csY4" fmla="*/ 5186 h 12821"/>
              </a:gdLst>
              <a:ahLst/>
              <a:cxnLst>
                <a:cxn ang="0">
                  <a:pos x="csX0" y="csY0"/>
                </a:cxn>
                <a:cxn ang="0">
                  <a:pos x="csX1" y="csY1"/>
                </a:cxn>
                <a:cxn ang="0">
                  <a:pos x="csX2" y="csY2"/>
                </a:cxn>
                <a:cxn ang="0">
                  <a:pos x="csX3" y="csY3"/>
                </a:cxn>
                <a:cxn ang="0">
                  <a:pos x="csX4" y="csY4"/>
                </a:cxn>
              </a:cxnLst>
              <a:rect l="l" t="t" r="r" b="b"/>
              <a:pathLst>
                <a:path w="12673" h="12821">
                  <a:moveTo>
                    <a:pt x="3944" y="5186"/>
                  </a:moveTo>
                  <a:lnTo>
                    <a:pt x="-8730" y="5186"/>
                  </a:lnTo>
                  <a:lnTo>
                    <a:pt x="-8730" y="-7635"/>
                  </a:lnTo>
                  <a:lnTo>
                    <a:pt x="3944" y="-7635"/>
                  </a:lnTo>
                  <a:lnTo>
                    <a:pt x="3944" y="5186"/>
                  </a:lnTo>
                </a:path>
              </a:pathLst>
            </a:custGeom>
            <a:grpFill/>
            <a:ln w="548" cap="flat">
              <a:noFill/>
              <a:prstDash val="solid"/>
              <a:miter/>
            </a:ln>
          </p:spPr>
          <p:txBody>
            <a:bodyPr/>
            <a:lstStyle/>
            <a:p>
              <a:endParaRPr lang="en-US"/>
            </a:p>
          </p:txBody>
        </p:sp>
        <p:sp>
          <p:nvSpPr>
            <p:cNvPr id="311" name="Freeform: Shape 310">
              <a:extLst>
                <a:ext uri="{FF2B5EF4-FFF2-40B4-BE49-F238E27FC236}">
                  <a16:creationId xmlns:a16="http://schemas.microsoft.com/office/drawing/2014/main" id="{6DFCD928-6F7C-E201-24EB-0F7FFF01ED94}"/>
                </a:ext>
              </a:extLst>
            </p:cNvPr>
            <p:cNvSpPr/>
            <p:nvPr/>
          </p:nvSpPr>
          <p:spPr>
            <a:xfrm flipV="1">
              <a:off x="24071542" y="3402018"/>
              <a:ext cx="12673" cy="12821"/>
            </a:xfrm>
            <a:custGeom>
              <a:avLst/>
              <a:gdLst>
                <a:gd name="csX0" fmla="*/ 3995 w 12673"/>
                <a:gd name="csY0" fmla="*/ 5186 h 12821"/>
                <a:gd name="csX1" fmla="*/ -8678 w 12673"/>
                <a:gd name="csY1" fmla="*/ 5186 h 12821"/>
                <a:gd name="csX2" fmla="*/ -8678 w 12673"/>
                <a:gd name="csY2" fmla="*/ -7635 h 12821"/>
                <a:gd name="csX3" fmla="*/ 3995 w 12673"/>
                <a:gd name="csY3" fmla="*/ -7635 h 12821"/>
                <a:gd name="csX4" fmla="*/ 3995 w 12673"/>
                <a:gd name="csY4" fmla="*/ 5186 h 12821"/>
              </a:gdLst>
              <a:ahLst/>
              <a:cxnLst>
                <a:cxn ang="0">
                  <a:pos x="csX0" y="csY0"/>
                </a:cxn>
                <a:cxn ang="0">
                  <a:pos x="csX1" y="csY1"/>
                </a:cxn>
                <a:cxn ang="0">
                  <a:pos x="csX2" y="csY2"/>
                </a:cxn>
                <a:cxn ang="0">
                  <a:pos x="csX3" y="csY3"/>
                </a:cxn>
                <a:cxn ang="0">
                  <a:pos x="csX4" y="csY4"/>
                </a:cxn>
              </a:cxnLst>
              <a:rect l="l" t="t" r="r" b="b"/>
              <a:pathLst>
                <a:path w="12673" h="12821">
                  <a:moveTo>
                    <a:pt x="3995" y="5186"/>
                  </a:moveTo>
                  <a:lnTo>
                    <a:pt x="-8678" y="5186"/>
                  </a:lnTo>
                  <a:lnTo>
                    <a:pt x="-8678" y="-7635"/>
                  </a:lnTo>
                  <a:lnTo>
                    <a:pt x="3995" y="-7635"/>
                  </a:lnTo>
                  <a:lnTo>
                    <a:pt x="3995" y="5186"/>
                  </a:lnTo>
                </a:path>
              </a:pathLst>
            </a:custGeom>
            <a:grpFill/>
            <a:ln w="548" cap="flat">
              <a:noFill/>
              <a:prstDash val="solid"/>
              <a:miter/>
            </a:ln>
          </p:spPr>
          <p:txBody>
            <a:bodyPr/>
            <a:lstStyle/>
            <a:p>
              <a:endParaRPr lang="en-US"/>
            </a:p>
          </p:txBody>
        </p:sp>
        <p:sp>
          <p:nvSpPr>
            <p:cNvPr id="312" name="Freeform: Shape 311">
              <a:extLst>
                <a:ext uri="{FF2B5EF4-FFF2-40B4-BE49-F238E27FC236}">
                  <a16:creationId xmlns:a16="http://schemas.microsoft.com/office/drawing/2014/main" id="{C3F602AE-1BDA-D793-9C83-55810D404327}"/>
                </a:ext>
              </a:extLst>
            </p:cNvPr>
            <p:cNvSpPr/>
            <p:nvPr/>
          </p:nvSpPr>
          <p:spPr>
            <a:xfrm flipV="1">
              <a:off x="24071542" y="3386793"/>
              <a:ext cx="12673" cy="12821"/>
            </a:xfrm>
            <a:custGeom>
              <a:avLst/>
              <a:gdLst>
                <a:gd name="csX0" fmla="*/ 3995 w 12673"/>
                <a:gd name="csY0" fmla="*/ 5150 h 12821"/>
                <a:gd name="csX1" fmla="*/ -8678 w 12673"/>
                <a:gd name="csY1" fmla="*/ 5150 h 12821"/>
                <a:gd name="csX2" fmla="*/ -8678 w 12673"/>
                <a:gd name="csY2" fmla="*/ -7672 h 12821"/>
                <a:gd name="csX3" fmla="*/ 3995 w 12673"/>
                <a:gd name="csY3" fmla="*/ -7672 h 12821"/>
                <a:gd name="csX4" fmla="*/ 3995 w 12673"/>
                <a:gd name="csY4" fmla="*/ 5150 h 12821"/>
              </a:gdLst>
              <a:ahLst/>
              <a:cxnLst>
                <a:cxn ang="0">
                  <a:pos x="csX0" y="csY0"/>
                </a:cxn>
                <a:cxn ang="0">
                  <a:pos x="csX1" y="csY1"/>
                </a:cxn>
                <a:cxn ang="0">
                  <a:pos x="csX2" y="csY2"/>
                </a:cxn>
                <a:cxn ang="0">
                  <a:pos x="csX3" y="csY3"/>
                </a:cxn>
                <a:cxn ang="0">
                  <a:pos x="csX4" y="csY4"/>
                </a:cxn>
              </a:cxnLst>
              <a:rect l="l" t="t" r="r" b="b"/>
              <a:pathLst>
                <a:path w="12673" h="12821">
                  <a:moveTo>
                    <a:pt x="3995" y="5150"/>
                  </a:moveTo>
                  <a:lnTo>
                    <a:pt x="-8678" y="5150"/>
                  </a:lnTo>
                  <a:lnTo>
                    <a:pt x="-8678" y="-7672"/>
                  </a:lnTo>
                  <a:lnTo>
                    <a:pt x="3995" y="-7672"/>
                  </a:lnTo>
                  <a:lnTo>
                    <a:pt x="3995" y="5150"/>
                  </a:lnTo>
                </a:path>
              </a:pathLst>
            </a:custGeom>
            <a:grpFill/>
            <a:ln w="548" cap="flat">
              <a:noFill/>
              <a:prstDash val="solid"/>
              <a:miter/>
            </a:ln>
          </p:spPr>
          <p:txBody>
            <a:bodyPr/>
            <a:lstStyle/>
            <a:p>
              <a:endParaRPr lang="en-US"/>
            </a:p>
          </p:txBody>
        </p:sp>
        <p:sp>
          <p:nvSpPr>
            <p:cNvPr id="313" name="Freeform: Shape 312">
              <a:extLst>
                <a:ext uri="{FF2B5EF4-FFF2-40B4-BE49-F238E27FC236}">
                  <a16:creationId xmlns:a16="http://schemas.microsoft.com/office/drawing/2014/main" id="{DD823EED-0015-9BBC-7E5A-3137D4E486C1}"/>
                </a:ext>
              </a:extLst>
            </p:cNvPr>
            <p:cNvSpPr/>
            <p:nvPr/>
          </p:nvSpPr>
          <p:spPr>
            <a:xfrm flipV="1">
              <a:off x="24112854" y="3446030"/>
              <a:ext cx="12673" cy="12827"/>
            </a:xfrm>
            <a:custGeom>
              <a:avLst/>
              <a:gdLst>
                <a:gd name="csX0" fmla="*/ 3944 w 12673"/>
                <a:gd name="csY0" fmla="*/ 5298 h 12827"/>
                <a:gd name="csX1" fmla="*/ -8730 w 12673"/>
                <a:gd name="csY1" fmla="*/ 5298 h 12827"/>
                <a:gd name="csX2" fmla="*/ -8730 w 12673"/>
                <a:gd name="csY2" fmla="*/ -7529 h 12827"/>
                <a:gd name="csX3" fmla="*/ 3944 w 12673"/>
                <a:gd name="csY3" fmla="*/ -7529 h 12827"/>
                <a:gd name="csX4" fmla="*/ 3944 w 12673"/>
                <a:gd name="csY4" fmla="*/ 5298 h 12827"/>
              </a:gdLst>
              <a:ahLst/>
              <a:cxnLst>
                <a:cxn ang="0">
                  <a:pos x="csX0" y="csY0"/>
                </a:cxn>
                <a:cxn ang="0">
                  <a:pos x="csX1" y="csY1"/>
                </a:cxn>
                <a:cxn ang="0">
                  <a:pos x="csX2" y="csY2"/>
                </a:cxn>
                <a:cxn ang="0">
                  <a:pos x="csX3" y="csY3"/>
                </a:cxn>
                <a:cxn ang="0">
                  <a:pos x="csX4" y="csY4"/>
                </a:cxn>
              </a:cxnLst>
              <a:rect l="l" t="t" r="r" b="b"/>
              <a:pathLst>
                <a:path w="12673" h="12827">
                  <a:moveTo>
                    <a:pt x="3944" y="5298"/>
                  </a:moveTo>
                  <a:lnTo>
                    <a:pt x="-8730" y="5298"/>
                  </a:lnTo>
                  <a:lnTo>
                    <a:pt x="-8730" y="-7529"/>
                  </a:lnTo>
                  <a:lnTo>
                    <a:pt x="3944" y="-7529"/>
                  </a:lnTo>
                  <a:lnTo>
                    <a:pt x="3944" y="5298"/>
                  </a:lnTo>
                </a:path>
              </a:pathLst>
            </a:custGeom>
            <a:grpFill/>
            <a:ln w="548" cap="flat">
              <a:noFill/>
              <a:prstDash val="solid"/>
              <a:miter/>
            </a:ln>
          </p:spPr>
          <p:txBody>
            <a:bodyPr/>
            <a:lstStyle/>
            <a:p>
              <a:endParaRPr lang="en-US"/>
            </a:p>
          </p:txBody>
        </p:sp>
        <p:sp>
          <p:nvSpPr>
            <p:cNvPr id="314" name="Freeform: Shape 313">
              <a:extLst>
                <a:ext uri="{FF2B5EF4-FFF2-40B4-BE49-F238E27FC236}">
                  <a16:creationId xmlns:a16="http://schemas.microsoft.com/office/drawing/2014/main" id="{15840F91-D827-8BC2-1686-92720D539A48}"/>
                </a:ext>
              </a:extLst>
            </p:cNvPr>
            <p:cNvSpPr/>
            <p:nvPr/>
          </p:nvSpPr>
          <p:spPr>
            <a:xfrm flipV="1">
              <a:off x="24112854" y="3461260"/>
              <a:ext cx="12673" cy="12821"/>
            </a:xfrm>
            <a:custGeom>
              <a:avLst/>
              <a:gdLst>
                <a:gd name="csX0" fmla="*/ 3944 w 12673"/>
                <a:gd name="csY0" fmla="*/ 5329 h 12821"/>
                <a:gd name="csX1" fmla="*/ -8730 w 12673"/>
                <a:gd name="csY1" fmla="*/ 5329 h 12821"/>
                <a:gd name="csX2" fmla="*/ -8730 w 12673"/>
                <a:gd name="csY2" fmla="*/ -7492 h 12821"/>
                <a:gd name="csX3" fmla="*/ 3944 w 12673"/>
                <a:gd name="csY3" fmla="*/ -7492 h 12821"/>
                <a:gd name="csX4" fmla="*/ 3944 w 12673"/>
                <a:gd name="csY4" fmla="*/ 5329 h 12821"/>
              </a:gdLst>
              <a:ahLst/>
              <a:cxnLst>
                <a:cxn ang="0">
                  <a:pos x="csX0" y="csY0"/>
                </a:cxn>
                <a:cxn ang="0">
                  <a:pos x="csX1" y="csY1"/>
                </a:cxn>
                <a:cxn ang="0">
                  <a:pos x="csX2" y="csY2"/>
                </a:cxn>
                <a:cxn ang="0">
                  <a:pos x="csX3" y="csY3"/>
                </a:cxn>
                <a:cxn ang="0">
                  <a:pos x="csX4" y="csY4"/>
                </a:cxn>
              </a:cxnLst>
              <a:rect l="l" t="t" r="r" b="b"/>
              <a:pathLst>
                <a:path w="12673" h="12821">
                  <a:moveTo>
                    <a:pt x="3944" y="5329"/>
                  </a:moveTo>
                  <a:lnTo>
                    <a:pt x="-8730" y="5329"/>
                  </a:lnTo>
                  <a:lnTo>
                    <a:pt x="-8730" y="-7492"/>
                  </a:lnTo>
                  <a:lnTo>
                    <a:pt x="3944" y="-7492"/>
                  </a:lnTo>
                  <a:lnTo>
                    <a:pt x="3944" y="5329"/>
                  </a:lnTo>
                </a:path>
              </a:pathLst>
            </a:custGeom>
            <a:grpFill/>
            <a:ln w="548" cap="flat">
              <a:noFill/>
              <a:prstDash val="solid"/>
              <a:miter/>
            </a:ln>
          </p:spPr>
          <p:txBody>
            <a:bodyPr/>
            <a:lstStyle/>
            <a:p>
              <a:endParaRPr lang="en-US"/>
            </a:p>
          </p:txBody>
        </p:sp>
        <p:sp>
          <p:nvSpPr>
            <p:cNvPr id="315" name="Freeform: Shape 314">
              <a:extLst>
                <a:ext uri="{FF2B5EF4-FFF2-40B4-BE49-F238E27FC236}">
                  <a16:creationId xmlns:a16="http://schemas.microsoft.com/office/drawing/2014/main" id="{F7E7B046-1718-C8DA-D308-F6D34DE2E106}"/>
                </a:ext>
              </a:extLst>
            </p:cNvPr>
            <p:cNvSpPr/>
            <p:nvPr/>
          </p:nvSpPr>
          <p:spPr>
            <a:xfrm flipV="1">
              <a:off x="24071542" y="3446030"/>
              <a:ext cx="12673" cy="12827"/>
            </a:xfrm>
            <a:custGeom>
              <a:avLst/>
              <a:gdLst>
                <a:gd name="csX0" fmla="*/ 3995 w 12673"/>
                <a:gd name="csY0" fmla="*/ 5298 h 12827"/>
                <a:gd name="csX1" fmla="*/ -8678 w 12673"/>
                <a:gd name="csY1" fmla="*/ 5298 h 12827"/>
                <a:gd name="csX2" fmla="*/ -8678 w 12673"/>
                <a:gd name="csY2" fmla="*/ -7529 h 12827"/>
                <a:gd name="csX3" fmla="*/ 3995 w 12673"/>
                <a:gd name="csY3" fmla="*/ -7529 h 12827"/>
                <a:gd name="csX4" fmla="*/ 3995 w 12673"/>
                <a:gd name="csY4" fmla="*/ 5298 h 12827"/>
              </a:gdLst>
              <a:ahLst/>
              <a:cxnLst>
                <a:cxn ang="0">
                  <a:pos x="csX0" y="csY0"/>
                </a:cxn>
                <a:cxn ang="0">
                  <a:pos x="csX1" y="csY1"/>
                </a:cxn>
                <a:cxn ang="0">
                  <a:pos x="csX2" y="csY2"/>
                </a:cxn>
                <a:cxn ang="0">
                  <a:pos x="csX3" y="csY3"/>
                </a:cxn>
                <a:cxn ang="0">
                  <a:pos x="csX4" y="csY4"/>
                </a:cxn>
              </a:cxnLst>
              <a:rect l="l" t="t" r="r" b="b"/>
              <a:pathLst>
                <a:path w="12673" h="12827">
                  <a:moveTo>
                    <a:pt x="3995" y="5298"/>
                  </a:moveTo>
                  <a:lnTo>
                    <a:pt x="-8678" y="5298"/>
                  </a:lnTo>
                  <a:lnTo>
                    <a:pt x="-8678" y="-7529"/>
                  </a:lnTo>
                  <a:lnTo>
                    <a:pt x="3995" y="-7529"/>
                  </a:lnTo>
                  <a:lnTo>
                    <a:pt x="3995" y="5298"/>
                  </a:lnTo>
                </a:path>
              </a:pathLst>
            </a:custGeom>
            <a:grpFill/>
            <a:ln w="548" cap="flat">
              <a:noFill/>
              <a:prstDash val="solid"/>
              <a:miter/>
            </a:ln>
          </p:spPr>
          <p:txBody>
            <a:bodyPr/>
            <a:lstStyle/>
            <a:p>
              <a:endParaRPr lang="en-US"/>
            </a:p>
          </p:txBody>
        </p:sp>
        <p:sp>
          <p:nvSpPr>
            <p:cNvPr id="316" name="Freeform: Shape 315">
              <a:extLst>
                <a:ext uri="{FF2B5EF4-FFF2-40B4-BE49-F238E27FC236}">
                  <a16:creationId xmlns:a16="http://schemas.microsoft.com/office/drawing/2014/main" id="{767620B2-60CA-79E5-03C6-BDA2141E5769}"/>
                </a:ext>
              </a:extLst>
            </p:cNvPr>
            <p:cNvSpPr/>
            <p:nvPr/>
          </p:nvSpPr>
          <p:spPr>
            <a:xfrm flipV="1">
              <a:off x="24071542" y="3461260"/>
              <a:ext cx="12673" cy="12821"/>
            </a:xfrm>
            <a:custGeom>
              <a:avLst/>
              <a:gdLst>
                <a:gd name="csX0" fmla="*/ 3995 w 12673"/>
                <a:gd name="csY0" fmla="*/ 5329 h 12821"/>
                <a:gd name="csX1" fmla="*/ -8678 w 12673"/>
                <a:gd name="csY1" fmla="*/ 5329 h 12821"/>
                <a:gd name="csX2" fmla="*/ -8678 w 12673"/>
                <a:gd name="csY2" fmla="*/ -7492 h 12821"/>
                <a:gd name="csX3" fmla="*/ 3995 w 12673"/>
                <a:gd name="csY3" fmla="*/ -7492 h 12821"/>
                <a:gd name="csX4" fmla="*/ 3995 w 12673"/>
                <a:gd name="csY4" fmla="*/ 5329 h 12821"/>
              </a:gdLst>
              <a:ahLst/>
              <a:cxnLst>
                <a:cxn ang="0">
                  <a:pos x="csX0" y="csY0"/>
                </a:cxn>
                <a:cxn ang="0">
                  <a:pos x="csX1" y="csY1"/>
                </a:cxn>
                <a:cxn ang="0">
                  <a:pos x="csX2" y="csY2"/>
                </a:cxn>
                <a:cxn ang="0">
                  <a:pos x="csX3" y="csY3"/>
                </a:cxn>
                <a:cxn ang="0">
                  <a:pos x="csX4" y="csY4"/>
                </a:cxn>
              </a:cxnLst>
              <a:rect l="l" t="t" r="r" b="b"/>
              <a:pathLst>
                <a:path w="12673" h="12821">
                  <a:moveTo>
                    <a:pt x="3995" y="5329"/>
                  </a:moveTo>
                  <a:lnTo>
                    <a:pt x="-8678" y="5329"/>
                  </a:lnTo>
                  <a:lnTo>
                    <a:pt x="-8678" y="-7492"/>
                  </a:lnTo>
                  <a:lnTo>
                    <a:pt x="3995" y="-7492"/>
                  </a:lnTo>
                  <a:lnTo>
                    <a:pt x="3995" y="5329"/>
                  </a:lnTo>
                </a:path>
              </a:pathLst>
            </a:custGeom>
            <a:grpFill/>
            <a:ln w="548" cap="flat">
              <a:noFill/>
              <a:prstDash val="solid"/>
              <a:miter/>
            </a:ln>
          </p:spPr>
          <p:txBody>
            <a:bodyPr/>
            <a:lstStyle/>
            <a:p>
              <a:endParaRPr lang="en-US"/>
            </a:p>
          </p:txBody>
        </p:sp>
        <p:sp>
          <p:nvSpPr>
            <p:cNvPr id="317" name="Freeform: Shape 316">
              <a:extLst>
                <a:ext uri="{FF2B5EF4-FFF2-40B4-BE49-F238E27FC236}">
                  <a16:creationId xmlns:a16="http://schemas.microsoft.com/office/drawing/2014/main" id="{E87D5ABA-A6F8-B3C0-CF64-B086D7590B1D}"/>
                </a:ext>
              </a:extLst>
            </p:cNvPr>
            <p:cNvSpPr/>
            <p:nvPr/>
          </p:nvSpPr>
          <p:spPr>
            <a:xfrm flipV="1">
              <a:off x="24112854" y="3520497"/>
              <a:ext cx="12673" cy="12827"/>
            </a:xfrm>
            <a:custGeom>
              <a:avLst/>
              <a:gdLst>
                <a:gd name="csX0" fmla="*/ 3944 w 12673"/>
                <a:gd name="csY0" fmla="*/ 5477 h 12827"/>
                <a:gd name="csX1" fmla="*/ -8730 w 12673"/>
                <a:gd name="csY1" fmla="*/ 5477 h 12827"/>
                <a:gd name="csX2" fmla="*/ -8730 w 12673"/>
                <a:gd name="csY2" fmla="*/ -7350 h 12827"/>
                <a:gd name="csX3" fmla="*/ 3944 w 12673"/>
                <a:gd name="csY3" fmla="*/ -7350 h 12827"/>
                <a:gd name="csX4" fmla="*/ 3944 w 12673"/>
                <a:gd name="csY4" fmla="*/ 5477 h 12827"/>
              </a:gdLst>
              <a:ahLst/>
              <a:cxnLst>
                <a:cxn ang="0">
                  <a:pos x="csX0" y="csY0"/>
                </a:cxn>
                <a:cxn ang="0">
                  <a:pos x="csX1" y="csY1"/>
                </a:cxn>
                <a:cxn ang="0">
                  <a:pos x="csX2" y="csY2"/>
                </a:cxn>
                <a:cxn ang="0">
                  <a:pos x="csX3" y="csY3"/>
                </a:cxn>
                <a:cxn ang="0">
                  <a:pos x="csX4" y="csY4"/>
                </a:cxn>
              </a:cxnLst>
              <a:rect l="l" t="t" r="r" b="b"/>
              <a:pathLst>
                <a:path w="12673" h="12827">
                  <a:moveTo>
                    <a:pt x="3944" y="5477"/>
                  </a:moveTo>
                  <a:lnTo>
                    <a:pt x="-8730" y="5477"/>
                  </a:lnTo>
                  <a:lnTo>
                    <a:pt x="-8730" y="-7350"/>
                  </a:lnTo>
                  <a:lnTo>
                    <a:pt x="3944" y="-7350"/>
                  </a:lnTo>
                  <a:lnTo>
                    <a:pt x="3944" y="5477"/>
                  </a:lnTo>
                </a:path>
              </a:pathLst>
            </a:custGeom>
            <a:grpFill/>
            <a:ln w="548" cap="flat">
              <a:noFill/>
              <a:prstDash val="solid"/>
              <a:miter/>
            </a:ln>
          </p:spPr>
          <p:txBody>
            <a:bodyPr/>
            <a:lstStyle/>
            <a:p>
              <a:endParaRPr lang="en-US"/>
            </a:p>
          </p:txBody>
        </p:sp>
        <p:sp>
          <p:nvSpPr>
            <p:cNvPr id="318" name="Freeform: Shape 317">
              <a:extLst>
                <a:ext uri="{FF2B5EF4-FFF2-40B4-BE49-F238E27FC236}">
                  <a16:creationId xmlns:a16="http://schemas.microsoft.com/office/drawing/2014/main" id="{34AB4C06-C280-46CC-EDBE-E460842366E7}"/>
                </a:ext>
              </a:extLst>
            </p:cNvPr>
            <p:cNvSpPr/>
            <p:nvPr/>
          </p:nvSpPr>
          <p:spPr>
            <a:xfrm flipV="1">
              <a:off x="24112854" y="3505272"/>
              <a:ext cx="12673" cy="12827"/>
            </a:xfrm>
            <a:custGeom>
              <a:avLst/>
              <a:gdLst>
                <a:gd name="csX0" fmla="*/ 3944 w 12673"/>
                <a:gd name="csY0" fmla="*/ 5441 h 12827"/>
                <a:gd name="csX1" fmla="*/ -8730 w 12673"/>
                <a:gd name="csY1" fmla="*/ 5441 h 12827"/>
                <a:gd name="csX2" fmla="*/ -8730 w 12673"/>
                <a:gd name="csY2" fmla="*/ -7387 h 12827"/>
                <a:gd name="csX3" fmla="*/ 3944 w 12673"/>
                <a:gd name="csY3" fmla="*/ -7387 h 12827"/>
                <a:gd name="csX4" fmla="*/ 3944 w 12673"/>
                <a:gd name="csY4" fmla="*/ 5441 h 12827"/>
              </a:gdLst>
              <a:ahLst/>
              <a:cxnLst>
                <a:cxn ang="0">
                  <a:pos x="csX0" y="csY0"/>
                </a:cxn>
                <a:cxn ang="0">
                  <a:pos x="csX1" y="csY1"/>
                </a:cxn>
                <a:cxn ang="0">
                  <a:pos x="csX2" y="csY2"/>
                </a:cxn>
                <a:cxn ang="0">
                  <a:pos x="csX3" y="csY3"/>
                </a:cxn>
                <a:cxn ang="0">
                  <a:pos x="csX4" y="csY4"/>
                </a:cxn>
              </a:cxnLst>
              <a:rect l="l" t="t" r="r" b="b"/>
              <a:pathLst>
                <a:path w="12673" h="12827">
                  <a:moveTo>
                    <a:pt x="3944" y="5441"/>
                  </a:moveTo>
                  <a:lnTo>
                    <a:pt x="-8730" y="5441"/>
                  </a:lnTo>
                  <a:lnTo>
                    <a:pt x="-8730" y="-7387"/>
                  </a:lnTo>
                  <a:lnTo>
                    <a:pt x="3944" y="-7387"/>
                  </a:lnTo>
                  <a:lnTo>
                    <a:pt x="3944" y="5441"/>
                  </a:lnTo>
                </a:path>
              </a:pathLst>
            </a:custGeom>
            <a:grpFill/>
            <a:ln w="548" cap="flat">
              <a:noFill/>
              <a:prstDash val="solid"/>
              <a:miter/>
            </a:ln>
          </p:spPr>
          <p:txBody>
            <a:bodyPr/>
            <a:lstStyle/>
            <a:p>
              <a:endParaRPr lang="en-US"/>
            </a:p>
          </p:txBody>
        </p:sp>
        <p:sp>
          <p:nvSpPr>
            <p:cNvPr id="319" name="Freeform: Shape 318">
              <a:extLst>
                <a:ext uri="{FF2B5EF4-FFF2-40B4-BE49-F238E27FC236}">
                  <a16:creationId xmlns:a16="http://schemas.microsoft.com/office/drawing/2014/main" id="{EE51B1EE-D1B3-13C2-83FA-C4A94B857A2F}"/>
                </a:ext>
              </a:extLst>
            </p:cNvPr>
            <p:cNvSpPr/>
            <p:nvPr/>
          </p:nvSpPr>
          <p:spPr>
            <a:xfrm flipV="1">
              <a:off x="24071542" y="3520497"/>
              <a:ext cx="12673" cy="12827"/>
            </a:xfrm>
            <a:custGeom>
              <a:avLst/>
              <a:gdLst>
                <a:gd name="csX0" fmla="*/ 3995 w 12673"/>
                <a:gd name="csY0" fmla="*/ 5477 h 12827"/>
                <a:gd name="csX1" fmla="*/ -8678 w 12673"/>
                <a:gd name="csY1" fmla="*/ 5477 h 12827"/>
                <a:gd name="csX2" fmla="*/ -8678 w 12673"/>
                <a:gd name="csY2" fmla="*/ -7350 h 12827"/>
                <a:gd name="csX3" fmla="*/ 3995 w 12673"/>
                <a:gd name="csY3" fmla="*/ -7350 h 12827"/>
                <a:gd name="csX4" fmla="*/ 3995 w 12673"/>
                <a:gd name="csY4" fmla="*/ 5477 h 12827"/>
              </a:gdLst>
              <a:ahLst/>
              <a:cxnLst>
                <a:cxn ang="0">
                  <a:pos x="csX0" y="csY0"/>
                </a:cxn>
                <a:cxn ang="0">
                  <a:pos x="csX1" y="csY1"/>
                </a:cxn>
                <a:cxn ang="0">
                  <a:pos x="csX2" y="csY2"/>
                </a:cxn>
                <a:cxn ang="0">
                  <a:pos x="csX3" y="csY3"/>
                </a:cxn>
                <a:cxn ang="0">
                  <a:pos x="csX4" y="csY4"/>
                </a:cxn>
              </a:cxnLst>
              <a:rect l="l" t="t" r="r" b="b"/>
              <a:pathLst>
                <a:path w="12673" h="12827">
                  <a:moveTo>
                    <a:pt x="3995" y="5477"/>
                  </a:moveTo>
                  <a:lnTo>
                    <a:pt x="-8678" y="5477"/>
                  </a:lnTo>
                  <a:lnTo>
                    <a:pt x="-8678" y="-7350"/>
                  </a:lnTo>
                  <a:lnTo>
                    <a:pt x="3995" y="-7350"/>
                  </a:lnTo>
                  <a:lnTo>
                    <a:pt x="3995" y="5477"/>
                  </a:lnTo>
                </a:path>
              </a:pathLst>
            </a:custGeom>
            <a:grpFill/>
            <a:ln w="548" cap="flat">
              <a:noFill/>
              <a:prstDash val="solid"/>
              <a:miter/>
            </a:ln>
          </p:spPr>
          <p:txBody>
            <a:bodyPr/>
            <a:lstStyle/>
            <a:p>
              <a:endParaRPr lang="en-US"/>
            </a:p>
          </p:txBody>
        </p:sp>
        <p:sp>
          <p:nvSpPr>
            <p:cNvPr id="320" name="Freeform: Shape 319">
              <a:extLst>
                <a:ext uri="{FF2B5EF4-FFF2-40B4-BE49-F238E27FC236}">
                  <a16:creationId xmlns:a16="http://schemas.microsoft.com/office/drawing/2014/main" id="{24A16ACE-62B8-FD88-01A1-CF86F15080C9}"/>
                </a:ext>
              </a:extLst>
            </p:cNvPr>
            <p:cNvSpPr/>
            <p:nvPr/>
          </p:nvSpPr>
          <p:spPr>
            <a:xfrm flipV="1">
              <a:off x="24071542" y="3505272"/>
              <a:ext cx="12673" cy="12827"/>
            </a:xfrm>
            <a:custGeom>
              <a:avLst/>
              <a:gdLst>
                <a:gd name="csX0" fmla="*/ 3995 w 12673"/>
                <a:gd name="csY0" fmla="*/ 5441 h 12827"/>
                <a:gd name="csX1" fmla="*/ -8678 w 12673"/>
                <a:gd name="csY1" fmla="*/ 5441 h 12827"/>
                <a:gd name="csX2" fmla="*/ -8678 w 12673"/>
                <a:gd name="csY2" fmla="*/ -7387 h 12827"/>
                <a:gd name="csX3" fmla="*/ 3995 w 12673"/>
                <a:gd name="csY3" fmla="*/ -7387 h 12827"/>
                <a:gd name="csX4" fmla="*/ 3995 w 12673"/>
                <a:gd name="csY4" fmla="*/ 5441 h 12827"/>
              </a:gdLst>
              <a:ahLst/>
              <a:cxnLst>
                <a:cxn ang="0">
                  <a:pos x="csX0" y="csY0"/>
                </a:cxn>
                <a:cxn ang="0">
                  <a:pos x="csX1" y="csY1"/>
                </a:cxn>
                <a:cxn ang="0">
                  <a:pos x="csX2" y="csY2"/>
                </a:cxn>
                <a:cxn ang="0">
                  <a:pos x="csX3" y="csY3"/>
                </a:cxn>
                <a:cxn ang="0">
                  <a:pos x="csX4" y="csY4"/>
                </a:cxn>
              </a:cxnLst>
              <a:rect l="l" t="t" r="r" b="b"/>
              <a:pathLst>
                <a:path w="12673" h="12827">
                  <a:moveTo>
                    <a:pt x="3995" y="5441"/>
                  </a:moveTo>
                  <a:lnTo>
                    <a:pt x="-8678" y="5441"/>
                  </a:lnTo>
                  <a:lnTo>
                    <a:pt x="-8678" y="-7387"/>
                  </a:lnTo>
                  <a:lnTo>
                    <a:pt x="3995" y="-7387"/>
                  </a:lnTo>
                  <a:lnTo>
                    <a:pt x="3995" y="5441"/>
                  </a:lnTo>
                </a:path>
              </a:pathLst>
            </a:custGeom>
            <a:grpFill/>
            <a:ln w="548" cap="flat">
              <a:noFill/>
              <a:prstDash val="solid"/>
              <a:miter/>
            </a:ln>
          </p:spPr>
          <p:txBody>
            <a:bodyPr/>
            <a:lstStyle/>
            <a:p>
              <a:endParaRPr lang="en-US"/>
            </a:p>
          </p:txBody>
        </p:sp>
        <p:sp>
          <p:nvSpPr>
            <p:cNvPr id="321" name="Freeform: Shape 320">
              <a:extLst>
                <a:ext uri="{FF2B5EF4-FFF2-40B4-BE49-F238E27FC236}">
                  <a16:creationId xmlns:a16="http://schemas.microsoft.com/office/drawing/2014/main" id="{B0CD4627-8BCE-A066-DE2F-AA25017DD133}"/>
                </a:ext>
              </a:extLst>
            </p:cNvPr>
            <p:cNvSpPr/>
            <p:nvPr/>
          </p:nvSpPr>
          <p:spPr>
            <a:xfrm flipV="1">
              <a:off x="24131947" y="3559148"/>
              <a:ext cx="21671" cy="11834"/>
            </a:xfrm>
            <a:custGeom>
              <a:avLst/>
              <a:gdLst>
                <a:gd name="csX0" fmla="*/ 12912 w 21671"/>
                <a:gd name="csY0" fmla="*/ 4576 h 11834"/>
                <a:gd name="csX1" fmla="*/ -8759 w 21671"/>
                <a:gd name="csY1" fmla="*/ 4576 h 11834"/>
                <a:gd name="csX2" fmla="*/ -8759 w 21671"/>
                <a:gd name="csY2" fmla="*/ -7258 h 11834"/>
                <a:gd name="csX3" fmla="*/ 12912 w 21671"/>
                <a:gd name="csY3" fmla="*/ -7258 h 11834"/>
                <a:gd name="csX4" fmla="*/ 12912 w 21671"/>
                <a:gd name="csY4" fmla="*/ 4576 h 11834"/>
              </a:gdLst>
              <a:ahLst/>
              <a:cxnLst>
                <a:cxn ang="0">
                  <a:pos x="csX0" y="csY0"/>
                </a:cxn>
                <a:cxn ang="0">
                  <a:pos x="csX1" y="csY1"/>
                </a:cxn>
                <a:cxn ang="0">
                  <a:pos x="csX2" y="csY2"/>
                </a:cxn>
                <a:cxn ang="0">
                  <a:pos x="csX3" y="csY3"/>
                </a:cxn>
                <a:cxn ang="0">
                  <a:pos x="csX4" y="csY4"/>
                </a:cxn>
              </a:cxnLst>
              <a:rect l="l" t="t" r="r" b="b"/>
              <a:pathLst>
                <a:path w="21671" h="11834">
                  <a:moveTo>
                    <a:pt x="12912" y="4576"/>
                  </a:moveTo>
                  <a:lnTo>
                    <a:pt x="-8759" y="4576"/>
                  </a:lnTo>
                  <a:lnTo>
                    <a:pt x="-8759" y="-7258"/>
                  </a:lnTo>
                  <a:lnTo>
                    <a:pt x="12912" y="-7258"/>
                  </a:lnTo>
                  <a:lnTo>
                    <a:pt x="12912" y="4576"/>
                  </a:lnTo>
                </a:path>
              </a:pathLst>
            </a:custGeom>
            <a:grpFill/>
            <a:ln w="548" cap="flat">
              <a:noFill/>
              <a:prstDash val="solid"/>
              <a:miter/>
            </a:ln>
          </p:spPr>
          <p:txBody>
            <a:bodyPr/>
            <a:lstStyle/>
            <a:p>
              <a:endParaRPr lang="en-US"/>
            </a:p>
          </p:txBody>
        </p:sp>
        <p:sp>
          <p:nvSpPr>
            <p:cNvPr id="322" name="Freeform: Shape 321">
              <a:extLst>
                <a:ext uri="{FF2B5EF4-FFF2-40B4-BE49-F238E27FC236}">
                  <a16:creationId xmlns:a16="http://schemas.microsoft.com/office/drawing/2014/main" id="{D9BE194D-97E9-6D78-D728-04E5427F5875}"/>
                </a:ext>
              </a:extLst>
            </p:cNvPr>
            <p:cNvSpPr/>
            <p:nvPr/>
          </p:nvSpPr>
          <p:spPr>
            <a:xfrm flipV="1">
              <a:off x="24131947" y="3573386"/>
              <a:ext cx="21671" cy="11828"/>
            </a:xfrm>
            <a:custGeom>
              <a:avLst/>
              <a:gdLst>
                <a:gd name="csX0" fmla="*/ 12912 w 21671"/>
                <a:gd name="csY0" fmla="*/ 4605 h 11828"/>
                <a:gd name="csX1" fmla="*/ -8759 w 21671"/>
                <a:gd name="csY1" fmla="*/ 4605 h 11828"/>
                <a:gd name="csX2" fmla="*/ -8759 w 21671"/>
                <a:gd name="csY2" fmla="*/ -7224 h 11828"/>
                <a:gd name="csX3" fmla="*/ 12912 w 21671"/>
                <a:gd name="csY3" fmla="*/ -7224 h 11828"/>
                <a:gd name="csX4" fmla="*/ 12912 w 21671"/>
                <a:gd name="csY4" fmla="*/ 4605 h 11828"/>
              </a:gdLst>
              <a:ahLst/>
              <a:cxnLst>
                <a:cxn ang="0">
                  <a:pos x="csX0" y="csY0"/>
                </a:cxn>
                <a:cxn ang="0">
                  <a:pos x="csX1" y="csY1"/>
                </a:cxn>
                <a:cxn ang="0">
                  <a:pos x="csX2" y="csY2"/>
                </a:cxn>
                <a:cxn ang="0">
                  <a:pos x="csX3" y="csY3"/>
                </a:cxn>
                <a:cxn ang="0">
                  <a:pos x="csX4" y="csY4"/>
                </a:cxn>
              </a:cxnLst>
              <a:rect l="l" t="t" r="r" b="b"/>
              <a:pathLst>
                <a:path w="21671" h="11828">
                  <a:moveTo>
                    <a:pt x="12912" y="4605"/>
                  </a:moveTo>
                  <a:lnTo>
                    <a:pt x="-8759" y="4605"/>
                  </a:lnTo>
                  <a:lnTo>
                    <a:pt x="-8759" y="-7224"/>
                  </a:lnTo>
                  <a:lnTo>
                    <a:pt x="12912" y="-7224"/>
                  </a:lnTo>
                  <a:lnTo>
                    <a:pt x="12912" y="4605"/>
                  </a:lnTo>
                </a:path>
              </a:pathLst>
            </a:custGeom>
            <a:grpFill/>
            <a:ln w="548" cap="flat">
              <a:noFill/>
              <a:prstDash val="solid"/>
              <a:miter/>
            </a:ln>
          </p:spPr>
          <p:txBody>
            <a:bodyPr/>
            <a:lstStyle/>
            <a:p>
              <a:endParaRPr lang="en-US"/>
            </a:p>
          </p:txBody>
        </p:sp>
        <p:sp>
          <p:nvSpPr>
            <p:cNvPr id="323" name="Freeform: Shape 322">
              <a:extLst>
                <a:ext uri="{FF2B5EF4-FFF2-40B4-BE49-F238E27FC236}">
                  <a16:creationId xmlns:a16="http://schemas.microsoft.com/office/drawing/2014/main" id="{5391AC9A-1789-9B58-46A3-0933933F14F3}"/>
                </a:ext>
              </a:extLst>
            </p:cNvPr>
            <p:cNvSpPr/>
            <p:nvPr/>
          </p:nvSpPr>
          <p:spPr>
            <a:xfrm flipV="1">
              <a:off x="24074449" y="3559148"/>
              <a:ext cx="21671" cy="11834"/>
            </a:xfrm>
            <a:custGeom>
              <a:avLst/>
              <a:gdLst>
                <a:gd name="csX0" fmla="*/ 12984 w 21671"/>
                <a:gd name="csY0" fmla="*/ 4576 h 11834"/>
                <a:gd name="csX1" fmla="*/ -8688 w 21671"/>
                <a:gd name="csY1" fmla="*/ 4576 h 11834"/>
                <a:gd name="csX2" fmla="*/ -8688 w 21671"/>
                <a:gd name="csY2" fmla="*/ -7258 h 11834"/>
                <a:gd name="csX3" fmla="*/ 12984 w 21671"/>
                <a:gd name="csY3" fmla="*/ -7258 h 11834"/>
                <a:gd name="csX4" fmla="*/ 12984 w 21671"/>
                <a:gd name="csY4" fmla="*/ 4576 h 11834"/>
              </a:gdLst>
              <a:ahLst/>
              <a:cxnLst>
                <a:cxn ang="0">
                  <a:pos x="csX0" y="csY0"/>
                </a:cxn>
                <a:cxn ang="0">
                  <a:pos x="csX1" y="csY1"/>
                </a:cxn>
                <a:cxn ang="0">
                  <a:pos x="csX2" y="csY2"/>
                </a:cxn>
                <a:cxn ang="0">
                  <a:pos x="csX3" y="csY3"/>
                </a:cxn>
                <a:cxn ang="0">
                  <a:pos x="csX4" y="csY4"/>
                </a:cxn>
              </a:cxnLst>
              <a:rect l="l" t="t" r="r" b="b"/>
              <a:pathLst>
                <a:path w="21671" h="11834">
                  <a:moveTo>
                    <a:pt x="12984" y="4576"/>
                  </a:moveTo>
                  <a:lnTo>
                    <a:pt x="-8688" y="4576"/>
                  </a:lnTo>
                  <a:lnTo>
                    <a:pt x="-8688" y="-7258"/>
                  </a:lnTo>
                  <a:lnTo>
                    <a:pt x="12984" y="-7258"/>
                  </a:lnTo>
                  <a:lnTo>
                    <a:pt x="12984" y="4576"/>
                  </a:lnTo>
                </a:path>
              </a:pathLst>
            </a:custGeom>
            <a:grpFill/>
            <a:ln w="548" cap="flat">
              <a:noFill/>
              <a:prstDash val="solid"/>
              <a:miter/>
            </a:ln>
          </p:spPr>
          <p:txBody>
            <a:bodyPr/>
            <a:lstStyle/>
            <a:p>
              <a:endParaRPr lang="en-US"/>
            </a:p>
          </p:txBody>
        </p:sp>
        <p:sp>
          <p:nvSpPr>
            <p:cNvPr id="324" name="Freeform: Shape 323">
              <a:extLst>
                <a:ext uri="{FF2B5EF4-FFF2-40B4-BE49-F238E27FC236}">
                  <a16:creationId xmlns:a16="http://schemas.microsoft.com/office/drawing/2014/main" id="{93146E76-C660-9EEE-EAB1-F0BBBE4A831D}"/>
                </a:ext>
              </a:extLst>
            </p:cNvPr>
            <p:cNvSpPr/>
            <p:nvPr/>
          </p:nvSpPr>
          <p:spPr>
            <a:xfrm flipV="1">
              <a:off x="24074449" y="3573386"/>
              <a:ext cx="21671" cy="11828"/>
            </a:xfrm>
            <a:custGeom>
              <a:avLst/>
              <a:gdLst>
                <a:gd name="csX0" fmla="*/ 12984 w 21671"/>
                <a:gd name="csY0" fmla="*/ 4605 h 11828"/>
                <a:gd name="csX1" fmla="*/ -8688 w 21671"/>
                <a:gd name="csY1" fmla="*/ 4605 h 11828"/>
                <a:gd name="csX2" fmla="*/ -8688 w 21671"/>
                <a:gd name="csY2" fmla="*/ -7224 h 11828"/>
                <a:gd name="csX3" fmla="*/ 12984 w 21671"/>
                <a:gd name="csY3" fmla="*/ -7224 h 11828"/>
                <a:gd name="csX4" fmla="*/ 12984 w 21671"/>
                <a:gd name="csY4" fmla="*/ 4605 h 11828"/>
              </a:gdLst>
              <a:ahLst/>
              <a:cxnLst>
                <a:cxn ang="0">
                  <a:pos x="csX0" y="csY0"/>
                </a:cxn>
                <a:cxn ang="0">
                  <a:pos x="csX1" y="csY1"/>
                </a:cxn>
                <a:cxn ang="0">
                  <a:pos x="csX2" y="csY2"/>
                </a:cxn>
                <a:cxn ang="0">
                  <a:pos x="csX3" y="csY3"/>
                </a:cxn>
                <a:cxn ang="0">
                  <a:pos x="csX4" y="csY4"/>
                </a:cxn>
              </a:cxnLst>
              <a:rect l="l" t="t" r="r" b="b"/>
              <a:pathLst>
                <a:path w="21671" h="11828">
                  <a:moveTo>
                    <a:pt x="12984" y="4605"/>
                  </a:moveTo>
                  <a:lnTo>
                    <a:pt x="-8688" y="4605"/>
                  </a:lnTo>
                  <a:lnTo>
                    <a:pt x="-8688" y="-7224"/>
                  </a:lnTo>
                  <a:lnTo>
                    <a:pt x="12984" y="-7224"/>
                  </a:lnTo>
                  <a:lnTo>
                    <a:pt x="12984" y="4605"/>
                  </a:lnTo>
                </a:path>
              </a:pathLst>
            </a:custGeom>
            <a:grpFill/>
            <a:ln w="548" cap="flat">
              <a:noFill/>
              <a:prstDash val="solid"/>
              <a:miter/>
            </a:ln>
          </p:spPr>
          <p:txBody>
            <a:bodyPr/>
            <a:lstStyle/>
            <a:p>
              <a:endParaRPr lang="en-US"/>
            </a:p>
          </p:txBody>
        </p:sp>
        <p:sp>
          <p:nvSpPr>
            <p:cNvPr id="325" name="Freeform: Shape 324">
              <a:extLst>
                <a:ext uri="{FF2B5EF4-FFF2-40B4-BE49-F238E27FC236}">
                  <a16:creationId xmlns:a16="http://schemas.microsoft.com/office/drawing/2014/main" id="{7E42384F-BB79-0A14-4045-CB068D355264}"/>
                </a:ext>
              </a:extLst>
            </p:cNvPr>
            <p:cNvSpPr/>
            <p:nvPr/>
          </p:nvSpPr>
          <p:spPr>
            <a:xfrm flipV="1">
              <a:off x="24131947" y="3618670"/>
              <a:ext cx="21671" cy="11828"/>
            </a:xfrm>
            <a:custGeom>
              <a:avLst/>
              <a:gdLst>
                <a:gd name="csX0" fmla="*/ 12912 w 21671"/>
                <a:gd name="csY0" fmla="*/ 4714 h 11828"/>
                <a:gd name="csX1" fmla="*/ -8759 w 21671"/>
                <a:gd name="csY1" fmla="*/ 4714 h 11828"/>
                <a:gd name="csX2" fmla="*/ -8759 w 21671"/>
                <a:gd name="csY2" fmla="*/ -7115 h 11828"/>
                <a:gd name="csX3" fmla="*/ 12912 w 21671"/>
                <a:gd name="csY3" fmla="*/ -7115 h 11828"/>
                <a:gd name="csX4" fmla="*/ 12912 w 21671"/>
                <a:gd name="csY4" fmla="*/ 4714 h 11828"/>
              </a:gdLst>
              <a:ahLst/>
              <a:cxnLst>
                <a:cxn ang="0">
                  <a:pos x="csX0" y="csY0"/>
                </a:cxn>
                <a:cxn ang="0">
                  <a:pos x="csX1" y="csY1"/>
                </a:cxn>
                <a:cxn ang="0">
                  <a:pos x="csX2" y="csY2"/>
                </a:cxn>
                <a:cxn ang="0">
                  <a:pos x="csX3" y="csY3"/>
                </a:cxn>
                <a:cxn ang="0">
                  <a:pos x="csX4" y="csY4"/>
                </a:cxn>
              </a:cxnLst>
              <a:rect l="l" t="t" r="r" b="b"/>
              <a:pathLst>
                <a:path w="21671" h="11828">
                  <a:moveTo>
                    <a:pt x="12912" y="4714"/>
                  </a:moveTo>
                  <a:lnTo>
                    <a:pt x="-8759" y="4714"/>
                  </a:lnTo>
                  <a:lnTo>
                    <a:pt x="-8759" y="-7115"/>
                  </a:lnTo>
                  <a:lnTo>
                    <a:pt x="12912" y="-7115"/>
                  </a:lnTo>
                  <a:lnTo>
                    <a:pt x="12912" y="4714"/>
                  </a:lnTo>
                </a:path>
              </a:pathLst>
            </a:custGeom>
            <a:grpFill/>
            <a:ln w="548" cap="flat">
              <a:noFill/>
              <a:prstDash val="solid"/>
              <a:miter/>
            </a:ln>
          </p:spPr>
          <p:txBody>
            <a:bodyPr/>
            <a:lstStyle/>
            <a:p>
              <a:endParaRPr lang="en-US"/>
            </a:p>
          </p:txBody>
        </p:sp>
        <p:sp>
          <p:nvSpPr>
            <p:cNvPr id="326" name="Freeform: Shape 325">
              <a:extLst>
                <a:ext uri="{FF2B5EF4-FFF2-40B4-BE49-F238E27FC236}">
                  <a16:creationId xmlns:a16="http://schemas.microsoft.com/office/drawing/2014/main" id="{BF836CF9-F820-8803-4C8B-B5B48A88596D}"/>
                </a:ext>
              </a:extLst>
            </p:cNvPr>
            <p:cNvSpPr/>
            <p:nvPr/>
          </p:nvSpPr>
          <p:spPr>
            <a:xfrm flipV="1">
              <a:off x="24131947" y="3632902"/>
              <a:ext cx="21671" cy="11828"/>
            </a:xfrm>
            <a:custGeom>
              <a:avLst/>
              <a:gdLst>
                <a:gd name="csX0" fmla="*/ 12912 w 21671"/>
                <a:gd name="csY0" fmla="*/ 4748 h 11828"/>
                <a:gd name="csX1" fmla="*/ -8759 w 21671"/>
                <a:gd name="csY1" fmla="*/ 4748 h 11828"/>
                <a:gd name="csX2" fmla="*/ -8759 w 21671"/>
                <a:gd name="csY2" fmla="*/ -7081 h 11828"/>
                <a:gd name="csX3" fmla="*/ 12912 w 21671"/>
                <a:gd name="csY3" fmla="*/ -7081 h 11828"/>
                <a:gd name="csX4" fmla="*/ 12912 w 21671"/>
                <a:gd name="csY4" fmla="*/ 4748 h 11828"/>
              </a:gdLst>
              <a:ahLst/>
              <a:cxnLst>
                <a:cxn ang="0">
                  <a:pos x="csX0" y="csY0"/>
                </a:cxn>
                <a:cxn ang="0">
                  <a:pos x="csX1" y="csY1"/>
                </a:cxn>
                <a:cxn ang="0">
                  <a:pos x="csX2" y="csY2"/>
                </a:cxn>
                <a:cxn ang="0">
                  <a:pos x="csX3" y="csY3"/>
                </a:cxn>
                <a:cxn ang="0">
                  <a:pos x="csX4" y="csY4"/>
                </a:cxn>
              </a:cxnLst>
              <a:rect l="l" t="t" r="r" b="b"/>
              <a:pathLst>
                <a:path w="21671" h="11828">
                  <a:moveTo>
                    <a:pt x="12912" y="4748"/>
                  </a:moveTo>
                  <a:lnTo>
                    <a:pt x="-8759" y="4748"/>
                  </a:lnTo>
                  <a:lnTo>
                    <a:pt x="-8759" y="-7081"/>
                  </a:lnTo>
                  <a:lnTo>
                    <a:pt x="12912" y="-7081"/>
                  </a:lnTo>
                  <a:lnTo>
                    <a:pt x="12912" y="4748"/>
                  </a:lnTo>
                </a:path>
              </a:pathLst>
            </a:custGeom>
            <a:grpFill/>
            <a:ln w="548" cap="flat">
              <a:noFill/>
              <a:prstDash val="solid"/>
              <a:miter/>
            </a:ln>
          </p:spPr>
          <p:txBody>
            <a:bodyPr/>
            <a:lstStyle/>
            <a:p>
              <a:endParaRPr lang="en-US"/>
            </a:p>
          </p:txBody>
        </p:sp>
        <p:sp>
          <p:nvSpPr>
            <p:cNvPr id="327" name="Freeform: Shape 326">
              <a:extLst>
                <a:ext uri="{FF2B5EF4-FFF2-40B4-BE49-F238E27FC236}">
                  <a16:creationId xmlns:a16="http://schemas.microsoft.com/office/drawing/2014/main" id="{F99C213B-3B22-F118-FF46-8FEA88D53815}"/>
                </a:ext>
              </a:extLst>
            </p:cNvPr>
            <p:cNvSpPr/>
            <p:nvPr/>
          </p:nvSpPr>
          <p:spPr>
            <a:xfrm flipV="1">
              <a:off x="24074449" y="3618670"/>
              <a:ext cx="21671" cy="11828"/>
            </a:xfrm>
            <a:custGeom>
              <a:avLst/>
              <a:gdLst>
                <a:gd name="csX0" fmla="*/ 12984 w 21671"/>
                <a:gd name="csY0" fmla="*/ 4714 h 11828"/>
                <a:gd name="csX1" fmla="*/ -8688 w 21671"/>
                <a:gd name="csY1" fmla="*/ 4714 h 11828"/>
                <a:gd name="csX2" fmla="*/ -8688 w 21671"/>
                <a:gd name="csY2" fmla="*/ -7115 h 11828"/>
                <a:gd name="csX3" fmla="*/ 12984 w 21671"/>
                <a:gd name="csY3" fmla="*/ -7115 h 11828"/>
                <a:gd name="csX4" fmla="*/ 12984 w 21671"/>
                <a:gd name="csY4" fmla="*/ 4714 h 11828"/>
              </a:gdLst>
              <a:ahLst/>
              <a:cxnLst>
                <a:cxn ang="0">
                  <a:pos x="csX0" y="csY0"/>
                </a:cxn>
                <a:cxn ang="0">
                  <a:pos x="csX1" y="csY1"/>
                </a:cxn>
                <a:cxn ang="0">
                  <a:pos x="csX2" y="csY2"/>
                </a:cxn>
                <a:cxn ang="0">
                  <a:pos x="csX3" y="csY3"/>
                </a:cxn>
                <a:cxn ang="0">
                  <a:pos x="csX4" y="csY4"/>
                </a:cxn>
              </a:cxnLst>
              <a:rect l="l" t="t" r="r" b="b"/>
              <a:pathLst>
                <a:path w="21671" h="11828">
                  <a:moveTo>
                    <a:pt x="12984" y="4714"/>
                  </a:moveTo>
                  <a:lnTo>
                    <a:pt x="-8688" y="4714"/>
                  </a:lnTo>
                  <a:lnTo>
                    <a:pt x="-8688" y="-7115"/>
                  </a:lnTo>
                  <a:lnTo>
                    <a:pt x="12984" y="-7115"/>
                  </a:lnTo>
                  <a:lnTo>
                    <a:pt x="12984" y="4714"/>
                  </a:lnTo>
                </a:path>
              </a:pathLst>
            </a:custGeom>
            <a:grpFill/>
            <a:ln w="548" cap="flat">
              <a:noFill/>
              <a:prstDash val="solid"/>
              <a:miter/>
            </a:ln>
          </p:spPr>
          <p:txBody>
            <a:bodyPr/>
            <a:lstStyle/>
            <a:p>
              <a:endParaRPr lang="en-US"/>
            </a:p>
          </p:txBody>
        </p:sp>
        <p:sp>
          <p:nvSpPr>
            <p:cNvPr id="328" name="Freeform: Shape 327">
              <a:extLst>
                <a:ext uri="{FF2B5EF4-FFF2-40B4-BE49-F238E27FC236}">
                  <a16:creationId xmlns:a16="http://schemas.microsoft.com/office/drawing/2014/main" id="{39AD15B0-E483-1513-A589-03837C013FF8}"/>
                </a:ext>
              </a:extLst>
            </p:cNvPr>
            <p:cNvSpPr/>
            <p:nvPr/>
          </p:nvSpPr>
          <p:spPr>
            <a:xfrm flipV="1">
              <a:off x="24074449" y="3632902"/>
              <a:ext cx="21671" cy="11828"/>
            </a:xfrm>
            <a:custGeom>
              <a:avLst/>
              <a:gdLst>
                <a:gd name="csX0" fmla="*/ 12984 w 21671"/>
                <a:gd name="csY0" fmla="*/ 4748 h 11828"/>
                <a:gd name="csX1" fmla="*/ -8688 w 21671"/>
                <a:gd name="csY1" fmla="*/ 4748 h 11828"/>
                <a:gd name="csX2" fmla="*/ -8688 w 21671"/>
                <a:gd name="csY2" fmla="*/ -7081 h 11828"/>
                <a:gd name="csX3" fmla="*/ 12984 w 21671"/>
                <a:gd name="csY3" fmla="*/ -7081 h 11828"/>
                <a:gd name="csX4" fmla="*/ 12984 w 21671"/>
                <a:gd name="csY4" fmla="*/ 4748 h 11828"/>
              </a:gdLst>
              <a:ahLst/>
              <a:cxnLst>
                <a:cxn ang="0">
                  <a:pos x="csX0" y="csY0"/>
                </a:cxn>
                <a:cxn ang="0">
                  <a:pos x="csX1" y="csY1"/>
                </a:cxn>
                <a:cxn ang="0">
                  <a:pos x="csX2" y="csY2"/>
                </a:cxn>
                <a:cxn ang="0">
                  <a:pos x="csX3" y="csY3"/>
                </a:cxn>
                <a:cxn ang="0">
                  <a:pos x="csX4" y="csY4"/>
                </a:cxn>
              </a:cxnLst>
              <a:rect l="l" t="t" r="r" b="b"/>
              <a:pathLst>
                <a:path w="21671" h="11828">
                  <a:moveTo>
                    <a:pt x="12984" y="4748"/>
                  </a:moveTo>
                  <a:lnTo>
                    <a:pt x="-8688" y="4748"/>
                  </a:lnTo>
                  <a:lnTo>
                    <a:pt x="-8688" y="-7081"/>
                  </a:lnTo>
                  <a:lnTo>
                    <a:pt x="12984" y="-7081"/>
                  </a:lnTo>
                  <a:lnTo>
                    <a:pt x="12984" y="4748"/>
                  </a:lnTo>
                </a:path>
              </a:pathLst>
            </a:custGeom>
            <a:grpFill/>
            <a:ln w="548" cap="flat">
              <a:noFill/>
              <a:prstDash val="solid"/>
              <a:miter/>
            </a:ln>
          </p:spPr>
          <p:txBody>
            <a:bodyPr/>
            <a:lstStyle/>
            <a:p>
              <a:endParaRPr lang="en-US"/>
            </a:p>
          </p:txBody>
        </p:sp>
        <p:sp>
          <p:nvSpPr>
            <p:cNvPr id="329" name="Freeform: Shape 328">
              <a:extLst>
                <a:ext uri="{FF2B5EF4-FFF2-40B4-BE49-F238E27FC236}">
                  <a16:creationId xmlns:a16="http://schemas.microsoft.com/office/drawing/2014/main" id="{C9A506F4-6BBD-EF29-1898-263629D6F486}"/>
                </a:ext>
              </a:extLst>
            </p:cNvPr>
            <p:cNvSpPr/>
            <p:nvPr/>
          </p:nvSpPr>
          <p:spPr>
            <a:xfrm flipV="1">
              <a:off x="24131947" y="3678187"/>
              <a:ext cx="21671" cy="11828"/>
            </a:xfrm>
            <a:custGeom>
              <a:avLst/>
              <a:gdLst>
                <a:gd name="csX0" fmla="*/ 12912 w 21671"/>
                <a:gd name="csY0" fmla="*/ 4857 h 11828"/>
                <a:gd name="csX1" fmla="*/ -8759 w 21671"/>
                <a:gd name="csY1" fmla="*/ 4857 h 11828"/>
                <a:gd name="csX2" fmla="*/ -8759 w 21671"/>
                <a:gd name="csY2" fmla="*/ -6972 h 11828"/>
                <a:gd name="csX3" fmla="*/ 12912 w 21671"/>
                <a:gd name="csY3" fmla="*/ -6972 h 11828"/>
                <a:gd name="csX4" fmla="*/ 12912 w 21671"/>
                <a:gd name="csY4" fmla="*/ 4857 h 11828"/>
              </a:gdLst>
              <a:ahLst/>
              <a:cxnLst>
                <a:cxn ang="0">
                  <a:pos x="csX0" y="csY0"/>
                </a:cxn>
                <a:cxn ang="0">
                  <a:pos x="csX1" y="csY1"/>
                </a:cxn>
                <a:cxn ang="0">
                  <a:pos x="csX2" y="csY2"/>
                </a:cxn>
                <a:cxn ang="0">
                  <a:pos x="csX3" y="csY3"/>
                </a:cxn>
                <a:cxn ang="0">
                  <a:pos x="csX4" y="csY4"/>
                </a:cxn>
              </a:cxnLst>
              <a:rect l="l" t="t" r="r" b="b"/>
              <a:pathLst>
                <a:path w="21671" h="11828">
                  <a:moveTo>
                    <a:pt x="12912" y="4857"/>
                  </a:moveTo>
                  <a:lnTo>
                    <a:pt x="-8759" y="4857"/>
                  </a:lnTo>
                  <a:lnTo>
                    <a:pt x="-8759" y="-6972"/>
                  </a:lnTo>
                  <a:lnTo>
                    <a:pt x="12912" y="-6972"/>
                  </a:lnTo>
                  <a:lnTo>
                    <a:pt x="12912" y="4857"/>
                  </a:lnTo>
                </a:path>
              </a:pathLst>
            </a:custGeom>
            <a:grpFill/>
            <a:ln w="548" cap="flat">
              <a:noFill/>
              <a:prstDash val="solid"/>
              <a:miter/>
            </a:ln>
          </p:spPr>
          <p:txBody>
            <a:bodyPr/>
            <a:lstStyle/>
            <a:p>
              <a:endParaRPr lang="en-US"/>
            </a:p>
          </p:txBody>
        </p:sp>
        <p:sp>
          <p:nvSpPr>
            <p:cNvPr id="330" name="Freeform: Shape 329">
              <a:extLst>
                <a:ext uri="{FF2B5EF4-FFF2-40B4-BE49-F238E27FC236}">
                  <a16:creationId xmlns:a16="http://schemas.microsoft.com/office/drawing/2014/main" id="{041A2226-FE47-3426-8BA4-C3F9F45F23FA}"/>
                </a:ext>
              </a:extLst>
            </p:cNvPr>
            <p:cNvSpPr/>
            <p:nvPr/>
          </p:nvSpPr>
          <p:spPr>
            <a:xfrm flipV="1">
              <a:off x="24131947" y="3692419"/>
              <a:ext cx="21671" cy="11828"/>
            </a:xfrm>
            <a:custGeom>
              <a:avLst/>
              <a:gdLst>
                <a:gd name="csX0" fmla="*/ 12912 w 21671"/>
                <a:gd name="csY0" fmla="*/ 4891 h 11828"/>
                <a:gd name="csX1" fmla="*/ -8759 w 21671"/>
                <a:gd name="csY1" fmla="*/ 4891 h 11828"/>
                <a:gd name="csX2" fmla="*/ -8759 w 21671"/>
                <a:gd name="csY2" fmla="*/ -6937 h 11828"/>
                <a:gd name="csX3" fmla="*/ 12912 w 21671"/>
                <a:gd name="csY3" fmla="*/ -6937 h 11828"/>
                <a:gd name="csX4" fmla="*/ 12912 w 21671"/>
                <a:gd name="csY4" fmla="*/ 4891 h 11828"/>
              </a:gdLst>
              <a:ahLst/>
              <a:cxnLst>
                <a:cxn ang="0">
                  <a:pos x="csX0" y="csY0"/>
                </a:cxn>
                <a:cxn ang="0">
                  <a:pos x="csX1" y="csY1"/>
                </a:cxn>
                <a:cxn ang="0">
                  <a:pos x="csX2" y="csY2"/>
                </a:cxn>
                <a:cxn ang="0">
                  <a:pos x="csX3" y="csY3"/>
                </a:cxn>
                <a:cxn ang="0">
                  <a:pos x="csX4" y="csY4"/>
                </a:cxn>
              </a:cxnLst>
              <a:rect l="l" t="t" r="r" b="b"/>
              <a:pathLst>
                <a:path w="21671" h="11828">
                  <a:moveTo>
                    <a:pt x="12912" y="4891"/>
                  </a:moveTo>
                  <a:lnTo>
                    <a:pt x="-8759" y="4891"/>
                  </a:lnTo>
                  <a:lnTo>
                    <a:pt x="-8759" y="-6937"/>
                  </a:lnTo>
                  <a:lnTo>
                    <a:pt x="12912" y="-6937"/>
                  </a:lnTo>
                  <a:lnTo>
                    <a:pt x="12912" y="4891"/>
                  </a:lnTo>
                </a:path>
              </a:pathLst>
            </a:custGeom>
            <a:grpFill/>
            <a:ln w="548" cap="flat">
              <a:noFill/>
              <a:prstDash val="solid"/>
              <a:miter/>
            </a:ln>
          </p:spPr>
          <p:txBody>
            <a:bodyPr/>
            <a:lstStyle/>
            <a:p>
              <a:endParaRPr lang="en-US"/>
            </a:p>
          </p:txBody>
        </p:sp>
        <p:sp>
          <p:nvSpPr>
            <p:cNvPr id="331" name="Freeform: Shape 330">
              <a:extLst>
                <a:ext uri="{FF2B5EF4-FFF2-40B4-BE49-F238E27FC236}">
                  <a16:creationId xmlns:a16="http://schemas.microsoft.com/office/drawing/2014/main" id="{C41AD9BE-2E23-78DF-62D3-6E89345EFEFC}"/>
                </a:ext>
              </a:extLst>
            </p:cNvPr>
            <p:cNvSpPr/>
            <p:nvPr/>
          </p:nvSpPr>
          <p:spPr>
            <a:xfrm flipV="1">
              <a:off x="24074449" y="3678187"/>
              <a:ext cx="21671" cy="11828"/>
            </a:xfrm>
            <a:custGeom>
              <a:avLst/>
              <a:gdLst>
                <a:gd name="csX0" fmla="*/ 12984 w 21671"/>
                <a:gd name="csY0" fmla="*/ 4857 h 11828"/>
                <a:gd name="csX1" fmla="*/ -8688 w 21671"/>
                <a:gd name="csY1" fmla="*/ 4857 h 11828"/>
                <a:gd name="csX2" fmla="*/ -8688 w 21671"/>
                <a:gd name="csY2" fmla="*/ -6972 h 11828"/>
                <a:gd name="csX3" fmla="*/ 12984 w 21671"/>
                <a:gd name="csY3" fmla="*/ -6972 h 11828"/>
                <a:gd name="csX4" fmla="*/ 12984 w 21671"/>
                <a:gd name="csY4" fmla="*/ 4857 h 11828"/>
              </a:gdLst>
              <a:ahLst/>
              <a:cxnLst>
                <a:cxn ang="0">
                  <a:pos x="csX0" y="csY0"/>
                </a:cxn>
                <a:cxn ang="0">
                  <a:pos x="csX1" y="csY1"/>
                </a:cxn>
                <a:cxn ang="0">
                  <a:pos x="csX2" y="csY2"/>
                </a:cxn>
                <a:cxn ang="0">
                  <a:pos x="csX3" y="csY3"/>
                </a:cxn>
                <a:cxn ang="0">
                  <a:pos x="csX4" y="csY4"/>
                </a:cxn>
              </a:cxnLst>
              <a:rect l="l" t="t" r="r" b="b"/>
              <a:pathLst>
                <a:path w="21671" h="11828">
                  <a:moveTo>
                    <a:pt x="12984" y="4857"/>
                  </a:moveTo>
                  <a:lnTo>
                    <a:pt x="-8688" y="4857"/>
                  </a:lnTo>
                  <a:lnTo>
                    <a:pt x="-8688" y="-6972"/>
                  </a:lnTo>
                  <a:lnTo>
                    <a:pt x="12984" y="-6972"/>
                  </a:lnTo>
                  <a:lnTo>
                    <a:pt x="12984" y="4857"/>
                  </a:lnTo>
                </a:path>
              </a:pathLst>
            </a:custGeom>
            <a:grpFill/>
            <a:ln w="548" cap="flat">
              <a:noFill/>
              <a:prstDash val="solid"/>
              <a:miter/>
            </a:ln>
          </p:spPr>
          <p:txBody>
            <a:bodyPr/>
            <a:lstStyle/>
            <a:p>
              <a:endParaRPr lang="en-US"/>
            </a:p>
          </p:txBody>
        </p:sp>
        <p:sp>
          <p:nvSpPr>
            <p:cNvPr id="332" name="Freeform: Shape 331">
              <a:extLst>
                <a:ext uri="{FF2B5EF4-FFF2-40B4-BE49-F238E27FC236}">
                  <a16:creationId xmlns:a16="http://schemas.microsoft.com/office/drawing/2014/main" id="{982B540E-5F04-97A8-E5BA-2A7FC5BB129D}"/>
                </a:ext>
              </a:extLst>
            </p:cNvPr>
            <p:cNvSpPr/>
            <p:nvPr/>
          </p:nvSpPr>
          <p:spPr>
            <a:xfrm flipV="1">
              <a:off x="24074449" y="3692419"/>
              <a:ext cx="21671" cy="11828"/>
            </a:xfrm>
            <a:custGeom>
              <a:avLst/>
              <a:gdLst>
                <a:gd name="csX0" fmla="*/ 12984 w 21671"/>
                <a:gd name="csY0" fmla="*/ 4891 h 11828"/>
                <a:gd name="csX1" fmla="*/ -8688 w 21671"/>
                <a:gd name="csY1" fmla="*/ 4891 h 11828"/>
                <a:gd name="csX2" fmla="*/ -8688 w 21671"/>
                <a:gd name="csY2" fmla="*/ -6937 h 11828"/>
                <a:gd name="csX3" fmla="*/ 12984 w 21671"/>
                <a:gd name="csY3" fmla="*/ -6937 h 11828"/>
                <a:gd name="csX4" fmla="*/ 12984 w 21671"/>
                <a:gd name="csY4" fmla="*/ 4891 h 11828"/>
              </a:gdLst>
              <a:ahLst/>
              <a:cxnLst>
                <a:cxn ang="0">
                  <a:pos x="csX0" y="csY0"/>
                </a:cxn>
                <a:cxn ang="0">
                  <a:pos x="csX1" y="csY1"/>
                </a:cxn>
                <a:cxn ang="0">
                  <a:pos x="csX2" y="csY2"/>
                </a:cxn>
                <a:cxn ang="0">
                  <a:pos x="csX3" y="csY3"/>
                </a:cxn>
                <a:cxn ang="0">
                  <a:pos x="csX4" y="csY4"/>
                </a:cxn>
              </a:cxnLst>
              <a:rect l="l" t="t" r="r" b="b"/>
              <a:pathLst>
                <a:path w="21671" h="11828">
                  <a:moveTo>
                    <a:pt x="12984" y="4891"/>
                  </a:moveTo>
                  <a:lnTo>
                    <a:pt x="-8688" y="4891"/>
                  </a:lnTo>
                  <a:lnTo>
                    <a:pt x="-8688" y="-6937"/>
                  </a:lnTo>
                  <a:lnTo>
                    <a:pt x="12984" y="-6937"/>
                  </a:lnTo>
                  <a:lnTo>
                    <a:pt x="12984" y="4891"/>
                  </a:lnTo>
                </a:path>
              </a:pathLst>
            </a:custGeom>
            <a:grpFill/>
            <a:ln w="548" cap="flat">
              <a:noFill/>
              <a:prstDash val="solid"/>
              <a:miter/>
            </a:ln>
          </p:spPr>
          <p:txBody>
            <a:bodyPr/>
            <a:lstStyle/>
            <a:p>
              <a:endParaRPr lang="en-US"/>
            </a:p>
          </p:txBody>
        </p:sp>
        <p:sp>
          <p:nvSpPr>
            <p:cNvPr id="333" name="Freeform: Shape 332">
              <a:extLst>
                <a:ext uri="{FF2B5EF4-FFF2-40B4-BE49-F238E27FC236}">
                  <a16:creationId xmlns:a16="http://schemas.microsoft.com/office/drawing/2014/main" id="{15AD1735-0C7B-E938-6113-49FB9C279301}"/>
                </a:ext>
              </a:extLst>
            </p:cNvPr>
            <p:cNvSpPr/>
            <p:nvPr/>
          </p:nvSpPr>
          <p:spPr>
            <a:xfrm flipV="1">
              <a:off x="24131947" y="3737698"/>
              <a:ext cx="21671" cy="11828"/>
            </a:xfrm>
            <a:custGeom>
              <a:avLst/>
              <a:gdLst>
                <a:gd name="csX0" fmla="*/ 12912 w 21671"/>
                <a:gd name="csY0" fmla="*/ 5000 h 11828"/>
                <a:gd name="csX1" fmla="*/ -8759 w 21671"/>
                <a:gd name="csY1" fmla="*/ 5000 h 11828"/>
                <a:gd name="csX2" fmla="*/ -8759 w 21671"/>
                <a:gd name="csY2" fmla="*/ -6829 h 11828"/>
                <a:gd name="csX3" fmla="*/ 12912 w 21671"/>
                <a:gd name="csY3" fmla="*/ -6829 h 11828"/>
                <a:gd name="csX4" fmla="*/ 12912 w 21671"/>
                <a:gd name="csY4" fmla="*/ 5000 h 11828"/>
              </a:gdLst>
              <a:ahLst/>
              <a:cxnLst>
                <a:cxn ang="0">
                  <a:pos x="csX0" y="csY0"/>
                </a:cxn>
                <a:cxn ang="0">
                  <a:pos x="csX1" y="csY1"/>
                </a:cxn>
                <a:cxn ang="0">
                  <a:pos x="csX2" y="csY2"/>
                </a:cxn>
                <a:cxn ang="0">
                  <a:pos x="csX3" y="csY3"/>
                </a:cxn>
                <a:cxn ang="0">
                  <a:pos x="csX4" y="csY4"/>
                </a:cxn>
              </a:cxnLst>
              <a:rect l="l" t="t" r="r" b="b"/>
              <a:pathLst>
                <a:path w="21671" h="11828">
                  <a:moveTo>
                    <a:pt x="12912" y="5000"/>
                  </a:moveTo>
                  <a:lnTo>
                    <a:pt x="-8759" y="5000"/>
                  </a:lnTo>
                  <a:lnTo>
                    <a:pt x="-8759" y="-6829"/>
                  </a:lnTo>
                  <a:lnTo>
                    <a:pt x="12912" y="-6829"/>
                  </a:lnTo>
                  <a:lnTo>
                    <a:pt x="12912" y="5000"/>
                  </a:lnTo>
                </a:path>
              </a:pathLst>
            </a:custGeom>
            <a:grpFill/>
            <a:ln w="548" cap="flat">
              <a:noFill/>
              <a:prstDash val="solid"/>
              <a:miter/>
            </a:ln>
          </p:spPr>
          <p:txBody>
            <a:bodyPr/>
            <a:lstStyle/>
            <a:p>
              <a:endParaRPr lang="en-US"/>
            </a:p>
          </p:txBody>
        </p:sp>
        <p:sp>
          <p:nvSpPr>
            <p:cNvPr id="334" name="Freeform: Shape 333">
              <a:extLst>
                <a:ext uri="{FF2B5EF4-FFF2-40B4-BE49-F238E27FC236}">
                  <a16:creationId xmlns:a16="http://schemas.microsoft.com/office/drawing/2014/main" id="{C861551F-5431-D547-D8F9-D9F6C204362A}"/>
                </a:ext>
              </a:extLst>
            </p:cNvPr>
            <p:cNvSpPr/>
            <p:nvPr/>
          </p:nvSpPr>
          <p:spPr>
            <a:xfrm flipV="1">
              <a:off x="24131947" y="3751935"/>
              <a:ext cx="21671" cy="11828"/>
            </a:xfrm>
            <a:custGeom>
              <a:avLst/>
              <a:gdLst>
                <a:gd name="csX0" fmla="*/ 12912 w 21671"/>
                <a:gd name="csY0" fmla="*/ 5034 h 11828"/>
                <a:gd name="csX1" fmla="*/ -8759 w 21671"/>
                <a:gd name="csY1" fmla="*/ 5034 h 11828"/>
                <a:gd name="csX2" fmla="*/ -8759 w 21671"/>
                <a:gd name="csY2" fmla="*/ -6794 h 11828"/>
                <a:gd name="csX3" fmla="*/ 12912 w 21671"/>
                <a:gd name="csY3" fmla="*/ -6794 h 11828"/>
                <a:gd name="csX4" fmla="*/ 12912 w 21671"/>
                <a:gd name="csY4" fmla="*/ 5034 h 11828"/>
              </a:gdLst>
              <a:ahLst/>
              <a:cxnLst>
                <a:cxn ang="0">
                  <a:pos x="csX0" y="csY0"/>
                </a:cxn>
                <a:cxn ang="0">
                  <a:pos x="csX1" y="csY1"/>
                </a:cxn>
                <a:cxn ang="0">
                  <a:pos x="csX2" y="csY2"/>
                </a:cxn>
                <a:cxn ang="0">
                  <a:pos x="csX3" y="csY3"/>
                </a:cxn>
                <a:cxn ang="0">
                  <a:pos x="csX4" y="csY4"/>
                </a:cxn>
              </a:cxnLst>
              <a:rect l="l" t="t" r="r" b="b"/>
              <a:pathLst>
                <a:path w="21671" h="11828">
                  <a:moveTo>
                    <a:pt x="12912" y="5034"/>
                  </a:moveTo>
                  <a:lnTo>
                    <a:pt x="-8759" y="5034"/>
                  </a:lnTo>
                  <a:lnTo>
                    <a:pt x="-8759" y="-6794"/>
                  </a:lnTo>
                  <a:lnTo>
                    <a:pt x="12912" y="-6794"/>
                  </a:lnTo>
                  <a:lnTo>
                    <a:pt x="12912" y="5034"/>
                  </a:lnTo>
                </a:path>
              </a:pathLst>
            </a:custGeom>
            <a:grpFill/>
            <a:ln w="548" cap="flat">
              <a:noFill/>
              <a:prstDash val="solid"/>
              <a:miter/>
            </a:ln>
          </p:spPr>
          <p:txBody>
            <a:bodyPr/>
            <a:lstStyle/>
            <a:p>
              <a:endParaRPr lang="en-US"/>
            </a:p>
          </p:txBody>
        </p:sp>
        <p:sp>
          <p:nvSpPr>
            <p:cNvPr id="335" name="Freeform: Shape 334">
              <a:extLst>
                <a:ext uri="{FF2B5EF4-FFF2-40B4-BE49-F238E27FC236}">
                  <a16:creationId xmlns:a16="http://schemas.microsoft.com/office/drawing/2014/main" id="{D7591E88-D8D4-98B9-65B1-3091BAE24ABD}"/>
                </a:ext>
              </a:extLst>
            </p:cNvPr>
            <p:cNvSpPr/>
            <p:nvPr/>
          </p:nvSpPr>
          <p:spPr>
            <a:xfrm flipV="1">
              <a:off x="24074449" y="3737698"/>
              <a:ext cx="21671" cy="11828"/>
            </a:xfrm>
            <a:custGeom>
              <a:avLst/>
              <a:gdLst>
                <a:gd name="csX0" fmla="*/ 12984 w 21671"/>
                <a:gd name="csY0" fmla="*/ 5000 h 11828"/>
                <a:gd name="csX1" fmla="*/ -8688 w 21671"/>
                <a:gd name="csY1" fmla="*/ 5000 h 11828"/>
                <a:gd name="csX2" fmla="*/ -8688 w 21671"/>
                <a:gd name="csY2" fmla="*/ -6829 h 11828"/>
                <a:gd name="csX3" fmla="*/ 12984 w 21671"/>
                <a:gd name="csY3" fmla="*/ -6829 h 11828"/>
                <a:gd name="csX4" fmla="*/ 12984 w 21671"/>
                <a:gd name="csY4" fmla="*/ 5000 h 11828"/>
              </a:gdLst>
              <a:ahLst/>
              <a:cxnLst>
                <a:cxn ang="0">
                  <a:pos x="csX0" y="csY0"/>
                </a:cxn>
                <a:cxn ang="0">
                  <a:pos x="csX1" y="csY1"/>
                </a:cxn>
                <a:cxn ang="0">
                  <a:pos x="csX2" y="csY2"/>
                </a:cxn>
                <a:cxn ang="0">
                  <a:pos x="csX3" y="csY3"/>
                </a:cxn>
                <a:cxn ang="0">
                  <a:pos x="csX4" y="csY4"/>
                </a:cxn>
              </a:cxnLst>
              <a:rect l="l" t="t" r="r" b="b"/>
              <a:pathLst>
                <a:path w="21671" h="11828">
                  <a:moveTo>
                    <a:pt x="12984" y="5000"/>
                  </a:moveTo>
                  <a:lnTo>
                    <a:pt x="-8688" y="5000"/>
                  </a:lnTo>
                  <a:lnTo>
                    <a:pt x="-8688" y="-6829"/>
                  </a:lnTo>
                  <a:lnTo>
                    <a:pt x="12984" y="-6829"/>
                  </a:lnTo>
                  <a:lnTo>
                    <a:pt x="12984" y="5000"/>
                  </a:lnTo>
                </a:path>
              </a:pathLst>
            </a:custGeom>
            <a:grpFill/>
            <a:ln w="548" cap="flat">
              <a:noFill/>
              <a:prstDash val="solid"/>
              <a:miter/>
            </a:ln>
          </p:spPr>
          <p:txBody>
            <a:bodyPr/>
            <a:lstStyle/>
            <a:p>
              <a:endParaRPr lang="en-US"/>
            </a:p>
          </p:txBody>
        </p:sp>
        <p:sp>
          <p:nvSpPr>
            <p:cNvPr id="336" name="Freeform: Shape 335">
              <a:extLst>
                <a:ext uri="{FF2B5EF4-FFF2-40B4-BE49-F238E27FC236}">
                  <a16:creationId xmlns:a16="http://schemas.microsoft.com/office/drawing/2014/main" id="{13B01C4D-D1A2-08EA-DC8A-D7DCAA9717D2}"/>
                </a:ext>
              </a:extLst>
            </p:cNvPr>
            <p:cNvSpPr/>
            <p:nvPr/>
          </p:nvSpPr>
          <p:spPr>
            <a:xfrm flipV="1">
              <a:off x="24074449" y="3751935"/>
              <a:ext cx="21671" cy="11828"/>
            </a:xfrm>
            <a:custGeom>
              <a:avLst/>
              <a:gdLst>
                <a:gd name="csX0" fmla="*/ 12984 w 21671"/>
                <a:gd name="csY0" fmla="*/ 5034 h 11828"/>
                <a:gd name="csX1" fmla="*/ -8688 w 21671"/>
                <a:gd name="csY1" fmla="*/ 5034 h 11828"/>
                <a:gd name="csX2" fmla="*/ -8688 w 21671"/>
                <a:gd name="csY2" fmla="*/ -6794 h 11828"/>
                <a:gd name="csX3" fmla="*/ 12984 w 21671"/>
                <a:gd name="csY3" fmla="*/ -6794 h 11828"/>
                <a:gd name="csX4" fmla="*/ 12984 w 21671"/>
                <a:gd name="csY4" fmla="*/ 5034 h 11828"/>
              </a:gdLst>
              <a:ahLst/>
              <a:cxnLst>
                <a:cxn ang="0">
                  <a:pos x="csX0" y="csY0"/>
                </a:cxn>
                <a:cxn ang="0">
                  <a:pos x="csX1" y="csY1"/>
                </a:cxn>
                <a:cxn ang="0">
                  <a:pos x="csX2" y="csY2"/>
                </a:cxn>
                <a:cxn ang="0">
                  <a:pos x="csX3" y="csY3"/>
                </a:cxn>
                <a:cxn ang="0">
                  <a:pos x="csX4" y="csY4"/>
                </a:cxn>
              </a:cxnLst>
              <a:rect l="l" t="t" r="r" b="b"/>
              <a:pathLst>
                <a:path w="21671" h="11828">
                  <a:moveTo>
                    <a:pt x="12984" y="5034"/>
                  </a:moveTo>
                  <a:lnTo>
                    <a:pt x="-8688" y="5034"/>
                  </a:lnTo>
                  <a:lnTo>
                    <a:pt x="-8688" y="-6794"/>
                  </a:lnTo>
                  <a:lnTo>
                    <a:pt x="12984" y="-6794"/>
                  </a:lnTo>
                  <a:lnTo>
                    <a:pt x="12984" y="5034"/>
                  </a:lnTo>
                </a:path>
              </a:pathLst>
            </a:custGeom>
            <a:grpFill/>
            <a:ln w="548" cap="flat">
              <a:noFill/>
              <a:prstDash val="solid"/>
              <a:miter/>
            </a:ln>
          </p:spPr>
          <p:txBody>
            <a:bodyPr/>
            <a:lstStyle/>
            <a:p>
              <a:endParaRPr lang="en-US"/>
            </a:p>
          </p:txBody>
        </p:sp>
        <p:sp>
          <p:nvSpPr>
            <p:cNvPr id="337" name="Freeform: Shape 336">
              <a:extLst>
                <a:ext uri="{FF2B5EF4-FFF2-40B4-BE49-F238E27FC236}">
                  <a16:creationId xmlns:a16="http://schemas.microsoft.com/office/drawing/2014/main" id="{9067FC97-08B8-1A2F-47D0-1442F3595FB8}"/>
                </a:ext>
              </a:extLst>
            </p:cNvPr>
            <p:cNvSpPr/>
            <p:nvPr/>
          </p:nvSpPr>
          <p:spPr>
            <a:xfrm flipV="1">
              <a:off x="24131947" y="3797220"/>
              <a:ext cx="21671" cy="11823"/>
            </a:xfrm>
            <a:custGeom>
              <a:avLst/>
              <a:gdLst>
                <a:gd name="csX0" fmla="*/ 12912 w 21671"/>
                <a:gd name="csY0" fmla="*/ 5138 h 11823"/>
                <a:gd name="csX1" fmla="*/ -8759 w 21671"/>
                <a:gd name="csY1" fmla="*/ 5138 h 11823"/>
                <a:gd name="csX2" fmla="*/ -8759 w 21671"/>
                <a:gd name="csY2" fmla="*/ -6685 h 11823"/>
                <a:gd name="csX3" fmla="*/ 12912 w 21671"/>
                <a:gd name="csY3" fmla="*/ -6685 h 11823"/>
                <a:gd name="csX4" fmla="*/ 12912 w 21671"/>
                <a:gd name="csY4" fmla="*/ 5138 h 11823"/>
              </a:gdLst>
              <a:ahLst/>
              <a:cxnLst>
                <a:cxn ang="0">
                  <a:pos x="csX0" y="csY0"/>
                </a:cxn>
                <a:cxn ang="0">
                  <a:pos x="csX1" y="csY1"/>
                </a:cxn>
                <a:cxn ang="0">
                  <a:pos x="csX2" y="csY2"/>
                </a:cxn>
                <a:cxn ang="0">
                  <a:pos x="csX3" y="csY3"/>
                </a:cxn>
                <a:cxn ang="0">
                  <a:pos x="csX4" y="csY4"/>
                </a:cxn>
              </a:cxnLst>
              <a:rect l="l" t="t" r="r" b="b"/>
              <a:pathLst>
                <a:path w="21671" h="11823">
                  <a:moveTo>
                    <a:pt x="12912" y="5138"/>
                  </a:moveTo>
                  <a:lnTo>
                    <a:pt x="-8759" y="5138"/>
                  </a:lnTo>
                  <a:lnTo>
                    <a:pt x="-8759" y="-6685"/>
                  </a:lnTo>
                  <a:lnTo>
                    <a:pt x="12912" y="-6685"/>
                  </a:lnTo>
                  <a:lnTo>
                    <a:pt x="12912" y="5138"/>
                  </a:lnTo>
                </a:path>
              </a:pathLst>
            </a:custGeom>
            <a:grpFill/>
            <a:ln w="548" cap="flat">
              <a:noFill/>
              <a:prstDash val="solid"/>
              <a:miter/>
            </a:ln>
          </p:spPr>
          <p:txBody>
            <a:bodyPr/>
            <a:lstStyle/>
            <a:p>
              <a:endParaRPr lang="en-US"/>
            </a:p>
          </p:txBody>
        </p:sp>
        <p:sp>
          <p:nvSpPr>
            <p:cNvPr id="338" name="Freeform: Shape 337">
              <a:extLst>
                <a:ext uri="{FF2B5EF4-FFF2-40B4-BE49-F238E27FC236}">
                  <a16:creationId xmlns:a16="http://schemas.microsoft.com/office/drawing/2014/main" id="{B11E2F0F-9462-9454-8C87-CD331E5B1C48}"/>
                </a:ext>
              </a:extLst>
            </p:cNvPr>
            <p:cNvSpPr/>
            <p:nvPr/>
          </p:nvSpPr>
          <p:spPr>
            <a:xfrm flipV="1">
              <a:off x="24131947" y="3811451"/>
              <a:ext cx="21671" cy="11828"/>
            </a:xfrm>
            <a:custGeom>
              <a:avLst/>
              <a:gdLst>
                <a:gd name="csX0" fmla="*/ 12912 w 21671"/>
                <a:gd name="csY0" fmla="*/ 5178 h 11828"/>
                <a:gd name="csX1" fmla="*/ -8759 w 21671"/>
                <a:gd name="csY1" fmla="*/ 5178 h 11828"/>
                <a:gd name="csX2" fmla="*/ -8759 w 21671"/>
                <a:gd name="csY2" fmla="*/ -6651 h 11828"/>
                <a:gd name="csX3" fmla="*/ 12912 w 21671"/>
                <a:gd name="csY3" fmla="*/ -6651 h 11828"/>
                <a:gd name="csX4" fmla="*/ 12912 w 21671"/>
                <a:gd name="csY4" fmla="*/ 5178 h 11828"/>
              </a:gdLst>
              <a:ahLst/>
              <a:cxnLst>
                <a:cxn ang="0">
                  <a:pos x="csX0" y="csY0"/>
                </a:cxn>
                <a:cxn ang="0">
                  <a:pos x="csX1" y="csY1"/>
                </a:cxn>
                <a:cxn ang="0">
                  <a:pos x="csX2" y="csY2"/>
                </a:cxn>
                <a:cxn ang="0">
                  <a:pos x="csX3" y="csY3"/>
                </a:cxn>
                <a:cxn ang="0">
                  <a:pos x="csX4" y="csY4"/>
                </a:cxn>
              </a:cxnLst>
              <a:rect l="l" t="t" r="r" b="b"/>
              <a:pathLst>
                <a:path w="21671" h="11828">
                  <a:moveTo>
                    <a:pt x="12912" y="5178"/>
                  </a:moveTo>
                  <a:lnTo>
                    <a:pt x="-8759" y="5178"/>
                  </a:lnTo>
                  <a:lnTo>
                    <a:pt x="-8759" y="-6651"/>
                  </a:lnTo>
                  <a:lnTo>
                    <a:pt x="12912" y="-6651"/>
                  </a:lnTo>
                  <a:lnTo>
                    <a:pt x="12912" y="5178"/>
                  </a:lnTo>
                </a:path>
              </a:pathLst>
            </a:custGeom>
            <a:grpFill/>
            <a:ln w="548" cap="flat">
              <a:noFill/>
              <a:prstDash val="solid"/>
              <a:miter/>
            </a:ln>
          </p:spPr>
          <p:txBody>
            <a:bodyPr/>
            <a:lstStyle/>
            <a:p>
              <a:endParaRPr lang="en-US"/>
            </a:p>
          </p:txBody>
        </p:sp>
        <p:sp>
          <p:nvSpPr>
            <p:cNvPr id="339" name="Freeform: Shape 338">
              <a:extLst>
                <a:ext uri="{FF2B5EF4-FFF2-40B4-BE49-F238E27FC236}">
                  <a16:creationId xmlns:a16="http://schemas.microsoft.com/office/drawing/2014/main" id="{9E743F79-ABA9-13F7-638D-ECC9F9C32A68}"/>
                </a:ext>
              </a:extLst>
            </p:cNvPr>
            <p:cNvSpPr/>
            <p:nvPr/>
          </p:nvSpPr>
          <p:spPr>
            <a:xfrm flipV="1">
              <a:off x="24074449" y="3797220"/>
              <a:ext cx="21671" cy="11823"/>
            </a:xfrm>
            <a:custGeom>
              <a:avLst/>
              <a:gdLst>
                <a:gd name="csX0" fmla="*/ 12984 w 21671"/>
                <a:gd name="csY0" fmla="*/ 5138 h 11823"/>
                <a:gd name="csX1" fmla="*/ -8688 w 21671"/>
                <a:gd name="csY1" fmla="*/ 5138 h 11823"/>
                <a:gd name="csX2" fmla="*/ -8688 w 21671"/>
                <a:gd name="csY2" fmla="*/ -6685 h 11823"/>
                <a:gd name="csX3" fmla="*/ 12984 w 21671"/>
                <a:gd name="csY3" fmla="*/ -6685 h 11823"/>
                <a:gd name="csX4" fmla="*/ 12984 w 21671"/>
                <a:gd name="csY4" fmla="*/ 5138 h 11823"/>
              </a:gdLst>
              <a:ahLst/>
              <a:cxnLst>
                <a:cxn ang="0">
                  <a:pos x="csX0" y="csY0"/>
                </a:cxn>
                <a:cxn ang="0">
                  <a:pos x="csX1" y="csY1"/>
                </a:cxn>
                <a:cxn ang="0">
                  <a:pos x="csX2" y="csY2"/>
                </a:cxn>
                <a:cxn ang="0">
                  <a:pos x="csX3" y="csY3"/>
                </a:cxn>
                <a:cxn ang="0">
                  <a:pos x="csX4" y="csY4"/>
                </a:cxn>
              </a:cxnLst>
              <a:rect l="l" t="t" r="r" b="b"/>
              <a:pathLst>
                <a:path w="21671" h="11823">
                  <a:moveTo>
                    <a:pt x="12984" y="5138"/>
                  </a:moveTo>
                  <a:lnTo>
                    <a:pt x="-8688" y="5138"/>
                  </a:lnTo>
                  <a:lnTo>
                    <a:pt x="-8688" y="-6685"/>
                  </a:lnTo>
                  <a:lnTo>
                    <a:pt x="12984" y="-6685"/>
                  </a:lnTo>
                  <a:lnTo>
                    <a:pt x="12984" y="5138"/>
                  </a:lnTo>
                </a:path>
              </a:pathLst>
            </a:custGeom>
            <a:grpFill/>
            <a:ln w="548" cap="flat">
              <a:noFill/>
              <a:prstDash val="solid"/>
              <a:miter/>
            </a:ln>
          </p:spPr>
          <p:txBody>
            <a:bodyPr/>
            <a:lstStyle/>
            <a:p>
              <a:endParaRPr lang="en-US"/>
            </a:p>
          </p:txBody>
        </p:sp>
        <p:sp>
          <p:nvSpPr>
            <p:cNvPr id="340" name="Freeform: Shape 339">
              <a:extLst>
                <a:ext uri="{FF2B5EF4-FFF2-40B4-BE49-F238E27FC236}">
                  <a16:creationId xmlns:a16="http://schemas.microsoft.com/office/drawing/2014/main" id="{A17FE78F-00D6-91DA-DE77-A232593B5CCD}"/>
                </a:ext>
              </a:extLst>
            </p:cNvPr>
            <p:cNvSpPr/>
            <p:nvPr/>
          </p:nvSpPr>
          <p:spPr>
            <a:xfrm flipV="1">
              <a:off x="24074449" y="3811451"/>
              <a:ext cx="21671" cy="11828"/>
            </a:xfrm>
            <a:custGeom>
              <a:avLst/>
              <a:gdLst>
                <a:gd name="csX0" fmla="*/ 12984 w 21671"/>
                <a:gd name="csY0" fmla="*/ 5178 h 11828"/>
                <a:gd name="csX1" fmla="*/ -8688 w 21671"/>
                <a:gd name="csY1" fmla="*/ 5178 h 11828"/>
                <a:gd name="csX2" fmla="*/ -8688 w 21671"/>
                <a:gd name="csY2" fmla="*/ -6651 h 11828"/>
                <a:gd name="csX3" fmla="*/ 12984 w 21671"/>
                <a:gd name="csY3" fmla="*/ -6651 h 11828"/>
                <a:gd name="csX4" fmla="*/ 12984 w 21671"/>
                <a:gd name="csY4" fmla="*/ 5178 h 11828"/>
              </a:gdLst>
              <a:ahLst/>
              <a:cxnLst>
                <a:cxn ang="0">
                  <a:pos x="csX0" y="csY0"/>
                </a:cxn>
                <a:cxn ang="0">
                  <a:pos x="csX1" y="csY1"/>
                </a:cxn>
                <a:cxn ang="0">
                  <a:pos x="csX2" y="csY2"/>
                </a:cxn>
                <a:cxn ang="0">
                  <a:pos x="csX3" y="csY3"/>
                </a:cxn>
                <a:cxn ang="0">
                  <a:pos x="csX4" y="csY4"/>
                </a:cxn>
              </a:cxnLst>
              <a:rect l="l" t="t" r="r" b="b"/>
              <a:pathLst>
                <a:path w="21671" h="11828">
                  <a:moveTo>
                    <a:pt x="12984" y="5178"/>
                  </a:moveTo>
                  <a:lnTo>
                    <a:pt x="-8688" y="5178"/>
                  </a:lnTo>
                  <a:lnTo>
                    <a:pt x="-8688" y="-6651"/>
                  </a:lnTo>
                  <a:lnTo>
                    <a:pt x="12984" y="-6651"/>
                  </a:lnTo>
                  <a:lnTo>
                    <a:pt x="12984" y="5178"/>
                  </a:lnTo>
                </a:path>
              </a:pathLst>
            </a:custGeom>
            <a:grpFill/>
            <a:ln w="548" cap="flat">
              <a:noFill/>
              <a:prstDash val="solid"/>
              <a:miter/>
            </a:ln>
          </p:spPr>
          <p:txBody>
            <a:bodyPr/>
            <a:lstStyle/>
            <a:p>
              <a:endParaRPr lang="en-US"/>
            </a:p>
          </p:txBody>
        </p:sp>
        <p:sp>
          <p:nvSpPr>
            <p:cNvPr id="341" name="Freeform: Shape 340">
              <a:extLst>
                <a:ext uri="{FF2B5EF4-FFF2-40B4-BE49-F238E27FC236}">
                  <a16:creationId xmlns:a16="http://schemas.microsoft.com/office/drawing/2014/main" id="{1596BB25-C4BD-6C18-4783-09378852A9D3}"/>
                </a:ext>
              </a:extLst>
            </p:cNvPr>
            <p:cNvSpPr/>
            <p:nvPr/>
          </p:nvSpPr>
          <p:spPr>
            <a:xfrm flipV="1">
              <a:off x="24131947" y="3856736"/>
              <a:ext cx="21671" cy="11828"/>
            </a:xfrm>
            <a:custGeom>
              <a:avLst/>
              <a:gdLst>
                <a:gd name="csX0" fmla="*/ 12912 w 21671"/>
                <a:gd name="csY0" fmla="*/ 5287 h 11828"/>
                <a:gd name="csX1" fmla="*/ -8759 w 21671"/>
                <a:gd name="csY1" fmla="*/ 5287 h 11828"/>
                <a:gd name="csX2" fmla="*/ -8759 w 21671"/>
                <a:gd name="csY2" fmla="*/ -6542 h 11828"/>
                <a:gd name="csX3" fmla="*/ 12912 w 21671"/>
                <a:gd name="csY3" fmla="*/ -6542 h 11828"/>
                <a:gd name="csX4" fmla="*/ 12912 w 21671"/>
                <a:gd name="csY4" fmla="*/ 5287 h 11828"/>
              </a:gdLst>
              <a:ahLst/>
              <a:cxnLst>
                <a:cxn ang="0">
                  <a:pos x="csX0" y="csY0"/>
                </a:cxn>
                <a:cxn ang="0">
                  <a:pos x="csX1" y="csY1"/>
                </a:cxn>
                <a:cxn ang="0">
                  <a:pos x="csX2" y="csY2"/>
                </a:cxn>
                <a:cxn ang="0">
                  <a:pos x="csX3" y="csY3"/>
                </a:cxn>
                <a:cxn ang="0">
                  <a:pos x="csX4" y="csY4"/>
                </a:cxn>
              </a:cxnLst>
              <a:rect l="l" t="t" r="r" b="b"/>
              <a:pathLst>
                <a:path w="21671" h="11828">
                  <a:moveTo>
                    <a:pt x="12912" y="5287"/>
                  </a:moveTo>
                  <a:lnTo>
                    <a:pt x="-8759" y="5287"/>
                  </a:lnTo>
                  <a:lnTo>
                    <a:pt x="-8759" y="-6542"/>
                  </a:lnTo>
                  <a:lnTo>
                    <a:pt x="12912" y="-6542"/>
                  </a:lnTo>
                  <a:lnTo>
                    <a:pt x="12912" y="5287"/>
                  </a:lnTo>
                </a:path>
              </a:pathLst>
            </a:custGeom>
            <a:grpFill/>
            <a:ln w="548" cap="flat">
              <a:noFill/>
              <a:prstDash val="solid"/>
              <a:miter/>
            </a:ln>
          </p:spPr>
          <p:txBody>
            <a:bodyPr/>
            <a:lstStyle/>
            <a:p>
              <a:endParaRPr lang="en-US"/>
            </a:p>
          </p:txBody>
        </p:sp>
        <p:sp>
          <p:nvSpPr>
            <p:cNvPr id="342" name="Freeform: Shape 341">
              <a:extLst>
                <a:ext uri="{FF2B5EF4-FFF2-40B4-BE49-F238E27FC236}">
                  <a16:creationId xmlns:a16="http://schemas.microsoft.com/office/drawing/2014/main" id="{9E22FC89-B606-F89E-759E-02FA4C107FF2}"/>
                </a:ext>
              </a:extLst>
            </p:cNvPr>
            <p:cNvSpPr/>
            <p:nvPr/>
          </p:nvSpPr>
          <p:spPr>
            <a:xfrm flipV="1">
              <a:off x="24131947" y="3870968"/>
              <a:ext cx="21671" cy="11828"/>
            </a:xfrm>
            <a:custGeom>
              <a:avLst/>
              <a:gdLst>
                <a:gd name="csX0" fmla="*/ 12912 w 21671"/>
                <a:gd name="csY0" fmla="*/ 5321 h 11828"/>
                <a:gd name="csX1" fmla="*/ -8759 w 21671"/>
                <a:gd name="csY1" fmla="*/ 5321 h 11828"/>
                <a:gd name="csX2" fmla="*/ -8759 w 21671"/>
                <a:gd name="csY2" fmla="*/ -6508 h 11828"/>
                <a:gd name="csX3" fmla="*/ 12912 w 21671"/>
                <a:gd name="csY3" fmla="*/ -6508 h 11828"/>
                <a:gd name="csX4" fmla="*/ 12912 w 21671"/>
                <a:gd name="csY4" fmla="*/ 5321 h 11828"/>
              </a:gdLst>
              <a:ahLst/>
              <a:cxnLst>
                <a:cxn ang="0">
                  <a:pos x="csX0" y="csY0"/>
                </a:cxn>
                <a:cxn ang="0">
                  <a:pos x="csX1" y="csY1"/>
                </a:cxn>
                <a:cxn ang="0">
                  <a:pos x="csX2" y="csY2"/>
                </a:cxn>
                <a:cxn ang="0">
                  <a:pos x="csX3" y="csY3"/>
                </a:cxn>
                <a:cxn ang="0">
                  <a:pos x="csX4" y="csY4"/>
                </a:cxn>
              </a:cxnLst>
              <a:rect l="l" t="t" r="r" b="b"/>
              <a:pathLst>
                <a:path w="21671" h="11828">
                  <a:moveTo>
                    <a:pt x="12912" y="5321"/>
                  </a:moveTo>
                  <a:lnTo>
                    <a:pt x="-8759" y="5321"/>
                  </a:lnTo>
                  <a:lnTo>
                    <a:pt x="-8759" y="-6508"/>
                  </a:lnTo>
                  <a:lnTo>
                    <a:pt x="12912" y="-6508"/>
                  </a:lnTo>
                  <a:lnTo>
                    <a:pt x="12912" y="5321"/>
                  </a:lnTo>
                </a:path>
              </a:pathLst>
            </a:custGeom>
            <a:grpFill/>
            <a:ln w="548" cap="flat">
              <a:noFill/>
              <a:prstDash val="solid"/>
              <a:miter/>
            </a:ln>
          </p:spPr>
          <p:txBody>
            <a:bodyPr/>
            <a:lstStyle/>
            <a:p>
              <a:endParaRPr lang="en-US"/>
            </a:p>
          </p:txBody>
        </p:sp>
        <p:sp>
          <p:nvSpPr>
            <p:cNvPr id="343" name="Freeform: Shape 342">
              <a:extLst>
                <a:ext uri="{FF2B5EF4-FFF2-40B4-BE49-F238E27FC236}">
                  <a16:creationId xmlns:a16="http://schemas.microsoft.com/office/drawing/2014/main" id="{6193F4BF-C138-5763-9FE9-1E37A2ACB43B}"/>
                </a:ext>
              </a:extLst>
            </p:cNvPr>
            <p:cNvSpPr/>
            <p:nvPr/>
          </p:nvSpPr>
          <p:spPr>
            <a:xfrm flipV="1">
              <a:off x="24074449" y="3856736"/>
              <a:ext cx="21671" cy="11828"/>
            </a:xfrm>
            <a:custGeom>
              <a:avLst/>
              <a:gdLst>
                <a:gd name="csX0" fmla="*/ 12984 w 21671"/>
                <a:gd name="csY0" fmla="*/ 5287 h 11828"/>
                <a:gd name="csX1" fmla="*/ -8688 w 21671"/>
                <a:gd name="csY1" fmla="*/ 5287 h 11828"/>
                <a:gd name="csX2" fmla="*/ -8688 w 21671"/>
                <a:gd name="csY2" fmla="*/ -6542 h 11828"/>
                <a:gd name="csX3" fmla="*/ 12984 w 21671"/>
                <a:gd name="csY3" fmla="*/ -6542 h 11828"/>
                <a:gd name="csX4" fmla="*/ 12984 w 21671"/>
                <a:gd name="csY4" fmla="*/ 5287 h 11828"/>
              </a:gdLst>
              <a:ahLst/>
              <a:cxnLst>
                <a:cxn ang="0">
                  <a:pos x="csX0" y="csY0"/>
                </a:cxn>
                <a:cxn ang="0">
                  <a:pos x="csX1" y="csY1"/>
                </a:cxn>
                <a:cxn ang="0">
                  <a:pos x="csX2" y="csY2"/>
                </a:cxn>
                <a:cxn ang="0">
                  <a:pos x="csX3" y="csY3"/>
                </a:cxn>
                <a:cxn ang="0">
                  <a:pos x="csX4" y="csY4"/>
                </a:cxn>
              </a:cxnLst>
              <a:rect l="l" t="t" r="r" b="b"/>
              <a:pathLst>
                <a:path w="21671" h="11828">
                  <a:moveTo>
                    <a:pt x="12984" y="5287"/>
                  </a:moveTo>
                  <a:lnTo>
                    <a:pt x="-8688" y="5287"/>
                  </a:lnTo>
                  <a:lnTo>
                    <a:pt x="-8688" y="-6542"/>
                  </a:lnTo>
                  <a:lnTo>
                    <a:pt x="12984" y="-6542"/>
                  </a:lnTo>
                  <a:lnTo>
                    <a:pt x="12984" y="5287"/>
                  </a:lnTo>
                </a:path>
              </a:pathLst>
            </a:custGeom>
            <a:grpFill/>
            <a:ln w="548" cap="flat">
              <a:noFill/>
              <a:prstDash val="solid"/>
              <a:miter/>
            </a:ln>
          </p:spPr>
          <p:txBody>
            <a:bodyPr/>
            <a:lstStyle/>
            <a:p>
              <a:endParaRPr lang="en-US"/>
            </a:p>
          </p:txBody>
        </p:sp>
        <p:sp>
          <p:nvSpPr>
            <p:cNvPr id="344" name="Freeform: Shape 343">
              <a:extLst>
                <a:ext uri="{FF2B5EF4-FFF2-40B4-BE49-F238E27FC236}">
                  <a16:creationId xmlns:a16="http://schemas.microsoft.com/office/drawing/2014/main" id="{442D61A7-DA43-285F-92E6-77DE979595F7}"/>
                </a:ext>
              </a:extLst>
            </p:cNvPr>
            <p:cNvSpPr/>
            <p:nvPr/>
          </p:nvSpPr>
          <p:spPr>
            <a:xfrm flipV="1">
              <a:off x="24074449" y="3870968"/>
              <a:ext cx="21671" cy="11828"/>
            </a:xfrm>
            <a:custGeom>
              <a:avLst/>
              <a:gdLst>
                <a:gd name="csX0" fmla="*/ 12984 w 21671"/>
                <a:gd name="csY0" fmla="*/ 5321 h 11828"/>
                <a:gd name="csX1" fmla="*/ -8688 w 21671"/>
                <a:gd name="csY1" fmla="*/ 5321 h 11828"/>
                <a:gd name="csX2" fmla="*/ -8688 w 21671"/>
                <a:gd name="csY2" fmla="*/ -6508 h 11828"/>
                <a:gd name="csX3" fmla="*/ 12984 w 21671"/>
                <a:gd name="csY3" fmla="*/ -6508 h 11828"/>
                <a:gd name="csX4" fmla="*/ 12984 w 21671"/>
                <a:gd name="csY4" fmla="*/ 5321 h 11828"/>
              </a:gdLst>
              <a:ahLst/>
              <a:cxnLst>
                <a:cxn ang="0">
                  <a:pos x="csX0" y="csY0"/>
                </a:cxn>
                <a:cxn ang="0">
                  <a:pos x="csX1" y="csY1"/>
                </a:cxn>
                <a:cxn ang="0">
                  <a:pos x="csX2" y="csY2"/>
                </a:cxn>
                <a:cxn ang="0">
                  <a:pos x="csX3" y="csY3"/>
                </a:cxn>
                <a:cxn ang="0">
                  <a:pos x="csX4" y="csY4"/>
                </a:cxn>
              </a:cxnLst>
              <a:rect l="l" t="t" r="r" b="b"/>
              <a:pathLst>
                <a:path w="21671" h="11828">
                  <a:moveTo>
                    <a:pt x="12984" y="5321"/>
                  </a:moveTo>
                  <a:lnTo>
                    <a:pt x="-8688" y="5321"/>
                  </a:lnTo>
                  <a:lnTo>
                    <a:pt x="-8688" y="-6508"/>
                  </a:lnTo>
                  <a:lnTo>
                    <a:pt x="12984" y="-6508"/>
                  </a:lnTo>
                  <a:lnTo>
                    <a:pt x="12984" y="5321"/>
                  </a:lnTo>
                </a:path>
              </a:pathLst>
            </a:custGeom>
            <a:grpFill/>
            <a:ln w="548" cap="flat">
              <a:noFill/>
              <a:prstDash val="solid"/>
              <a:miter/>
            </a:ln>
          </p:spPr>
          <p:txBody>
            <a:bodyPr/>
            <a:lstStyle/>
            <a:p>
              <a:endParaRPr lang="en-US"/>
            </a:p>
          </p:txBody>
        </p:sp>
        <p:sp>
          <p:nvSpPr>
            <p:cNvPr id="345" name="Freeform: Shape 344">
              <a:extLst>
                <a:ext uri="{FF2B5EF4-FFF2-40B4-BE49-F238E27FC236}">
                  <a16:creationId xmlns:a16="http://schemas.microsoft.com/office/drawing/2014/main" id="{C3FEBBD7-0CFC-84CA-12D7-EE4BDCEB1579}"/>
                </a:ext>
              </a:extLst>
            </p:cNvPr>
            <p:cNvSpPr/>
            <p:nvPr/>
          </p:nvSpPr>
          <p:spPr>
            <a:xfrm flipV="1">
              <a:off x="24131947" y="3916253"/>
              <a:ext cx="21671" cy="11828"/>
            </a:xfrm>
            <a:custGeom>
              <a:avLst/>
              <a:gdLst>
                <a:gd name="csX0" fmla="*/ 12912 w 21671"/>
                <a:gd name="csY0" fmla="*/ 5430 h 11828"/>
                <a:gd name="csX1" fmla="*/ -8759 w 21671"/>
                <a:gd name="csY1" fmla="*/ 5430 h 11828"/>
                <a:gd name="csX2" fmla="*/ -8759 w 21671"/>
                <a:gd name="csY2" fmla="*/ -6399 h 11828"/>
                <a:gd name="csX3" fmla="*/ 12912 w 21671"/>
                <a:gd name="csY3" fmla="*/ -6399 h 11828"/>
                <a:gd name="csX4" fmla="*/ 12912 w 21671"/>
                <a:gd name="csY4" fmla="*/ 5430 h 11828"/>
              </a:gdLst>
              <a:ahLst/>
              <a:cxnLst>
                <a:cxn ang="0">
                  <a:pos x="csX0" y="csY0"/>
                </a:cxn>
                <a:cxn ang="0">
                  <a:pos x="csX1" y="csY1"/>
                </a:cxn>
                <a:cxn ang="0">
                  <a:pos x="csX2" y="csY2"/>
                </a:cxn>
                <a:cxn ang="0">
                  <a:pos x="csX3" y="csY3"/>
                </a:cxn>
                <a:cxn ang="0">
                  <a:pos x="csX4" y="csY4"/>
                </a:cxn>
              </a:cxnLst>
              <a:rect l="l" t="t" r="r" b="b"/>
              <a:pathLst>
                <a:path w="21671" h="11828">
                  <a:moveTo>
                    <a:pt x="12912" y="5430"/>
                  </a:moveTo>
                  <a:lnTo>
                    <a:pt x="-8759" y="5430"/>
                  </a:lnTo>
                  <a:lnTo>
                    <a:pt x="-8759" y="-6399"/>
                  </a:lnTo>
                  <a:lnTo>
                    <a:pt x="12912" y="-6399"/>
                  </a:lnTo>
                  <a:lnTo>
                    <a:pt x="12912" y="5430"/>
                  </a:lnTo>
                </a:path>
              </a:pathLst>
            </a:custGeom>
            <a:grpFill/>
            <a:ln w="548" cap="flat">
              <a:noFill/>
              <a:prstDash val="solid"/>
              <a:miter/>
            </a:ln>
          </p:spPr>
          <p:txBody>
            <a:bodyPr/>
            <a:lstStyle/>
            <a:p>
              <a:endParaRPr lang="en-US"/>
            </a:p>
          </p:txBody>
        </p:sp>
        <p:sp>
          <p:nvSpPr>
            <p:cNvPr id="346" name="Freeform: Shape 345">
              <a:extLst>
                <a:ext uri="{FF2B5EF4-FFF2-40B4-BE49-F238E27FC236}">
                  <a16:creationId xmlns:a16="http://schemas.microsoft.com/office/drawing/2014/main" id="{1799D8AD-41D0-013C-44B5-130F3A245895}"/>
                </a:ext>
              </a:extLst>
            </p:cNvPr>
            <p:cNvSpPr/>
            <p:nvPr/>
          </p:nvSpPr>
          <p:spPr>
            <a:xfrm flipV="1">
              <a:off x="24131947" y="3930484"/>
              <a:ext cx="21671" cy="11828"/>
            </a:xfrm>
            <a:custGeom>
              <a:avLst/>
              <a:gdLst>
                <a:gd name="csX0" fmla="*/ 12912 w 21671"/>
                <a:gd name="csY0" fmla="*/ 5464 h 11828"/>
                <a:gd name="csX1" fmla="*/ -8759 w 21671"/>
                <a:gd name="csY1" fmla="*/ 5464 h 11828"/>
                <a:gd name="csX2" fmla="*/ -8759 w 21671"/>
                <a:gd name="csY2" fmla="*/ -6365 h 11828"/>
                <a:gd name="csX3" fmla="*/ 12912 w 21671"/>
                <a:gd name="csY3" fmla="*/ -6365 h 11828"/>
                <a:gd name="csX4" fmla="*/ 12912 w 21671"/>
                <a:gd name="csY4" fmla="*/ 5464 h 11828"/>
              </a:gdLst>
              <a:ahLst/>
              <a:cxnLst>
                <a:cxn ang="0">
                  <a:pos x="csX0" y="csY0"/>
                </a:cxn>
                <a:cxn ang="0">
                  <a:pos x="csX1" y="csY1"/>
                </a:cxn>
                <a:cxn ang="0">
                  <a:pos x="csX2" y="csY2"/>
                </a:cxn>
                <a:cxn ang="0">
                  <a:pos x="csX3" y="csY3"/>
                </a:cxn>
                <a:cxn ang="0">
                  <a:pos x="csX4" y="csY4"/>
                </a:cxn>
              </a:cxnLst>
              <a:rect l="l" t="t" r="r" b="b"/>
              <a:pathLst>
                <a:path w="21671" h="11828">
                  <a:moveTo>
                    <a:pt x="12912" y="5464"/>
                  </a:moveTo>
                  <a:lnTo>
                    <a:pt x="-8759" y="5464"/>
                  </a:lnTo>
                  <a:lnTo>
                    <a:pt x="-8759" y="-6365"/>
                  </a:lnTo>
                  <a:lnTo>
                    <a:pt x="12912" y="-6365"/>
                  </a:lnTo>
                  <a:lnTo>
                    <a:pt x="12912" y="5464"/>
                  </a:lnTo>
                </a:path>
              </a:pathLst>
            </a:custGeom>
            <a:grpFill/>
            <a:ln w="548" cap="flat">
              <a:noFill/>
              <a:prstDash val="solid"/>
              <a:miter/>
            </a:ln>
          </p:spPr>
          <p:txBody>
            <a:bodyPr/>
            <a:lstStyle/>
            <a:p>
              <a:endParaRPr lang="en-US"/>
            </a:p>
          </p:txBody>
        </p:sp>
        <p:sp>
          <p:nvSpPr>
            <p:cNvPr id="347" name="Freeform: Shape 346">
              <a:extLst>
                <a:ext uri="{FF2B5EF4-FFF2-40B4-BE49-F238E27FC236}">
                  <a16:creationId xmlns:a16="http://schemas.microsoft.com/office/drawing/2014/main" id="{1EC88FA1-5529-9C5F-B3DF-95AC46BF05F5}"/>
                </a:ext>
              </a:extLst>
            </p:cNvPr>
            <p:cNvSpPr/>
            <p:nvPr/>
          </p:nvSpPr>
          <p:spPr>
            <a:xfrm flipV="1">
              <a:off x="24074449" y="3916253"/>
              <a:ext cx="21671" cy="11828"/>
            </a:xfrm>
            <a:custGeom>
              <a:avLst/>
              <a:gdLst>
                <a:gd name="csX0" fmla="*/ 12984 w 21671"/>
                <a:gd name="csY0" fmla="*/ 5430 h 11828"/>
                <a:gd name="csX1" fmla="*/ -8688 w 21671"/>
                <a:gd name="csY1" fmla="*/ 5430 h 11828"/>
                <a:gd name="csX2" fmla="*/ -8688 w 21671"/>
                <a:gd name="csY2" fmla="*/ -6399 h 11828"/>
                <a:gd name="csX3" fmla="*/ 12984 w 21671"/>
                <a:gd name="csY3" fmla="*/ -6399 h 11828"/>
                <a:gd name="csX4" fmla="*/ 12984 w 21671"/>
                <a:gd name="csY4" fmla="*/ 5430 h 11828"/>
              </a:gdLst>
              <a:ahLst/>
              <a:cxnLst>
                <a:cxn ang="0">
                  <a:pos x="csX0" y="csY0"/>
                </a:cxn>
                <a:cxn ang="0">
                  <a:pos x="csX1" y="csY1"/>
                </a:cxn>
                <a:cxn ang="0">
                  <a:pos x="csX2" y="csY2"/>
                </a:cxn>
                <a:cxn ang="0">
                  <a:pos x="csX3" y="csY3"/>
                </a:cxn>
                <a:cxn ang="0">
                  <a:pos x="csX4" y="csY4"/>
                </a:cxn>
              </a:cxnLst>
              <a:rect l="l" t="t" r="r" b="b"/>
              <a:pathLst>
                <a:path w="21671" h="11828">
                  <a:moveTo>
                    <a:pt x="12984" y="5430"/>
                  </a:moveTo>
                  <a:lnTo>
                    <a:pt x="-8688" y="5430"/>
                  </a:lnTo>
                  <a:lnTo>
                    <a:pt x="-8688" y="-6399"/>
                  </a:lnTo>
                  <a:lnTo>
                    <a:pt x="12984" y="-6399"/>
                  </a:lnTo>
                  <a:lnTo>
                    <a:pt x="12984" y="5430"/>
                  </a:lnTo>
                </a:path>
              </a:pathLst>
            </a:custGeom>
            <a:grpFill/>
            <a:ln w="548" cap="flat">
              <a:noFill/>
              <a:prstDash val="solid"/>
              <a:miter/>
            </a:ln>
          </p:spPr>
          <p:txBody>
            <a:bodyPr/>
            <a:lstStyle/>
            <a:p>
              <a:endParaRPr lang="en-US"/>
            </a:p>
          </p:txBody>
        </p:sp>
        <p:sp>
          <p:nvSpPr>
            <p:cNvPr id="348" name="Freeform: Shape 347">
              <a:extLst>
                <a:ext uri="{FF2B5EF4-FFF2-40B4-BE49-F238E27FC236}">
                  <a16:creationId xmlns:a16="http://schemas.microsoft.com/office/drawing/2014/main" id="{533FF1F1-7D72-16BF-25D5-9B4D07F6B275}"/>
                </a:ext>
              </a:extLst>
            </p:cNvPr>
            <p:cNvSpPr/>
            <p:nvPr/>
          </p:nvSpPr>
          <p:spPr>
            <a:xfrm flipV="1">
              <a:off x="24074449" y="3930484"/>
              <a:ext cx="21671" cy="11828"/>
            </a:xfrm>
            <a:custGeom>
              <a:avLst/>
              <a:gdLst>
                <a:gd name="csX0" fmla="*/ 12984 w 21671"/>
                <a:gd name="csY0" fmla="*/ 5464 h 11828"/>
                <a:gd name="csX1" fmla="*/ -8688 w 21671"/>
                <a:gd name="csY1" fmla="*/ 5464 h 11828"/>
                <a:gd name="csX2" fmla="*/ -8688 w 21671"/>
                <a:gd name="csY2" fmla="*/ -6365 h 11828"/>
                <a:gd name="csX3" fmla="*/ 12984 w 21671"/>
                <a:gd name="csY3" fmla="*/ -6365 h 11828"/>
                <a:gd name="csX4" fmla="*/ 12984 w 21671"/>
                <a:gd name="csY4" fmla="*/ 5464 h 11828"/>
              </a:gdLst>
              <a:ahLst/>
              <a:cxnLst>
                <a:cxn ang="0">
                  <a:pos x="csX0" y="csY0"/>
                </a:cxn>
                <a:cxn ang="0">
                  <a:pos x="csX1" y="csY1"/>
                </a:cxn>
                <a:cxn ang="0">
                  <a:pos x="csX2" y="csY2"/>
                </a:cxn>
                <a:cxn ang="0">
                  <a:pos x="csX3" y="csY3"/>
                </a:cxn>
                <a:cxn ang="0">
                  <a:pos x="csX4" y="csY4"/>
                </a:cxn>
              </a:cxnLst>
              <a:rect l="l" t="t" r="r" b="b"/>
              <a:pathLst>
                <a:path w="21671" h="11828">
                  <a:moveTo>
                    <a:pt x="12984" y="5464"/>
                  </a:moveTo>
                  <a:lnTo>
                    <a:pt x="-8688" y="5464"/>
                  </a:lnTo>
                  <a:lnTo>
                    <a:pt x="-8688" y="-6365"/>
                  </a:lnTo>
                  <a:lnTo>
                    <a:pt x="12984" y="-6365"/>
                  </a:lnTo>
                  <a:lnTo>
                    <a:pt x="12984" y="5464"/>
                  </a:lnTo>
                </a:path>
              </a:pathLst>
            </a:custGeom>
            <a:grpFill/>
            <a:ln w="548" cap="flat">
              <a:noFill/>
              <a:prstDash val="solid"/>
              <a:miter/>
            </a:ln>
          </p:spPr>
          <p:txBody>
            <a:bodyPr/>
            <a:lstStyle/>
            <a:p>
              <a:endParaRPr lang="en-US"/>
            </a:p>
          </p:txBody>
        </p:sp>
        <p:sp>
          <p:nvSpPr>
            <p:cNvPr id="349" name="Freeform: Shape 348">
              <a:extLst>
                <a:ext uri="{FF2B5EF4-FFF2-40B4-BE49-F238E27FC236}">
                  <a16:creationId xmlns:a16="http://schemas.microsoft.com/office/drawing/2014/main" id="{E5277236-D606-6A65-9D13-C215445B9A4C}"/>
                </a:ext>
              </a:extLst>
            </p:cNvPr>
            <p:cNvSpPr/>
            <p:nvPr/>
          </p:nvSpPr>
          <p:spPr>
            <a:xfrm flipV="1">
              <a:off x="24131947" y="3975769"/>
              <a:ext cx="21671" cy="11828"/>
            </a:xfrm>
            <a:custGeom>
              <a:avLst/>
              <a:gdLst>
                <a:gd name="csX0" fmla="*/ 12912 w 21671"/>
                <a:gd name="csY0" fmla="*/ 5573 h 11828"/>
                <a:gd name="csX1" fmla="*/ -8759 w 21671"/>
                <a:gd name="csY1" fmla="*/ 5573 h 11828"/>
                <a:gd name="csX2" fmla="*/ -8759 w 21671"/>
                <a:gd name="csY2" fmla="*/ -6256 h 11828"/>
                <a:gd name="csX3" fmla="*/ 12912 w 21671"/>
                <a:gd name="csY3" fmla="*/ -6256 h 11828"/>
                <a:gd name="csX4" fmla="*/ 12912 w 21671"/>
                <a:gd name="csY4" fmla="*/ 5573 h 11828"/>
              </a:gdLst>
              <a:ahLst/>
              <a:cxnLst>
                <a:cxn ang="0">
                  <a:pos x="csX0" y="csY0"/>
                </a:cxn>
                <a:cxn ang="0">
                  <a:pos x="csX1" y="csY1"/>
                </a:cxn>
                <a:cxn ang="0">
                  <a:pos x="csX2" y="csY2"/>
                </a:cxn>
                <a:cxn ang="0">
                  <a:pos x="csX3" y="csY3"/>
                </a:cxn>
                <a:cxn ang="0">
                  <a:pos x="csX4" y="csY4"/>
                </a:cxn>
              </a:cxnLst>
              <a:rect l="l" t="t" r="r" b="b"/>
              <a:pathLst>
                <a:path w="21671" h="11828">
                  <a:moveTo>
                    <a:pt x="12912" y="5573"/>
                  </a:moveTo>
                  <a:lnTo>
                    <a:pt x="-8759" y="5573"/>
                  </a:lnTo>
                  <a:lnTo>
                    <a:pt x="-8759" y="-6256"/>
                  </a:lnTo>
                  <a:lnTo>
                    <a:pt x="12912" y="-6256"/>
                  </a:lnTo>
                  <a:lnTo>
                    <a:pt x="12912" y="5573"/>
                  </a:lnTo>
                </a:path>
              </a:pathLst>
            </a:custGeom>
            <a:grpFill/>
            <a:ln w="548" cap="flat">
              <a:noFill/>
              <a:prstDash val="solid"/>
              <a:miter/>
            </a:ln>
          </p:spPr>
          <p:txBody>
            <a:bodyPr/>
            <a:lstStyle/>
            <a:p>
              <a:endParaRPr lang="en-US"/>
            </a:p>
          </p:txBody>
        </p:sp>
        <p:sp>
          <p:nvSpPr>
            <p:cNvPr id="350" name="Freeform: Shape 349">
              <a:extLst>
                <a:ext uri="{FF2B5EF4-FFF2-40B4-BE49-F238E27FC236}">
                  <a16:creationId xmlns:a16="http://schemas.microsoft.com/office/drawing/2014/main" id="{A67FC372-61BE-0386-B82C-EC879C86A6CC}"/>
                </a:ext>
              </a:extLst>
            </p:cNvPr>
            <p:cNvSpPr/>
            <p:nvPr/>
          </p:nvSpPr>
          <p:spPr>
            <a:xfrm flipV="1">
              <a:off x="24131947" y="3990001"/>
              <a:ext cx="21671" cy="11828"/>
            </a:xfrm>
            <a:custGeom>
              <a:avLst/>
              <a:gdLst>
                <a:gd name="csX0" fmla="*/ 12912 w 21671"/>
                <a:gd name="csY0" fmla="*/ 5607 h 11828"/>
                <a:gd name="csX1" fmla="*/ -8759 w 21671"/>
                <a:gd name="csY1" fmla="*/ 5607 h 11828"/>
                <a:gd name="csX2" fmla="*/ -8759 w 21671"/>
                <a:gd name="csY2" fmla="*/ -6222 h 11828"/>
                <a:gd name="csX3" fmla="*/ 12912 w 21671"/>
                <a:gd name="csY3" fmla="*/ -6222 h 11828"/>
                <a:gd name="csX4" fmla="*/ 12912 w 21671"/>
                <a:gd name="csY4" fmla="*/ 5607 h 11828"/>
              </a:gdLst>
              <a:ahLst/>
              <a:cxnLst>
                <a:cxn ang="0">
                  <a:pos x="csX0" y="csY0"/>
                </a:cxn>
                <a:cxn ang="0">
                  <a:pos x="csX1" y="csY1"/>
                </a:cxn>
                <a:cxn ang="0">
                  <a:pos x="csX2" y="csY2"/>
                </a:cxn>
                <a:cxn ang="0">
                  <a:pos x="csX3" y="csY3"/>
                </a:cxn>
                <a:cxn ang="0">
                  <a:pos x="csX4" y="csY4"/>
                </a:cxn>
              </a:cxnLst>
              <a:rect l="l" t="t" r="r" b="b"/>
              <a:pathLst>
                <a:path w="21671" h="11828">
                  <a:moveTo>
                    <a:pt x="12912" y="5607"/>
                  </a:moveTo>
                  <a:lnTo>
                    <a:pt x="-8759" y="5607"/>
                  </a:lnTo>
                  <a:lnTo>
                    <a:pt x="-8759" y="-6222"/>
                  </a:lnTo>
                  <a:lnTo>
                    <a:pt x="12912" y="-6222"/>
                  </a:lnTo>
                  <a:lnTo>
                    <a:pt x="12912" y="5607"/>
                  </a:lnTo>
                </a:path>
              </a:pathLst>
            </a:custGeom>
            <a:grpFill/>
            <a:ln w="548" cap="flat">
              <a:noFill/>
              <a:prstDash val="solid"/>
              <a:miter/>
            </a:ln>
          </p:spPr>
          <p:txBody>
            <a:bodyPr/>
            <a:lstStyle/>
            <a:p>
              <a:endParaRPr lang="en-US"/>
            </a:p>
          </p:txBody>
        </p:sp>
        <p:sp>
          <p:nvSpPr>
            <p:cNvPr id="351" name="Freeform: Shape 350">
              <a:extLst>
                <a:ext uri="{FF2B5EF4-FFF2-40B4-BE49-F238E27FC236}">
                  <a16:creationId xmlns:a16="http://schemas.microsoft.com/office/drawing/2014/main" id="{E20D995B-238C-3D5D-3CCF-C885ECCE7694}"/>
                </a:ext>
              </a:extLst>
            </p:cNvPr>
            <p:cNvSpPr/>
            <p:nvPr/>
          </p:nvSpPr>
          <p:spPr>
            <a:xfrm flipV="1">
              <a:off x="24074449" y="3975769"/>
              <a:ext cx="21671" cy="11828"/>
            </a:xfrm>
            <a:custGeom>
              <a:avLst/>
              <a:gdLst>
                <a:gd name="csX0" fmla="*/ 12984 w 21671"/>
                <a:gd name="csY0" fmla="*/ 5573 h 11828"/>
                <a:gd name="csX1" fmla="*/ -8688 w 21671"/>
                <a:gd name="csY1" fmla="*/ 5573 h 11828"/>
                <a:gd name="csX2" fmla="*/ -8688 w 21671"/>
                <a:gd name="csY2" fmla="*/ -6256 h 11828"/>
                <a:gd name="csX3" fmla="*/ 12984 w 21671"/>
                <a:gd name="csY3" fmla="*/ -6256 h 11828"/>
                <a:gd name="csX4" fmla="*/ 12984 w 21671"/>
                <a:gd name="csY4" fmla="*/ 5573 h 11828"/>
              </a:gdLst>
              <a:ahLst/>
              <a:cxnLst>
                <a:cxn ang="0">
                  <a:pos x="csX0" y="csY0"/>
                </a:cxn>
                <a:cxn ang="0">
                  <a:pos x="csX1" y="csY1"/>
                </a:cxn>
                <a:cxn ang="0">
                  <a:pos x="csX2" y="csY2"/>
                </a:cxn>
                <a:cxn ang="0">
                  <a:pos x="csX3" y="csY3"/>
                </a:cxn>
                <a:cxn ang="0">
                  <a:pos x="csX4" y="csY4"/>
                </a:cxn>
              </a:cxnLst>
              <a:rect l="l" t="t" r="r" b="b"/>
              <a:pathLst>
                <a:path w="21671" h="11828">
                  <a:moveTo>
                    <a:pt x="12984" y="5573"/>
                  </a:moveTo>
                  <a:lnTo>
                    <a:pt x="-8688" y="5573"/>
                  </a:lnTo>
                  <a:lnTo>
                    <a:pt x="-8688" y="-6256"/>
                  </a:lnTo>
                  <a:lnTo>
                    <a:pt x="12984" y="-6256"/>
                  </a:lnTo>
                  <a:lnTo>
                    <a:pt x="12984" y="5573"/>
                  </a:lnTo>
                </a:path>
              </a:pathLst>
            </a:custGeom>
            <a:grpFill/>
            <a:ln w="548" cap="flat">
              <a:noFill/>
              <a:prstDash val="solid"/>
              <a:miter/>
            </a:ln>
          </p:spPr>
          <p:txBody>
            <a:bodyPr/>
            <a:lstStyle/>
            <a:p>
              <a:endParaRPr lang="en-US"/>
            </a:p>
          </p:txBody>
        </p:sp>
        <p:sp>
          <p:nvSpPr>
            <p:cNvPr id="352" name="Freeform: Shape 351">
              <a:extLst>
                <a:ext uri="{FF2B5EF4-FFF2-40B4-BE49-F238E27FC236}">
                  <a16:creationId xmlns:a16="http://schemas.microsoft.com/office/drawing/2014/main" id="{4351E854-5C8A-E239-2F97-4062CE7C5407}"/>
                </a:ext>
              </a:extLst>
            </p:cNvPr>
            <p:cNvSpPr/>
            <p:nvPr/>
          </p:nvSpPr>
          <p:spPr>
            <a:xfrm flipV="1">
              <a:off x="24074449" y="3990001"/>
              <a:ext cx="21671" cy="11828"/>
            </a:xfrm>
            <a:custGeom>
              <a:avLst/>
              <a:gdLst>
                <a:gd name="csX0" fmla="*/ 12984 w 21671"/>
                <a:gd name="csY0" fmla="*/ 5607 h 11828"/>
                <a:gd name="csX1" fmla="*/ -8688 w 21671"/>
                <a:gd name="csY1" fmla="*/ 5607 h 11828"/>
                <a:gd name="csX2" fmla="*/ -8688 w 21671"/>
                <a:gd name="csY2" fmla="*/ -6222 h 11828"/>
                <a:gd name="csX3" fmla="*/ 12984 w 21671"/>
                <a:gd name="csY3" fmla="*/ -6222 h 11828"/>
                <a:gd name="csX4" fmla="*/ 12984 w 21671"/>
                <a:gd name="csY4" fmla="*/ 5607 h 11828"/>
              </a:gdLst>
              <a:ahLst/>
              <a:cxnLst>
                <a:cxn ang="0">
                  <a:pos x="csX0" y="csY0"/>
                </a:cxn>
                <a:cxn ang="0">
                  <a:pos x="csX1" y="csY1"/>
                </a:cxn>
                <a:cxn ang="0">
                  <a:pos x="csX2" y="csY2"/>
                </a:cxn>
                <a:cxn ang="0">
                  <a:pos x="csX3" y="csY3"/>
                </a:cxn>
                <a:cxn ang="0">
                  <a:pos x="csX4" y="csY4"/>
                </a:cxn>
              </a:cxnLst>
              <a:rect l="l" t="t" r="r" b="b"/>
              <a:pathLst>
                <a:path w="21671" h="11828">
                  <a:moveTo>
                    <a:pt x="12984" y="5607"/>
                  </a:moveTo>
                  <a:lnTo>
                    <a:pt x="-8688" y="5607"/>
                  </a:lnTo>
                  <a:lnTo>
                    <a:pt x="-8688" y="-6222"/>
                  </a:lnTo>
                  <a:lnTo>
                    <a:pt x="12984" y="-6222"/>
                  </a:lnTo>
                  <a:lnTo>
                    <a:pt x="12984" y="5607"/>
                  </a:lnTo>
                </a:path>
              </a:pathLst>
            </a:custGeom>
            <a:grpFill/>
            <a:ln w="548" cap="flat">
              <a:noFill/>
              <a:prstDash val="solid"/>
              <a:miter/>
            </a:ln>
          </p:spPr>
          <p:txBody>
            <a:bodyPr/>
            <a:lstStyle/>
            <a:p>
              <a:endParaRPr lang="en-US"/>
            </a:p>
          </p:txBody>
        </p:sp>
        <p:sp>
          <p:nvSpPr>
            <p:cNvPr id="353" name="Freeform: Shape 352">
              <a:extLst>
                <a:ext uri="{FF2B5EF4-FFF2-40B4-BE49-F238E27FC236}">
                  <a16:creationId xmlns:a16="http://schemas.microsoft.com/office/drawing/2014/main" id="{A9D262FC-EE4F-381A-C765-D702F1A9F972}"/>
                </a:ext>
              </a:extLst>
            </p:cNvPr>
            <p:cNvSpPr/>
            <p:nvPr/>
          </p:nvSpPr>
          <p:spPr>
            <a:xfrm flipV="1">
              <a:off x="24131947" y="4049512"/>
              <a:ext cx="21671" cy="11834"/>
            </a:xfrm>
            <a:custGeom>
              <a:avLst/>
              <a:gdLst>
                <a:gd name="csX0" fmla="*/ 12912 w 21671"/>
                <a:gd name="csY0" fmla="*/ 5756 h 11834"/>
                <a:gd name="csX1" fmla="*/ -8759 w 21671"/>
                <a:gd name="csY1" fmla="*/ 5756 h 11834"/>
                <a:gd name="csX2" fmla="*/ -8759 w 21671"/>
                <a:gd name="csY2" fmla="*/ -6078 h 11834"/>
                <a:gd name="csX3" fmla="*/ 12912 w 21671"/>
                <a:gd name="csY3" fmla="*/ -6078 h 11834"/>
                <a:gd name="csX4" fmla="*/ 12912 w 21671"/>
                <a:gd name="csY4" fmla="*/ 5756 h 11834"/>
              </a:gdLst>
              <a:ahLst/>
              <a:cxnLst>
                <a:cxn ang="0">
                  <a:pos x="csX0" y="csY0"/>
                </a:cxn>
                <a:cxn ang="0">
                  <a:pos x="csX1" y="csY1"/>
                </a:cxn>
                <a:cxn ang="0">
                  <a:pos x="csX2" y="csY2"/>
                </a:cxn>
                <a:cxn ang="0">
                  <a:pos x="csX3" y="csY3"/>
                </a:cxn>
                <a:cxn ang="0">
                  <a:pos x="csX4" y="csY4"/>
                </a:cxn>
              </a:cxnLst>
              <a:rect l="l" t="t" r="r" b="b"/>
              <a:pathLst>
                <a:path w="21671" h="11834">
                  <a:moveTo>
                    <a:pt x="12912" y="5756"/>
                  </a:moveTo>
                  <a:lnTo>
                    <a:pt x="-8759" y="5756"/>
                  </a:lnTo>
                  <a:lnTo>
                    <a:pt x="-8759" y="-6078"/>
                  </a:lnTo>
                  <a:lnTo>
                    <a:pt x="12912" y="-6078"/>
                  </a:lnTo>
                  <a:lnTo>
                    <a:pt x="12912" y="5756"/>
                  </a:lnTo>
                </a:path>
              </a:pathLst>
            </a:custGeom>
            <a:grpFill/>
            <a:ln w="548" cap="flat">
              <a:noFill/>
              <a:prstDash val="solid"/>
              <a:miter/>
            </a:ln>
          </p:spPr>
          <p:txBody>
            <a:bodyPr/>
            <a:lstStyle/>
            <a:p>
              <a:endParaRPr lang="en-US"/>
            </a:p>
          </p:txBody>
        </p:sp>
        <p:sp>
          <p:nvSpPr>
            <p:cNvPr id="354" name="Freeform: Shape 353">
              <a:extLst>
                <a:ext uri="{FF2B5EF4-FFF2-40B4-BE49-F238E27FC236}">
                  <a16:creationId xmlns:a16="http://schemas.microsoft.com/office/drawing/2014/main" id="{11983D66-8778-0FB0-8E34-C6992EAF94E7}"/>
                </a:ext>
              </a:extLst>
            </p:cNvPr>
            <p:cNvSpPr/>
            <p:nvPr/>
          </p:nvSpPr>
          <p:spPr>
            <a:xfrm flipV="1">
              <a:off x="24131947" y="4035286"/>
              <a:ext cx="21671" cy="11828"/>
            </a:xfrm>
            <a:custGeom>
              <a:avLst/>
              <a:gdLst>
                <a:gd name="csX0" fmla="*/ 12912 w 21671"/>
                <a:gd name="csY0" fmla="*/ 5716 h 11828"/>
                <a:gd name="csX1" fmla="*/ -8759 w 21671"/>
                <a:gd name="csY1" fmla="*/ 5716 h 11828"/>
                <a:gd name="csX2" fmla="*/ -8759 w 21671"/>
                <a:gd name="csY2" fmla="*/ -6113 h 11828"/>
                <a:gd name="csX3" fmla="*/ 12912 w 21671"/>
                <a:gd name="csY3" fmla="*/ -6113 h 11828"/>
                <a:gd name="csX4" fmla="*/ 12912 w 21671"/>
                <a:gd name="csY4" fmla="*/ 5716 h 11828"/>
              </a:gdLst>
              <a:ahLst/>
              <a:cxnLst>
                <a:cxn ang="0">
                  <a:pos x="csX0" y="csY0"/>
                </a:cxn>
                <a:cxn ang="0">
                  <a:pos x="csX1" y="csY1"/>
                </a:cxn>
                <a:cxn ang="0">
                  <a:pos x="csX2" y="csY2"/>
                </a:cxn>
                <a:cxn ang="0">
                  <a:pos x="csX3" y="csY3"/>
                </a:cxn>
                <a:cxn ang="0">
                  <a:pos x="csX4" y="csY4"/>
                </a:cxn>
              </a:cxnLst>
              <a:rect l="l" t="t" r="r" b="b"/>
              <a:pathLst>
                <a:path w="21671" h="11828">
                  <a:moveTo>
                    <a:pt x="12912" y="5716"/>
                  </a:moveTo>
                  <a:lnTo>
                    <a:pt x="-8759" y="5716"/>
                  </a:lnTo>
                  <a:lnTo>
                    <a:pt x="-8759" y="-6113"/>
                  </a:lnTo>
                  <a:lnTo>
                    <a:pt x="12912" y="-6113"/>
                  </a:lnTo>
                  <a:lnTo>
                    <a:pt x="12912" y="5716"/>
                  </a:lnTo>
                </a:path>
              </a:pathLst>
            </a:custGeom>
            <a:grpFill/>
            <a:ln w="548" cap="flat">
              <a:noFill/>
              <a:prstDash val="solid"/>
              <a:miter/>
            </a:ln>
          </p:spPr>
          <p:txBody>
            <a:bodyPr/>
            <a:lstStyle/>
            <a:p>
              <a:endParaRPr lang="en-US"/>
            </a:p>
          </p:txBody>
        </p:sp>
        <p:sp>
          <p:nvSpPr>
            <p:cNvPr id="355" name="Freeform: Shape 354">
              <a:extLst>
                <a:ext uri="{FF2B5EF4-FFF2-40B4-BE49-F238E27FC236}">
                  <a16:creationId xmlns:a16="http://schemas.microsoft.com/office/drawing/2014/main" id="{2D792168-D8AC-FF69-432A-B3CCE3D62ECE}"/>
                </a:ext>
              </a:extLst>
            </p:cNvPr>
            <p:cNvSpPr/>
            <p:nvPr/>
          </p:nvSpPr>
          <p:spPr>
            <a:xfrm flipV="1">
              <a:off x="24074449" y="4049512"/>
              <a:ext cx="21671" cy="11834"/>
            </a:xfrm>
            <a:custGeom>
              <a:avLst/>
              <a:gdLst>
                <a:gd name="csX0" fmla="*/ 12984 w 21671"/>
                <a:gd name="csY0" fmla="*/ 5756 h 11834"/>
                <a:gd name="csX1" fmla="*/ -8688 w 21671"/>
                <a:gd name="csY1" fmla="*/ 5756 h 11834"/>
                <a:gd name="csX2" fmla="*/ -8688 w 21671"/>
                <a:gd name="csY2" fmla="*/ -6078 h 11834"/>
                <a:gd name="csX3" fmla="*/ 12984 w 21671"/>
                <a:gd name="csY3" fmla="*/ -6078 h 11834"/>
                <a:gd name="csX4" fmla="*/ 12984 w 21671"/>
                <a:gd name="csY4" fmla="*/ 5756 h 11834"/>
              </a:gdLst>
              <a:ahLst/>
              <a:cxnLst>
                <a:cxn ang="0">
                  <a:pos x="csX0" y="csY0"/>
                </a:cxn>
                <a:cxn ang="0">
                  <a:pos x="csX1" y="csY1"/>
                </a:cxn>
                <a:cxn ang="0">
                  <a:pos x="csX2" y="csY2"/>
                </a:cxn>
                <a:cxn ang="0">
                  <a:pos x="csX3" y="csY3"/>
                </a:cxn>
                <a:cxn ang="0">
                  <a:pos x="csX4" y="csY4"/>
                </a:cxn>
              </a:cxnLst>
              <a:rect l="l" t="t" r="r" b="b"/>
              <a:pathLst>
                <a:path w="21671" h="11834">
                  <a:moveTo>
                    <a:pt x="12984" y="5756"/>
                  </a:moveTo>
                  <a:lnTo>
                    <a:pt x="-8688" y="5756"/>
                  </a:lnTo>
                  <a:lnTo>
                    <a:pt x="-8688" y="-6078"/>
                  </a:lnTo>
                  <a:lnTo>
                    <a:pt x="12984" y="-6078"/>
                  </a:lnTo>
                  <a:lnTo>
                    <a:pt x="12984" y="5756"/>
                  </a:lnTo>
                </a:path>
              </a:pathLst>
            </a:custGeom>
            <a:grpFill/>
            <a:ln w="548" cap="flat">
              <a:noFill/>
              <a:prstDash val="solid"/>
              <a:miter/>
            </a:ln>
          </p:spPr>
          <p:txBody>
            <a:bodyPr/>
            <a:lstStyle/>
            <a:p>
              <a:endParaRPr lang="en-US"/>
            </a:p>
          </p:txBody>
        </p:sp>
        <p:sp>
          <p:nvSpPr>
            <p:cNvPr id="356" name="Freeform: Shape 355">
              <a:extLst>
                <a:ext uri="{FF2B5EF4-FFF2-40B4-BE49-F238E27FC236}">
                  <a16:creationId xmlns:a16="http://schemas.microsoft.com/office/drawing/2014/main" id="{16B5DF56-A4BD-B9DB-E147-C53C5E778901}"/>
                </a:ext>
              </a:extLst>
            </p:cNvPr>
            <p:cNvSpPr/>
            <p:nvPr/>
          </p:nvSpPr>
          <p:spPr>
            <a:xfrm flipV="1">
              <a:off x="24074449" y="4035286"/>
              <a:ext cx="21671" cy="11828"/>
            </a:xfrm>
            <a:custGeom>
              <a:avLst/>
              <a:gdLst>
                <a:gd name="csX0" fmla="*/ 12984 w 21671"/>
                <a:gd name="csY0" fmla="*/ 5716 h 11828"/>
                <a:gd name="csX1" fmla="*/ -8688 w 21671"/>
                <a:gd name="csY1" fmla="*/ 5716 h 11828"/>
                <a:gd name="csX2" fmla="*/ -8688 w 21671"/>
                <a:gd name="csY2" fmla="*/ -6113 h 11828"/>
                <a:gd name="csX3" fmla="*/ 12984 w 21671"/>
                <a:gd name="csY3" fmla="*/ -6113 h 11828"/>
                <a:gd name="csX4" fmla="*/ 12984 w 21671"/>
                <a:gd name="csY4" fmla="*/ 5716 h 11828"/>
              </a:gdLst>
              <a:ahLst/>
              <a:cxnLst>
                <a:cxn ang="0">
                  <a:pos x="csX0" y="csY0"/>
                </a:cxn>
                <a:cxn ang="0">
                  <a:pos x="csX1" y="csY1"/>
                </a:cxn>
                <a:cxn ang="0">
                  <a:pos x="csX2" y="csY2"/>
                </a:cxn>
                <a:cxn ang="0">
                  <a:pos x="csX3" y="csY3"/>
                </a:cxn>
                <a:cxn ang="0">
                  <a:pos x="csX4" y="csY4"/>
                </a:cxn>
              </a:cxnLst>
              <a:rect l="l" t="t" r="r" b="b"/>
              <a:pathLst>
                <a:path w="21671" h="11828">
                  <a:moveTo>
                    <a:pt x="12984" y="5716"/>
                  </a:moveTo>
                  <a:lnTo>
                    <a:pt x="-8688" y="5716"/>
                  </a:lnTo>
                  <a:lnTo>
                    <a:pt x="-8688" y="-6113"/>
                  </a:lnTo>
                  <a:lnTo>
                    <a:pt x="12984" y="-6113"/>
                  </a:lnTo>
                  <a:lnTo>
                    <a:pt x="12984" y="5716"/>
                  </a:lnTo>
                </a:path>
              </a:pathLst>
            </a:custGeom>
            <a:grpFill/>
            <a:ln w="548" cap="flat">
              <a:noFill/>
              <a:prstDash val="solid"/>
              <a:miter/>
            </a:ln>
          </p:spPr>
          <p:txBody>
            <a:bodyPr/>
            <a:lstStyle/>
            <a:p>
              <a:endParaRPr lang="en-US"/>
            </a:p>
          </p:txBody>
        </p:sp>
        <p:sp>
          <p:nvSpPr>
            <p:cNvPr id="357" name="Freeform: Shape 356">
              <a:extLst>
                <a:ext uri="{FF2B5EF4-FFF2-40B4-BE49-F238E27FC236}">
                  <a16:creationId xmlns:a16="http://schemas.microsoft.com/office/drawing/2014/main" id="{22010B54-A1B7-751F-595E-D9C9ECCBE491}"/>
                </a:ext>
              </a:extLst>
            </p:cNvPr>
            <p:cNvSpPr/>
            <p:nvPr/>
          </p:nvSpPr>
          <p:spPr>
            <a:xfrm flipV="1">
              <a:off x="24131947" y="4094802"/>
              <a:ext cx="21671" cy="11823"/>
            </a:xfrm>
            <a:custGeom>
              <a:avLst/>
              <a:gdLst>
                <a:gd name="csX0" fmla="*/ 12912 w 21671"/>
                <a:gd name="csY0" fmla="*/ 5854 h 11823"/>
                <a:gd name="csX1" fmla="*/ -8759 w 21671"/>
                <a:gd name="csY1" fmla="*/ 5854 h 11823"/>
                <a:gd name="csX2" fmla="*/ -8759 w 21671"/>
                <a:gd name="csY2" fmla="*/ -5969 h 11823"/>
                <a:gd name="csX3" fmla="*/ 12912 w 21671"/>
                <a:gd name="csY3" fmla="*/ -5969 h 11823"/>
                <a:gd name="csX4" fmla="*/ 12912 w 21671"/>
                <a:gd name="csY4" fmla="*/ 5854 h 11823"/>
              </a:gdLst>
              <a:ahLst/>
              <a:cxnLst>
                <a:cxn ang="0">
                  <a:pos x="csX0" y="csY0"/>
                </a:cxn>
                <a:cxn ang="0">
                  <a:pos x="csX1" y="csY1"/>
                </a:cxn>
                <a:cxn ang="0">
                  <a:pos x="csX2" y="csY2"/>
                </a:cxn>
                <a:cxn ang="0">
                  <a:pos x="csX3" y="csY3"/>
                </a:cxn>
                <a:cxn ang="0">
                  <a:pos x="csX4" y="csY4"/>
                </a:cxn>
              </a:cxnLst>
              <a:rect l="l" t="t" r="r" b="b"/>
              <a:pathLst>
                <a:path w="21671" h="11823">
                  <a:moveTo>
                    <a:pt x="12912" y="5854"/>
                  </a:moveTo>
                  <a:lnTo>
                    <a:pt x="-8759" y="5854"/>
                  </a:lnTo>
                  <a:lnTo>
                    <a:pt x="-8759" y="-5969"/>
                  </a:lnTo>
                  <a:lnTo>
                    <a:pt x="12912" y="-5969"/>
                  </a:lnTo>
                  <a:lnTo>
                    <a:pt x="12912" y="5854"/>
                  </a:lnTo>
                </a:path>
              </a:pathLst>
            </a:custGeom>
            <a:grpFill/>
            <a:ln w="548" cap="flat">
              <a:noFill/>
              <a:prstDash val="solid"/>
              <a:miter/>
            </a:ln>
          </p:spPr>
          <p:txBody>
            <a:bodyPr/>
            <a:lstStyle/>
            <a:p>
              <a:endParaRPr lang="en-US"/>
            </a:p>
          </p:txBody>
        </p:sp>
        <p:sp>
          <p:nvSpPr>
            <p:cNvPr id="358" name="Freeform: Shape 357">
              <a:extLst>
                <a:ext uri="{FF2B5EF4-FFF2-40B4-BE49-F238E27FC236}">
                  <a16:creationId xmlns:a16="http://schemas.microsoft.com/office/drawing/2014/main" id="{1C6A6BF8-6893-ECB9-8407-77AE645DC4AD}"/>
                </a:ext>
              </a:extLst>
            </p:cNvPr>
            <p:cNvSpPr/>
            <p:nvPr/>
          </p:nvSpPr>
          <p:spPr>
            <a:xfrm flipV="1">
              <a:off x="24131947" y="4109034"/>
              <a:ext cx="21671" cy="11828"/>
            </a:xfrm>
            <a:custGeom>
              <a:avLst/>
              <a:gdLst>
                <a:gd name="csX0" fmla="*/ 12912 w 21671"/>
                <a:gd name="csY0" fmla="*/ 5894 h 11828"/>
                <a:gd name="csX1" fmla="*/ -8759 w 21671"/>
                <a:gd name="csY1" fmla="*/ 5894 h 11828"/>
                <a:gd name="csX2" fmla="*/ -8759 w 21671"/>
                <a:gd name="csY2" fmla="*/ -5935 h 11828"/>
                <a:gd name="csX3" fmla="*/ 12912 w 21671"/>
                <a:gd name="csY3" fmla="*/ -5935 h 11828"/>
                <a:gd name="csX4" fmla="*/ 12912 w 21671"/>
                <a:gd name="csY4" fmla="*/ 5894 h 11828"/>
              </a:gdLst>
              <a:ahLst/>
              <a:cxnLst>
                <a:cxn ang="0">
                  <a:pos x="csX0" y="csY0"/>
                </a:cxn>
                <a:cxn ang="0">
                  <a:pos x="csX1" y="csY1"/>
                </a:cxn>
                <a:cxn ang="0">
                  <a:pos x="csX2" y="csY2"/>
                </a:cxn>
                <a:cxn ang="0">
                  <a:pos x="csX3" y="csY3"/>
                </a:cxn>
                <a:cxn ang="0">
                  <a:pos x="csX4" y="csY4"/>
                </a:cxn>
              </a:cxnLst>
              <a:rect l="l" t="t" r="r" b="b"/>
              <a:pathLst>
                <a:path w="21671" h="11828">
                  <a:moveTo>
                    <a:pt x="12912" y="5894"/>
                  </a:moveTo>
                  <a:lnTo>
                    <a:pt x="-8759" y="5894"/>
                  </a:lnTo>
                  <a:lnTo>
                    <a:pt x="-8759" y="-5935"/>
                  </a:lnTo>
                  <a:lnTo>
                    <a:pt x="12912" y="-5935"/>
                  </a:lnTo>
                  <a:lnTo>
                    <a:pt x="12912" y="5894"/>
                  </a:lnTo>
                </a:path>
              </a:pathLst>
            </a:custGeom>
            <a:grpFill/>
            <a:ln w="548" cap="flat">
              <a:noFill/>
              <a:prstDash val="solid"/>
              <a:miter/>
            </a:ln>
          </p:spPr>
          <p:txBody>
            <a:bodyPr/>
            <a:lstStyle/>
            <a:p>
              <a:endParaRPr lang="en-US"/>
            </a:p>
          </p:txBody>
        </p:sp>
        <p:sp>
          <p:nvSpPr>
            <p:cNvPr id="359" name="Freeform: Shape 358">
              <a:extLst>
                <a:ext uri="{FF2B5EF4-FFF2-40B4-BE49-F238E27FC236}">
                  <a16:creationId xmlns:a16="http://schemas.microsoft.com/office/drawing/2014/main" id="{B91F342B-ED3D-F337-3A28-8666906EE4E8}"/>
                </a:ext>
              </a:extLst>
            </p:cNvPr>
            <p:cNvSpPr/>
            <p:nvPr/>
          </p:nvSpPr>
          <p:spPr>
            <a:xfrm flipV="1">
              <a:off x="24074449" y="4094802"/>
              <a:ext cx="21671" cy="11823"/>
            </a:xfrm>
            <a:custGeom>
              <a:avLst/>
              <a:gdLst>
                <a:gd name="csX0" fmla="*/ 12984 w 21671"/>
                <a:gd name="csY0" fmla="*/ 5854 h 11823"/>
                <a:gd name="csX1" fmla="*/ -8688 w 21671"/>
                <a:gd name="csY1" fmla="*/ 5854 h 11823"/>
                <a:gd name="csX2" fmla="*/ -8688 w 21671"/>
                <a:gd name="csY2" fmla="*/ -5969 h 11823"/>
                <a:gd name="csX3" fmla="*/ 12984 w 21671"/>
                <a:gd name="csY3" fmla="*/ -5969 h 11823"/>
                <a:gd name="csX4" fmla="*/ 12984 w 21671"/>
                <a:gd name="csY4" fmla="*/ 5854 h 11823"/>
              </a:gdLst>
              <a:ahLst/>
              <a:cxnLst>
                <a:cxn ang="0">
                  <a:pos x="csX0" y="csY0"/>
                </a:cxn>
                <a:cxn ang="0">
                  <a:pos x="csX1" y="csY1"/>
                </a:cxn>
                <a:cxn ang="0">
                  <a:pos x="csX2" y="csY2"/>
                </a:cxn>
                <a:cxn ang="0">
                  <a:pos x="csX3" y="csY3"/>
                </a:cxn>
                <a:cxn ang="0">
                  <a:pos x="csX4" y="csY4"/>
                </a:cxn>
              </a:cxnLst>
              <a:rect l="l" t="t" r="r" b="b"/>
              <a:pathLst>
                <a:path w="21671" h="11823">
                  <a:moveTo>
                    <a:pt x="12984" y="5854"/>
                  </a:moveTo>
                  <a:lnTo>
                    <a:pt x="-8688" y="5854"/>
                  </a:lnTo>
                  <a:lnTo>
                    <a:pt x="-8688" y="-5969"/>
                  </a:lnTo>
                  <a:lnTo>
                    <a:pt x="12984" y="-5969"/>
                  </a:lnTo>
                  <a:lnTo>
                    <a:pt x="12984" y="5854"/>
                  </a:lnTo>
                </a:path>
              </a:pathLst>
            </a:custGeom>
            <a:grpFill/>
            <a:ln w="548" cap="flat">
              <a:noFill/>
              <a:prstDash val="solid"/>
              <a:miter/>
            </a:ln>
          </p:spPr>
          <p:txBody>
            <a:bodyPr/>
            <a:lstStyle/>
            <a:p>
              <a:endParaRPr lang="en-US"/>
            </a:p>
          </p:txBody>
        </p:sp>
        <p:sp>
          <p:nvSpPr>
            <p:cNvPr id="360" name="Freeform: Shape 359">
              <a:extLst>
                <a:ext uri="{FF2B5EF4-FFF2-40B4-BE49-F238E27FC236}">
                  <a16:creationId xmlns:a16="http://schemas.microsoft.com/office/drawing/2014/main" id="{1548E989-F4F0-AEBA-3F11-694EE093F924}"/>
                </a:ext>
              </a:extLst>
            </p:cNvPr>
            <p:cNvSpPr/>
            <p:nvPr/>
          </p:nvSpPr>
          <p:spPr>
            <a:xfrm flipV="1">
              <a:off x="24074449" y="4109034"/>
              <a:ext cx="21671" cy="11828"/>
            </a:xfrm>
            <a:custGeom>
              <a:avLst/>
              <a:gdLst>
                <a:gd name="csX0" fmla="*/ 12984 w 21671"/>
                <a:gd name="csY0" fmla="*/ 5894 h 11828"/>
                <a:gd name="csX1" fmla="*/ -8688 w 21671"/>
                <a:gd name="csY1" fmla="*/ 5894 h 11828"/>
                <a:gd name="csX2" fmla="*/ -8688 w 21671"/>
                <a:gd name="csY2" fmla="*/ -5935 h 11828"/>
                <a:gd name="csX3" fmla="*/ 12984 w 21671"/>
                <a:gd name="csY3" fmla="*/ -5935 h 11828"/>
                <a:gd name="csX4" fmla="*/ 12984 w 21671"/>
                <a:gd name="csY4" fmla="*/ 5894 h 11828"/>
              </a:gdLst>
              <a:ahLst/>
              <a:cxnLst>
                <a:cxn ang="0">
                  <a:pos x="csX0" y="csY0"/>
                </a:cxn>
                <a:cxn ang="0">
                  <a:pos x="csX1" y="csY1"/>
                </a:cxn>
                <a:cxn ang="0">
                  <a:pos x="csX2" y="csY2"/>
                </a:cxn>
                <a:cxn ang="0">
                  <a:pos x="csX3" y="csY3"/>
                </a:cxn>
                <a:cxn ang="0">
                  <a:pos x="csX4" y="csY4"/>
                </a:cxn>
              </a:cxnLst>
              <a:rect l="l" t="t" r="r" b="b"/>
              <a:pathLst>
                <a:path w="21671" h="11828">
                  <a:moveTo>
                    <a:pt x="12984" y="5894"/>
                  </a:moveTo>
                  <a:lnTo>
                    <a:pt x="-8688" y="5894"/>
                  </a:lnTo>
                  <a:lnTo>
                    <a:pt x="-8688" y="-5935"/>
                  </a:lnTo>
                  <a:lnTo>
                    <a:pt x="12984" y="-5935"/>
                  </a:lnTo>
                  <a:lnTo>
                    <a:pt x="12984" y="5894"/>
                  </a:lnTo>
                </a:path>
              </a:pathLst>
            </a:custGeom>
            <a:grpFill/>
            <a:ln w="548" cap="flat">
              <a:noFill/>
              <a:prstDash val="solid"/>
              <a:miter/>
            </a:ln>
          </p:spPr>
          <p:txBody>
            <a:bodyPr/>
            <a:lstStyle/>
            <a:p>
              <a:endParaRPr lang="en-US"/>
            </a:p>
          </p:txBody>
        </p:sp>
        <p:sp>
          <p:nvSpPr>
            <p:cNvPr id="361" name="Freeform: Shape 360">
              <a:extLst>
                <a:ext uri="{FF2B5EF4-FFF2-40B4-BE49-F238E27FC236}">
                  <a16:creationId xmlns:a16="http://schemas.microsoft.com/office/drawing/2014/main" id="{48E9AE96-D8FA-9587-94DB-AB1FC2885F9B}"/>
                </a:ext>
              </a:extLst>
            </p:cNvPr>
            <p:cNvSpPr/>
            <p:nvPr/>
          </p:nvSpPr>
          <p:spPr>
            <a:xfrm flipV="1">
              <a:off x="24131947" y="4154313"/>
              <a:ext cx="21671" cy="11834"/>
            </a:xfrm>
            <a:custGeom>
              <a:avLst/>
              <a:gdLst>
                <a:gd name="csX0" fmla="*/ 12912 w 21671"/>
                <a:gd name="csY0" fmla="*/ 6008 h 11834"/>
                <a:gd name="csX1" fmla="*/ -8759 w 21671"/>
                <a:gd name="csY1" fmla="*/ 6008 h 11834"/>
                <a:gd name="csX2" fmla="*/ -8759 w 21671"/>
                <a:gd name="csY2" fmla="*/ -5826 h 11834"/>
                <a:gd name="csX3" fmla="*/ 12912 w 21671"/>
                <a:gd name="csY3" fmla="*/ -5826 h 11834"/>
                <a:gd name="csX4" fmla="*/ 12912 w 21671"/>
                <a:gd name="csY4" fmla="*/ 6008 h 11834"/>
              </a:gdLst>
              <a:ahLst/>
              <a:cxnLst>
                <a:cxn ang="0">
                  <a:pos x="csX0" y="csY0"/>
                </a:cxn>
                <a:cxn ang="0">
                  <a:pos x="csX1" y="csY1"/>
                </a:cxn>
                <a:cxn ang="0">
                  <a:pos x="csX2" y="csY2"/>
                </a:cxn>
                <a:cxn ang="0">
                  <a:pos x="csX3" y="csY3"/>
                </a:cxn>
                <a:cxn ang="0">
                  <a:pos x="csX4" y="csY4"/>
                </a:cxn>
              </a:cxnLst>
              <a:rect l="l" t="t" r="r" b="b"/>
              <a:pathLst>
                <a:path w="21671" h="11834">
                  <a:moveTo>
                    <a:pt x="12912" y="6008"/>
                  </a:moveTo>
                  <a:lnTo>
                    <a:pt x="-8759" y="6008"/>
                  </a:lnTo>
                  <a:lnTo>
                    <a:pt x="-8759" y="-5826"/>
                  </a:lnTo>
                  <a:lnTo>
                    <a:pt x="12912" y="-5826"/>
                  </a:lnTo>
                  <a:lnTo>
                    <a:pt x="12912" y="6008"/>
                  </a:lnTo>
                </a:path>
              </a:pathLst>
            </a:custGeom>
            <a:grpFill/>
            <a:ln w="548" cap="flat">
              <a:noFill/>
              <a:prstDash val="solid"/>
              <a:miter/>
            </a:ln>
          </p:spPr>
          <p:txBody>
            <a:bodyPr/>
            <a:lstStyle/>
            <a:p>
              <a:endParaRPr lang="en-US"/>
            </a:p>
          </p:txBody>
        </p:sp>
        <p:sp>
          <p:nvSpPr>
            <p:cNvPr id="362" name="Freeform: Shape 361">
              <a:extLst>
                <a:ext uri="{FF2B5EF4-FFF2-40B4-BE49-F238E27FC236}">
                  <a16:creationId xmlns:a16="http://schemas.microsoft.com/office/drawing/2014/main" id="{C7D97318-BC7D-258D-3A92-EE51C3C90793}"/>
                </a:ext>
              </a:extLst>
            </p:cNvPr>
            <p:cNvSpPr/>
            <p:nvPr/>
          </p:nvSpPr>
          <p:spPr>
            <a:xfrm flipV="1">
              <a:off x="24131947" y="4168550"/>
              <a:ext cx="21671" cy="11828"/>
            </a:xfrm>
            <a:custGeom>
              <a:avLst/>
              <a:gdLst>
                <a:gd name="csX0" fmla="*/ 12912 w 21671"/>
                <a:gd name="csY0" fmla="*/ 6037 h 11828"/>
                <a:gd name="csX1" fmla="*/ -8759 w 21671"/>
                <a:gd name="csY1" fmla="*/ 6037 h 11828"/>
                <a:gd name="csX2" fmla="*/ -8759 w 21671"/>
                <a:gd name="csY2" fmla="*/ -5792 h 11828"/>
                <a:gd name="csX3" fmla="*/ 12912 w 21671"/>
                <a:gd name="csY3" fmla="*/ -5792 h 11828"/>
                <a:gd name="csX4" fmla="*/ 12912 w 21671"/>
                <a:gd name="csY4" fmla="*/ 6037 h 11828"/>
              </a:gdLst>
              <a:ahLst/>
              <a:cxnLst>
                <a:cxn ang="0">
                  <a:pos x="csX0" y="csY0"/>
                </a:cxn>
                <a:cxn ang="0">
                  <a:pos x="csX1" y="csY1"/>
                </a:cxn>
                <a:cxn ang="0">
                  <a:pos x="csX2" y="csY2"/>
                </a:cxn>
                <a:cxn ang="0">
                  <a:pos x="csX3" y="csY3"/>
                </a:cxn>
                <a:cxn ang="0">
                  <a:pos x="csX4" y="csY4"/>
                </a:cxn>
              </a:cxnLst>
              <a:rect l="l" t="t" r="r" b="b"/>
              <a:pathLst>
                <a:path w="21671" h="11828">
                  <a:moveTo>
                    <a:pt x="12912" y="6037"/>
                  </a:moveTo>
                  <a:lnTo>
                    <a:pt x="-8759" y="6037"/>
                  </a:lnTo>
                  <a:lnTo>
                    <a:pt x="-8759" y="-5792"/>
                  </a:lnTo>
                  <a:lnTo>
                    <a:pt x="12912" y="-5792"/>
                  </a:lnTo>
                  <a:lnTo>
                    <a:pt x="12912" y="6037"/>
                  </a:lnTo>
                </a:path>
              </a:pathLst>
            </a:custGeom>
            <a:grpFill/>
            <a:ln w="548" cap="flat">
              <a:noFill/>
              <a:prstDash val="solid"/>
              <a:miter/>
            </a:ln>
          </p:spPr>
          <p:txBody>
            <a:bodyPr/>
            <a:lstStyle/>
            <a:p>
              <a:endParaRPr lang="en-US"/>
            </a:p>
          </p:txBody>
        </p:sp>
        <p:sp>
          <p:nvSpPr>
            <p:cNvPr id="363" name="Freeform: Shape 362">
              <a:extLst>
                <a:ext uri="{FF2B5EF4-FFF2-40B4-BE49-F238E27FC236}">
                  <a16:creationId xmlns:a16="http://schemas.microsoft.com/office/drawing/2014/main" id="{D26F5997-4D20-31B7-CD56-A92E52368B25}"/>
                </a:ext>
              </a:extLst>
            </p:cNvPr>
            <p:cNvSpPr/>
            <p:nvPr/>
          </p:nvSpPr>
          <p:spPr>
            <a:xfrm flipV="1">
              <a:off x="24074449" y="4154313"/>
              <a:ext cx="21671" cy="11834"/>
            </a:xfrm>
            <a:custGeom>
              <a:avLst/>
              <a:gdLst>
                <a:gd name="csX0" fmla="*/ 12984 w 21671"/>
                <a:gd name="csY0" fmla="*/ 6008 h 11834"/>
                <a:gd name="csX1" fmla="*/ -8688 w 21671"/>
                <a:gd name="csY1" fmla="*/ 6008 h 11834"/>
                <a:gd name="csX2" fmla="*/ -8688 w 21671"/>
                <a:gd name="csY2" fmla="*/ -5826 h 11834"/>
                <a:gd name="csX3" fmla="*/ 12984 w 21671"/>
                <a:gd name="csY3" fmla="*/ -5826 h 11834"/>
                <a:gd name="csX4" fmla="*/ 12984 w 21671"/>
                <a:gd name="csY4" fmla="*/ 6008 h 11834"/>
              </a:gdLst>
              <a:ahLst/>
              <a:cxnLst>
                <a:cxn ang="0">
                  <a:pos x="csX0" y="csY0"/>
                </a:cxn>
                <a:cxn ang="0">
                  <a:pos x="csX1" y="csY1"/>
                </a:cxn>
                <a:cxn ang="0">
                  <a:pos x="csX2" y="csY2"/>
                </a:cxn>
                <a:cxn ang="0">
                  <a:pos x="csX3" y="csY3"/>
                </a:cxn>
                <a:cxn ang="0">
                  <a:pos x="csX4" y="csY4"/>
                </a:cxn>
              </a:cxnLst>
              <a:rect l="l" t="t" r="r" b="b"/>
              <a:pathLst>
                <a:path w="21671" h="11834">
                  <a:moveTo>
                    <a:pt x="12984" y="6008"/>
                  </a:moveTo>
                  <a:lnTo>
                    <a:pt x="-8688" y="6008"/>
                  </a:lnTo>
                  <a:lnTo>
                    <a:pt x="-8688" y="-5826"/>
                  </a:lnTo>
                  <a:lnTo>
                    <a:pt x="12984" y="-5826"/>
                  </a:lnTo>
                  <a:lnTo>
                    <a:pt x="12984" y="6008"/>
                  </a:lnTo>
                </a:path>
              </a:pathLst>
            </a:custGeom>
            <a:grpFill/>
            <a:ln w="548" cap="flat">
              <a:noFill/>
              <a:prstDash val="solid"/>
              <a:miter/>
            </a:ln>
          </p:spPr>
          <p:txBody>
            <a:bodyPr/>
            <a:lstStyle/>
            <a:p>
              <a:endParaRPr lang="en-US"/>
            </a:p>
          </p:txBody>
        </p:sp>
        <p:sp>
          <p:nvSpPr>
            <p:cNvPr id="364" name="Freeform: Shape 363">
              <a:extLst>
                <a:ext uri="{FF2B5EF4-FFF2-40B4-BE49-F238E27FC236}">
                  <a16:creationId xmlns:a16="http://schemas.microsoft.com/office/drawing/2014/main" id="{2180C094-D807-F2ED-EE2D-518E977259DB}"/>
                </a:ext>
              </a:extLst>
            </p:cNvPr>
            <p:cNvSpPr/>
            <p:nvPr/>
          </p:nvSpPr>
          <p:spPr>
            <a:xfrm flipV="1">
              <a:off x="24074449" y="4168550"/>
              <a:ext cx="21671" cy="11828"/>
            </a:xfrm>
            <a:custGeom>
              <a:avLst/>
              <a:gdLst>
                <a:gd name="csX0" fmla="*/ 12984 w 21671"/>
                <a:gd name="csY0" fmla="*/ 6037 h 11828"/>
                <a:gd name="csX1" fmla="*/ -8688 w 21671"/>
                <a:gd name="csY1" fmla="*/ 6037 h 11828"/>
                <a:gd name="csX2" fmla="*/ -8688 w 21671"/>
                <a:gd name="csY2" fmla="*/ -5792 h 11828"/>
                <a:gd name="csX3" fmla="*/ 12984 w 21671"/>
                <a:gd name="csY3" fmla="*/ -5792 h 11828"/>
                <a:gd name="csX4" fmla="*/ 12984 w 21671"/>
                <a:gd name="csY4" fmla="*/ 6037 h 11828"/>
              </a:gdLst>
              <a:ahLst/>
              <a:cxnLst>
                <a:cxn ang="0">
                  <a:pos x="csX0" y="csY0"/>
                </a:cxn>
                <a:cxn ang="0">
                  <a:pos x="csX1" y="csY1"/>
                </a:cxn>
                <a:cxn ang="0">
                  <a:pos x="csX2" y="csY2"/>
                </a:cxn>
                <a:cxn ang="0">
                  <a:pos x="csX3" y="csY3"/>
                </a:cxn>
                <a:cxn ang="0">
                  <a:pos x="csX4" y="csY4"/>
                </a:cxn>
              </a:cxnLst>
              <a:rect l="l" t="t" r="r" b="b"/>
              <a:pathLst>
                <a:path w="21671" h="11828">
                  <a:moveTo>
                    <a:pt x="12984" y="6037"/>
                  </a:moveTo>
                  <a:lnTo>
                    <a:pt x="-8688" y="6037"/>
                  </a:lnTo>
                  <a:lnTo>
                    <a:pt x="-8688" y="-5792"/>
                  </a:lnTo>
                  <a:lnTo>
                    <a:pt x="12984" y="-5792"/>
                  </a:lnTo>
                  <a:lnTo>
                    <a:pt x="12984" y="6037"/>
                  </a:lnTo>
                </a:path>
              </a:pathLst>
            </a:custGeom>
            <a:grpFill/>
            <a:ln w="548" cap="flat">
              <a:noFill/>
              <a:prstDash val="solid"/>
              <a:miter/>
            </a:ln>
          </p:spPr>
          <p:txBody>
            <a:bodyPr/>
            <a:lstStyle/>
            <a:p>
              <a:endParaRPr lang="en-US"/>
            </a:p>
          </p:txBody>
        </p:sp>
        <p:sp>
          <p:nvSpPr>
            <p:cNvPr id="365" name="Freeform: Shape 364">
              <a:extLst>
                <a:ext uri="{FF2B5EF4-FFF2-40B4-BE49-F238E27FC236}">
                  <a16:creationId xmlns:a16="http://schemas.microsoft.com/office/drawing/2014/main" id="{0E442669-7F75-B7BD-24F7-40E085BBBE42}"/>
                </a:ext>
              </a:extLst>
            </p:cNvPr>
            <p:cNvSpPr/>
            <p:nvPr/>
          </p:nvSpPr>
          <p:spPr>
            <a:xfrm flipV="1">
              <a:off x="24131947" y="4213830"/>
              <a:ext cx="21671" cy="11828"/>
            </a:xfrm>
            <a:custGeom>
              <a:avLst/>
              <a:gdLst>
                <a:gd name="csX0" fmla="*/ 12912 w 21671"/>
                <a:gd name="csY0" fmla="*/ 6146 h 11828"/>
                <a:gd name="csX1" fmla="*/ -8759 w 21671"/>
                <a:gd name="csY1" fmla="*/ 6146 h 11828"/>
                <a:gd name="csX2" fmla="*/ -8759 w 21671"/>
                <a:gd name="csY2" fmla="*/ -5683 h 11828"/>
                <a:gd name="csX3" fmla="*/ 12912 w 21671"/>
                <a:gd name="csY3" fmla="*/ -5683 h 11828"/>
                <a:gd name="csX4" fmla="*/ 12912 w 21671"/>
                <a:gd name="csY4" fmla="*/ 6146 h 11828"/>
              </a:gdLst>
              <a:ahLst/>
              <a:cxnLst>
                <a:cxn ang="0">
                  <a:pos x="csX0" y="csY0"/>
                </a:cxn>
                <a:cxn ang="0">
                  <a:pos x="csX1" y="csY1"/>
                </a:cxn>
                <a:cxn ang="0">
                  <a:pos x="csX2" y="csY2"/>
                </a:cxn>
                <a:cxn ang="0">
                  <a:pos x="csX3" y="csY3"/>
                </a:cxn>
                <a:cxn ang="0">
                  <a:pos x="csX4" y="csY4"/>
                </a:cxn>
              </a:cxnLst>
              <a:rect l="l" t="t" r="r" b="b"/>
              <a:pathLst>
                <a:path w="21671" h="11828">
                  <a:moveTo>
                    <a:pt x="12912" y="6146"/>
                  </a:moveTo>
                  <a:lnTo>
                    <a:pt x="-8759" y="6146"/>
                  </a:lnTo>
                  <a:lnTo>
                    <a:pt x="-8759" y="-5683"/>
                  </a:lnTo>
                  <a:lnTo>
                    <a:pt x="12912" y="-5683"/>
                  </a:lnTo>
                  <a:lnTo>
                    <a:pt x="12912" y="6146"/>
                  </a:lnTo>
                </a:path>
              </a:pathLst>
            </a:custGeom>
            <a:grpFill/>
            <a:ln w="548" cap="flat">
              <a:noFill/>
              <a:prstDash val="solid"/>
              <a:miter/>
            </a:ln>
          </p:spPr>
          <p:txBody>
            <a:bodyPr/>
            <a:lstStyle/>
            <a:p>
              <a:endParaRPr lang="en-US"/>
            </a:p>
          </p:txBody>
        </p:sp>
        <p:sp>
          <p:nvSpPr>
            <p:cNvPr id="366" name="Freeform: Shape 365">
              <a:extLst>
                <a:ext uri="{FF2B5EF4-FFF2-40B4-BE49-F238E27FC236}">
                  <a16:creationId xmlns:a16="http://schemas.microsoft.com/office/drawing/2014/main" id="{AB5AFC41-7732-E8A1-6281-C451EE9EAE1B}"/>
                </a:ext>
              </a:extLst>
            </p:cNvPr>
            <p:cNvSpPr/>
            <p:nvPr/>
          </p:nvSpPr>
          <p:spPr>
            <a:xfrm flipV="1">
              <a:off x="24131947" y="4228061"/>
              <a:ext cx="21671" cy="11828"/>
            </a:xfrm>
            <a:custGeom>
              <a:avLst/>
              <a:gdLst>
                <a:gd name="csX0" fmla="*/ 12912 w 21671"/>
                <a:gd name="csY0" fmla="*/ 6180 h 11828"/>
                <a:gd name="csX1" fmla="*/ -8759 w 21671"/>
                <a:gd name="csY1" fmla="*/ 6180 h 11828"/>
                <a:gd name="csX2" fmla="*/ -8759 w 21671"/>
                <a:gd name="csY2" fmla="*/ -5649 h 11828"/>
                <a:gd name="csX3" fmla="*/ 12912 w 21671"/>
                <a:gd name="csY3" fmla="*/ -5649 h 11828"/>
                <a:gd name="csX4" fmla="*/ 12912 w 21671"/>
                <a:gd name="csY4" fmla="*/ 6180 h 11828"/>
              </a:gdLst>
              <a:ahLst/>
              <a:cxnLst>
                <a:cxn ang="0">
                  <a:pos x="csX0" y="csY0"/>
                </a:cxn>
                <a:cxn ang="0">
                  <a:pos x="csX1" y="csY1"/>
                </a:cxn>
                <a:cxn ang="0">
                  <a:pos x="csX2" y="csY2"/>
                </a:cxn>
                <a:cxn ang="0">
                  <a:pos x="csX3" y="csY3"/>
                </a:cxn>
                <a:cxn ang="0">
                  <a:pos x="csX4" y="csY4"/>
                </a:cxn>
              </a:cxnLst>
              <a:rect l="l" t="t" r="r" b="b"/>
              <a:pathLst>
                <a:path w="21671" h="11828">
                  <a:moveTo>
                    <a:pt x="12912" y="6180"/>
                  </a:moveTo>
                  <a:lnTo>
                    <a:pt x="-8759" y="6180"/>
                  </a:lnTo>
                  <a:lnTo>
                    <a:pt x="-8759" y="-5649"/>
                  </a:lnTo>
                  <a:lnTo>
                    <a:pt x="12912" y="-5649"/>
                  </a:lnTo>
                  <a:lnTo>
                    <a:pt x="12912" y="6180"/>
                  </a:lnTo>
                </a:path>
              </a:pathLst>
            </a:custGeom>
            <a:grpFill/>
            <a:ln w="548" cap="flat">
              <a:noFill/>
              <a:prstDash val="solid"/>
              <a:miter/>
            </a:ln>
          </p:spPr>
          <p:txBody>
            <a:bodyPr/>
            <a:lstStyle/>
            <a:p>
              <a:endParaRPr lang="en-US"/>
            </a:p>
          </p:txBody>
        </p:sp>
        <p:sp>
          <p:nvSpPr>
            <p:cNvPr id="367" name="Freeform: Shape 366">
              <a:extLst>
                <a:ext uri="{FF2B5EF4-FFF2-40B4-BE49-F238E27FC236}">
                  <a16:creationId xmlns:a16="http://schemas.microsoft.com/office/drawing/2014/main" id="{6F625FAF-A5DC-8FAE-937C-8519052541C2}"/>
                </a:ext>
              </a:extLst>
            </p:cNvPr>
            <p:cNvSpPr/>
            <p:nvPr/>
          </p:nvSpPr>
          <p:spPr>
            <a:xfrm flipV="1">
              <a:off x="24074449" y="4213830"/>
              <a:ext cx="21671" cy="11828"/>
            </a:xfrm>
            <a:custGeom>
              <a:avLst/>
              <a:gdLst>
                <a:gd name="csX0" fmla="*/ 12984 w 21671"/>
                <a:gd name="csY0" fmla="*/ 6146 h 11828"/>
                <a:gd name="csX1" fmla="*/ -8688 w 21671"/>
                <a:gd name="csY1" fmla="*/ 6146 h 11828"/>
                <a:gd name="csX2" fmla="*/ -8688 w 21671"/>
                <a:gd name="csY2" fmla="*/ -5683 h 11828"/>
                <a:gd name="csX3" fmla="*/ 12984 w 21671"/>
                <a:gd name="csY3" fmla="*/ -5683 h 11828"/>
                <a:gd name="csX4" fmla="*/ 12984 w 21671"/>
                <a:gd name="csY4" fmla="*/ 6146 h 11828"/>
              </a:gdLst>
              <a:ahLst/>
              <a:cxnLst>
                <a:cxn ang="0">
                  <a:pos x="csX0" y="csY0"/>
                </a:cxn>
                <a:cxn ang="0">
                  <a:pos x="csX1" y="csY1"/>
                </a:cxn>
                <a:cxn ang="0">
                  <a:pos x="csX2" y="csY2"/>
                </a:cxn>
                <a:cxn ang="0">
                  <a:pos x="csX3" y="csY3"/>
                </a:cxn>
                <a:cxn ang="0">
                  <a:pos x="csX4" y="csY4"/>
                </a:cxn>
              </a:cxnLst>
              <a:rect l="l" t="t" r="r" b="b"/>
              <a:pathLst>
                <a:path w="21671" h="11828">
                  <a:moveTo>
                    <a:pt x="12984" y="6146"/>
                  </a:moveTo>
                  <a:lnTo>
                    <a:pt x="-8688" y="6146"/>
                  </a:lnTo>
                  <a:lnTo>
                    <a:pt x="-8688" y="-5683"/>
                  </a:lnTo>
                  <a:lnTo>
                    <a:pt x="12984" y="-5683"/>
                  </a:lnTo>
                  <a:lnTo>
                    <a:pt x="12984" y="6146"/>
                  </a:lnTo>
                </a:path>
              </a:pathLst>
            </a:custGeom>
            <a:grpFill/>
            <a:ln w="548" cap="flat">
              <a:noFill/>
              <a:prstDash val="solid"/>
              <a:miter/>
            </a:ln>
          </p:spPr>
          <p:txBody>
            <a:bodyPr/>
            <a:lstStyle/>
            <a:p>
              <a:endParaRPr lang="en-US"/>
            </a:p>
          </p:txBody>
        </p:sp>
        <p:sp>
          <p:nvSpPr>
            <p:cNvPr id="368" name="Freeform: Shape 367">
              <a:extLst>
                <a:ext uri="{FF2B5EF4-FFF2-40B4-BE49-F238E27FC236}">
                  <a16:creationId xmlns:a16="http://schemas.microsoft.com/office/drawing/2014/main" id="{A4B5794D-B843-7160-ED13-20D816E116AC}"/>
                </a:ext>
              </a:extLst>
            </p:cNvPr>
            <p:cNvSpPr/>
            <p:nvPr/>
          </p:nvSpPr>
          <p:spPr>
            <a:xfrm flipV="1">
              <a:off x="24074449" y="4228061"/>
              <a:ext cx="21671" cy="11828"/>
            </a:xfrm>
            <a:custGeom>
              <a:avLst/>
              <a:gdLst>
                <a:gd name="csX0" fmla="*/ 12984 w 21671"/>
                <a:gd name="csY0" fmla="*/ 6180 h 11828"/>
                <a:gd name="csX1" fmla="*/ -8688 w 21671"/>
                <a:gd name="csY1" fmla="*/ 6180 h 11828"/>
                <a:gd name="csX2" fmla="*/ -8688 w 21671"/>
                <a:gd name="csY2" fmla="*/ -5649 h 11828"/>
                <a:gd name="csX3" fmla="*/ 12984 w 21671"/>
                <a:gd name="csY3" fmla="*/ -5649 h 11828"/>
                <a:gd name="csX4" fmla="*/ 12984 w 21671"/>
                <a:gd name="csY4" fmla="*/ 6180 h 11828"/>
              </a:gdLst>
              <a:ahLst/>
              <a:cxnLst>
                <a:cxn ang="0">
                  <a:pos x="csX0" y="csY0"/>
                </a:cxn>
                <a:cxn ang="0">
                  <a:pos x="csX1" y="csY1"/>
                </a:cxn>
                <a:cxn ang="0">
                  <a:pos x="csX2" y="csY2"/>
                </a:cxn>
                <a:cxn ang="0">
                  <a:pos x="csX3" y="csY3"/>
                </a:cxn>
                <a:cxn ang="0">
                  <a:pos x="csX4" y="csY4"/>
                </a:cxn>
              </a:cxnLst>
              <a:rect l="l" t="t" r="r" b="b"/>
              <a:pathLst>
                <a:path w="21671" h="11828">
                  <a:moveTo>
                    <a:pt x="12984" y="6180"/>
                  </a:moveTo>
                  <a:lnTo>
                    <a:pt x="-8688" y="6180"/>
                  </a:lnTo>
                  <a:lnTo>
                    <a:pt x="-8688" y="-5649"/>
                  </a:lnTo>
                  <a:lnTo>
                    <a:pt x="12984" y="-5649"/>
                  </a:lnTo>
                  <a:lnTo>
                    <a:pt x="12984" y="6180"/>
                  </a:lnTo>
                </a:path>
              </a:pathLst>
            </a:custGeom>
            <a:grpFill/>
            <a:ln w="548" cap="flat">
              <a:noFill/>
              <a:prstDash val="solid"/>
              <a:miter/>
            </a:ln>
          </p:spPr>
          <p:txBody>
            <a:bodyPr/>
            <a:lstStyle/>
            <a:p>
              <a:endParaRPr lang="en-US"/>
            </a:p>
          </p:txBody>
        </p:sp>
        <p:sp>
          <p:nvSpPr>
            <p:cNvPr id="369" name="Freeform: Shape 368">
              <a:extLst>
                <a:ext uri="{FF2B5EF4-FFF2-40B4-BE49-F238E27FC236}">
                  <a16:creationId xmlns:a16="http://schemas.microsoft.com/office/drawing/2014/main" id="{71742CC6-E073-32EA-9099-637C6FC42252}"/>
                </a:ext>
              </a:extLst>
            </p:cNvPr>
            <p:cNvSpPr/>
            <p:nvPr/>
          </p:nvSpPr>
          <p:spPr>
            <a:xfrm flipV="1">
              <a:off x="24131947" y="4273346"/>
              <a:ext cx="21671" cy="11828"/>
            </a:xfrm>
            <a:custGeom>
              <a:avLst/>
              <a:gdLst>
                <a:gd name="csX0" fmla="*/ 12912 w 21671"/>
                <a:gd name="csY0" fmla="*/ 6289 h 11828"/>
                <a:gd name="csX1" fmla="*/ -8759 w 21671"/>
                <a:gd name="csY1" fmla="*/ 6289 h 11828"/>
                <a:gd name="csX2" fmla="*/ -8759 w 21671"/>
                <a:gd name="csY2" fmla="*/ -5540 h 11828"/>
                <a:gd name="csX3" fmla="*/ 12912 w 21671"/>
                <a:gd name="csY3" fmla="*/ -5540 h 11828"/>
                <a:gd name="csX4" fmla="*/ 12912 w 21671"/>
                <a:gd name="csY4" fmla="*/ 6289 h 11828"/>
              </a:gdLst>
              <a:ahLst/>
              <a:cxnLst>
                <a:cxn ang="0">
                  <a:pos x="csX0" y="csY0"/>
                </a:cxn>
                <a:cxn ang="0">
                  <a:pos x="csX1" y="csY1"/>
                </a:cxn>
                <a:cxn ang="0">
                  <a:pos x="csX2" y="csY2"/>
                </a:cxn>
                <a:cxn ang="0">
                  <a:pos x="csX3" y="csY3"/>
                </a:cxn>
                <a:cxn ang="0">
                  <a:pos x="csX4" y="csY4"/>
                </a:cxn>
              </a:cxnLst>
              <a:rect l="l" t="t" r="r" b="b"/>
              <a:pathLst>
                <a:path w="21671" h="11828">
                  <a:moveTo>
                    <a:pt x="12912" y="6289"/>
                  </a:moveTo>
                  <a:lnTo>
                    <a:pt x="-8759" y="6289"/>
                  </a:lnTo>
                  <a:lnTo>
                    <a:pt x="-8759" y="-5540"/>
                  </a:lnTo>
                  <a:lnTo>
                    <a:pt x="12912" y="-5540"/>
                  </a:lnTo>
                  <a:lnTo>
                    <a:pt x="12912" y="6289"/>
                  </a:lnTo>
                </a:path>
              </a:pathLst>
            </a:custGeom>
            <a:grpFill/>
            <a:ln w="548" cap="flat">
              <a:noFill/>
              <a:prstDash val="solid"/>
              <a:miter/>
            </a:ln>
          </p:spPr>
          <p:txBody>
            <a:bodyPr/>
            <a:lstStyle/>
            <a:p>
              <a:endParaRPr lang="en-US"/>
            </a:p>
          </p:txBody>
        </p:sp>
        <p:sp>
          <p:nvSpPr>
            <p:cNvPr id="370" name="Freeform: Shape 369">
              <a:extLst>
                <a:ext uri="{FF2B5EF4-FFF2-40B4-BE49-F238E27FC236}">
                  <a16:creationId xmlns:a16="http://schemas.microsoft.com/office/drawing/2014/main" id="{1B02F4C3-B0FE-358B-FABC-EE06CCF643AC}"/>
                </a:ext>
              </a:extLst>
            </p:cNvPr>
            <p:cNvSpPr/>
            <p:nvPr/>
          </p:nvSpPr>
          <p:spPr>
            <a:xfrm flipV="1">
              <a:off x="24131947" y="4287583"/>
              <a:ext cx="21671" cy="11828"/>
            </a:xfrm>
            <a:custGeom>
              <a:avLst/>
              <a:gdLst>
                <a:gd name="csX0" fmla="*/ 12912 w 21671"/>
                <a:gd name="csY0" fmla="*/ 6323 h 11828"/>
                <a:gd name="csX1" fmla="*/ -8759 w 21671"/>
                <a:gd name="csY1" fmla="*/ 6323 h 11828"/>
                <a:gd name="csX2" fmla="*/ -8759 w 21671"/>
                <a:gd name="csY2" fmla="*/ -5506 h 11828"/>
                <a:gd name="csX3" fmla="*/ 12912 w 21671"/>
                <a:gd name="csY3" fmla="*/ -5506 h 11828"/>
                <a:gd name="csX4" fmla="*/ 12912 w 21671"/>
                <a:gd name="csY4" fmla="*/ 6323 h 11828"/>
              </a:gdLst>
              <a:ahLst/>
              <a:cxnLst>
                <a:cxn ang="0">
                  <a:pos x="csX0" y="csY0"/>
                </a:cxn>
                <a:cxn ang="0">
                  <a:pos x="csX1" y="csY1"/>
                </a:cxn>
                <a:cxn ang="0">
                  <a:pos x="csX2" y="csY2"/>
                </a:cxn>
                <a:cxn ang="0">
                  <a:pos x="csX3" y="csY3"/>
                </a:cxn>
                <a:cxn ang="0">
                  <a:pos x="csX4" y="csY4"/>
                </a:cxn>
              </a:cxnLst>
              <a:rect l="l" t="t" r="r" b="b"/>
              <a:pathLst>
                <a:path w="21671" h="11828">
                  <a:moveTo>
                    <a:pt x="12912" y="6323"/>
                  </a:moveTo>
                  <a:lnTo>
                    <a:pt x="-8759" y="6323"/>
                  </a:lnTo>
                  <a:lnTo>
                    <a:pt x="-8759" y="-5506"/>
                  </a:lnTo>
                  <a:lnTo>
                    <a:pt x="12912" y="-5506"/>
                  </a:lnTo>
                  <a:lnTo>
                    <a:pt x="12912" y="6323"/>
                  </a:lnTo>
                </a:path>
              </a:pathLst>
            </a:custGeom>
            <a:grpFill/>
            <a:ln w="548" cap="flat">
              <a:noFill/>
              <a:prstDash val="solid"/>
              <a:miter/>
            </a:ln>
          </p:spPr>
          <p:txBody>
            <a:bodyPr/>
            <a:lstStyle/>
            <a:p>
              <a:endParaRPr lang="en-US"/>
            </a:p>
          </p:txBody>
        </p:sp>
        <p:sp>
          <p:nvSpPr>
            <p:cNvPr id="371" name="Freeform: Shape 370">
              <a:extLst>
                <a:ext uri="{FF2B5EF4-FFF2-40B4-BE49-F238E27FC236}">
                  <a16:creationId xmlns:a16="http://schemas.microsoft.com/office/drawing/2014/main" id="{9470EE6C-F285-9060-D5A7-EEAE6190460C}"/>
                </a:ext>
              </a:extLst>
            </p:cNvPr>
            <p:cNvSpPr/>
            <p:nvPr/>
          </p:nvSpPr>
          <p:spPr>
            <a:xfrm flipV="1">
              <a:off x="24074449" y="4273346"/>
              <a:ext cx="21671" cy="11828"/>
            </a:xfrm>
            <a:custGeom>
              <a:avLst/>
              <a:gdLst>
                <a:gd name="csX0" fmla="*/ 12984 w 21671"/>
                <a:gd name="csY0" fmla="*/ 6289 h 11828"/>
                <a:gd name="csX1" fmla="*/ -8688 w 21671"/>
                <a:gd name="csY1" fmla="*/ 6289 h 11828"/>
                <a:gd name="csX2" fmla="*/ -8688 w 21671"/>
                <a:gd name="csY2" fmla="*/ -5540 h 11828"/>
                <a:gd name="csX3" fmla="*/ 12984 w 21671"/>
                <a:gd name="csY3" fmla="*/ -5540 h 11828"/>
                <a:gd name="csX4" fmla="*/ 12984 w 21671"/>
                <a:gd name="csY4" fmla="*/ 6289 h 11828"/>
              </a:gdLst>
              <a:ahLst/>
              <a:cxnLst>
                <a:cxn ang="0">
                  <a:pos x="csX0" y="csY0"/>
                </a:cxn>
                <a:cxn ang="0">
                  <a:pos x="csX1" y="csY1"/>
                </a:cxn>
                <a:cxn ang="0">
                  <a:pos x="csX2" y="csY2"/>
                </a:cxn>
                <a:cxn ang="0">
                  <a:pos x="csX3" y="csY3"/>
                </a:cxn>
                <a:cxn ang="0">
                  <a:pos x="csX4" y="csY4"/>
                </a:cxn>
              </a:cxnLst>
              <a:rect l="l" t="t" r="r" b="b"/>
              <a:pathLst>
                <a:path w="21671" h="11828">
                  <a:moveTo>
                    <a:pt x="12984" y="6289"/>
                  </a:moveTo>
                  <a:lnTo>
                    <a:pt x="-8688" y="6289"/>
                  </a:lnTo>
                  <a:lnTo>
                    <a:pt x="-8688" y="-5540"/>
                  </a:lnTo>
                  <a:lnTo>
                    <a:pt x="12984" y="-5540"/>
                  </a:lnTo>
                  <a:lnTo>
                    <a:pt x="12984" y="6289"/>
                  </a:lnTo>
                </a:path>
              </a:pathLst>
            </a:custGeom>
            <a:grpFill/>
            <a:ln w="548" cap="flat">
              <a:noFill/>
              <a:prstDash val="solid"/>
              <a:miter/>
            </a:ln>
          </p:spPr>
          <p:txBody>
            <a:bodyPr/>
            <a:lstStyle/>
            <a:p>
              <a:endParaRPr lang="en-US"/>
            </a:p>
          </p:txBody>
        </p:sp>
        <p:sp>
          <p:nvSpPr>
            <p:cNvPr id="372" name="Freeform: Shape 371">
              <a:extLst>
                <a:ext uri="{FF2B5EF4-FFF2-40B4-BE49-F238E27FC236}">
                  <a16:creationId xmlns:a16="http://schemas.microsoft.com/office/drawing/2014/main" id="{6B7733C1-1575-746C-64A4-7721027F5E29}"/>
                </a:ext>
              </a:extLst>
            </p:cNvPr>
            <p:cNvSpPr/>
            <p:nvPr/>
          </p:nvSpPr>
          <p:spPr>
            <a:xfrm flipV="1">
              <a:off x="24074449" y="4287583"/>
              <a:ext cx="21671" cy="11828"/>
            </a:xfrm>
            <a:custGeom>
              <a:avLst/>
              <a:gdLst>
                <a:gd name="csX0" fmla="*/ 12984 w 21671"/>
                <a:gd name="csY0" fmla="*/ 6323 h 11828"/>
                <a:gd name="csX1" fmla="*/ -8688 w 21671"/>
                <a:gd name="csY1" fmla="*/ 6323 h 11828"/>
                <a:gd name="csX2" fmla="*/ -8688 w 21671"/>
                <a:gd name="csY2" fmla="*/ -5506 h 11828"/>
                <a:gd name="csX3" fmla="*/ 12984 w 21671"/>
                <a:gd name="csY3" fmla="*/ -5506 h 11828"/>
                <a:gd name="csX4" fmla="*/ 12984 w 21671"/>
                <a:gd name="csY4" fmla="*/ 6323 h 11828"/>
              </a:gdLst>
              <a:ahLst/>
              <a:cxnLst>
                <a:cxn ang="0">
                  <a:pos x="csX0" y="csY0"/>
                </a:cxn>
                <a:cxn ang="0">
                  <a:pos x="csX1" y="csY1"/>
                </a:cxn>
                <a:cxn ang="0">
                  <a:pos x="csX2" y="csY2"/>
                </a:cxn>
                <a:cxn ang="0">
                  <a:pos x="csX3" y="csY3"/>
                </a:cxn>
                <a:cxn ang="0">
                  <a:pos x="csX4" y="csY4"/>
                </a:cxn>
              </a:cxnLst>
              <a:rect l="l" t="t" r="r" b="b"/>
              <a:pathLst>
                <a:path w="21671" h="11828">
                  <a:moveTo>
                    <a:pt x="12984" y="6323"/>
                  </a:moveTo>
                  <a:lnTo>
                    <a:pt x="-8688" y="6323"/>
                  </a:lnTo>
                  <a:lnTo>
                    <a:pt x="-8688" y="-5506"/>
                  </a:lnTo>
                  <a:lnTo>
                    <a:pt x="12984" y="-5506"/>
                  </a:lnTo>
                  <a:lnTo>
                    <a:pt x="12984" y="6323"/>
                  </a:lnTo>
                </a:path>
              </a:pathLst>
            </a:custGeom>
            <a:grpFill/>
            <a:ln w="548" cap="flat">
              <a:noFill/>
              <a:prstDash val="solid"/>
              <a:miter/>
            </a:ln>
          </p:spPr>
          <p:txBody>
            <a:bodyPr/>
            <a:lstStyle/>
            <a:p>
              <a:endParaRPr lang="en-US"/>
            </a:p>
          </p:txBody>
        </p:sp>
        <p:sp>
          <p:nvSpPr>
            <p:cNvPr id="373" name="Freeform: Shape 372">
              <a:extLst>
                <a:ext uri="{FF2B5EF4-FFF2-40B4-BE49-F238E27FC236}">
                  <a16:creationId xmlns:a16="http://schemas.microsoft.com/office/drawing/2014/main" id="{43AAB653-238B-808C-3391-0D474F35CA00}"/>
                </a:ext>
              </a:extLst>
            </p:cNvPr>
            <p:cNvSpPr/>
            <p:nvPr/>
          </p:nvSpPr>
          <p:spPr>
            <a:xfrm flipV="1">
              <a:off x="24131947" y="4332868"/>
              <a:ext cx="21671" cy="11823"/>
            </a:xfrm>
            <a:custGeom>
              <a:avLst/>
              <a:gdLst>
                <a:gd name="csX0" fmla="*/ 12912 w 21671"/>
                <a:gd name="csY0" fmla="*/ 6427 h 11823"/>
                <a:gd name="csX1" fmla="*/ -8759 w 21671"/>
                <a:gd name="csY1" fmla="*/ 6427 h 11823"/>
                <a:gd name="csX2" fmla="*/ -8759 w 21671"/>
                <a:gd name="csY2" fmla="*/ -5397 h 11823"/>
                <a:gd name="csX3" fmla="*/ 12912 w 21671"/>
                <a:gd name="csY3" fmla="*/ -5397 h 11823"/>
                <a:gd name="csX4" fmla="*/ 12912 w 21671"/>
                <a:gd name="csY4" fmla="*/ 6427 h 11823"/>
              </a:gdLst>
              <a:ahLst/>
              <a:cxnLst>
                <a:cxn ang="0">
                  <a:pos x="csX0" y="csY0"/>
                </a:cxn>
                <a:cxn ang="0">
                  <a:pos x="csX1" y="csY1"/>
                </a:cxn>
                <a:cxn ang="0">
                  <a:pos x="csX2" y="csY2"/>
                </a:cxn>
                <a:cxn ang="0">
                  <a:pos x="csX3" y="csY3"/>
                </a:cxn>
                <a:cxn ang="0">
                  <a:pos x="csX4" y="csY4"/>
                </a:cxn>
              </a:cxnLst>
              <a:rect l="l" t="t" r="r" b="b"/>
              <a:pathLst>
                <a:path w="21671" h="11823">
                  <a:moveTo>
                    <a:pt x="12912" y="6427"/>
                  </a:moveTo>
                  <a:lnTo>
                    <a:pt x="-8759" y="6427"/>
                  </a:lnTo>
                  <a:lnTo>
                    <a:pt x="-8759" y="-5397"/>
                  </a:lnTo>
                  <a:lnTo>
                    <a:pt x="12912" y="-5397"/>
                  </a:lnTo>
                  <a:lnTo>
                    <a:pt x="12912" y="6427"/>
                  </a:lnTo>
                </a:path>
              </a:pathLst>
            </a:custGeom>
            <a:grpFill/>
            <a:ln w="548" cap="flat">
              <a:noFill/>
              <a:prstDash val="solid"/>
              <a:miter/>
            </a:ln>
          </p:spPr>
          <p:txBody>
            <a:bodyPr/>
            <a:lstStyle/>
            <a:p>
              <a:endParaRPr lang="en-US"/>
            </a:p>
          </p:txBody>
        </p:sp>
        <p:sp>
          <p:nvSpPr>
            <p:cNvPr id="374" name="Freeform: Shape 373">
              <a:extLst>
                <a:ext uri="{FF2B5EF4-FFF2-40B4-BE49-F238E27FC236}">
                  <a16:creationId xmlns:a16="http://schemas.microsoft.com/office/drawing/2014/main" id="{A76C032D-0117-4F61-8E19-CE2D9FDE13E3}"/>
                </a:ext>
              </a:extLst>
            </p:cNvPr>
            <p:cNvSpPr/>
            <p:nvPr/>
          </p:nvSpPr>
          <p:spPr>
            <a:xfrm flipV="1">
              <a:off x="24131947" y="4347100"/>
              <a:ext cx="21671" cy="11828"/>
            </a:xfrm>
            <a:custGeom>
              <a:avLst/>
              <a:gdLst>
                <a:gd name="csX0" fmla="*/ 12912 w 21671"/>
                <a:gd name="csY0" fmla="*/ 6466 h 11828"/>
                <a:gd name="csX1" fmla="*/ -8759 w 21671"/>
                <a:gd name="csY1" fmla="*/ 6466 h 11828"/>
                <a:gd name="csX2" fmla="*/ -8759 w 21671"/>
                <a:gd name="csY2" fmla="*/ -5362 h 11828"/>
                <a:gd name="csX3" fmla="*/ 12912 w 21671"/>
                <a:gd name="csY3" fmla="*/ -5362 h 11828"/>
                <a:gd name="csX4" fmla="*/ 12912 w 21671"/>
                <a:gd name="csY4" fmla="*/ 6466 h 11828"/>
              </a:gdLst>
              <a:ahLst/>
              <a:cxnLst>
                <a:cxn ang="0">
                  <a:pos x="csX0" y="csY0"/>
                </a:cxn>
                <a:cxn ang="0">
                  <a:pos x="csX1" y="csY1"/>
                </a:cxn>
                <a:cxn ang="0">
                  <a:pos x="csX2" y="csY2"/>
                </a:cxn>
                <a:cxn ang="0">
                  <a:pos x="csX3" y="csY3"/>
                </a:cxn>
                <a:cxn ang="0">
                  <a:pos x="csX4" y="csY4"/>
                </a:cxn>
              </a:cxnLst>
              <a:rect l="l" t="t" r="r" b="b"/>
              <a:pathLst>
                <a:path w="21671" h="11828">
                  <a:moveTo>
                    <a:pt x="12912" y="6466"/>
                  </a:moveTo>
                  <a:lnTo>
                    <a:pt x="-8759" y="6466"/>
                  </a:lnTo>
                  <a:lnTo>
                    <a:pt x="-8759" y="-5362"/>
                  </a:lnTo>
                  <a:lnTo>
                    <a:pt x="12912" y="-5362"/>
                  </a:lnTo>
                  <a:lnTo>
                    <a:pt x="12912" y="6466"/>
                  </a:lnTo>
                </a:path>
              </a:pathLst>
            </a:custGeom>
            <a:grpFill/>
            <a:ln w="548" cap="flat">
              <a:noFill/>
              <a:prstDash val="solid"/>
              <a:miter/>
            </a:ln>
          </p:spPr>
          <p:txBody>
            <a:bodyPr/>
            <a:lstStyle/>
            <a:p>
              <a:endParaRPr lang="en-US"/>
            </a:p>
          </p:txBody>
        </p:sp>
        <p:sp>
          <p:nvSpPr>
            <p:cNvPr id="375" name="Freeform: Shape 374">
              <a:extLst>
                <a:ext uri="{FF2B5EF4-FFF2-40B4-BE49-F238E27FC236}">
                  <a16:creationId xmlns:a16="http://schemas.microsoft.com/office/drawing/2014/main" id="{1D86170E-E7C2-0814-205E-6F6FE06A0EE0}"/>
                </a:ext>
              </a:extLst>
            </p:cNvPr>
            <p:cNvSpPr/>
            <p:nvPr/>
          </p:nvSpPr>
          <p:spPr>
            <a:xfrm flipV="1">
              <a:off x="24074449" y="4332868"/>
              <a:ext cx="21671" cy="11823"/>
            </a:xfrm>
            <a:custGeom>
              <a:avLst/>
              <a:gdLst>
                <a:gd name="csX0" fmla="*/ 12984 w 21671"/>
                <a:gd name="csY0" fmla="*/ 6427 h 11823"/>
                <a:gd name="csX1" fmla="*/ -8688 w 21671"/>
                <a:gd name="csY1" fmla="*/ 6427 h 11823"/>
                <a:gd name="csX2" fmla="*/ -8688 w 21671"/>
                <a:gd name="csY2" fmla="*/ -5397 h 11823"/>
                <a:gd name="csX3" fmla="*/ 12984 w 21671"/>
                <a:gd name="csY3" fmla="*/ -5397 h 11823"/>
                <a:gd name="csX4" fmla="*/ 12984 w 21671"/>
                <a:gd name="csY4" fmla="*/ 6427 h 11823"/>
              </a:gdLst>
              <a:ahLst/>
              <a:cxnLst>
                <a:cxn ang="0">
                  <a:pos x="csX0" y="csY0"/>
                </a:cxn>
                <a:cxn ang="0">
                  <a:pos x="csX1" y="csY1"/>
                </a:cxn>
                <a:cxn ang="0">
                  <a:pos x="csX2" y="csY2"/>
                </a:cxn>
                <a:cxn ang="0">
                  <a:pos x="csX3" y="csY3"/>
                </a:cxn>
                <a:cxn ang="0">
                  <a:pos x="csX4" y="csY4"/>
                </a:cxn>
              </a:cxnLst>
              <a:rect l="l" t="t" r="r" b="b"/>
              <a:pathLst>
                <a:path w="21671" h="11823">
                  <a:moveTo>
                    <a:pt x="12984" y="6427"/>
                  </a:moveTo>
                  <a:lnTo>
                    <a:pt x="-8688" y="6427"/>
                  </a:lnTo>
                  <a:lnTo>
                    <a:pt x="-8688" y="-5397"/>
                  </a:lnTo>
                  <a:lnTo>
                    <a:pt x="12984" y="-5397"/>
                  </a:lnTo>
                  <a:lnTo>
                    <a:pt x="12984" y="6427"/>
                  </a:lnTo>
                </a:path>
              </a:pathLst>
            </a:custGeom>
            <a:grpFill/>
            <a:ln w="548" cap="flat">
              <a:noFill/>
              <a:prstDash val="solid"/>
              <a:miter/>
            </a:ln>
          </p:spPr>
          <p:txBody>
            <a:bodyPr/>
            <a:lstStyle/>
            <a:p>
              <a:endParaRPr lang="en-US"/>
            </a:p>
          </p:txBody>
        </p:sp>
        <p:sp>
          <p:nvSpPr>
            <p:cNvPr id="376" name="Freeform: Shape 375">
              <a:extLst>
                <a:ext uri="{FF2B5EF4-FFF2-40B4-BE49-F238E27FC236}">
                  <a16:creationId xmlns:a16="http://schemas.microsoft.com/office/drawing/2014/main" id="{3E137FCB-F9C5-AD70-743C-A62D5945B557}"/>
                </a:ext>
              </a:extLst>
            </p:cNvPr>
            <p:cNvSpPr/>
            <p:nvPr/>
          </p:nvSpPr>
          <p:spPr>
            <a:xfrm flipV="1">
              <a:off x="24074449" y="4347100"/>
              <a:ext cx="21671" cy="11828"/>
            </a:xfrm>
            <a:custGeom>
              <a:avLst/>
              <a:gdLst>
                <a:gd name="csX0" fmla="*/ 12984 w 21671"/>
                <a:gd name="csY0" fmla="*/ 6466 h 11828"/>
                <a:gd name="csX1" fmla="*/ -8688 w 21671"/>
                <a:gd name="csY1" fmla="*/ 6466 h 11828"/>
                <a:gd name="csX2" fmla="*/ -8688 w 21671"/>
                <a:gd name="csY2" fmla="*/ -5362 h 11828"/>
                <a:gd name="csX3" fmla="*/ 12984 w 21671"/>
                <a:gd name="csY3" fmla="*/ -5362 h 11828"/>
                <a:gd name="csX4" fmla="*/ 12984 w 21671"/>
                <a:gd name="csY4" fmla="*/ 6466 h 11828"/>
              </a:gdLst>
              <a:ahLst/>
              <a:cxnLst>
                <a:cxn ang="0">
                  <a:pos x="csX0" y="csY0"/>
                </a:cxn>
                <a:cxn ang="0">
                  <a:pos x="csX1" y="csY1"/>
                </a:cxn>
                <a:cxn ang="0">
                  <a:pos x="csX2" y="csY2"/>
                </a:cxn>
                <a:cxn ang="0">
                  <a:pos x="csX3" y="csY3"/>
                </a:cxn>
                <a:cxn ang="0">
                  <a:pos x="csX4" y="csY4"/>
                </a:cxn>
              </a:cxnLst>
              <a:rect l="l" t="t" r="r" b="b"/>
              <a:pathLst>
                <a:path w="21671" h="11828">
                  <a:moveTo>
                    <a:pt x="12984" y="6466"/>
                  </a:moveTo>
                  <a:lnTo>
                    <a:pt x="-8688" y="6466"/>
                  </a:lnTo>
                  <a:lnTo>
                    <a:pt x="-8688" y="-5362"/>
                  </a:lnTo>
                  <a:lnTo>
                    <a:pt x="12984" y="-5362"/>
                  </a:lnTo>
                  <a:lnTo>
                    <a:pt x="12984" y="6466"/>
                  </a:lnTo>
                </a:path>
              </a:pathLst>
            </a:custGeom>
            <a:grpFill/>
            <a:ln w="548" cap="flat">
              <a:noFill/>
              <a:prstDash val="solid"/>
              <a:miter/>
            </a:ln>
          </p:spPr>
          <p:txBody>
            <a:bodyPr/>
            <a:lstStyle/>
            <a:p>
              <a:endParaRPr lang="en-US"/>
            </a:p>
          </p:txBody>
        </p:sp>
        <p:sp>
          <p:nvSpPr>
            <p:cNvPr id="377" name="Freeform: Shape 376">
              <a:extLst>
                <a:ext uri="{FF2B5EF4-FFF2-40B4-BE49-F238E27FC236}">
                  <a16:creationId xmlns:a16="http://schemas.microsoft.com/office/drawing/2014/main" id="{0AF29C2C-5B85-A3AA-4267-C745FDDB8025}"/>
                </a:ext>
              </a:extLst>
            </p:cNvPr>
            <p:cNvSpPr/>
            <p:nvPr/>
          </p:nvSpPr>
          <p:spPr>
            <a:xfrm flipV="1">
              <a:off x="23859931" y="3043454"/>
              <a:ext cx="830147" cy="1880156"/>
            </a:xfrm>
            <a:custGeom>
              <a:avLst/>
              <a:gdLst>
                <a:gd name="csX0" fmla="*/ 809319 w 830147"/>
                <a:gd name="csY0" fmla="*/ 544358 h 1880156"/>
                <a:gd name="csX1" fmla="*/ 809319 w 830147"/>
                <a:gd name="csY1" fmla="*/ 1047950 h 1880156"/>
                <a:gd name="csX2" fmla="*/ 819468 w 830147"/>
                <a:gd name="csY2" fmla="*/ 1047950 h 1880156"/>
                <a:gd name="csX3" fmla="*/ 819468 w 830147"/>
                <a:gd name="csY3" fmla="*/ 1059641 h 1880156"/>
                <a:gd name="csX4" fmla="*/ 789568 w 830147"/>
                <a:gd name="csY4" fmla="*/ 1059641 h 1880156"/>
                <a:gd name="csX5" fmla="*/ 789568 w 830147"/>
                <a:gd name="csY5" fmla="*/ 1182289 h 1880156"/>
                <a:gd name="csX6" fmla="*/ 794615 w 830147"/>
                <a:gd name="csY6" fmla="*/ 1182289 h 1880156"/>
                <a:gd name="csX7" fmla="*/ 794615 w 830147"/>
                <a:gd name="csY7" fmla="*/ 1192000 h 1880156"/>
                <a:gd name="csX8" fmla="*/ 746555 w 830147"/>
                <a:gd name="csY8" fmla="*/ 1192000 h 1880156"/>
                <a:gd name="csX9" fmla="*/ 746555 w 830147"/>
                <a:gd name="csY9" fmla="*/ 1720747 h 1880156"/>
                <a:gd name="csX10" fmla="*/ 749901 w 830147"/>
                <a:gd name="csY10" fmla="*/ 1720747 h 1880156"/>
                <a:gd name="csX11" fmla="*/ 749901 w 830147"/>
                <a:gd name="csY11" fmla="*/ 1729432 h 1880156"/>
                <a:gd name="csX12" fmla="*/ 707875 w 830147"/>
                <a:gd name="csY12" fmla="*/ 1729432 h 1880156"/>
                <a:gd name="csX13" fmla="*/ 707875 w 830147"/>
                <a:gd name="csY13" fmla="*/ 1720747 h 1880156"/>
                <a:gd name="csX14" fmla="*/ 707875 w 830147"/>
                <a:gd name="csY14" fmla="*/ 1192000 h 1880156"/>
                <a:gd name="csX15" fmla="*/ 700633 w 830147"/>
                <a:gd name="csY15" fmla="*/ 1192000 h 1880156"/>
                <a:gd name="csX16" fmla="*/ 700633 w 830147"/>
                <a:gd name="csY16" fmla="*/ 1777953 h 1880156"/>
                <a:gd name="csX17" fmla="*/ 710783 w 830147"/>
                <a:gd name="csY17" fmla="*/ 1777953 h 1880156"/>
                <a:gd name="csX18" fmla="*/ 710783 w 830147"/>
                <a:gd name="csY18" fmla="*/ 1791763 h 1880156"/>
                <a:gd name="csX19" fmla="*/ 651201 w 830147"/>
                <a:gd name="csY19" fmla="*/ 1791763 h 1880156"/>
                <a:gd name="csX20" fmla="*/ 651201 w 830147"/>
                <a:gd name="csY20" fmla="*/ 1844054 h 1880156"/>
                <a:gd name="csX21" fmla="*/ 651091 w 830147"/>
                <a:gd name="csY21" fmla="*/ 1844054 h 1880156"/>
                <a:gd name="csX22" fmla="*/ 651091 w 830147"/>
                <a:gd name="csY22" fmla="*/ 1873905 h 1880156"/>
                <a:gd name="csX23" fmla="*/ 161100 w 830147"/>
                <a:gd name="csY23" fmla="*/ 1873905 h 1880156"/>
                <a:gd name="csX24" fmla="*/ 161100 w 830147"/>
                <a:gd name="csY24" fmla="*/ 1844054 h 1880156"/>
                <a:gd name="csX25" fmla="*/ 161100 w 830147"/>
                <a:gd name="csY25" fmla="*/ 1791763 h 1880156"/>
                <a:gd name="csX26" fmla="*/ 101518 w 830147"/>
                <a:gd name="csY26" fmla="*/ 1791763 h 1880156"/>
                <a:gd name="csX27" fmla="*/ 101518 w 830147"/>
                <a:gd name="csY27" fmla="*/ 1777953 h 1880156"/>
                <a:gd name="csX28" fmla="*/ 111668 w 830147"/>
                <a:gd name="csY28" fmla="*/ 1777953 h 1880156"/>
                <a:gd name="csX29" fmla="*/ 111668 w 830147"/>
                <a:gd name="csY29" fmla="*/ 1192000 h 1880156"/>
                <a:gd name="csX30" fmla="*/ 104426 w 830147"/>
                <a:gd name="csY30" fmla="*/ 1192000 h 1880156"/>
                <a:gd name="csX31" fmla="*/ 104426 w 830147"/>
                <a:gd name="csY31" fmla="*/ 1720747 h 1880156"/>
                <a:gd name="csX32" fmla="*/ 104426 w 830147"/>
                <a:gd name="csY32" fmla="*/ 1729432 h 1880156"/>
                <a:gd name="csX33" fmla="*/ 62400 w 830147"/>
                <a:gd name="csY33" fmla="*/ 1729432 h 1880156"/>
                <a:gd name="csX34" fmla="*/ 62400 w 830147"/>
                <a:gd name="csY34" fmla="*/ 1720747 h 1880156"/>
                <a:gd name="csX35" fmla="*/ 65747 w 830147"/>
                <a:gd name="csY35" fmla="*/ 1720747 h 1880156"/>
                <a:gd name="csX36" fmla="*/ 65747 w 830147"/>
                <a:gd name="csY36" fmla="*/ 1192000 h 1880156"/>
                <a:gd name="csX37" fmla="*/ 17686 w 830147"/>
                <a:gd name="csY37" fmla="*/ 1192000 h 1880156"/>
                <a:gd name="csX38" fmla="*/ 17686 w 830147"/>
                <a:gd name="csY38" fmla="*/ 1182289 h 1880156"/>
                <a:gd name="csX39" fmla="*/ 22734 w 830147"/>
                <a:gd name="csY39" fmla="*/ 1182289 h 1880156"/>
                <a:gd name="csX40" fmla="*/ 22734 w 830147"/>
                <a:gd name="csY40" fmla="*/ 1059641 h 1880156"/>
                <a:gd name="csX41" fmla="*/ -7167 w 830147"/>
                <a:gd name="csY41" fmla="*/ 1059641 h 1880156"/>
                <a:gd name="csX42" fmla="*/ -7167 w 830147"/>
                <a:gd name="csY42" fmla="*/ 1047950 h 1880156"/>
                <a:gd name="csX43" fmla="*/ 2983 w 830147"/>
                <a:gd name="csY43" fmla="*/ 1047950 h 1880156"/>
                <a:gd name="csX44" fmla="*/ 2983 w 830147"/>
                <a:gd name="csY44" fmla="*/ 544358 h 1880156"/>
                <a:gd name="csX45" fmla="*/ -8923 w 830147"/>
                <a:gd name="csY45" fmla="*/ 544358 h 1880156"/>
                <a:gd name="csX46" fmla="*/ -8923 w 830147"/>
                <a:gd name="csY46" fmla="*/ 530593 h 1880156"/>
                <a:gd name="csX47" fmla="*/ 2983 w 830147"/>
                <a:gd name="csY47" fmla="*/ 530593 h 1880156"/>
                <a:gd name="csX48" fmla="*/ 2983 w 830147"/>
                <a:gd name="csY48" fmla="*/ 184171 h 1880156"/>
                <a:gd name="csX49" fmla="*/ 2983 w 830147"/>
                <a:gd name="csY49" fmla="*/ 67162 h 1880156"/>
                <a:gd name="csX50" fmla="*/ 2983 w 830147"/>
                <a:gd name="csY50" fmla="*/ 50187 h 1880156"/>
                <a:gd name="csX51" fmla="*/ 2983 w 830147"/>
                <a:gd name="csY51" fmla="*/ -2559 h 1880156"/>
                <a:gd name="csX52" fmla="*/ 2983 w 830147"/>
                <a:gd name="csY52" fmla="*/ -6251 h 1880156"/>
                <a:gd name="csX53" fmla="*/ 20594 w 830147"/>
                <a:gd name="csY53" fmla="*/ -6251 h 1880156"/>
                <a:gd name="csX54" fmla="*/ 33707 w 830147"/>
                <a:gd name="csY54" fmla="*/ -6251 h 1880156"/>
                <a:gd name="csX55" fmla="*/ 36120 w 830147"/>
                <a:gd name="csY55" fmla="*/ -6251 h 1880156"/>
                <a:gd name="csX56" fmla="*/ 52086 w 830147"/>
                <a:gd name="csY56" fmla="*/ -6251 h 1880156"/>
                <a:gd name="csX57" fmla="*/ 54500 w 830147"/>
                <a:gd name="csY57" fmla="*/ -6251 h 1880156"/>
                <a:gd name="csX58" fmla="*/ 70410 w 830147"/>
                <a:gd name="csY58" fmla="*/ -6251 h 1880156"/>
                <a:gd name="csX59" fmla="*/ 72825 w 830147"/>
                <a:gd name="csY59" fmla="*/ -6251 h 1880156"/>
                <a:gd name="csX60" fmla="*/ 88790 w 830147"/>
                <a:gd name="csY60" fmla="*/ -6251 h 1880156"/>
                <a:gd name="csX61" fmla="*/ 91204 w 830147"/>
                <a:gd name="csY61" fmla="*/ -6251 h 1880156"/>
                <a:gd name="csX62" fmla="*/ 106566 w 830147"/>
                <a:gd name="csY62" fmla="*/ -6251 h 1880156"/>
                <a:gd name="csX63" fmla="*/ 124177 w 830147"/>
                <a:gd name="csY63" fmla="*/ -6251 h 1880156"/>
                <a:gd name="csX64" fmla="*/ 138442 w 830147"/>
                <a:gd name="csY64" fmla="*/ -6251 h 1880156"/>
                <a:gd name="csX65" fmla="*/ 140856 w 830147"/>
                <a:gd name="csY65" fmla="*/ -6251 h 1880156"/>
                <a:gd name="csX66" fmla="*/ 156821 w 830147"/>
                <a:gd name="csY66" fmla="*/ -6251 h 1880156"/>
                <a:gd name="csX67" fmla="*/ 159235 w 830147"/>
                <a:gd name="csY67" fmla="*/ -6251 h 1880156"/>
                <a:gd name="csX68" fmla="*/ 175201 w 830147"/>
                <a:gd name="csY68" fmla="*/ -6251 h 1880156"/>
                <a:gd name="csX69" fmla="*/ 177560 w 830147"/>
                <a:gd name="csY69" fmla="*/ -6251 h 1880156"/>
                <a:gd name="csX70" fmla="*/ 193525 w 830147"/>
                <a:gd name="csY70" fmla="*/ -6251 h 1880156"/>
                <a:gd name="csX71" fmla="*/ 195939 w 830147"/>
                <a:gd name="csY71" fmla="*/ -6251 h 1880156"/>
                <a:gd name="csX72" fmla="*/ 210204 w 830147"/>
                <a:gd name="csY72" fmla="*/ -6251 h 1880156"/>
                <a:gd name="csX73" fmla="*/ 227815 w 830147"/>
                <a:gd name="csY73" fmla="*/ -6251 h 1880156"/>
                <a:gd name="csX74" fmla="*/ 243232 w 830147"/>
                <a:gd name="csY74" fmla="*/ -6251 h 1880156"/>
                <a:gd name="csX75" fmla="*/ 245591 w 830147"/>
                <a:gd name="csY75" fmla="*/ -6251 h 1880156"/>
                <a:gd name="csX76" fmla="*/ 261557 w 830147"/>
                <a:gd name="csY76" fmla="*/ -6251 h 1880156"/>
                <a:gd name="csX77" fmla="*/ 263970 w 830147"/>
                <a:gd name="csY77" fmla="*/ -6251 h 1880156"/>
                <a:gd name="csX78" fmla="*/ 279936 w 830147"/>
                <a:gd name="csY78" fmla="*/ -6251 h 1880156"/>
                <a:gd name="csX79" fmla="*/ 282350 w 830147"/>
                <a:gd name="csY79" fmla="*/ -6251 h 1880156"/>
                <a:gd name="csX80" fmla="*/ 298260 w 830147"/>
                <a:gd name="csY80" fmla="*/ -6251 h 1880156"/>
                <a:gd name="csX81" fmla="*/ 300675 w 830147"/>
                <a:gd name="csY81" fmla="*/ -6251 h 1880156"/>
                <a:gd name="csX82" fmla="*/ 313787 w 830147"/>
                <a:gd name="csY82" fmla="*/ -6251 h 1880156"/>
                <a:gd name="csX83" fmla="*/ 320316 w 830147"/>
                <a:gd name="csY83" fmla="*/ -6251 h 1880156"/>
                <a:gd name="csX84" fmla="*/ 331399 w 830147"/>
                <a:gd name="csY84" fmla="*/ -6251 h 1880156"/>
                <a:gd name="csX85" fmla="*/ 480738 w 830147"/>
                <a:gd name="csY85" fmla="*/ -6251 h 1880156"/>
                <a:gd name="csX86" fmla="*/ 480738 w 830147"/>
                <a:gd name="csY86" fmla="*/ 50187 h 1880156"/>
                <a:gd name="csX87" fmla="*/ 480738 w 830147"/>
                <a:gd name="csY87" fmla="*/ 67162 h 1880156"/>
                <a:gd name="csX88" fmla="*/ 480738 w 830147"/>
                <a:gd name="csY88" fmla="*/ 186996 h 1880156"/>
                <a:gd name="csX89" fmla="*/ 480738 w 830147"/>
                <a:gd name="csY89" fmla="*/ 251439 h 1880156"/>
                <a:gd name="csX90" fmla="*/ 480738 w 830147"/>
                <a:gd name="csY90" fmla="*/ 1380892 h 1880156"/>
                <a:gd name="csX91" fmla="*/ 480903 w 830147"/>
                <a:gd name="csY91" fmla="*/ 1380892 h 1880156"/>
                <a:gd name="csX92" fmla="*/ 480903 w 830147"/>
                <a:gd name="csY92" fmla="*/ 1366188 h 1880156"/>
                <a:gd name="csX93" fmla="*/ 637430 w 830147"/>
                <a:gd name="csY93" fmla="*/ 1366188 h 1880156"/>
                <a:gd name="csX94" fmla="*/ 637430 w 830147"/>
                <a:gd name="csY94" fmla="*/ 1192000 h 1880156"/>
                <a:gd name="csX95" fmla="*/ 637430 w 830147"/>
                <a:gd name="csY95" fmla="*/ 1182289 h 1880156"/>
                <a:gd name="csX96" fmla="*/ 637430 w 830147"/>
                <a:gd name="csY96" fmla="*/ 544358 h 1880156"/>
                <a:gd name="csX97" fmla="*/ 480903 w 830147"/>
                <a:gd name="csY97" fmla="*/ 544358 h 1880156"/>
                <a:gd name="csX98" fmla="*/ 480903 w 830147"/>
                <a:gd name="csY98" fmla="*/ 530593 h 1880156"/>
                <a:gd name="csX99" fmla="*/ 645111 w 830147"/>
                <a:gd name="csY99" fmla="*/ 530593 h 1880156"/>
                <a:gd name="csX100" fmla="*/ 645111 w 830147"/>
                <a:gd name="csY100" fmla="*/ 184171 h 1880156"/>
                <a:gd name="csX101" fmla="*/ 610931 w 830147"/>
                <a:gd name="csY101" fmla="*/ 184171 h 1880156"/>
                <a:gd name="csX102" fmla="*/ 480903 w 830147"/>
                <a:gd name="csY102" fmla="*/ 184171 h 1880156"/>
                <a:gd name="csX103" fmla="*/ 480903 w 830147"/>
                <a:gd name="csY103" fmla="*/ 119727 h 1880156"/>
                <a:gd name="csX104" fmla="*/ 488968 w 830147"/>
                <a:gd name="csY104" fmla="*/ 119727 h 1880156"/>
                <a:gd name="csX105" fmla="*/ 488968 w 830147"/>
                <a:gd name="csY105" fmla="*/ 67162 h 1880156"/>
                <a:gd name="csX106" fmla="*/ 480903 w 830147"/>
                <a:gd name="csY106" fmla="*/ 67162 h 1880156"/>
                <a:gd name="csX107" fmla="*/ 480903 w 830147"/>
                <a:gd name="csY107" fmla="*/ 50187 h 1880156"/>
                <a:gd name="csX108" fmla="*/ 480903 w 830147"/>
                <a:gd name="csY108" fmla="*/ -6251 h 1880156"/>
                <a:gd name="csX109" fmla="*/ 491986 w 830147"/>
                <a:gd name="csY109" fmla="*/ -6251 h 1880156"/>
                <a:gd name="csX110" fmla="*/ 511627 w 830147"/>
                <a:gd name="csY110" fmla="*/ -6251 h 1880156"/>
                <a:gd name="csX111" fmla="*/ 514041 w 830147"/>
                <a:gd name="csY111" fmla="*/ -6251 h 1880156"/>
                <a:gd name="csX112" fmla="*/ 529952 w 830147"/>
                <a:gd name="csY112" fmla="*/ -6251 h 1880156"/>
                <a:gd name="csX113" fmla="*/ 532365 w 830147"/>
                <a:gd name="csY113" fmla="*/ -6251 h 1880156"/>
                <a:gd name="csX114" fmla="*/ 548331 w 830147"/>
                <a:gd name="csY114" fmla="*/ -6251 h 1880156"/>
                <a:gd name="csX115" fmla="*/ 550745 w 830147"/>
                <a:gd name="csY115" fmla="*/ -6251 h 1880156"/>
                <a:gd name="csX116" fmla="*/ 566710 w 830147"/>
                <a:gd name="csY116" fmla="*/ -6251 h 1880156"/>
                <a:gd name="csX117" fmla="*/ 569070 w 830147"/>
                <a:gd name="csY117" fmla="*/ -6251 h 1880156"/>
                <a:gd name="csX118" fmla="*/ 584486 w 830147"/>
                <a:gd name="csY118" fmla="*/ -6251 h 1880156"/>
                <a:gd name="csX119" fmla="*/ 602098 w 830147"/>
                <a:gd name="csY119" fmla="*/ -6251 h 1880156"/>
                <a:gd name="csX120" fmla="*/ 616362 w 830147"/>
                <a:gd name="csY120" fmla="*/ -6251 h 1880156"/>
                <a:gd name="csX121" fmla="*/ 618776 w 830147"/>
                <a:gd name="csY121" fmla="*/ -6251 h 1880156"/>
                <a:gd name="csX122" fmla="*/ 634742 w 830147"/>
                <a:gd name="csY122" fmla="*/ -6251 h 1880156"/>
                <a:gd name="csX123" fmla="*/ 637101 w 830147"/>
                <a:gd name="csY123" fmla="*/ -6251 h 1880156"/>
                <a:gd name="csX124" fmla="*/ 653066 w 830147"/>
                <a:gd name="csY124" fmla="*/ -6251 h 1880156"/>
                <a:gd name="csX125" fmla="*/ 655480 w 830147"/>
                <a:gd name="csY125" fmla="*/ -6251 h 1880156"/>
                <a:gd name="csX126" fmla="*/ 671446 w 830147"/>
                <a:gd name="csY126" fmla="*/ -6251 h 1880156"/>
                <a:gd name="csX127" fmla="*/ 673805 w 830147"/>
                <a:gd name="csY127" fmla="*/ -6251 h 1880156"/>
                <a:gd name="csX128" fmla="*/ 688124 w 830147"/>
                <a:gd name="csY128" fmla="*/ -6251 h 1880156"/>
                <a:gd name="csX129" fmla="*/ 705736 w 830147"/>
                <a:gd name="csY129" fmla="*/ -6251 h 1880156"/>
                <a:gd name="csX130" fmla="*/ 721097 w 830147"/>
                <a:gd name="csY130" fmla="*/ -6251 h 1880156"/>
                <a:gd name="csX131" fmla="*/ 723512 w 830147"/>
                <a:gd name="csY131" fmla="*/ -6251 h 1880156"/>
                <a:gd name="csX132" fmla="*/ 739477 w 830147"/>
                <a:gd name="csY132" fmla="*/ -6251 h 1880156"/>
                <a:gd name="csX133" fmla="*/ 741891 w 830147"/>
                <a:gd name="csY133" fmla="*/ -6251 h 1880156"/>
                <a:gd name="csX134" fmla="*/ 757802 w 830147"/>
                <a:gd name="csY134" fmla="*/ -6251 h 1880156"/>
                <a:gd name="csX135" fmla="*/ 760215 w 830147"/>
                <a:gd name="csY135" fmla="*/ -6251 h 1880156"/>
                <a:gd name="csX136" fmla="*/ 776181 w 830147"/>
                <a:gd name="csY136" fmla="*/ -6251 h 1880156"/>
                <a:gd name="csX137" fmla="*/ 778595 w 830147"/>
                <a:gd name="csY137" fmla="*/ -6251 h 1880156"/>
                <a:gd name="csX138" fmla="*/ 791708 w 830147"/>
                <a:gd name="csY138" fmla="*/ -6251 h 1880156"/>
                <a:gd name="csX139" fmla="*/ 809319 w 830147"/>
                <a:gd name="csY139" fmla="*/ -6251 h 1880156"/>
                <a:gd name="csX140" fmla="*/ 809319 w 830147"/>
                <a:gd name="csY140" fmla="*/ -2559 h 1880156"/>
                <a:gd name="csX141" fmla="*/ 809319 w 830147"/>
                <a:gd name="csY141" fmla="*/ 50187 h 1880156"/>
                <a:gd name="csX142" fmla="*/ 809319 w 830147"/>
                <a:gd name="csY142" fmla="*/ 67162 h 1880156"/>
                <a:gd name="csX143" fmla="*/ 809319 w 830147"/>
                <a:gd name="csY143" fmla="*/ 184171 h 1880156"/>
                <a:gd name="csX144" fmla="*/ 809319 w 830147"/>
                <a:gd name="csY144" fmla="*/ 530593 h 1880156"/>
                <a:gd name="csX145" fmla="*/ 821224 w 830147"/>
                <a:gd name="csY145" fmla="*/ 530593 h 1880156"/>
                <a:gd name="csX146" fmla="*/ 821224 w 830147"/>
                <a:gd name="csY146" fmla="*/ 544358 h 1880156"/>
                <a:gd name="csX147" fmla="*/ 581194 w 830147"/>
                <a:gd name="csY147" fmla="*/ 1791763 h 1880156"/>
                <a:gd name="csX148" fmla="*/ 574666 w 830147"/>
                <a:gd name="csY148" fmla="*/ 1791763 h 1880156"/>
                <a:gd name="csX149" fmla="*/ 574666 w 830147"/>
                <a:gd name="csY149" fmla="*/ 1815799 h 1880156"/>
                <a:gd name="csX150" fmla="*/ 581194 w 830147"/>
                <a:gd name="csY150" fmla="*/ 1815799 h 1880156"/>
                <a:gd name="csX151" fmla="*/ 583608 w 830147"/>
                <a:gd name="csY151" fmla="*/ 1815799 h 1880156"/>
                <a:gd name="csX152" fmla="*/ 590192 w 830147"/>
                <a:gd name="csY152" fmla="*/ 1815799 h 1880156"/>
                <a:gd name="csX153" fmla="*/ 590192 w 830147"/>
                <a:gd name="csY153" fmla="*/ 1791763 h 1880156"/>
                <a:gd name="csX154" fmla="*/ 583608 w 830147"/>
                <a:gd name="csY154" fmla="*/ 1791763 h 1880156"/>
                <a:gd name="csX155" fmla="*/ 613784 w 830147"/>
                <a:gd name="csY155" fmla="*/ 1791763 h 1880156"/>
                <a:gd name="csX156" fmla="*/ 607200 w 830147"/>
                <a:gd name="csY156" fmla="*/ 1791763 h 1880156"/>
                <a:gd name="csX157" fmla="*/ 607200 w 830147"/>
                <a:gd name="csY157" fmla="*/ 1815799 h 1880156"/>
                <a:gd name="csX158" fmla="*/ 613784 w 830147"/>
                <a:gd name="csY158" fmla="*/ 1815799 h 1880156"/>
                <a:gd name="csX159" fmla="*/ 616197 w 830147"/>
                <a:gd name="csY159" fmla="*/ 1815799 h 1880156"/>
                <a:gd name="csX160" fmla="*/ 622726 w 830147"/>
                <a:gd name="csY160" fmla="*/ 1815799 h 1880156"/>
                <a:gd name="csX161" fmla="*/ 622726 w 830147"/>
                <a:gd name="csY161" fmla="*/ 1791763 h 1880156"/>
                <a:gd name="csX162" fmla="*/ 616197 w 830147"/>
                <a:gd name="csY162" fmla="*/ 1791763 h 1880156"/>
                <a:gd name="csX163" fmla="*/ 419894 w 830147"/>
                <a:gd name="csY163" fmla="*/ 1844054 h 1880156"/>
                <a:gd name="csX164" fmla="*/ 419894 w 830147"/>
                <a:gd name="csY164" fmla="*/ 1205865 h 1880156"/>
                <a:gd name="csX165" fmla="*/ 392298 w 830147"/>
                <a:gd name="csY165" fmla="*/ 1205865 h 1880156"/>
                <a:gd name="csX166" fmla="*/ 392298 w 830147"/>
                <a:gd name="csY166" fmla="*/ 1844054 h 1880156"/>
                <a:gd name="csX167" fmla="*/ 388841 w 830147"/>
                <a:gd name="csY167" fmla="*/ 1196127 h 1880156"/>
                <a:gd name="csX168" fmla="*/ 388841 w 830147"/>
                <a:gd name="csY168" fmla="*/ 1156970 h 1880156"/>
                <a:gd name="csX169" fmla="*/ 357623 w 830147"/>
                <a:gd name="csY169" fmla="*/ 1156970 h 1880156"/>
                <a:gd name="csX170" fmla="*/ 357623 w 830147"/>
                <a:gd name="csY170" fmla="*/ 1196127 h 1880156"/>
                <a:gd name="csX171" fmla="*/ 357623 w 830147"/>
                <a:gd name="csY171" fmla="*/ 283497 h 1880156"/>
                <a:gd name="csX172" fmla="*/ 388841 w 830147"/>
                <a:gd name="csY172" fmla="*/ 283497 h 1880156"/>
                <a:gd name="csX173" fmla="*/ 388841 w 830147"/>
                <a:gd name="csY173" fmla="*/ 269654 h 1880156"/>
                <a:gd name="csX174" fmla="*/ 357623 w 830147"/>
                <a:gd name="csY174" fmla="*/ 269654 h 1880156"/>
                <a:gd name="csX175" fmla="*/ 421266 w 830147"/>
                <a:gd name="csY175" fmla="*/ 1084379 h 1880156"/>
                <a:gd name="csX176" fmla="*/ 391255 w 830147"/>
                <a:gd name="csY176" fmla="*/ 1084379 h 1880156"/>
                <a:gd name="csX177" fmla="*/ 391255 w 830147"/>
                <a:gd name="csY177" fmla="*/ 1123530 h 1880156"/>
                <a:gd name="csX178" fmla="*/ 421266 w 830147"/>
                <a:gd name="csY178" fmla="*/ 1123530 h 1880156"/>
                <a:gd name="csX179" fmla="*/ 421266 w 830147"/>
                <a:gd name="csY179" fmla="*/ 1011789 h 1880156"/>
                <a:gd name="csX180" fmla="*/ 391255 w 830147"/>
                <a:gd name="csY180" fmla="*/ 1011789 h 1880156"/>
                <a:gd name="csX181" fmla="*/ 391255 w 830147"/>
                <a:gd name="csY181" fmla="*/ 1050945 h 1880156"/>
                <a:gd name="csX182" fmla="*/ 421266 w 830147"/>
                <a:gd name="csY182" fmla="*/ 1050945 h 1880156"/>
                <a:gd name="csX183" fmla="*/ 421266 w 830147"/>
                <a:gd name="csY183" fmla="*/ 939204 h 1880156"/>
                <a:gd name="csX184" fmla="*/ 391255 w 830147"/>
                <a:gd name="csY184" fmla="*/ 939204 h 1880156"/>
                <a:gd name="csX185" fmla="*/ 391255 w 830147"/>
                <a:gd name="csY185" fmla="*/ 978354 h 1880156"/>
                <a:gd name="csX186" fmla="*/ 421266 w 830147"/>
                <a:gd name="csY186" fmla="*/ 978354 h 1880156"/>
                <a:gd name="csX187" fmla="*/ 421266 w 830147"/>
                <a:gd name="csY187" fmla="*/ 866613 h 1880156"/>
                <a:gd name="csX188" fmla="*/ 391255 w 830147"/>
                <a:gd name="csY188" fmla="*/ 866613 h 1880156"/>
                <a:gd name="csX189" fmla="*/ 391255 w 830147"/>
                <a:gd name="csY189" fmla="*/ 905770 h 1880156"/>
                <a:gd name="csX190" fmla="*/ 421266 w 830147"/>
                <a:gd name="csY190" fmla="*/ 905770 h 1880156"/>
                <a:gd name="csX191" fmla="*/ 421266 w 830147"/>
                <a:gd name="csY191" fmla="*/ 794022 h 1880156"/>
                <a:gd name="csX192" fmla="*/ 391255 w 830147"/>
                <a:gd name="csY192" fmla="*/ 794022 h 1880156"/>
                <a:gd name="csX193" fmla="*/ 391255 w 830147"/>
                <a:gd name="csY193" fmla="*/ 833179 h 1880156"/>
                <a:gd name="csX194" fmla="*/ 421266 w 830147"/>
                <a:gd name="csY194" fmla="*/ 833179 h 1880156"/>
                <a:gd name="csX195" fmla="*/ 421266 w 830147"/>
                <a:gd name="csY195" fmla="*/ 721432 h 1880156"/>
                <a:gd name="csX196" fmla="*/ 391255 w 830147"/>
                <a:gd name="csY196" fmla="*/ 721432 h 1880156"/>
                <a:gd name="csX197" fmla="*/ 391255 w 830147"/>
                <a:gd name="csY197" fmla="*/ 760588 h 1880156"/>
                <a:gd name="csX198" fmla="*/ 421266 w 830147"/>
                <a:gd name="csY198" fmla="*/ 760588 h 1880156"/>
                <a:gd name="csX199" fmla="*/ 421266 w 830147"/>
                <a:gd name="csY199" fmla="*/ 648841 h 1880156"/>
                <a:gd name="csX200" fmla="*/ 391255 w 830147"/>
                <a:gd name="csY200" fmla="*/ 648841 h 1880156"/>
                <a:gd name="csX201" fmla="*/ 391255 w 830147"/>
                <a:gd name="csY201" fmla="*/ 687998 h 1880156"/>
                <a:gd name="csX202" fmla="*/ 421266 w 830147"/>
                <a:gd name="csY202" fmla="*/ 687998 h 1880156"/>
                <a:gd name="csX203" fmla="*/ 421266 w 830147"/>
                <a:gd name="csY203" fmla="*/ 576251 h 1880156"/>
                <a:gd name="csX204" fmla="*/ 391255 w 830147"/>
                <a:gd name="csY204" fmla="*/ 576251 h 1880156"/>
                <a:gd name="csX205" fmla="*/ 391255 w 830147"/>
                <a:gd name="csY205" fmla="*/ 615402 h 1880156"/>
                <a:gd name="csX206" fmla="*/ 421266 w 830147"/>
                <a:gd name="csY206" fmla="*/ 615402 h 1880156"/>
                <a:gd name="csX207" fmla="*/ 421266 w 830147"/>
                <a:gd name="csY207" fmla="*/ 503666 h 1880156"/>
                <a:gd name="csX208" fmla="*/ 391255 w 830147"/>
                <a:gd name="csY208" fmla="*/ 503666 h 1880156"/>
                <a:gd name="csX209" fmla="*/ 391255 w 830147"/>
                <a:gd name="csY209" fmla="*/ 542817 h 1880156"/>
                <a:gd name="csX210" fmla="*/ 421266 w 830147"/>
                <a:gd name="csY210" fmla="*/ 542817 h 1880156"/>
                <a:gd name="csX211" fmla="*/ 421266 w 830147"/>
                <a:gd name="csY211" fmla="*/ 431075 h 1880156"/>
                <a:gd name="csX212" fmla="*/ 391255 w 830147"/>
                <a:gd name="csY212" fmla="*/ 431075 h 1880156"/>
                <a:gd name="csX213" fmla="*/ 391255 w 830147"/>
                <a:gd name="csY213" fmla="*/ 470232 h 1880156"/>
                <a:gd name="csX214" fmla="*/ 421266 w 830147"/>
                <a:gd name="csY214" fmla="*/ 470232 h 1880156"/>
                <a:gd name="csX215" fmla="*/ 421266 w 830147"/>
                <a:gd name="csY215" fmla="*/ 358485 h 1880156"/>
                <a:gd name="csX216" fmla="*/ 391255 w 830147"/>
                <a:gd name="csY216" fmla="*/ 358485 h 1880156"/>
                <a:gd name="csX217" fmla="*/ 391255 w 830147"/>
                <a:gd name="csY217" fmla="*/ 397641 h 1880156"/>
                <a:gd name="csX218" fmla="*/ 421266 w 830147"/>
                <a:gd name="csY218" fmla="*/ 397641 h 1880156"/>
                <a:gd name="csX219" fmla="*/ 391255 w 830147"/>
                <a:gd name="csY219" fmla="*/ 356081 h 1880156"/>
                <a:gd name="csX220" fmla="*/ 421266 w 830147"/>
                <a:gd name="csY220" fmla="*/ 356081 h 1880156"/>
                <a:gd name="csX221" fmla="*/ 421266 w 830147"/>
                <a:gd name="csY221" fmla="*/ 342245 h 1880156"/>
                <a:gd name="csX222" fmla="*/ 391255 w 830147"/>
                <a:gd name="csY222" fmla="*/ 342245 h 1880156"/>
                <a:gd name="csX223" fmla="*/ 391255 w 830147"/>
                <a:gd name="csY223" fmla="*/ 414836 h 1880156"/>
                <a:gd name="csX224" fmla="*/ 391255 w 830147"/>
                <a:gd name="csY224" fmla="*/ 428672 h 1880156"/>
                <a:gd name="csX225" fmla="*/ 421266 w 830147"/>
                <a:gd name="csY225" fmla="*/ 428672 h 1880156"/>
                <a:gd name="csX226" fmla="*/ 421266 w 830147"/>
                <a:gd name="csY226" fmla="*/ 414836 h 1880156"/>
                <a:gd name="csX227" fmla="*/ 391255 w 830147"/>
                <a:gd name="csY227" fmla="*/ 487421 h 1880156"/>
                <a:gd name="csX228" fmla="*/ 391255 w 830147"/>
                <a:gd name="csY228" fmla="*/ 501263 h 1880156"/>
                <a:gd name="csX229" fmla="*/ 421266 w 830147"/>
                <a:gd name="csY229" fmla="*/ 501263 h 1880156"/>
                <a:gd name="csX230" fmla="*/ 421266 w 830147"/>
                <a:gd name="csY230" fmla="*/ 487421 h 1880156"/>
                <a:gd name="csX231" fmla="*/ 391255 w 830147"/>
                <a:gd name="csY231" fmla="*/ 560011 h 1880156"/>
                <a:gd name="csX232" fmla="*/ 391255 w 830147"/>
                <a:gd name="csY232" fmla="*/ 573848 h 1880156"/>
                <a:gd name="csX233" fmla="*/ 421266 w 830147"/>
                <a:gd name="csY233" fmla="*/ 573848 h 1880156"/>
                <a:gd name="csX234" fmla="*/ 421266 w 830147"/>
                <a:gd name="csY234" fmla="*/ 560011 h 1880156"/>
                <a:gd name="csX235" fmla="*/ 391255 w 830147"/>
                <a:gd name="csY235" fmla="*/ 632602 h 1880156"/>
                <a:gd name="csX236" fmla="*/ 391255 w 830147"/>
                <a:gd name="csY236" fmla="*/ 646438 h 1880156"/>
                <a:gd name="csX237" fmla="*/ 421266 w 830147"/>
                <a:gd name="csY237" fmla="*/ 646438 h 1880156"/>
                <a:gd name="csX238" fmla="*/ 421266 w 830147"/>
                <a:gd name="csY238" fmla="*/ 632602 h 1880156"/>
                <a:gd name="csX239" fmla="*/ 391255 w 830147"/>
                <a:gd name="csY239" fmla="*/ 705192 h 1880156"/>
                <a:gd name="csX240" fmla="*/ 391255 w 830147"/>
                <a:gd name="csY240" fmla="*/ 719029 h 1880156"/>
                <a:gd name="csX241" fmla="*/ 421266 w 830147"/>
                <a:gd name="csY241" fmla="*/ 719029 h 1880156"/>
                <a:gd name="csX242" fmla="*/ 421266 w 830147"/>
                <a:gd name="csY242" fmla="*/ 705192 h 1880156"/>
                <a:gd name="csX243" fmla="*/ 391255 w 830147"/>
                <a:gd name="csY243" fmla="*/ 777777 h 1880156"/>
                <a:gd name="csX244" fmla="*/ 391255 w 830147"/>
                <a:gd name="csY244" fmla="*/ 791619 h 1880156"/>
                <a:gd name="csX245" fmla="*/ 421266 w 830147"/>
                <a:gd name="csY245" fmla="*/ 791619 h 1880156"/>
                <a:gd name="csX246" fmla="*/ 421266 w 830147"/>
                <a:gd name="csY246" fmla="*/ 777777 h 1880156"/>
                <a:gd name="csX247" fmla="*/ 391255 w 830147"/>
                <a:gd name="csY247" fmla="*/ 850368 h 1880156"/>
                <a:gd name="csX248" fmla="*/ 391255 w 830147"/>
                <a:gd name="csY248" fmla="*/ 864210 h 1880156"/>
                <a:gd name="csX249" fmla="*/ 421266 w 830147"/>
                <a:gd name="csY249" fmla="*/ 864210 h 1880156"/>
                <a:gd name="csX250" fmla="*/ 421266 w 830147"/>
                <a:gd name="csY250" fmla="*/ 850368 h 1880156"/>
                <a:gd name="csX251" fmla="*/ 391255 w 830147"/>
                <a:gd name="csY251" fmla="*/ 922953 h 1880156"/>
                <a:gd name="csX252" fmla="*/ 391255 w 830147"/>
                <a:gd name="csY252" fmla="*/ 936801 h 1880156"/>
                <a:gd name="csX253" fmla="*/ 421266 w 830147"/>
                <a:gd name="csY253" fmla="*/ 936801 h 1880156"/>
                <a:gd name="csX254" fmla="*/ 421266 w 830147"/>
                <a:gd name="csY254" fmla="*/ 922953 h 1880156"/>
                <a:gd name="csX255" fmla="*/ 391255 w 830147"/>
                <a:gd name="csY255" fmla="*/ 995549 h 1880156"/>
                <a:gd name="csX256" fmla="*/ 391255 w 830147"/>
                <a:gd name="csY256" fmla="*/ 1009386 h 1880156"/>
                <a:gd name="csX257" fmla="*/ 421266 w 830147"/>
                <a:gd name="csY257" fmla="*/ 1009386 h 1880156"/>
                <a:gd name="csX258" fmla="*/ 421266 w 830147"/>
                <a:gd name="csY258" fmla="*/ 995549 h 1880156"/>
                <a:gd name="csX259" fmla="*/ 391255 w 830147"/>
                <a:gd name="csY259" fmla="*/ 1068140 h 1880156"/>
                <a:gd name="csX260" fmla="*/ 391255 w 830147"/>
                <a:gd name="csY260" fmla="*/ 1081971 h 1880156"/>
                <a:gd name="csX261" fmla="*/ 421266 w 830147"/>
                <a:gd name="csY261" fmla="*/ 1081971 h 1880156"/>
                <a:gd name="csX262" fmla="*/ 421266 w 830147"/>
                <a:gd name="csY262" fmla="*/ 1068140 h 1880156"/>
                <a:gd name="csX263" fmla="*/ 391255 w 830147"/>
                <a:gd name="csY263" fmla="*/ 285894 h 1880156"/>
                <a:gd name="csX264" fmla="*/ 391255 w 830147"/>
                <a:gd name="csY264" fmla="*/ 325050 h 1880156"/>
                <a:gd name="csX265" fmla="*/ 421266 w 830147"/>
                <a:gd name="csY265" fmla="*/ 325050 h 1880156"/>
                <a:gd name="csX266" fmla="*/ 421266 w 830147"/>
                <a:gd name="csY266" fmla="*/ 285894 h 1880156"/>
                <a:gd name="csX267" fmla="*/ 421266 w 830147"/>
                <a:gd name="csY267" fmla="*/ 1140725 h 1880156"/>
                <a:gd name="csX268" fmla="*/ 391255 w 830147"/>
                <a:gd name="csY268" fmla="*/ 1140725 h 1880156"/>
                <a:gd name="csX269" fmla="*/ 391255 w 830147"/>
                <a:gd name="csY269" fmla="*/ 1154567 h 1880156"/>
                <a:gd name="csX270" fmla="*/ 421266 w 830147"/>
                <a:gd name="csY270" fmla="*/ 1154567 h 1880156"/>
                <a:gd name="csX271" fmla="*/ 388841 w 830147"/>
                <a:gd name="csY271" fmla="*/ 1154567 h 1880156"/>
                <a:gd name="csX272" fmla="*/ 388841 w 830147"/>
                <a:gd name="csY272" fmla="*/ 1140725 h 1880156"/>
                <a:gd name="csX273" fmla="*/ 357623 w 830147"/>
                <a:gd name="csY273" fmla="*/ 1140725 h 1880156"/>
                <a:gd name="csX274" fmla="*/ 357623 w 830147"/>
                <a:gd name="csY274" fmla="*/ 1154567 h 1880156"/>
                <a:gd name="csX275" fmla="*/ 357623 w 830147"/>
                <a:gd name="csY275" fmla="*/ 1123530 h 1880156"/>
                <a:gd name="csX276" fmla="*/ 388841 w 830147"/>
                <a:gd name="csY276" fmla="*/ 1123530 h 1880156"/>
                <a:gd name="csX277" fmla="*/ 388841 w 830147"/>
                <a:gd name="csY277" fmla="*/ 1084379 h 1880156"/>
                <a:gd name="csX278" fmla="*/ 357623 w 830147"/>
                <a:gd name="csY278" fmla="*/ 1084379 h 1880156"/>
                <a:gd name="csX279" fmla="*/ 388841 w 830147"/>
                <a:gd name="csY279" fmla="*/ 1081971 h 1880156"/>
                <a:gd name="csX280" fmla="*/ 388841 w 830147"/>
                <a:gd name="csY280" fmla="*/ 1068140 h 1880156"/>
                <a:gd name="csX281" fmla="*/ 357623 w 830147"/>
                <a:gd name="csY281" fmla="*/ 1068140 h 1880156"/>
                <a:gd name="csX282" fmla="*/ 357623 w 830147"/>
                <a:gd name="csY282" fmla="*/ 1081971 h 1880156"/>
                <a:gd name="csX283" fmla="*/ 357623 w 830147"/>
                <a:gd name="csY283" fmla="*/ 1050945 h 1880156"/>
                <a:gd name="csX284" fmla="*/ 388841 w 830147"/>
                <a:gd name="csY284" fmla="*/ 1050945 h 1880156"/>
                <a:gd name="csX285" fmla="*/ 388841 w 830147"/>
                <a:gd name="csY285" fmla="*/ 1011789 h 1880156"/>
                <a:gd name="csX286" fmla="*/ 357623 w 830147"/>
                <a:gd name="csY286" fmla="*/ 1011789 h 1880156"/>
                <a:gd name="csX287" fmla="*/ 388841 w 830147"/>
                <a:gd name="csY287" fmla="*/ 1009386 h 1880156"/>
                <a:gd name="csX288" fmla="*/ 388841 w 830147"/>
                <a:gd name="csY288" fmla="*/ 995549 h 1880156"/>
                <a:gd name="csX289" fmla="*/ 357623 w 830147"/>
                <a:gd name="csY289" fmla="*/ 995549 h 1880156"/>
                <a:gd name="csX290" fmla="*/ 357623 w 830147"/>
                <a:gd name="csY290" fmla="*/ 1009386 h 1880156"/>
                <a:gd name="csX291" fmla="*/ 357623 w 830147"/>
                <a:gd name="csY291" fmla="*/ 978354 h 1880156"/>
                <a:gd name="csX292" fmla="*/ 388841 w 830147"/>
                <a:gd name="csY292" fmla="*/ 978354 h 1880156"/>
                <a:gd name="csX293" fmla="*/ 388841 w 830147"/>
                <a:gd name="csY293" fmla="*/ 939204 h 1880156"/>
                <a:gd name="csX294" fmla="*/ 357623 w 830147"/>
                <a:gd name="csY294" fmla="*/ 939204 h 1880156"/>
                <a:gd name="csX295" fmla="*/ 388841 w 830147"/>
                <a:gd name="csY295" fmla="*/ 936801 h 1880156"/>
                <a:gd name="csX296" fmla="*/ 388841 w 830147"/>
                <a:gd name="csY296" fmla="*/ 922953 h 1880156"/>
                <a:gd name="csX297" fmla="*/ 357623 w 830147"/>
                <a:gd name="csY297" fmla="*/ 922953 h 1880156"/>
                <a:gd name="csX298" fmla="*/ 357623 w 830147"/>
                <a:gd name="csY298" fmla="*/ 936801 h 1880156"/>
                <a:gd name="csX299" fmla="*/ 357623 w 830147"/>
                <a:gd name="csY299" fmla="*/ 905770 h 1880156"/>
                <a:gd name="csX300" fmla="*/ 388841 w 830147"/>
                <a:gd name="csY300" fmla="*/ 905770 h 1880156"/>
                <a:gd name="csX301" fmla="*/ 388841 w 830147"/>
                <a:gd name="csY301" fmla="*/ 866613 h 1880156"/>
                <a:gd name="csX302" fmla="*/ 357623 w 830147"/>
                <a:gd name="csY302" fmla="*/ 866613 h 1880156"/>
                <a:gd name="csX303" fmla="*/ 388841 w 830147"/>
                <a:gd name="csY303" fmla="*/ 864210 h 1880156"/>
                <a:gd name="csX304" fmla="*/ 388841 w 830147"/>
                <a:gd name="csY304" fmla="*/ 850368 h 1880156"/>
                <a:gd name="csX305" fmla="*/ 357623 w 830147"/>
                <a:gd name="csY305" fmla="*/ 850368 h 1880156"/>
                <a:gd name="csX306" fmla="*/ 357623 w 830147"/>
                <a:gd name="csY306" fmla="*/ 864210 h 1880156"/>
                <a:gd name="csX307" fmla="*/ 357623 w 830147"/>
                <a:gd name="csY307" fmla="*/ 833179 h 1880156"/>
                <a:gd name="csX308" fmla="*/ 388841 w 830147"/>
                <a:gd name="csY308" fmla="*/ 833179 h 1880156"/>
                <a:gd name="csX309" fmla="*/ 388841 w 830147"/>
                <a:gd name="csY309" fmla="*/ 794022 h 1880156"/>
                <a:gd name="csX310" fmla="*/ 357623 w 830147"/>
                <a:gd name="csY310" fmla="*/ 794022 h 1880156"/>
                <a:gd name="csX311" fmla="*/ 388841 w 830147"/>
                <a:gd name="csY311" fmla="*/ 791619 h 1880156"/>
                <a:gd name="csX312" fmla="*/ 388841 w 830147"/>
                <a:gd name="csY312" fmla="*/ 777777 h 1880156"/>
                <a:gd name="csX313" fmla="*/ 357623 w 830147"/>
                <a:gd name="csY313" fmla="*/ 777777 h 1880156"/>
                <a:gd name="csX314" fmla="*/ 357623 w 830147"/>
                <a:gd name="csY314" fmla="*/ 791619 h 1880156"/>
                <a:gd name="csX315" fmla="*/ 357623 w 830147"/>
                <a:gd name="csY315" fmla="*/ 760588 h 1880156"/>
                <a:gd name="csX316" fmla="*/ 388841 w 830147"/>
                <a:gd name="csY316" fmla="*/ 760588 h 1880156"/>
                <a:gd name="csX317" fmla="*/ 388841 w 830147"/>
                <a:gd name="csY317" fmla="*/ 721432 h 1880156"/>
                <a:gd name="csX318" fmla="*/ 357623 w 830147"/>
                <a:gd name="csY318" fmla="*/ 721432 h 1880156"/>
                <a:gd name="csX319" fmla="*/ 388841 w 830147"/>
                <a:gd name="csY319" fmla="*/ 719029 h 1880156"/>
                <a:gd name="csX320" fmla="*/ 388841 w 830147"/>
                <a:gd name="csY320" fmla="*/ 705192 h 1880156"/>
                <a:gd name="csX321" fmla="*/ 357623 w 830147"/>
                <a:gd name="csY321" fmla="*/ 705192 h 1880156"/>
                <a:gd name="csX322" fmla="*/ 357623 w 830147"/>
                <a:gd name="csY322" fmla="*/ 719029 h 1880156"/>
                <a:gd name="csX323" fmla="*/ 357623 w 830147"/>
                <a:gd name="csY323" fmla="*/ 687998 h 1880156"/>
                <a:gd name="csX324" fmla="*/ 388841 w 830147"/>
                <a:gd name="csY324" fmla="*/ 687998 h 1880156"/>
                <a:gd name="csX325" fmla="*/ 388841 w 830147"/>
                <a:gd name="csY325" fmla="*/ 648841 h 1880156"/>
                <a:gd name="csX326" fmla="*/ 357623 w 830147"/>
                <a:gd name="csY326" fmla="*/ 648841 h 1880156"/>
                <a:gd name="csX327" fmla="*/ 388841 w 830147"/>
                <a:gd name="csY327" fmla="*/ 646438 h 1880156"/>
                <a:gd name="csX328" fmla="*/ 388841 w 830147"/>
                <a:gd name="csY328" fmla="*/ 632602 h 1880156"/>
                <a:gd name="csX329" fmla="*/ 357623 w 830147"/>
                <a:gd name="csY329" fmla="*/ 632602 h 1880156"/>
                <a:gd name="csX330" fmla="*/ 357623 w 830147"/>
                <a:gd name="csY330" fmla="*/ 646438 h 1880156"/>
                <a:gd name="csX331" fmla="*/ 357623 w 830147"/>
                <a:gd name="csY331" fmla="*/ 615402 h 1880156"/>
                <a:gd name="csX332" fmla="*/ 388841 w 830147"/>
                <a:gd name="csY332" fmla="*/ 615402 h 1880156"/>
                <a:gd name="csX333" fmla="*/ 388841 w 830147"/>
                <a:gd name="csY333" fmla="*/ 576251 h 1880156"/>
                <a:gd name="csX334" fmla="*/ 357623 w 830147"/>
                <a:gd name="csY334" fmla="*/ 576251 h 1880156"/>
                <a:gd name="csX335" fmla="*/ 388841 w 830147"/>
                <a:gd name="csY335" fmla="*/ 573848 h 1880156"/>
                <a:gd name="csX336" fmla="*/ 388841 w 830147"/>
                <a:gd name="csY336" fmla="*/ 560011 h 1880156"/>
                <a:gd name="csX337" fmla="*/ 357623 w 830147"/>
                <a:gd name="csY337" fmla="*/ 560011 h 1880156"/>
                <a:gd name="csX338" fmla="*/ 357623 w 830147"/>
                <a:gd name="csY338" fmla="*/ 573848 h 1880156"/>
                <a:gd name="csX339" fmla="*/ 357623 w 830147"/>
                <a:gd name="csY339" fmla="*/ 542817 h 1880156"/>
                <a:gd name="csX340" fmla="*/ 388841 w 830147"/>
                <a:gd name="csY340" fmla="*/ 542817 h 1880156"/>
                <a:gd name="csX341" fmla="*/ 388841 w 830147"/>
                <a:gd name="csY341" fmla="*/ 503666 h 1880156"/>
                <a:gd name="csX342" fmla="*/ 357623 w 830147"/>
                <a:gd name="csY342" fmla="*/ 503666 h 1880156"/>
                <a:gd name="csX343" fmla="*/ 388841 w 830147"/>
                <a:gd name="csY343" fmla="*/ 501263 h 1880156"/>
                <a:gd name="csX344" fmla="*/ 388841 w 830147"/>
                <a:gd name="csY344" fmla="*/ 487421 h 1880156"/>
                <a:gd name="csX345" fmla="*/ 357623 w 830147"/>
                <a:gd name="csY345" fmla="*/ 487421 h 1880156"/>
                <a:gd name="csX346" fmla="*/ 357623 w 830147"/>
                <a:gd name="csY346" fmla="*/ 501263 h 1880156"/>
                <a:gd name="csX347" fmla="*/ 357623 w 830147"/>
                <a:gd name="csY347" fmla="*/ 470232 h 1880156"/>
                <a:gd name="csX348" fmla="*/ 388841 w 830147"/>
                <a:gd name="csY348" fmla="*/ 470232 h 1880156"/>
                <a:gd name="csX349" fmla="*/ 388841 w 830147"/>
                <a:gd name="csY349" fmla="*/ 431075 h 1880156"/>
                <a:gd name="csX350" fmla="*/ 357623 w 830147"/>
                <a:gd name="csY350" fmla="*/ 431075 h 1880156"/>
                <a:gd name="csX351" fmla="*/ 388841 w 830147"/>
                <a:gd name="csY351" fmla="*/ 428672 h 1880156"/>
                <a:gd name="csX352" fmla="*/ 388841 w 830147"/>
                <a:gd name="csY352" fmla="*/ 414836 h 1880156"/>
                <a:gd name="csX353" fmla="*/ 357623 w 830147"/>
                <a:gd name="csY353" fmla="*/ 414836 h 1880156"/>
                <a:gd name="csX354" fmla="*/ 357623 w 830147"/>
                <a:gd name="csY354" fmla="*/ 428672 h 1880156"/>
                <a:gd name="csX355" fmla="*/ 357623 w 830147"/>
                <a:gd name="csY355" fmla="*/ 397641 h 1880156"/>
                <a:gd name="csX356" fmla="*/ 388841 w 830147"/>
                <a:gd name="csY356" fmla="*/ 397641 h 1880156"/>
                <a:gd name="csX357" fmla="*/ 388841 w 830147"/>
                <a:gd name="csY357" fmla="*/ 358485 h 1880156"/>
                <a:gd name="csX358" fmla="*/ 357623 w 830147"/>
                <a:gd name="csY358" fmla="*/ 358485 h 1880156"/>
                <a:gd name="csX359" fmla="*/ 388841 w 830147"/>
                <a:gd name="csY359" fmla="*/ 356081 h 1880156"/>
                <a:gd name="csX360" fmla="*/ 388841 w 830147"/>
                <a:gd name="csY360" fmla="*/ 342245 h 1880156"/>
                <a:gd name="csX361" fmla="*/ 357623 w 830147"/>
                <a:gd name="csY361" fmla="*/ 342245 h 1880156"/>
                <a:gd name="csX362" fmla="*/ 357623 w 830147"/>
                <a:gd name="csY362" fmla="*/ 356081 h 1880156"/>
                <a:gd name="csX363" fmla="*/ 357623 w 830147"/>
                <a:gd name="csY363" fmla="*/ 325050 h 1880156"/>
                <a:gd name="csX364" fmla="*/ 388841 w 830147"/>
                <a:gd name="csY364" fmla="*/ 325050 h 1880156"/>
                <a:gd name="csX365" fmla="*/ 388841 w 830147"/>
                <a:gd name="csY365" fmla="*/ 285894 h 1880156"/>
                <a:gd name="csX366" fmla="*/ 357623 w 830147"/>
                <a:gd name="csY366" fmla="*/ 285894 h 1880156"/>
                <a:gd name="csX367" fmla="*/ 391255 w 830147"/>
                <a:gd name="csY367" fmla="*/ 283497 h 1880156"/>
                <a:gd name="csX368" fmla="*/ 421266 w 830147"/>
                <a:gd name="csY368" fmla="*/ 283497 h 1880156"/>
                <a:gd name="csX369" fmla="*/ 421266 w 830147"/>
                <a:gd name="csY369" fmla="*/ 269654 h 1880156"/>
                <a:gd name="csX370" fmla="*/ 391255 w 830147"/>
                <a:gd name="csY370" fmla="*/ 269654 h 1880156"/>
                <a:gd name="csX371" fmla="*/ 423680 w 830147"/>
                <a:gd name="csY371" fmla="*/ 285894 h 1880156"/>
                <a:gd name="csX372" fmla="*/ 423680 w 830147"/>
                <a:gd name="csY372" fmla="*/ 325050 h 1880156"/>
                <a:gd name="csX373" fmla="*/ 454897 w 830147"/>
                <a:gd name="csY373" fmla="*/ 325050 h 1880156"/>
                <a:gd name="csX374" fmla="*/ 454897 w 830147"/>
                <a:gd name="csY374" fmla="*/ 285894 h 1880156"/>
                <a:gd name="csX375" fmla="*/ 454897 w 830147"/>
                <a:gd name="csY375" fmla="*/ 342245 h 1880156"/>
                <a:gd name="csX376" fmla="*/ 423680 w 830147"/>
                <a:gd name="csY376" fmla="*/ 342245 h 1880156"/>
                <a:gd name="csX377" fmla="*/ 423680 w 830147"/>
                <a:gd name="csY377" fmla="*/ 356081 h 1880156"/>
                <a:gd name="csX378" fmla="*/ 454897 w 830147"/>
                <a:gd name="csY378" fmla="*/ 356081 h 1880156"/>
                <a:gd name="csX379" fmla="*/ 423680 w 830147"/>
                <a:gd name="csY379" fmla="*/ 358485 h 1880156"/>
                <a:gd name="csX380" fmla="*/ 423680 w 830147"/>
                <a:gd name="csY380" fmla="*/ 397641 h 1880156"/>
                <a:gd name="csX381" fmla="*/ 454897 w 830147"/>
                <a:gd name="csY381" fmla="*/ 397641 h 1880156"/>
                <a:gd name="csX382" fmla="*/ 454897 w 830147"/>
                <a:gd name="csY382" fmla="*/ 358485 h 1880156"/>
                <a:gd name="csX383" fmla="*/ 454897 w 830147"/>
                <a:gd name="csY383" fmla="*/ 414836 h 1880156"/>
                <a:gd name="csX384" fmla="*/ 423680 w 830147"/>
                <a:gd name="csY384" fmla="*/ 414836 h 1880156"/>
                <a:gd name="csX385" fmla="*/ 423680 w 830147"/>
                <a:gd name="csY385" fmla="*/ 428672 h 1880156"/>
                <a:gd name="csX386" fmla="*/ 454897 w 830147"/>
                <a:gd name="csY386" fmla="*/ 428672 h 1880156"/>
                <a:gd name="csX387" fmla="*/ 423680 w 830147"/>
                <a:gd name="csY387" fmla="*/ 431075 h 1880156"/>
                <a:gd name="csX388" fmla="*/ 423680 w 830147"/>
                <a:gd name="csY388" fmla="*/ 470232 h 1880156"/>
                <a:gd name="csX389" fmla="*/ 454897 w 830147"/>
                <a:gd name="csY389" fmla="*/ 470232 h 1880156"/>
                <a:gd name="csX390" fmla="*/ 454897 w 830147"/>
                <a:gd name="csY390" fmla="*/ 431075 h 1880156"/>
                <a:gd name="csX391" fmla="*/ 454897 w 830147"/>
                <a:gd name="csY391" fmla="*/ 487421 h 1880156"/>
                <a:gd name="csX392" fmla="*/ 423680 w 830147"/>
                <a:gd name="csY392" fmla="*/ 487421 h 1880156"/>
                <a:gd name="csX393" fmla="*/ 423680 w 830147"/>
                <a:gd name="csY393" fmla="*/ 501263 h 1880156"/>
                <a:gd name="csX394" fmla="*/ 454897 w 830147"/>
                <a:gd name="csY394" fmla="*/ 501263 h 1880156"/>
                <a:gd name="csX395" fmla="*/ 423680 w 830147"/>
                <a:gd name="csY395" fmla="*/ 503666 h 1880156"/>
                <a:gd name="csX396" fmla="*/ 423680 w 830147"/>
                <a:gd name="csY396" fmla="*/ 542817 h 1880156"/>
                <a:gd name="csX397" fmla="*/ 454897 w 830147"/>
                <a:gd name="csY397" fmla="*/ 542817 h 1880156"/>
                <a:gd name="csX398" fmla="*/ 454897 w 830147"/>
                <a:gd name="csY398" fmla="*/ 503666 h 1880156"/>
                <a:gd name="csX399" fmla="*/ 454897 w 830147"/>
                <a:gd name="csY399" fmla="*/ 560011 h 1880156"/>
                <a:gd name="csX400" fmla="*/ 423680 w 830147"/>
                <a:gd name="csY400" fmla="*/ 560011 h 1880156"/>
                <a:gd name="csX401" fmla="*/ 423680 w 830147"/>
                <a:gd name="csY401" fmla="*/ 573848 h 1880156"/>
                <a:gd name="csX402" fmla="*/ 454897 w 830147"/>
                <a:gd name="csY402" fmla="*/ 573848 h 1880156"/>
                <a:gd name="csX403" fmla="*/ 423680 w 830147"/>
                <a:gd name="csY403" fmla="*/ 576251 h 1880156"/>
                <a:gd name="csX404" fmla="*/ 423680 w 830147"/>
                <a:gd name="csY404" fmla="*/ 615402 h 1880156"/>
                <a:gd name="csX405" fmla="*/ 454897 w 830147"/>
                <a:gd name="csY405" fmla="*/ 615402 h 1880156"/>
                <a:gd name="csX406" fmla="*/ 454897 w 830147"/>
                <a:gd name="csY406" fmla="*/ 576251 h 1880156"/>
                <a:gd name="csX407" fmla="*/ 454897 w 830147"/>
                <a:gd name="csY407" fmla="*/ 632602 h 1880156"/>
                <a:gd name="csX408" fmla="*/ 423680 w 830147"/>
                <a:gd name="csY408" fmla="*/ 632602 h 1880156"/>
                <a:gd name="csX409" fmla="*/ 423680 w 830147"/>
                <a:gd name="csY409" fmla="*/ 646438 h 1880156"/>
                <a:gd name="csX410" fmla="*/ 454897 w 830147"/>
                <a:gd name="csY410" fmla="*/ 646438 h 1880156"/>
                <a:gd name="csX411" fmla="*/ 423680 w 830147"/>
                <a:gd name="csY411" fmla="*/ 648841 h 1880156"/>
                <a:gd name="csX412" fmla="*/ 423680 w 830147"/>
                <a:gd name="csY412" fmla="*/ 687998 h 1880156"/>
                <a:gd name="csX413" fmla="*/ 454897 w 830147"/>
                <a:gd name="csY413" fmla="*/ 687998 h 1880156"/>
                <a:gd name="csX414" fmla="*/ 454897 w 830147"/>
                <a:gd name="csY414" fmla="*/ 648841 h 1880156"/>
                <a:gd name="csX415" fmla="*/ 454897 w 830147"/>
                <a:gd name="csY415" fmla="*/ 705192 h 1880156"/>
                <a:gd name="csX416" fmla="*/ 423680 w 830147"/>
                <a:gd name="csY416" fmla="*/ 705192 h 1880156"/>
                <a:gd name="csX417" fmla="*/ 423680 w 830147"/>
                <a:gd name="csY417" fmla="*/ 719029 h 1880156"/>
                <a:gd name="csX418" fmla="*/ 454897 w 830147"/>
                <a:gd name="csY418" fmla="*/ 719029 h 1880156"/>
                <a:gd name="csX419" fmla="*/ 423680 w 830147"/>
                <a:gd name="csY419" fmla="*/ 721432 h 1880156"/>
                <a:gd name="csX420" fmla="*/ 423680 w 830147"/>
                <a:gd name="csY420" fmla="*/ 760588 h 1880156"/>
                <a:gd name="csX421" fmla="*/ 454897 w 830147"/>
                <a:gd name="csY421" fmla="*/ 760588 h 1880156"/>
                <a:gd name="csX422" fmla="*/ 454897 w 830147"/>
                <a:gd name="csY422" fmla="*/ 721432 h 1880156"/>
                <a:gd name="csX423" fmla="*/ 454897 w 830147"/>
                <a:gd name="csY423" fmla="*/ 777777 h 1880156"/>
                <a:gd name="csX424" fmla="*/ 423680 w 830147"/>
                <a:gd name="csY424" fmla="*/ 777777 h 1880156"/>
                <a:gd name="csX425" fmla="*/ 423680 w 830147"/>
                <a:gd name="csY425" fmla="*/ 791619 h 1880156"/>
                <a:gd name="csX426" fmla="*/ 454897 w 830147"/>
                <a:gd name="csY426" fmla="*/ 791619 h 1880156"/>
                <a:gd name="csX427" fmla="*/ 423680 w 830147"/>
                <a:gd name="csY427" fmla="*/ 794022 h 1880156"/>
                <a:gd name="csX428" fmla="*/ 423680 w 830147"/>
                <a:gd name="csY428" fmla="*/ 833179 h 1880156"/>
                <a:gd name="csX429" fmla="*/ 454897 w 830147"/>
                <a:gd name="csY429" fmla="*/ 833179 h 1880156"/>
                <a:gd name="csX430" fmla="*/ 454897 w 830147"/>
                <a:gd name="csY430" fmla="*/ 794022 h 1880156"/>
                <a:gd name="csX431" fmla="*/ 454897 w 830147"/>
                <a:gd name="csY431" fmla="*/ 850368 h 1880156"/>
                <a:gd name="csX432" fmla="*/ 423680 w 830147"/>
                <a:gd name="csY432" fmla="*/ 850368 h 1880156"/>
                <a:gd name="csX433" fmla="*/ 423680 w 830147"/>
                <a:gd name="csY433" fmla="*/ 864210 h 1880156"/>
                <a:gd name="csX434" fmla="*/ 454897 w 830147"/>
                <a:gd name="csY434" fmla="*/ 864210 h 1880156"/>
                <a:gd name="csX435" fmla="*/ 423680 w 830147"/>
                <a:gd name="csY435" fmla="*/ 866613 h 1880156"/>
                <a:gd name="csX436" fmla="*/ 423680 w 830147"/>
                <a:gd name="csY436" fmla="*/ 905770 h 1880156"/>
                <a:gd name="csX437" fmla="*/ 454897 w 830147"/>
                <a:gd name="csY437" fmla="*/ 905770 h 1880156"/>
                <a:gd name="csX438" fmla="*/ 454897 w 830147"/>
                <a:gd name="csY438" fmla="*/ 866613 h 1880156"/>
                <a:gd name="csX439" fmla="*/ 454897 w 830147"/>
                <a:gd name="csY439" fmla="*/ 922953 h 1880156"/>
                <a:gd name="csX440" fmla="*/ 423680 w 830147"/>
                <a:gd name="csY440" fmla="*/ 922953 h 1880156"/>
                <a:gd name="csX441" fmla="*/ 423680 w 830147"/>
                <a:gd name="csY441" fmla="*/ 936801 h 1880156"/>
                <a:gd name="csX442" fmla="*/ 454897 w 830147"/>
                <a:gd name="csY442" fmla="*/ 936801 h 1880156"/>
                <a:gd name="csX443" fmla="*/ 423680 w 830147"/>
                <a:gd name="csY443" fmla="*/ 939204 h 1880156"/>
                <a:gd name="csX444" fmla="*/ 423680 w 830147"/>
                <a:gd name="csY444" fmla="*/ 978354 h 1880156"/>
                <a:gd name="csX445" fmla="*/ 454897 w 830147"/>
                <a:gd name="csY445" fmla="*/ 978354 h 1880156"/>
                <a:gd name="csX446" fmla="*/ 454897 w 830147"/>
                <a:gd name="csY446" fmla="*/ 939204 h 1880156"/>
                <a:gd name="csX447" fmla="*/ 454897 w 830147"/>
                <a:gd name="csY447" fmla="*/ 995549 h 1880156"/>
                <a:gd name="csX448" fmla="*/ 423680 w 830147"/>
                <a:gd name="csY448" fmla="*/ 995549 h 1880156"/>
                <a:gd name="csX449" fmla="*/ 423680 w 830147"/>
                <a:gd name="csY449" fmla="*/ 1009386 h 1880156"/>
                <a:gd name="csX450" fmla="*/ 454897 w 830147"/>
                <a:gd name="csY450" fmla="*/ 1009386 h 1880156"/>
                <a:gd name="csX451" fmla="*/ 423680 w 830147"/>
                <a:gd name="csY451" fmla="*/ 1011789 h 1880156"/>
                <a:gd name="csX452" fmla="*/ 423680 w 830147"/>
                <a:gd name="csY452" fmla="*/ 1050945 h 1880156"/>
                <a:gd name="csX453" fmla="*/ 454897 w 830147"/>
                <a:gd name="csY453" fmla="*/ 1050945 h 1880156"/>
                <a:gd name="csX454" fmla="*/ 454897 w 830147"/>
                <a:gd name="csY454" fmla="*/ 1011789 h 1880156"/>
                <a:gd name="csX455" fmla="*/ 454897 w 830147"/>
                <a:gd name="csY455" fmla="*/ 1068140 h 1880156"/>
                <a:gd name="csX456" fmla="*/ 423680 w 830147"/>
                <a:gd name="csY456" fmla="*/ 1068140 h 1880156"/>
                <a:gd name="csX457" fmla="*/ 423680 w 830147"/>
                <a:gd name="csY457" fmla="*/ 1081971 h 1880156"/>
                <a:gd name="csX458" fmla="*/ 454897 w 830147"/>
                <a:gd name="csY458" fmla="*/ 1081971 h 1880156"/>
                <a:gd name="csX459" fmla="*/ 423680 w 830147"/>
                <a:gd name="csY459" fmla="*/ 1084379 h 1880156"/>
                <a:gd name="csX460" fmla="*/ 423680 w 830147"/>
                <a:gd name="csY460" fmla="*/ 1123530 h 1880156"/>
                <a:gd name="csX461" fmla="*/ 454897 w 830147"/>
                <a:gd name="csY461" fmla="*/ 1123530 h 1880156"/>
                <a:gd name="csX462" fmla="*/ 454897 w 830147"/>
                <a:gd name="csY462" fmla="*/ 1084379 h 1880156"/>
                <a:gd name="csX463" fmla="*/ 454897 w 830147"/>
                <a:gd name="csY463" fmla="*/ 1140725 h 1880156"/>
                <a:gd name="csX464" fmla="*/ 423680 w 830147"/>
                <a:gd name="csY464" fmla="*/ 1140725 h 1880156"/>
                <a:gd name="csX465" fmla="*/ 423680 w 830147"/>
                <a:gd name="csY465" fmla="*/ 1154567 h 1880156"/>
                <a:gd name="csX466" fmla="*/ 454897 w 830147"/>
                <a:gd name="csY466" fmla="*/ 1154567 h 1880156"/>
                <a:gd name="csX467" fmla="*/ 421266 w 830147"/>
                <a:gd name="csY467" fmla="*/ 1156970 h 1880156"/>
                <a:gd name="csX468" fmla="*/ 391255 w 830147"/>
                <a:gd name="csY468" fmla="*/ 1156970 h 1880156"/>
                <a:gd name="csX469" fmla="*/ 391255 w 830147"/>
                <a:gd name="csY469" fmla="*/ 1196127 h 1880156"/>
                <a:gd name="csX470" fmla="*/ 421266 w 830147"/>
                <a:gd name="csY470" fmla="*/ 1196127 h 1880156"/>
                <a:gd name="csX471" fmla="*/ 423680 w 830147"/>
                <a:gd name="csY471" fmla="*/ 283497 h 1880156"/>
                <a:gd name="csX472" fmla="*/ 454897 w 830147"/>
                <a:gd name="csY472" fmla="*/ 283497 h 1880156"/>
                <a:gd name="csX473" fmla="*/ 454897 w 830147"/>
                <a:gd name="csY473" fmla="*/ 269654 h 1880156"/>
                <a:gd name="csX474" fmla="*/ 423680 w 830147"/>
                <a:gd name="csY474" fmla="*/ 269654 h 1880156"/>
                <a:gd name="csX475" fmla="*/ 454897 w 830147"/>
                <a:gd name="csY475" fmla="*/ 1156970 h 1880156"/>
                <a:gd name="csX476" fmla="*/ 423680 w 830147"/>
                <a:gd name="csY476" fmla="*/ 1156970 h 1880156"/>
                <a:gd name="csX477" fmla="*/ 423680 w 830147"/>
                <a:gd name="csY477" fmla="*/ 1196127 h 1880156"/>
                <a:gd name="csX478" fmla="*/ 454897 w 830147"/>
                <a:gd name="csY478" fmla="*/ 1196127 h 1880156"/>
                <a:gd name="csX479" fmla="*/ 369693 w 830147"/>
                <a:gd name="csY479" fmla="*/ 1844054 h 1880156"/>
                <a:gd name="csX480" fmla="*/ 369693 w 830147"/>
                <a:gd name="csY480" fmla="*/ 1205865 h 1880156"/>
                <a:gd name="csX481" fmla="*/ 365798 w 830147"/>
                <a:gd name="csY481" fmla="*/ 1205865 h 1880156"/>
                <a:gd name="csX482" fmla="*/ 365798 w 830147"/>
                <a:gd name="csY482" fmla="*/ 1380892 h 1880156"/>
                <a:gd name="csX483" fmla="*/ 342097 w 830147"/>
                <a:gd name="csY483" fmla="*/ 1380892 h 1880156"/>
                <a:gd name="csX484" fmla="*/ 342097 w 830147"/>
                <a:gd name="csY484" fmla="*/ 1844054 h 1880156"/>
                <a:gd name="csX485" fmla="*/ 319548 w 830147"/>
                <a:gd name="csY485" fmla="*/ 1844054 h 1880156"/>
                <a:gd name="csX486" fmla="*/ 319548 w 830147"/>
                <a:gd name="csY486" fmla="*/ 1380892 h 1880156"/>
                <a:gd name="csX487" fmla="*/ 291951 w 830147"/>
                <a:gd name="csY487" fmla="*/ 1380892 h 1880156"/>
                <a:gd name="csX488" fmla="*/ 291951 w 830147"/>
                <a:gd name="csY488" fmla="*/ 1844054 h 1880156"/>
                <a:gd name="csX489" fmla="*/ 196104 w 830147"/>
                <a:gd name="csY489" fmla="*/ 1791763 h 1880156"/>
                <a:gd name="csX490" fmla="*/ 189575 w 830147"/>
                <a:gd name="csY490" fmla="*/ 1791763 h 1880156"/>
                <a:gd name="csX491" fmla="*/ 189575 w 830147"/>
                <a:gd name="csY491" fmla="*/ 1815799 h 1880156"/>
                <a:gd name="csX492" fmla="*/ 196104 w 830147"/>
                <a:gd name="csY492" fmla="*/ 1815799 h 1880156"/>
                <a:gd name="csX493" fmla="*/ 198518 w 830147"/>
                <a:gd name="csY493" fmla="*/ 1815799 h 1880156"/>
                <a:gd name="csX494" fmla="*/ 205101 w 830147"/>
                <a:gd name="csY494" fmla="*/ 1815799 h 1880156"/>
                <a:gd name="csX495" fmla="*/ 205101 w 830147"/>
                <a:gd name="csY495" fmla="*/ 1791763 h 1880156"/>
                <a:gd name="csX496" fmla="*/ 198518 w 830147"/>
                <a:gd name="csY496" fmla="*/ 1791763 h 1880156"/>
                <a:gd name="csX497" fmla="*/ 228693 w 830147"/>
                <a:gd name="csY497" fmla="*/ 1791763 h 1880156"/>
                <a:gd name="csX498" fmla="*/ 222109 w 830147"/>
                <a:gd name="csY498" fmla="*/ 1791763 h 1880156"/>
                <a:gd name="csX499" fmla="*/ 222109 w 830147"/>
                <a:gd name="csY499" fmla="*/ 1815799 h 1880156"/>
                <a:gd name="csX500" fmla="*/ 228693 w 830147"/>
                <a:gd name="csY500" fmla="*/ 1815799 h 1880156"/>
                <a:gd name="csX501" fmla="*/ 231107 w 830147"/>
                <a:gd name="csY501" fmla="*/ 1815799 h 1880156"/>
                <a:gd name="csX502" fmla="*/ 237636 w 830147"/>
                <a:gd name="csY502" fmla="*/ 1815799 h 1880156"/>
                <a:gd name="csX503" fmla="*/ 237636 w 830147"/>
                <a:gd name="csY503" fmla="*/ 1791763 h 1880156"/>
                <a:gd name="csX504" fmla="*/ 231107 w 830147"/>
                <a:gd name="csY504" fmla="*/ 1791763 h 1880156"/>
                <a:gd name="csX505" fmla="*/ 269348 w 830147"/>
                <a:gd name="csY505" fmla="*/ 1777953 h 1880156"/>
                <a:gd name="csX506" fmla="*/ 269348 w 830147"/>
                <a:gd name="csY506" fmla="*/ 1380892 h 1880156"/>
                <a:gd name="csX507" fmla="*/ 174872 w 830147"/>
                <a:gd name="csY507" fmla="*/ 1380892 h 1880156"/>
                <a:gd name="csX508" fmla="*/ 174872 w 830147"/>
                <a:gd name="csY508" fmla="*/ 1777953 h 1880156"/>
                <a:gd name="csX509" fmla="*/ 174872 w 830147"/>
                <a:gd name="csY509" fmla="*/ 1192000 h 1880156"/>
                <a:gd name="csX510" fmla="*/ 174872 w 830147"/>
                <a:gd name="csY510" fmla="*/ 1366188 h 1880156"/>
                <a:gd name="csX511" fmla="*/ 331399 w 830147"/>
                <a:gd name="csY511" fmla="*/ 1366188 h 1880156"/>
                <a:gd name="csX512" fmla="*/ 331399 w 830147"/>
                <a:gd name="csY512" fmla="*/ 544358 h 1880156"/>
                <a:gd name="csX513" fmla="*/ 174872 w 830147"/>
                <a:gd name="csY513" fmla="*/ 544358 h 1880156"/>
                <a:gd name="csX514" fmla="*/ 174872 w 830147"/>
                <a:gd name="csY514" fmla="*/ 1182289 h 1880156"/>
                <a:gd name="csX515" fmla="*/ 56694 w 830147"/>
                <a:gd name="csY515" fmla="*/ 570260 h 1880156"/>
                <a:gd name="csX516" fmla="*/ 78366 w 830147"/>
                <a:gd name="csY516" fmla="*/ 570260 h 1880156"/>
                <a:gd name="csX517" fmla="*/ 78366 w 830147"/>
                <a:gd name="csY517" fmla="*/ 558431 h 1880156"/>
                <a:gd name="csX518" fmla="*/ 56694 w 830147"/>
                <a:gd name="csY518" fmla="*/ 558431 h 1880156"/>
                <a:gd name="csX519" fmla="*/ 78366 w 830147"/>
                <a:gd name="csY519" fmla="*/ 1165424 h 1880156"/>
                <a:gd name="csX520" fmla="*/ 78366 w 830147"/>
                <a:gd name="csY520" fmla="*/ 1153596 h 1880156"/>
                <a:gd name="csX521" fmla="*/ 56694 w 830147"/>
                <a:gd name="csY521" fmla="*/ 1153596 h 1880156"/>
                <a:gd name="csX522" fmla="*/ 56694 w 830147"/>
                <a:gd name="csY522" fmla="*/ 1165424 h 1880156"/>
                <a:gd name="csX523" fmla="*/ 56694 w 830147"/>
                <a:gd name="csY523" fmla="*/ 1120140 h 1880156"/>
                <a:gd name="csX524" fmla="*/ 78366 w 830147"/>
                <a:gd name="csY524" fmla="*/ 1120140 h 1880156"/>
                <a:gd name="csX525" fmla="*/ 78366 w 830147"/>
                <a:gd name="csY525" fmla="*/ 1108317 h 1880156"/>
                <a:gd name="csX526" fmla="*/ 56694 w 830147"/>
                <a:gd name="csY526" fmla="*/ 1108317 h 1880156"/>
                <a:gd name="csX527" fmla="*/ 78366 w 830147"/>
                <a:gd name="csY527" fmla="*/ 1105908 h 1880156"/>
                <a:gd name="csX528" fmla="*/ 78366 w 830147"/>
                <a:gd name="csY528" fmla="*/ 1094079 h 1880156"/>
                <a:gd name="csX529" fmla="*/ 56694 w 830147"/>
                <a:gd name="csY529" fmla="*/ 1094079 h 1880156"/>
                <a:gd name="csX530" fmla="*/ 56694 w 830147"/>
                <a:gd name="csY530" fmla="*/ 1105908 h 1880156"/>
                <a:gd name="csX531" fmla="*/ 56694 w 830147"/>
                <a:gd name="csY531" fmla="*/ 1060623 h 1880156"/>
                <a:gd name="csX532" fmla="*/ 78366 w 830147"/>
                <a:gd name="csY532" fmla="*/ 1060623 h 1880156"/>
                <a:gd name="csX533" fmla="*/ 78366 w 830147"/>
                <a:gd name="csY533" fmla="*/ 1048794 h 1880156"/>
                <a:gd name="csX534" fmla="*/ 56694 w 830147"/>
                <a:gd name="csY534" fmla="*/ 1048794 h 1880156"/>
                <a:gd name="csX535" fmla="*/ 78366 w 830147"/>
                <a:gd name="csY535" fmla="*/ 1046391 h 1880156"/>
                <a:gd name="csX536" fmla="*/ 78366 w 830147"/>
                <a:gd name="csY536" fmla="*/ 1034563 h 1880156"/>
                <a:gd name="csX537" fmla="*/ 56694 w 830147"/>
                <a:gd name="csY537" fmla="*/ 1034563 h 1880156"/>
                <a:gd name="csX538" fmla="*/ 56694 w 830147"/>
                <a:gd name="csY538" fmla="*/ 1046391 h 1880156"/>
                <a:gd name="csX539" fmla="*/ 56694 w 830147"/>
                <a:gd name="csY539" fmla="*/ 1001107 h 1880156"/>
                <a:gd name="csX540" fmla="*/ 78366 w 830147"/>
                <a:gd name="csY540" fmla="*/ 1001107 h 1880156"/>
                <a:gd name="csX541" fmla="*/ 78366 w 830147"/>
                <a:gd name="csY541" fmla="*/ 989278 h 1880156"/>
                <a:gd name="csX542" fmla="*/ 56694 w 830147"/>
                <a:gd name="csY542" fmla="*/ 989278 h 1880156"/>
                <a:gd name="csX543" fmla="*/ 78366 w 830147"/>
                <a:gd name="csY543" fmla="*/ 986875 h 1880156"/>
                <a:gd name="csX544" fmla="*/ 78366 w 830147"/>
                <a:gd name="csY544" fmla="*/ 975046 h 1880156"/>
                <a:gd name="csX545" fmla="*/ 56694 w 830147"/>
                <a:gd name="csY545" fmla="*/ 975046 h 1880156"/>
                <a:gd name="csX546" fmla="*/ 56694 w 830147"/>
                <a:gd name="csY546" fmla="*/ 986875 h 1880156"/>
                <a:gd name="csX547" fmla="*/ 56694 w 830147"/>
                <a:gd name="csY547" fmla="*/ 941590 h 1880156"/>
                <a:gd name="csX548" fmla="*/ 78366 w 830147"/>
                <a:gd name="csY548" fmla="*/ 941590 h 1880156"/>
                <a:gd name="csX549" fmla="*/ 78366 w 830147"/>
                <a:gd name="csY549" fmla="*/ 929762 h 1880156"/>
                <a:gd name="csX550" fmla="*/ 56694 w 830147"/>
                <a:gd name="csY550" fmla="*/ 929762 h 1880156"/>
                <a:gd name="csX551" fmla="*/ 78366 w 830147"/>
                <a:gd name="csY551" fmla="*/ 927359 h 1880156"/>
                <a:gd name="csX552" fmla="*/ 78366 w 830147"/>
                <a:gd name="csY552" fmla="*/ 915530 h 1880156"/>
                <a:gd name="csX553" fmla="*/ 56694 w 830147"/>
                <a:gd name="csY553" fmla="*/ 915530 h 1880156"/>
                <a:gd name="csX554" fmla="*/ 56694 w 830147"/>
                <a:gd name="csY554" fmla="*/ 927359 h 1880156"/>
                <a:gd name="csX555" fmla="*/ 56694 w 830147"/>
                <a:gd name="csY555" fmla="*/ 882074 h 1880156"/>
                <a:gd name="csX556" fmla="*/ 78366 w 830147"/>
                <a:gd name="csY556" fmla="*/ 882074 h 1880156"/>
                <a:gd name="csX557" fmla="*/ 78366 w 830147"/>
                <a:gd name="csY557" fmla="*/ 870245 h 1880156"/>
                <a:gd name="csX558" fmla="*/ 56694 w 830147"/>
                <a:gd name="csY558" fmla="*/ 870245 h 1880156"/>
                <a:gd name="csX559" fmla="*/ 78366 w 830147"/>
                <a:gd name="csY559" fmla="*/ 867847 h 1880156"/>
                <a:gd name="csX560" fmla="*/ 78366 w 830147"/>
                <a:gd name="csY560" fmla="*/ 856013 h 1880156"/>
                <a:gd name="csX561" fmla="*/ 56694 w 830147"/>
                <a:gd name="csY561" fmla="*/ 856013 h 1880156"/>
                <a:gd name="csX562" fmla="*/ 56694 w 830147"/>
                <a:gd name="csY562" fmla="*/ 867847 h 1880156"/>
                <a:gd name="csX563" fmla="*/ 56694 w 830147"/>
                <a:gd name="csY563" fmla="*/ 822557 h 1880156"/>
                <a:gd name="csX564" fmla="*/ 78366 w 830147"/>
                <a:gd name="csY564" fmla="*/ 822557 h 1880156"/>
                <a:gd name="csX565" fmla="*/ 78366 w 830147"/>
                <a:gd name="csY565" fmla="*/ 810734 h 1880156"/>
                <a:gd name="csX566" fmla="*/ 56694 w 830147"/>
                <a:gd name="csY566" fmla="*/ 810734 h 1880156"/>
                <a:gd name="csX567" fmla="*/ 78366 w 830147"/>
                <a:gd name="csY567" fmla="*/ 808326 h 1880156"/>
                <a:gd name="csX568" fmla="*/ 78366 w 830147"/>
                <a:gd name="csY568" fmla="*/ 796497 h 1880156"/>
                <a:gd name="csX569" fmla="*/ 56694 w 830147"/>
                <a:gd name="csY569" fmla="*/ 796497 h 1880156"/>
                <a:gd name="csX570" fmla="*/ 56694 w 830147"/>
                <a:gd name="csY570" fmla="*/ 808326 h 1880156"/>
                <a:gd name="csX571" fmla="*/ 56694 w 830147"/>
                <a:gd name="csY571" fmla="*/ 763046 h 1880156"/>
                <a:gd name="csX572" fmla="*/ 78366 w 830147"/>
                <a:gd name="csY572" fmla="*/ 763046 h 1880156"/>
                <a:gd name="csX573" fmla="*/ 78366 w 830147"/>
                <a:gd name="csY573" fmla="*/ 751212 h 1880156"/>
                <a:gd name="csX574" fmla="*/ 56694 w 830147"/>
                <a:gd name="csY574" fmla="*/ 751212 h 1880156"/>
                <a:gd name="csX575" fmla="*/ 78366 w 830147"/>
                <a:gd name="csY575" fmla="*/ 748809 h 1880156"/>
                <a:gd name="csX576" fmla="*/ 78366 w 830147"/>
                <a:gd name="csY576" fmla="*/ 736980 h 1880156"/>
                <a:gd name="csX577" fmla="*/ 56694 w 830147"/>
                <a:gd name="csY577" fmla="*/ 736980 h 1880156"/>
                <a:gd name="csX578" fmla="*/ 56694 w 830147"/>
                <a:gd name="csY578" fmla="*/ 748809 h 1880156"/>
                <a:gd name="csX579" fmla="*/ 56694 w 830147"/>
                <a:gd name="csY579" fmla="*/ 703530 h 1880156"/>
                <a:gd name="csX580" fmla="*/ 78366 w 830147"/>
                <a:gd name="csY580" fmla="*/ 703530 h 1880156"/>
                <a:gd name="csX581" fmla="*/ 78366 w 830147"/>
                <a:gd name="csY581" fmla="*/ 691701 h 1880156"/>
                <a:gd name="csX582" fmla="*/ 56694 w 830147"/>
                <a:gd name="csY582" fmla="*/ 691701 h 1880156"/>
                <a:gd name="csX583" fmla="*/ 78366 w 830147"/>
                <a:gd name="csY583" fmla="*/ 689298 h 1880156"/>
                <a:gd name="csX584" fmla="*/ 78366 w 830147"/>
                <a:gd name="csY584" fmla="*/ 677469 h 1880156"/>
                <a:gd name="csX585" fmla="*/ 56694 w 830147"/>
                <a:gd name="csY585" fmla="*/ 677469 h 1880156"/>
                <a:gd name="csX586" fmla="*/ 56694 w 830147"/>
                <a:gd name="csY586" fmla="*/ 689298 h 1880156"/>
                <a:gd name="csX587" fmla="*/ 56694 w 830147"/>
                <a:gd name="csY587" fmla="*/ 644013 h 1880156"/>
                <a:gd name="csX588" fmla="*/ 78366 w 830147"/>
                <a:gd name="csY588" fmla="*/ 644013 h 1880156"/>
                <a:gd name="csX589" fmla="*/ 78366 w 830147"/>
                <a:gd name="csY589" fmla="*/ 632185 h 1880156"/>
                <a:gd name="csX590" fmla="*/ 56694 w 830147"/>
                <a:gd name="csY590" fmla="*/ 632185 h 1880156"/>
                <a:gd name="csX591" fmla="*/ 78366 w 830147"/>
                <a:gd name="csY591" fmla="*/ 629776 h 1880156"/>
                <a:gd name="csX592" fmla="*/ 78366 w 830147"/>
                <a:gd name="csY592" fmla="*/ 617948 h 1880156"/>
                <a:gd name="csX593" fmla="*/ 56694 w 830147"/>
                <a:gd name="csY593" fmla="*/ 617948 h 1880156"/>
                <a:gd name="csX594" fmla="*/ 56694 w 830147"/>
                <a:gd name="csY594" fmla="*/ 629776 h 1880156"/>
                <a:gd name="csX595" fmla="*/ 56694 w 830147"/>
                <a:gd name="csY595" fmla="*/ 584491 h 1880156"/>
                <a:gd name="csX596" fmla="*/ 78366 w 830147"/>
                <a:gd name="csY596" fmla="*/ 584491 h 1880156"/>
                <a:gd name="csX597" fmla="*/ 78366 w 830147"/>
                <a:gd name="csY597" fmla="*/ 572668 h 1880156"/>
                <a:gd name="csX598" fmla="*/ 56694 w 830147"/>
                <a:gd name="csY598" fmla="*/ 572668 h 1880156"/>
                <a:gd name="csX599" fmla="*/ 78366 w 830147"/>
                <a:gd name="csY599" fmla="*/ 1167833 h 1880156"/>
                <a:gd name="csX600" fmla="*/ 56694 w 830147"/>
                <a:gd name="csY600" fmla="*/ 1167833 h 1880156"/>
                <a:gd name="csX601" fmla="*/ 56694 w 830147"/>
                <a:gd name="csY601" fmla="*/ 1174938 h 1880156"/>
                <a:gd name="csX602" fmla="*/ 78366 w 830147"/>
                <a:gd name="csY602" fmla="*/ 1174938 h 1880156"/>
                <a:gd name="csX603" fmla="*/ 114192 w 830147"/>
                <a:gd name="csY603" fmla="*/ 570260 h 1880156"/>
                <a:gd name="csX604" fmla="*/ 135863 w 830147"/>
                <a:gd name="csY604" fmla="*/ 570260 h 1880156"/>
                <a:gd name="csX605" fmla="*/ 135863 w 830147"/>
                <a:gd name="csY605" fmla="*/ 558431 h 1880156"/>
                <a:gd name="csX606" fmla="*/ 114192 w 830147"/>
                <a:gd name="csY606" fmla="*/ 558431 h 1880156"/>
                <a:gd name="csX607" fmla="*/ 135863 w 830147"/>
                <a:gd name="csY607" fmla="*/ 1165424 h 1880156"/>
                <a:gd name="csX608" fmla="*/ 135863 w 830147"/>
                <a:gd name="csY608" fmla="*/ 1153596 h 1880156"/>
                <a:gd name="csX609" fmla="*/ 114192 w 830147"/>
                <a:gd name="csY609" fmla="*/ 1153596 h 1880156"/>
                <a:gd name="csX610" fmla="*/ 114192 w 830147"/>
                <a:gd name="csY610" fmla="*/ 1165424 h 1880156"/>
                <a:gd name="csX611" fmla="*/ 114192 w 830147"/>
                <a:gd name="csY611" fmla="*/ 1120140 h 1880156"/>
                <a:gd name="csX612" fmla="*/ 135863 w 830147"/>
                <a:gd name="csY612" fmla="*/ 1120140 h 1880156"/>
                <a:gd name="csX613" fmla="*/ 135863 w 830147"/>
                <a:gd name="csY613" fmla="*/ 1108317 h 1880156"/>
                <a:gd name="csX614" fmla="*/ 114192 w 830147"/>
                <a:gd name="csY614" fmla="*/ 1108317 h 1880156"/>
                <a:gd name="csX615" fmla="*/ 135863 w 830147"/>
                <a:gd name="csY615" fmla="*/ 1034563 h 1880156"/>
                <a:gd name="csX616" fmla="*/ 114192 w 830147"/>
                <a:gd name="csY616" fmla="*/ 1034563 h 1880156"/>
                <a:gd name="csX617" fmla="*/ 114192 w 830147"/>
                <a:gd name="csY617" fmla="*/ 1060623 h 1880156"/>
                <a:gd name="csX618" fmla="*/ 135863 w 830147"/>
                <a:gd name="csY618" fmla="*/ 1060623 h 1880156"/>
                <a:gd name="csX619" fmla="*/ 135863 w 830147"/>
                <a:gd name="csY619" fmla="*/ 1105908 h 1880156"/>
                <a:gd name="csX620" fmla="*/ 135863 w 830147"/>
                <a:gd name="csY620" fmla="*/ 1094079 h 1880156"/>
                <a:gd name="csX621" fmla="*/ 114192 w 830147"/>
                <a:gd name="csY621" fmla="*/ 1094079 h 1880156"/>
                <a:gd name="csX622" fmla="*/ 114192 w 830147"/>
                <a:gd name="csY622" fmla="*/ 1105908 h 1880156"/>
                <a:gd name="csX623" fmla="*/ 114192 w 830147"/>
                <a:gd name="csY623" fmla="*/ 1001107 h 1880156"/>
                <a:gd name="csX624" fmla="*/ 135863 w 830147"/>
                <a:gd name="csY624" fmla="*/ 1001107 h 1880156"/>
                <a:gd name="csX625" fmla="*/ 135863 w 830147"/>
                <a:gd name="csY625" fmla="*/ 989278 h 1880156"/>
                <a:gd name="csX626" fmla="*/ 114192 w 830147"/>
                <a:gd name="csY626" fmla="*/ 989278 h 1880156"/>
                <a:gd name="csX627" fmla="*/ 135863 w 830147"/>
                <a:gd name="csY627" fmla="*/ 986875 h 1880156"/>
                <a:gd name="csX628" fmla="*/ 135863 w 830147"/>
                <a:gd name="csY628" fmla="*/ 975046 h 1880156"/>
                <a:gd name="csX629" fmla="*/ 114192 w 830147"/>
                <a:gd name="csY629" fmla="*/ 975046 h 1880156"/>
                <a:gd name="csX630" fmla="*/ 114192 w 830147"/>
                <a:gd name="csY630" fmla="*/ 986875 h 1880156"/>
                <a:gd name="csX631" fmla="*/ 114192 w 830147"/>
                <a:gd name="csY631" fmla="*/ 941590 h 1880156"/>
                <a:gd name="csX632" fmla="*/ 135863 w 830147"/>
                <a:gd name="csY632" fmla="*/ 941590 h 1880156"/>
                <a:gd name="csX633" fmla="*/ 135863 w 830147"/>
                <a:gd name="csY633" fmla="*/ 929762 h 1880156"/>
                <a:gd name="csX634" fmla="*/ 114192 w 830147"/>
                <a:gd name="csY634" fmla="*/ 929762 h 1880156"/>
                <a:gd name="csX635" fmla="*/ 135863 w 830147"/>
                <a:gd name="csY635" fmla="*/ 856013 h 1880156"/>
                <a:gd name="csX636" fmla="*/ 114192 w 830147"/>
                <a:gd name="csY636" fmla="*/ 856013 h 1880156"/>
                <a:gd name="csX637" fmla="*/ 114192 w 830147"/>
                <a:gd name="csY637" fmla="*/ 882074 h 1880156"/>
                <a:gd name="csX638" fmla="*/ 135863 w 830147"/>
                <a:gd name="csY638" fmla="*/ 882074 h 1880156"/>
                <a:gd name="csX639" fmla="*/ 135863 w 830147"/>
                <a:gd name="csY639" fmla="*/ 927359 h 1880156"/>
                <a:gd name="csX640" fmla="*/ 135863 w 830147"/>
                <a:gd name="csY640" fmla="*/ 915530 h 1880156"/>
                <a:gd name="csX641" fmla="*/ 114192 w 830147"/>
                <a:gd name="csY641" fmla="*/ 915530 h 1880156"/>
                <a:gd name="csX642" fmla="*/ 114192 w 830147"/>
                <a:gd name="csY642" fmla="*/ 927359 h 1880156"/>
                <a:gd name="csX643" fmla="*/ 114192 w 830147"/>
                <a:gd name="csY643" fmla="*/ 822557 h 1880156"/>
                <a:gd name="csX644" fmla="*/ 135863 w 830147"/>
                <a:gd name="csY644" fmla="*/ 822557 h 1880156"/>
                <a:gd name="csX645" fmla="*/ 135863 w 830147"/>
                <a:gd name="csY645" fmla="*/ 810734 h 1880156"/>
                <a:gd name="csX646" fmla="*/ 114192 w 830147"/>
                <a:gd name="csY646" fmla="*/ 810734 h 1880156"/>
                <a:gd name="csX647" fmla="*/ 135863 w 830147"/>
                <a:gd name="csY647" fmla="*/ 808326 h 1880156"/>
                <a:gd name="csX648" fmla="*/ 135863 w 830147"/>
                <a:gd name="csY648" fmla="*/ 796497 h 1880156"/>
                <a:gd name="csX649" fmla="*/ 114192 w 830147"/>
                <a:gd name="csY649" fmla="*/ 796497 h 1880156"/>
                <a:gd name="csX650" fmla="*/ 114192 w 830147"/>
                <a:gd name="csY650" fmla="*/ 808326 h 1880156"/>
                <a:gd name="csX651" fmla="*/ 114192 w 830147"/>
                <a:gd name="csY651" fmla="*/ 763046 h 1880156"/>
                <a:gd name="csX652" fmla="*/ 135863 w 830147"/>
                <a:gd name="csY652" fmla="*/ 763046 h 1880156"/>
                <a:gd name="csX653" fmla="*/ 135863 w 830147"/>
                <a:gd name="csY653" fmla="*/ 751212 h 1880156"/>
                <a:gd name="csX654" fmla="*/ 114192 w 830147"/>
                <a:gd name="csY654" fmla="*/ 751212 h 1880156"/>
                <a:gd name="csX655" fmla="*/ 135863 w 830147"/>
                <a:gd name="csY655" fmla="*/ 748809 h 1880156"/>
                <a:gd name="csX656" fmla="*/ 135863 w 830147"/>
                <a:gd name="csY656" fmla="*/ 736980 h 1880156"/>
                <a:gd name="csX657" fmla="*/ 114192 w 830147"/>
                <a:gd name="csY657" fmla="*/ 736980 h 1880156"/>
                <a:gd name="csX658" fmla="*/ 114192 w 830147"/>
                <a:gd name="csY658" fmla="*/ 748809 h 1880156"/>
                <a:gd name="csX659" fmla="*/ 114192 w 830147"/>
                <a:gd name="csY659" fmla="*/ 703530 h 1880156"/>
                <a:gd name="csX660" fmla="*/ 135863 w 830147"/>
                <a:gd name="csY660" fmla="*/ 703530 h 1880156"/>
                <a:gd name="csX661" fmla="*/ 135863 w 830147"/>
                <a:gd name="csY661" fmla="*/ 691701 h 1880156"/>
                <a:gd name="csX662" fmla="*/ 114192 w 830147"/>
                <a:gd name="csY662" fmla="*/ 691701 h 1880156"/>
                <a:gd name="csX663" fmla="*/ 135863 w 830147"/>
                <a:gd name="csY663" fmla="*/ 689298 h 1880156"/>
                <a:gd name="csX664" fmla="*/ 135863 w 830147"/>
                <a:gd name="csY664" fmla="*/ 677469 h 1880156"/>
                <a:gd name="csX665" fmla="*/ 114192 w 830147"/>
                <a:gd name="csY665" fmla="*/ 677469 h 1880156"/>
                <a:gd name="csX666" fmla="*/ 114192 w 830147"/>
                <a:gd name="csY666" fmla="*/ 689298 h 1880156"/>
                <a:gd name="csX667" fmla="*/ 114192 w 830147"/>
                <a:gd name="csY667" fmla="*/ 644013 h 1880156"/>
                <a:gd name="csX668" fmla="*/ 135863 w 830147"/>
                <a:gd name="csY668" fmla="*/ 644013 h 1880156"/>
                <a:gd name="csX669" fmla="*/ 135863 w 830147"/>
                <a:gd name="csY669" fmla="*/ 632185 h 1880156"/>
                <a:gd name="csX670" fmla="*/ 114192 w 830147"/>
                <a:gd name="csY670" fmla="*/ 632185 h 1880156"/>
                <a:gd name="csX671" fmla="*/ 135863 w 830147"/>
                <a:gd name="csY671" fmla="*/ 629776 h 1880156"/>
                <a:gd name="csX672" fmla="*/ 135863 w 830147"/>
                <a:gd name="csY672" fmla="*/ 617948 h 1880156"/>
                <a:gd name="csX673" fmla="*/ 114192 w 830147"/>
                <a:gd name="csY673" fmla="*/ 617948 h 1880156"/>
                <a:gd name="csX674" fmla="*/ 114192 w 830147"/>
                <a:gd name="csY674" fmla="*/ 629776 h 1880156"/>
                <a:gd name="csX675" fmla="*/ 114192 w 830147"/>
                <a:gd name="csY675" fmla="*/ 584491 h 1880156"/>
                <a:gd name="csX676" fmla="*/ 135863 w 830147"/>
                <a:gd name="csY676" fmla="*/ 584491 h 1880156"/>
                <a:gd name="csX677" fmla="*/ 135863 w 830147"/>
                <a:gd name="csY677" fmla="*/ 572668 h 1880156"/>
                <a:gd name="csX678" fmla="*/ 114192 w 830147"/>
                <a:gd name="csY678" fmla="*/ 572668 h 1880156"/>
                <a:gd name="csX679" fmla="*/ 135863 w 830147"/>
                <a:gd name="csY679" fmla="*/ 1167833 h 1880156"/>
                <a:gd name="csX680" fmla="*/ 114192 w 830147"/>
                <a:gd name="csY680" fmla="*/ 1167833 h 1880156"/>
                <a:gd name="csX681" fmla="*/ 114192 w 830147"/>
                <a:gd name="csY681" fmla="*/ 1174938 h 1880156"/>
                <a:gd name="csX682" fmla="*/ 135863 w 830147"/>
                <a:gd name="csY682" fmla="*/ 1174938 h 1880156"/>
                <a:gd name="csX683" fmla="*/ 50385 w 830147"/>
                <a:gd name="csY683" fmla="*/ 120775 h 1880156"/>
                <a:gd name="csX684" fmla="*/ 50385 w 830147"/>
                <a:gd name="csY684" fmla="*/ 173873 h 1880156"/>
                <a:gd name="csX685" fmla="*/ 153968 w 830147"/>
                <a:gd name="csY685" fmla="*/ 173873 h 1880156"/>
                <a:gd name="csX686" fmla="*/ 153968 w 830147"/>
                <a:gd name="csY686" fmla="*/ 120775 h 1880156"/>
                <a:gd name="csX687" fmla="*/ 153968 w 830147"/>
                <a:gd name="csY687" fmla="*/ 113144 h 1880156"/>
                <a:gd name="csX688" fmla="*/ 153968 w 830147"/>
                <a:gd name="csY688" fmla="*/ 77460 h 1880156"/>
                <a:gd name="csX689" fmla="*/ 119459 w 830147"/>
                <a:gd name="csY689" fmla="*/ 77460 h 1880156"/>
                <a:gd name="csX690" fmla="*/ 119459 w 830147"/>
                <a:gd name="csY690" fmla="*/ 113144 h 1880156"/>
                <a:gd name="csX691" fmla="*/ 113753 w 830147"/>
                <a:gd name="csY691" fmla="*/ 113144 h 1880156"/>
                <a:gd name="csX692" fmla="*/ 113753 w 830147"/>
                <a:gd name="csY692" fmla="*/ 77460 h 1880156"/>
                <a:gd name="csX693" fmla="*/ 90546 w 830147"/>
                <a:gd name="csY693" fmla="*/ 77460 h 1880156"/>
                <a:gd name="csX694" fmla="*/ 90546 w 830147"/>
                <a:gd name="csY694" fmla="*/ 113144 h 1880156"/>
                <a:gd name="csX695" fmla="*/ 84895 w 830147"/>
                <a:gd name="csY695" fmla="*/ 113144 h 1880156"/>
                <a:gd name="csX696" fmla="*/ 84895 w 830147"/>
                <a:gd name="csY696" fmla="*/ 77460 h 1880156"/>
                <a:gd name="csX697" fmla="*/ 50385 w 830147"/>
                <a:gd name="csY697" fmla="*/ 77460 h 1880156"/>
                <a:gd name="csX698" fmla="*/ 50385 w 830147"/>
                <a:gd name="csY698" fmla="*/ 113144 h 1880156"/>
                <a:gd name="csX699" fmla="*/ 279991 w 830147"/>
                <a:gd name="csY699" fmla="*/ 67162 h 1880156"/>
                <a:gd name="csX700" fmla="*/ 270993 w 830147"/>
                <a:gd name="csY700" fmla="*/ 67162 h 1880156"/>
                <a:gd name="csX701" fmla="*/ 270993 w 830147"/>
                <a:gd name="csY701" fmla="*/ 119727 h 1880156"/>
                <a:gd name="csX702" fmla="*/ 279991 w 830147"/>
                <a:gd name="csY702" fmla="*/ 119727 h 1880156"/>
                <a:gd name="csX703" fmla="*/ 227651 w 830147"/>
                <a:gd name="csY703" fmla="*/ 67162 h 1880156"/>
                <a:gd name="csX704" fmla="*/ 218598 w 830147"/>
                <a:gd name="csY704" fmla="*/ 67162 h 1880156"/>
                <a:gd name="csX705" fmla="*/ 218598 w 830147"/>
                <a:gd name="csY705" fmla="*/ 119727 h 1880156"/>
                <a:gd name="csX706" fmla="*/ 227651 w 830147"/>
                <a:gd name="csY706" fmla="*/ 119727 h 1880156"/>
                <a:gd name="csX707" fmla="*/ 175256 w 830147"/>
                <a:gd name="csY707" fmla="*/ 67162 h 1880156"/>
                <a:gd name="csX708" fmla="*/ 167191 w 830147"/>
                <a:gd name="csY708" fmla="*/ 67162 h 1880156"/>
                <a:gd name="csX709" fmla="*/ 167191 w 830147"/>
                <a:gd name="csY709" fmla="*/ 119727 h 1880156"/>
                <a:gd name="csX710" fmla="*/ 175256 w 830147"/>
                <a:gd name="csY710" fmla="*/ 119727 h 1880156"/>
                <a:gd name="csX711" fmla="*/ 45393 w 830147"/>
                <a:gd name="csY711" fmla="*/ 216293 h 1880156"/>
                <a:gd name="csX712" fmla="*/ 64375 w 830147"/>
                <a:gd name="csY712" fmla="*/ 216293 h 1880156"/>
                <a:gd name="csX713" fmla="*/ 64375 w 830147"/>
                <a:gd name="csY713" fmla="*/ 204218 h 1880156"/>
                <a:gd name="csX714" fmla="*/ 45393 w 830147"/>
                <a:gd name="csY714" fmla="*/ 204218 h 1880156"/>
                <a:gd name="csX715" fmla="*/ 45393 w 830147"/>
                <a:gd name="csY715" fmla="*/ 284287 h 1880156"/>
                <a:gd name="csX716" fmla="*/ 64375 w 830147"/>
                <a:gd name="csY716" fmla="*/ 284287 h 1880156"/>
                <a:gd name="csX717" fmla="*/ 64375 w 830147"/>
                <a:gd name="csY717" fmla="*/ 271613 h 1880156"/>
                <a:gd name="csX718" fmla="*/ 45393 w 830147"/>
                <a:gd name="csY718" fmla="*/ 271613 h 1880156"/>
                <a:gd name="csX719" fmla="*/ 45393 w 830147"/>
                <a:gd name="csY719" fmla="*/ 299358 h 1880156"/>
                <a:gd name="csX720" fmla="*/ 64375 w 830147"/>
                <a:gd name="csY720" fmla="*/ 299358 h 1880156"/>
                <a:gd name="csX721" fmla="*/ 64375 w 830147"/>
                <a:gd name="csY721" fmla="*/ 286690 h 1880156"/>
                <a:gd name="csX722" fmla="*/ 45393 w 830147"/>
                <a:gd name="csY722" fmla="*/ 286690 h 1880156"/>
                <a:gd name="csX723" fmla="*/ 45393 w 830147"/>
                <a:gd name="csY723" fmla="*/ 314434 h 1880156"/>
                <a:gd name="csX724" fmla="*/ 64375 w 830147"/>
                <a:gd name="csY724" fmla="*/ 314434 h 1880156"/>
                <a:gd name="csX725" fmla="*/ 64375 w 830147"/>
                <a:gd name="csY725" fmla="*/ 301766 h 1880156"/>
                <a:gd name="csX726" fmla="*/ 45393 w 830147"/>
                <a:gd name="csY726" fmla="*/ 301766 h 1880156"/>
                <a:gd name="csX727" fmla="*/ 45393 w 830147"/>
                <a:gd name="csY727" fmla="*/ 329511 h 1880156"/>
                <a:gd name="csX728" fmla="*/ 64375 w 830147"/>
                <a:gd name="csY728" fmla="*/ 329511 h 1880156"/>
                <a:gd name="csX729" fmla="*/ 64375 w 830147"/>
                <a:gd name="csY729" fmla="*/ 316843 h 1880156"/>
                <a:gd name="csX730" fmla="*/ 45393 w 830147"/>
                <a:gd name="csY730" fmla="*/ 316843 h 1880156"/>
                <a:gd name="csX731" fmla="*/ 64375 w 830147"/>
                <a:gd name="csY731" fmla="*/ 508603 h 1880156"/>
                <a:gd name="csX732" fmla="*/ 64375 w 830147"/>
                <a:gd name="csY732" fmla="*/ 496522 h 1880156"/>
                <a:gd name="csX733" fmla="*/ 45393 w 830147"/>
                <a:gd name="csY733" fmla="*/ 496522 h 1880156"/>
                <a:gd name="csX734" fmla="*/ 45393 w 830147"/>
                <a:gd name="csY734" fmla="*/ 508603 h 1880156"/>
                <a:gd name="csX735" fmla="*/ 45393 w 830147"/>
                <a:gd name="csY735" fmla="*/ 464290 h 1880156"/>
                <a:gd name="csX736" fmla="*/ 64375 w 830147"/>
                <a:gd name="csY736" fmla="*/ 464290 h 1880156"/>
                <a:gd name="csX737" fmla="*/ 64375 w 830147"/>
                <a:gd name="csY737" fmla="*/ 452214 h 1880156"/>
                <a:gd name="csX738" fmla="*/ 45393 w 830147"/>
                <a:gd name="csY738" fmla="*/ 452214 h 1880156"/>
                <a:gd name="csX739" fmla="*/ 64375 w 830147"/>
                <a:gd name="csY739" fmla="*/ 449811 h 1880156"/>
                <a:gd name="csX740" fmla="*/ 64375 w 830147"/>
                <a:gd name="csY740" fmla="*/ 437730 h 1880156"/>
                <a:gd name="csX741" fmla="*/ 45393 w 830147"/>
                <a:gd name="csY741" fmla="*/ 437730 h 1880156"/>
                <a:gd name="csX742" fmla="*/ 45393 w 830147"/>
                <a:gd name="csY742" fmla="*/ 449811 h 1880156"/>
                <a:gd name="csX743" fmla="*/ 45393 w 830147"/>
                <a:gd name="csY743" fmla="*/ 405498 h 1880156"/>
                <a:gd name="csX744" fmla="*/ 64375 w 830147"/>
                <a:gd name="csY744" fmla="*/ 405498 h 1880156"/>
                <a:gd name="csX745" fmla="*/ 64375 w 830147"/>
                <a:gd name="csY745" fmla="*/ 393422 h 1880156"/>
                <a:gd name="csX746" fmla="*/ 45393 w 830147"/>
                <a:gd name="csY746" fmla="*/ 393422 h 1880156"/>
                <a:gd name="csX747" fmla="*/ 64375 w 830147"/>
                <a:gd name="csY747" fmla="*/ 391019 h 1880156"/>
                <a:gd name="csX748" fmla="*/ 64375 w 830147"/>
                <a:gd name="csY748" fmla="*/ 378938 h 1880156"/>
                <a:gd name="csX749" fmla="*/ 45393 w 830147"/>
                <a:gd name="csY749" fmla="*/ 378938 h 1880156"/>
                <a:gd name="csX750" fmla="*/ 45393 w 830147"/>
                <a:gd name="csY750" fmla="*/ 391019 h 1880156"/>
                <a:gd name="csX751" fmla="*/ 45393 w 830147"/>
                <a:gd name="csY751" fmla="*/ 346705 h 1880156"/>
                <a:gd name="csX752" fmla="*/ 64375 w 830147"/>
                <a:gd name="csY752" fmla="*/ 346705 h 1880156"/>
                <a:gd name="csX753" fmla="*/ 64375 w 830147"/>
                <a:gd name="csY753" fmla="*/ 331919 h 1880156"/>
                <a:gd name="csX754" fmla="*/ 45393 w 830147"/>
                <a:gd name="csY754" fmla="*/ 331919 h 1880156"/>
                <a:gd name="csX755" fmla="*/ 64375 w 830147"/>
                <a:gd name="csY755" fmla="*/ 269210 h 1880156"/>
                <a:gd name="csX756" fmla="*/ 64375 w 830147"/>
                <a:gd name="csY756" fmla="*/ 254435 h 1880156"/>
                <a:gd name="csX757" fmla="*/ 45393 w 830147"/>
                <a:gd name="csY757" fmla="*/ 254435 h 1880156"/>
                <a:gd name="csX758" fmla="*/ 45393 w 830147"/>
                <a:gd name="csY758" fmla="*/ 269210 h 1880156"/>
                <a:gd name="csX759" fmla="*/ 45393 w 830147"/>
                <a:gd name="csY759" fmla="*/ 230778 h 1880156"/>
                <a:gd name="csX760" fmla="*/ 64375 w 830147"/>
                <a:gd name="csY760" fmla="*/ 230778 h 1880156"/>
                <a:gd name="csX761" fmla="*/ 64375 w 830147"/>
                <a:gd name="csY761" fmla="*/ 218697 h 1880156"/>
                <a:gd name="csX762" fmla="*/ 45393 w 830147"/>
                <a:gd name="csY762" fmla="*/ 218697 h 1880156"/>
                <a:gd name="csX763" fmla="*/ 64375 w 830147"/>
                <a:gd name="csY763" fmla="*/ 511012 h 1880156"/>
                <a:gd name="csX764" fmla="*/ 45393 w 830147"/>
                <a:gd name="csY764" fmla="*/ 511012 h 1880156"/>
                <a:gd name="csX765" fmla="*/ 45393 w 830147"/>
                <a:gd name="csY765" fmla="*/ 523082 h 1880156"/>
                <a:gd name="csX766" fmla="*/ 64375 w 830147"/>
                <a:gd name="csY766" fmla="*/ 523082 h 1880156"/>
                <a:gd name="csX767" fmla="*/ 102231 w 830147"/>
                <a:gd name="csY767" fmla="*/ 216293 h 1880156"/>
                <a:gd name="csX768" fmla="*/ 121215 w 830147"/>
                <a:gd name="csY768" fmla="*/ 216293 h 1880156"/>
                <a:gd name="csX769" fmla="*/ 121215 w 830147"/>
                <a:gd name="csY769" fmla="*/ 204218 h 1880156"/>
                <a:gd name="csX770" fmla="*/ 102231 w 830147"/>
                <a:gd name="csY770" fmla="*/ 204218 h 1880156"/>
                <a:gd name="csX771" fmla="*/ 102231 w 830147"/>
                <a:gd name="csY771" fmla="*/ 284287 h 1880156"/>
                <a:gd name="csX772" fmla="*/ 121215 w 830147"/>
                <a:gd name="csY772" fmla="*/ 284287 h 1880156"/>
                <a:gd name="csX773" fmla="*/ 121215 w 830147"/>
                <a:gd name="csY773" fmla="*/ 271613 h 1880156"/>
                <a:gd name="csX774" fmla="*/ 102231 w 830147"/>
                <a:gd name="csY774" fmla="*/ 271613 h 1880156"/>
                <a:gd name="csX775" fmla="*/ 102231 w 830147"/>
                <a:gd name="csY775" fmla="*/ 299358 h 1880156"/>
                <a:gd name="csX776" fmla="*/ 121215 w 830147"/>
                <a:gd name="csY776" fmla="*/ 299358 h 1880156"/>
                <a:gd name="csX777" fmla="*/ 121215 w 830147"/>
                <a:gd name="csY777" fmla="*/ 286690 h 1880156"/>
                <a:gd name="csX778" fmla="*/ 102231 w 830147"/>
                <a:gd name="csY778" fmla="*/ 286690 h 1880156"/>
                <a:gd name="csX779" fmla="*/ 102231 w 830147"/>
                <a:gd name="csY779" fmla="*/ 314434 h 1880156"/>
                <a:gd name="csX780" fmla="*/ 121215 w 830147"/>
                <a:gd name="csY780" fmla="*/ 314434 h 1880156"/>
                <a:gd name="csX781" fmla="*/ 121215 w 830147"/>
                <a:gd name="csY781" fmla="*/ 301766 h 1880156"/>
                <a:gd name="csX782" fmla="*/ 102231 w 830147"/>
                <a:gd name="csY782" fmla="*/ 301766 h 1880156"/>
                <a:gd name="csX783" fmla="*/ 102231 w 830147"/>
                <a:gd name="csY783" fmla="*/ 329511 h 1880156"/>
                <a:gd name="csX784" fmla="*/ 121215 w 830147"/>
                <a:gd name="csY784" fmla="*/ 329511 h 1880156"/>
                <a:gd name="csX785" fmla="*/ 121215 w 830147"/>
                <a:gd name="csY785" fmla="*/ 316843 h 1880156"/>
                <a:gd name="csX786" fmla="*/ 102231 w 830147"/>
                <a:gd name="csY786" fmla="*/ 316843 h 1880156"/>
                <a:gd name="csX787" fmla="*/ 121215 w 830147"/>
                <a:gd name="csY787" fmla="*/ 508603 h 1880156"/>
                <a:gd name="csX788" fmla="*/ 121215 w 830147"/>
                <a:gd name="csY788" fmla="*/ 496522 h 1880156"/>
                <a:gd name="csX789" fmla="*/ 102231 w 830147"/>
                <a:gd name="csY789" fmla="*/ 496522 h 1880156"/>
                <a:gd name="csX790" fmla="*/ 102231 w 830147"/>
                <a:gd name="csY790" fmla="*/ 508603 h 1880156"/>
                <a:gd name="csX791" fmla="*/ 102231 w 830147"/>
                <a:gd name="csY791" fmla="*/ 464290 h 1880156"/>
                <a:gd name="csX792" fmla="*/ 121215 w 830147"/>
                <a:gd name="csY792" fmla="*/ 464290 h 1880156"/>
                <a:gd name="csX793" fmla="*/ 121215 w 830147"/>
                <a:gd name="csY793" fmla="*/ 452214 h 1880156"/>
                <a:gd name="csX794" fmla="*/ 102231 w 830147"/>
                <a:gd name="csY794" fmla="*/ 452214 h 1880156"/>
                <a:gd name="csX795" fmla="*/ 121215 w 830147"/>
                <a:gd name="csY795" fmla="*/ 449811 h 1880156"/>
                <a:gd name="csX796" fmla="*/ 121215 w 830147"/>
                <a:gd name="csY796" fmla="*/ 437730 h 1880156"/>
                <a:gd name="csX797" fmla="*/ 102231 w 830147"/>
                <a:gd name="csY797" fmla="*/ 437730 h 1880156"/>
                <a:gd name="csX798" fmla="*/ 102231 w 830147"/>
                <a:gd name="csY798" fmla="*/ 449811 h 1880156"/>
                <a:gd name="csX799" fmla="*/ 102231 w 830147"/>
                <a:gd name="csY799" fmla="*/ 405498 h 1880156"/>
                <a:gd name="csX800" fmla="*/ 121215 w 830147"/>
                <a:gd name="csY800" fmla="*/ 405498 h 1880156"/>
                <a:gd name="csX801" fmla="*/ 121215 w 830147"/>
                <a:gd name="csY801" fmla="*/ 393422 h 1880156"/>
                <a:gd name="csX802" fmla="*/ 102231 w 830147"/>
                <a:gd name="csY802" fmla="*/ 393422 h 1880156"/>
                <a:gd name="csX803" fmla="*/ 121215 w 830147"/>
                <a:gd name="csY803" fmla="*/ 391019 h 1880156"/>
                <a:gd name="csX804" fmla="*/ 121215 w 830147"/>
                <a:gd name="csY804" fmla="*/ 378938 h 1880156"/>
                <a:gd name="csX805" fmla="*/ 102231 w 830147"/>
                <a:gd name="csY805" fmla="*/ 378938 h 1880156"/>
                <a:gd name="csX806" fmla="*/ 102231 w 830147"/>
                <a:gd name="csY806" fmla="*/ 391019 h 1880156"/>
                <a:gd name="csX807" fmla="*/ 102231 w 830147"/>
                <a:gd name="csY807" fmla="*/ 346705 h 1880156"/>
                <a:gd name="csX808" fmla="*/ 121215 w 830147"/>
                <a:gd name="csY808" fmla="*/ 346705 h 1880156"/>
                <a:gd name="csX809" fmla="*/ 121215 w 830147"/>
                <a:gd name="csY809" fmla="*/ 331919 h 1880156"/>
                <a:gd name="csX810" fmla="*/ 102231 w 830147"/>
                <a:gd name="csY810" fmla="*/ 331919 h 1880156"/>
                <a:gd name="csX811" fmla="*/ 121215 w 830147"/>
                <a:gd name="csY811" fmla="*/ 269210 h 1880156"/>
                <a:gd name="csX812" fmla="*/ 121215 w 830147"/>
                <a:gd name="csY812" fmla="*/ 254435 h 1880156"/>
                <a:gd name="csX813" fmla="*/ 102231 w 830147"/>
                <a:gd name="csY813" fmla="*/ 254435 h 1880156"/>
                <a:gd name="csX814" fmla="*/ 102231 w 830147"/>
                <a:gd name="csY814" fmla="*/ 269210 h 1880156"/>
                <a:gd name="csX815" fmla="*/ 102231 w 830147"/>
                <a:gd name="csY815" fmla="*/ 230778 h 1880156"/>
                <a:gd name="csX816" fmla="*/ 121215 w 830147"/>
                <a:gd name="csY816" fmla="*/ 230778 h 1880156"/>
                <a:gd name="csX817" fmla="*/ 121215 w 830147"/>
                <a:gd name="csY817" fmla="*/ 218697 h 1880156"/>
                <a:gd name="csX818" fmla="*/ 102231 w 830147"/>
                <a:gd name="csY818" fmla="*/ 218697 h 1880156"/>
                <a:gd name="csX819" fmla="*/ 121215 w 830147"/>
                <a:gd name="csY819" fmla="*/ 511012 h 1880156"/>
                <a:gd name="csX820" fmla="*/ 102231 w 830147"/>
                <a:gd name="csY820" fmla="*/ 511012 h 1880156"/>
                <a:gd name="csX821" fmla="*/ 102231 w 830147"/>
                <a:gd name="csY821" fmla="*/ 523082 h 1880156"/>
                <a:gd name="csX822" fmla="*/ 121215 w 830147"/>
                <a:gd name="csY822" fmla="*/ 523082 h 1880156"/>
                <a:gd name="csX823" fmla="*/ 323333 w 830147"/>
                <a:gd name="csY823" fmla="*/ 67162 h 1880156"/>
                <a:gd name="csX824" fmla="*/ 323333 w 830147"/>
                <a:gd name="csY824" fmla="*/ 119727 h 1880156"/>
                <a:gd name="csX825" fmla="*/ 331399 w 830147"/>
                <a:gd name="csY825" fmla="*/ 119727 h 1880156"/>
                <a:gd name="csX826" fmla="*/ 331399 w 830147"/>
                <a:gd name="csY826" fmla="*/ 67162 h 1880156"/>
                <a:gd name="csX827" fmla="*/ 331399 w 830147"/>
                <a:gd name="csY827" fmla="*/ 184171 h 1880156"/>
                <a:gd name="csX828" fmla="*/ 167191 w 830147"/>
                <a:gd name="csY828" fmla="*/ 184171 h 1880156"/>
                <a:gd name="csX829" fmla="*/ 167191 w 830147"/>
                <a:gd name="csY829" fmla="*/ 530593 h 1880156"/>
                <a:gd name="csX830" fmla="*/ 331399 w 830147"/>
                <a:gd name="csY830" fmla="*/ 530593 h 1880156"/>
                <a:gd name="csX831" fmla="*/ 331399 w 830147"/>
                <a:gd name="csY831" fmla="*/ 251439 h 1880156"/>
                <a:gd name="csX832" fmla="*/ 331399 w 830147"/>
                <a:gd name="csY832" fmla="*/ 186996 h 1880156"/>
                <a:gd name="csX833" fmla="*/ 446339 w 830147"/>
                <a:gd name="csY833" fmla="*/ 1380892 h 1880156"/>
                <a:gd name="csX834" fmla="*/ 446339 w 830147"/>
                <a:gd name="csY834" fmla="*/ 1205865 h 1880156"/>
                <a:gd name="csX835" fmla="*/ 442443 w 830147"/>
                <a:gd name="csY835" fmla="*/ 1205865 h 1880156"/>
                <a:gd name="csX836" fmla="*/ 442443 w 830147"/>
                <a:gd name="csY836" fmla="*/ 1844054 h 1880156"/>
                <a:gd name="csX837" fmla="*/ 470040 w 830147"/>
                <a:gd name="csY837" fmla="*/ 1844054 h 1880156"/>
                <a:gd name="csX838" fmla="*/ 470040 w 830147"/>
                <a:gd name="csY838" fmla="*/ 1380892 h 1880156"/>
                <a:gd name="csX839" fmla="*/ 492589 w 830147"/>
                <a:gd name="csY839" fmla="*/ 1380892 h 1880156"/>
                <a:gd name="csX840" fmla="*/ 492589 w 830147"/>
                <a:gd name="csY840" fmla="*/ 1844054 h 1880156"/>
                <a:gd name="csX841" fmla="*/ 520185 w 830147"/>
                <a:gd name="csY841" fmla="*/ 1844054 h 1880156"/>
                <a:gd name="csX842" fmla="*/ 520185 w 830147"/>
                <a:gd name="csY842" fmla="*/ 1380892 h 1880156"/>
                <a:gd name="csX843" fmla="*/ 542789 w 830147"/>
                <a:gd name="csY843" fmla="*/ 1380892 h 1880156"/>
                <a:gd name="csX844" fmla="*/ 542789 w 830147"/>
                <a:gd name="csY844" fmla="*/ 1844054 h 1880156"/>
                <a:gd name="csX845" fmla="*/ 542954 w 830147"/>
                <a:gd name="csY845" fmla="*/ 1844054 h 1880156"/>
                <a:gd name="csX846" fmla="*/ 542954 w 830147"/>
                <a:gd name="csY846" fmla="*/ 1777953 h 1880156"/>
                <a:gd name="csX847" fmla="*/ 637430 w 830147"/>
                <a:gd name="csY847" fmla="*/ 1777953 h 1880156"/>
                <a:gd name="csX848" fmla="*/ 637430 w 830147"/>
                <a:gd name="csY848" fmla="*/ 1380892 h 1880156"/>
                <a:gd name="csX849" fmla="*/ 766909 w 830147"/>
                <a:gd name="csY849" fmla="*/ 511012 h 1880156"/>
                <a:gd name="csX850" fmla="*/ 747926 w 830147"/>
                <a:gd name="csY850" fmla="*/ 511012 h 1880156"/>
                <a:gd name="csX851" fmla="*/ 747926 w 830147"/>
                <a:gd name="csY851" fmla="*/ 523082 h 1880156"/>
                <a:gd name="csX852" fmla="*/ 766909 w 830147"/>
                <a:gd name="csY852" fmla="*/ 523082 h 1880156"/>
                <a:gd name="csX853" fmla="*/ 766909 w 830147"/>
                <a:gd name="csY853" fmla="*/ 316843 h 1880156"/>
                <a:gd name="csX854" fmla="*/ 747926 w 830147"/>
                <a:gd name="csY854" fmla="*/ 316843 h 1880156"/>
                <a:gd name="csX855" fmla="*/ 747926 w 830147"/>
                <a:gd name="csY855" fmla="*/ 329511 h 1880156"/>
                <a:gd name="csX856" fmla="*/ 766909 w 830147"/>
                <a:gd name="csY856" fmla="*/ 329511 h 1880156"/>
                <a:gd name="csX857" fmla="*/ 766909 w 830147"/>
                <a:gd name="csY857" fmla="*/ 301766 h 1880156"/>
                <a:gd name="csX858" fmla="*/ 747926 w 830147"/>
                <a:gd name="csY858" fmla="*/ 301766 h 1880156"/>
                <a:gd name="csX859" fmla="*/ 747926 w 830147"/>
                <a:gd name="csY859" fmla="*/ 314434 h 1880156"/>
                <a:gd name="csX860" fmla="*/ 766909 w 830147"/>
                <a:gd name="csY860" fmla="*/ 314434 h 1880156"/>
                <a:gd name="csX861" fmla="*/ 766909 w 830147"/>
                <a:gd name="csY861" fmla="*/ 286690 h 1880156"/>
                <a:gd name="csX862" fmla="*/ 747926 w 830147"/>
                <a:gd name="csY862" fmla="*/ 286690 h 1880156"/>
                <a:gd name="csX863" fmla="*/ 747926 w 830147"/>
                <a:gd name="csY863" fmla="*/ 299358 h 1880156"/>
                <a:gd name="csX864" fmla="*/ 766909 w 830147"/>
                <a:gd name="csY864" fmla="*/ 299358 h 1880156"/>
                <a:gd name="csX865" fmla="*/ 766909 w 830147"/>
                <a:gd name="csY865" fmla="*/ 271613 h 1880156"/>
                <a:gd name="csX866" fmla="*/ 747926 w 830147"/>
                <a:gd name="csY866" fmla="*/ 271613 h 1880156"/>
                <a:gd name="csX867" fmla="*/ 747926 w 830147"/>
                <a:gd name="csY867" fmla="*/ 284287 h 1880156"/>
                <a:gd name="csX868" fmla="*/ 766909 w 830147"/>
                <a:gd name="csY868" fmla="*/ 284287 h 1880156"/>
                <a:gd name="csX869" fmla="*/ 747926 w 830147"/>
                <a:gd name="csY869" fmla="*/ 218697 h 1880156"/>
                <a:gd name="csX870" fmla="*/ 747926 w 830147"/>
                <a:gd name="csY870" fmla="*/ 230778 h 1880156"/>
                <a:gd name="csX871" fmla="*/ 766909 w 830147"/>
                <a:gd name="csY871" fmla="*/ 230778 h 1880156"/>
                <a:gd name="csX872" fmla="*/ 766909 w 830147"/>
                <a:gd name="csY872" fmla="*/ 218697 h 1880156"/>
                <a:gd name="csX873" fmla="*/ 766909 w 830147"/>
                <a:gd name="csY873" fmla="*/ 254435 h 1880156"/>
                <a:gd name="csX874" fmla="*/ 747926 w 830147"/>
                <a:gd name="csY874" fmla="*/ 254435 h 1880156"/>
                <a:gd name="csX875" fmla="*/ 747926 w 830147"/>
                <a:gd name="csY875" fmla="*/ 269210 h 1880156"/>
                <a:gd name="csX876" fmla="*/ 766909 w 830147"/>
                <a:gd name="csY876" fmla="*/ 269210 h 1880156"/>
                <a:gd name="csX877" fmla="*/ 747926 w 830147"/>
                <a:gd name="csY877" fmla="*/ 331919 h 1880156"/>
                <a:gd name="csX878" fmla="*/ 747926 w 830147"/>
                <a:gd name="csY878" fmla="*/ 346705 h 1880156"/>
                <a:gd name="csX879" fmla="*/ 766909 w 830147"/>
                <a:gd name="csY879" fmla="*/ 346705 h 1880156"/>
                <a:gd name="csX880" fmla="*/ 766909 w 830147"/>
                <a:gd name="csY880" fmla="*/ 331919 h 1880156"/>
                <a:gd name="csX881" fmla="*/ 766909 w 830147"/>
                <a:gd name="csY881" fmla="*/ 378938 h 1880156"/>
                <a:gd name="csX882" fmla="*/ 747926 w 830147"/>
                <a:gd name="csY882" fmla="*/ 378938 h 1880156"/>
                <a:gd name="csX883" fmla="*/ 747926 w 830147"/>
                <a:gd name="csY883" fmla="*/ 391019 h 1880156"/>
                <a:gd name="csX884" fmla="*/ 766909 w 830147"/>
                <a:gd name="csY884" fmla="*/ 391019 h 1880156"/>
                <a:gd name="csX885" fmla="*/ 747926 w 830147"/>
                <a:gd name="csY885" fmla="*/ 393422 h 1880156"/>
                <a:gd name="csX886" fmla="*/ 747926 w 830147"/>
                <a:gd name="csY886" fmla="*/ 405498 h 1880156"/>
                <a:gd name="csX887" fmla="*/ 766909 w 830147"/>
                <a:gd name="csY887" fmla="*/ 405498 h 1880156"/>
                <a:gd name="csX888" fmla="*/ 766909 w 830147"/>
                <a:gd name="csY888" fmla="*/ 393422 h 1880156"/>
                <a:gd name="csX889" fmla="*/ 766909 w 830147"/>
                <a:gd name="csY889" fmla="*/ 437730 h 1880156"/>
                <a:gd name="csX890" fmla="*/ 747926 w 830147"/>
                <a:gd name="csY890" fmla="*/ 437730 h 1880156"/>
                <a:gd name="csX891" fmla="*/ 747926 w 830147"/>
                <a:gd name="csY891" fmla="*/ 449811 h 1880156"/>
                <a:gd name="csX892" fmla="*/ 766909 w 830147"/>
                <a:gd name="csY892" fmla="*/ 449811 h 1880156"/>
                <a:gd name="csX893" fmla="*/ 747926 w 830147"/>
                <a:gd name="csY893" fmla="*/ 452214 h 1880156"/>
                <a:gd name="csX894" fmla="*/ 747926 w 830147"/>
                <a:gd name="csY894" fmla="*/ 464290 h 1880156"/>
                <a:gd name="csX895" fmla="*/ 766909 w 830147"/>
                <a:gd name="csY895" fmla="*/ 464290 h 1880156"/>
                <a:gd name="csX896" fmla="*/ 766909 w 830147"/>
                <a:gd name="csY896" fmla="*/ 452214 h 1880156"/>
                <a:gd name="csX897" fmla="*/ 766909 w 830147"/>
                <a:gd name="csY897" fmla="*/ 496522 h 1880156"/>
                <a:gd name="csX898" fmla="*/ 747926 w 830147"/>
                <a:gd name="csY898" fmla="*/ 496522 h 1880156"/>
                <a:gd name="csX899" fmla="*/ 747926 w 830147"/>
                <a:gd name="csY899" fmla="*/ 508603 h 1880156"/>
                <a:gd name="csX900" fmla="*/ 766909 w 830147"/>
                <a:gd name="csY900" fmla="*/ 508603 h 1880156"/>
                <a:gd name="csX901" fmla="*/ 747926 w 830147"/>
                <a:gd name="csY901" fmla="*/ 216293 h 1880156"/>
                <a:gd name="csX902" fmla="*/ 766909 w 830147"/>
                <a:gd name="csY902" fmla="*/ 216293 h 1880156"/>
                <a:gd name="csX903" fmla="*/ 766909 w 830147"/>
                <a:gd name="csY903" fmla="*/ 204218 h 1880156"/>
                <a:gd name="csX904" fmla="*/ 747926 w 830147"/>
                <a:gd name="csY904" fmla="*/ 204218 h 1880156"/>
                <a:gd name="csX905" fmla="*/ 710070 w 830147"/>
                <a:gd name="csY905" fmla="*/ 511012 h 1880156"/>
                <a:gd name="csX906" fmla="*/ 691087 w 830147"/>
                <a:gd name="csY906" fmla="*/ 511012 h 1880156"/>
                <a:gd name="csX907" fmla="*/ 691087 w 830147"/>
                <a:gd name="csY907" fmla="*/ 523082 h 1880156"/>
                <a:gd name="csX908" fmla="*/ 710070 w 830147"/>
                <a:gd name="csY908" fmla="*/ 523082 h 1880156"/>
                <a:gd name="csX909" fmla="*/ 710070 w 830147"/>
                <a:gd name="csY909" fmla="*/ 316843 h 1880156"/>
                <a:gd name="csX910" fmla="*/ 691087 w 830147"/>
                <a:gd name="csY910" fmla="*/ 316843 h 1880156"/>
                <a:gd name="csX911" fmla="*/ 691087 w 830147"/>
                <a:gd name="csY911" fmla="*/ 329511 h 1880156"/>
                <a:gd name="csX912" fmla="*/ 710070 w 830147"/>
                <a:gd name="csY912" fmla="*/ 329511 h 1880156"/>
                <a:gd name="csX913" fmla="*/ 710070 w 830147"/>
                <a:gd name="csY913" fmla="*/ 301766 h 1880156"/>
                <a:gd name="csX914" fmla="*/ 691087 w 830147"/>
                <a:gd name="csY914" fmla="*/ 301766 h 1880156"/>
                <a:gd name="csX915" fmla="*/ 691087 w 830147"/>
                <a:gd name="csY915" fmla="*/ 314434 h 1880156"/>
                <a:gd name="csX916" fmla="*/ 710070 w 830147"/>
                <a:gd name="csY916" fmla="*/ 314434 h 1880156"/>
                <a:gd name="csX917" fmla="*/ 710070 w 830147"/>
                <a:gd name="csY917" fmla="*/ 286690 h 1880156"/>
                <a:gd name="csX918" fmla="*/ 691087 w 830147"/>
                <a:gd name="csY918" fmla="*/ 286690 h 1880156"/>
                <a:gd name="csX919" fmla="*/ 691087 w 830147"/>
                <a:gd name="csY919" fmla="*/ 299358 h 1880156"/>
                <a:gd name="csX920" fmla="*/ 710070 w 830147"/>
                <a:gd name="csY920" fmla="*/ 299358 h 1880156"/>
                <a:gd name="csX921" fmla="*/ 710070 w 830147"/>
                <a:gd name="csY921" fmla="*/ 271613 h 1880156"/>
                <a:gd name="csX922" fmla="*/ 691087 w 830147"/>
                <a:gd name="csY922" fmla="*/ 271613 h 1880156"/>
                <a:gd name="csX923" fmla="*/ 691087 w 830147"/>
                <a:gd name="csY923" fmla="*/ 284287 h 1880156"/>
                <a:gd name="csX924" fmla="*/ 710070 w 830147"/>
                <a:gd name="csY924" fmla="*/ 284287 h 1880156"/>
                <a:gd name="csX925" fmla="*/ 691087 w 830147"/>
                <a:gd name="csY925" fmla="*/ 218697 h 1880156"/>
                <a:gd name="csX926" fmla="*/ 691087 w 830147"/>
                <a:gd name="csY926" fmla="*/ 230778 h 1880156"/>
                <a:gd name="csX927" fmla="*/ 710070 w 830147"/>
                <a:gd name="csY927" fmla="*/ 230778 h 1880156"/>
                <a:gd name="csX928" fmla="*/ 710070 w 830147"/>
                <a:gd name="csY928" fmla="*/ 218697 h 1880156"/>
                <a:gd name="csX929" fmla="*/ 710070 w 830147"/>
                <a:gd name="csY929" fmla="*/ 254435 h 1880156"/>
                <a:gd name="csX930" fmla="*/ 691087 w 830147"/>
                <a:gd name="csY930" fmla="*/ 254435 h 1880156"/>
                <a:gd name="csX931" fmla="*/ 691087 w 830147"/>
                <a:gd name="csY931" fmla="*/ 269210 h 1880156"/>
                <a:gd name="csX932" fmla="*/ 710070 w 830147"/>
                <a:gd name="csY932" fmla="*/ 269210 h 1880156"/>
                <a:gd name="csX933" fmla="*/ 691087 w 830147"/>
                <a:gd name="csY933" fmla="*/ 331919 h 1880156"/>
                <a:gd name="csX934" fmla="*/ 691087 w 830147"/>
                <a:gd name="csY934" fmla="*/ 346705 h 1880156"/>
                <a:gd name="csX935" fmla="*/ 710070 w 830147"/>
                <a:gd name="csY935" fmla="*/ 346705 h 1880156"/>
                <a:gd name="csX936" fmla="*/ 710070 w 830147"/>
                <a:gd name="csY936" fmla="*/ 331919 h 1880156"/>
                <a:gd name="csX937" fmla="*/ 710070 w 830147"/>
                <a:gd name="csY937" fmla="*/ 378938 h 1880156"/>
                <a:gd name="csX938" fmla="*/ 691087 w 830147"/>
                <a:gd name="csY938" fmla="*/ 378938 h 1880156"/>
                <a:gd name="csX939" fmla="*/ 691087 w 830147"/>
                <a:gd name="csY939" fmla="*/ 391019 h 1880156"/>
                <a:gd name="csX940" fmla="*/ 710070 w 830147"/>
                <a:gd name="csY940" fmla="*/ 391019 h 1880156"/>
                <a:gd name="csX941" fmla="*/ 691087 w 830147"/>
                <a:gd name="csY941" fmla="*/ 393422 h 1880156"/>
                <a:gd name="csX942" fmla="*/ 691087 w 830147"/>
                <a:gd name="csY942" fmla="*/ 405498 h 1880156"/>
                <a:gd name="csX943" fmla="*/ 710070 w 830147"/>
                <a:gd name="csY943" fmla="*/ 405498 h 1880156"/>
                <a:gd name="csX944" fmla="*/ 710070 w 830147"/>
                <a:gd name="csY944" fmla="*/ 393422 h 1880156"/>
                <a:gd name="csX945" fmla="*/ 710070 w 830147"/>
                <a:gd name="csY945" fmla="*/ 437730 h 1880156"/>
                <a:gd name="csX946" fmla="*/ 691087 w 830147"/>
                <a:gd name="csY946" fmla="*/ 437730 h 1880156"/>
                <a:gd name="csX947" fmla="*/ 691087 w 830147"/>
                <a:gd name="csY947" fmla="*/ 449811 h 1880156"/>
                <a:gd name="csX948" fmla="*/ 710070 w 830147"/>
                <a:gd name="csY948" fmla="*/ 449811 h 1880156"/>
                <a:gd name="csX949" fmla="*/ 691087 w 830147"/>
                <a:gd name="csY949" fmla="*/ 452214 h 1880156"/>
                <a:gd name="csX950" fmla="*/ 691087 w 830147"/>
                <a:gd name="csY950" fmla="*/ 464290 h 1880156"/>
                <a:gd name="csX951" fmla="*/ 710070 w 830147"/>
                <a:gd name="csY951" fmla="*/ 464290 h 1880156"/>
                <a:gd name="csX952" fmla="*/ 710070 w 830147"/>
                <a:gd name="csY952" fmla="*/ 452214 h 1880156"/>
                <a:gd name="csX953" fmla="*/ 710070 w 830147"/>
                <a:gd name="csY953" fmla="*/ 496522 h 1880156"/>
                <a:gd name="csX954" fmla="*/ 691087 w 830147"/>
                <a:gd name="csY954" fmla="*/ 496522 h 1880156"/>
                <a:gd name="csX955" fmla="*/ 691087 w 830147"/>
                <a:gd name="csY955" fmla="*/ 508603 h 1880156"/>
                <a:gd name="csX956" fmla="*/ 710070 w 830147"/>
                <a:gd name="csY956" fmla="*/ 508603 h 1880156"/>
                <a:gd name="csX957" fmla="*/ 691087 w 830147"/>
                <a:gd name="csY957" fmla="*/ 216293 h 1880156"/>
                <a:gd name="csX958" fmla="*/ 710070 w 830147"/>
                <a:gd name="csY958" fmla="*/ 216293 h 1880156"/>
                <a:gd name="csX959" fmla="*/ 710070 w 830147"/>
                <a:gd name="csY959" fmla="*/ 204218 h 1880156"/>
                <a:gd name="csX960" fmla="*/ 691087 w 830147"/>
                <a:gd name="csY960" fmla="*/ 204218 h 1880156"/>
                <a:gd name="csX961" fmla="*/ 658333 w 830147"/>
                <a:gd name="csY961" fmla="*/ 77460 h 1880156"/>
                <a:gd name="csX962" fmla="*/ 658333 w 830147"/>
                <a:gd name="csY962" fmla="*/ 113144 h 1880156"/>
                <a:gd name="csX963" fmla="*/ 692842 w 830147"/>
                <a:gd name="csY963" fmla="*/ 113144 h 1880156"/>
                <a:gd name="csX964" fmla="*/ 692842 w 830147"/>
                <a:gd name="csY964" fmla="*/ 77460 h 1880156"/>
                <a:gd name="csX965" fmla="*/ 698549 w 830147"/>
                <a:gd name="csY965" fmla="*/ 77460 h 1880156"/>
                <a:gd name="csX966" fmla="*/ 698549 w 830147"/>
                <a:gd name="csY966" fmla="*/ 113144 h 1880156"/>
                <a:gd name="csX967" fmla="*/ 721756 w 830147"/>
                <a:gd name="csY967" fmla="*/ 113144 h 1880156"/>
                <a:gd name="csX968" fmla="*/ 721756 w 830147"/>
                <a:gd name="csY968" fmla="*/ 77460 h 1880156"/>
                <a:gd name="csX969" fmla="*/ 727407 w 830147"/>
                <a:gd name="csY969" fmla="*/ 77460 h 1880156"/>
                <a:gd name="csX970" fmla="*/ 727407 w 830147"/>
                <a:gd name="csY970" fmla="*/ 113144 h 1880156"/>
                <a:gd name="csX971" fmla="*/ 761916 w 830147"/>
                <a:gd name="csY971" fmla="*/ 113144 h 1880156"/>
                <a:gd name="csX972" fmla="*/ 761916 w 830147"/>
                <a:gd name="csY972" fmla="*/ 77460 h 1880156"/>
                <a:gd name="csX973" fmla="*/ 761916 w 830147"/>
                <a:gd name="csY973" fmla="*/ 120775 h 1880156"/>
                <a:gd name="csX974" fmla="*/ 658333 w 830147"/>
                <a:gd name="csY974" fmla="*/ 120775 h 1880156"/>
                <a:gd name="csX975" fmla="*/ 658333 w 830147"/>
                <a:gd name="csY975" fmla="*/ 173873 h 1880156"/>
                <a:gd name="csX976" fmla="*/ 761916 w 830147"/>
                <a:gd name="csY976" fmla="*/ 173873 h 1880156"/>
                <a:gd name="csX977" fmla="*/ 645111 w 830147"/>
                <a:gd name="csY977" fmla="*/ 119727 h 1880156"/>
                <a:gd name="csX978" fmla="*/ 645111 w 830147"/>
                <a:gd name="csY978" fmla="*/ 67162 h 1880156"/>
                <a:gd name="csX979" fmla="*/ 637046 w 830147"/>
                <a:gd name="csY979" fmla="*/ 67162 h 1880156"/>
                <a:gd name="csX980" fmla="*/ 637046 w 830147"/>
                <a:gd name="csY980" fmla="*/ 119727 h 1880156"/>
                <a:gd name="csX981" fmla="*/ 593703 w 830147"/>
                <a:gd name="csY981" fmla="*/ 119727 h 1880156"/>
                <a:gd name="csX982" fmla="*/ 593703 w 830147"/>
                <a:gd name="csY982" fmla="*/ 67162 h 1880156"/>
                <a:gd name="csX983" fmla="*/ 584651 w 830147"/>
                <a:gd name="csY983" fmla="*/ 67162 h 1880156"/>
                <a:gd name="csX984" fmla="*/ 584651 w 830147"/>
                <a:gd name="csY984" fmla="*/ 119727 h 1880156"/>
                <a:gd name="csX985" fmla="*/ 532311 w 830147"/>
                <a:gd name="csY985" fmla="*/ 119727 h 1880156"/>
                <a:gd name="csX986" fmla="*/ 541308 w 830147"/>
                <a:gd name="csY986" fmla="*/ 119727 h 1880156"/>
                <a:gd name="csX987" fmla="*/ 541308 w 830147"/>
                <a:gd name="csY987" fmla="*/ 67162 h 1880156"/>
                <a:gd name="csX988" fmla="*/ 532311 w 830147"/>
                <a:gd name="csY988" fmla="*/ 67162 h 1880156"/>
                <a:gd name="csX989" fmla="*/ 676438 w 830147"/>
                <a:gd name="csY989" fmla="*/ 570260 h 1880156"/>
                <a:gd name="csX990" fmla="*/ 698055 w 830147"/>
                <a:gd name="csY990" fmla="*/ 570260 h 1880156"/>
                <a:gd name="csX991" fmla="*/ 698055 w 830147"/>
                <a:gd name="csY991" fmla="*/ 558431 h 1880156"/>
                <a:gd name="csX992" fmla="*/ 676438 w 830147"/>
                <a:gd name="csY992" fmla="*/ 558431 h 1880156"/>
                <a:gd name="csX993" fmla="*/ 698055 w 830147"/>
                <a:gd name="csY993" fmla="*/ 1165424 h 1880156"/>
                <a:gd name="csX994" fmla="*/ 698055 w 830147"/>
                <a:gd name="csY994" fmla="*/ 1153596 h 1880156"/>
                <a:gd name="csX995" fmla="*/ 676438 w 830147"/>
                <a:gd name="csY995" fmla="*/ 1153596 h 1880156"/>
                <a:gd name="csX996" fmla="*/ 676438 w 830147"/>
                <a:gd name="csY996" fmla="*/ 1165424 h 1880156"/>
                <a:gd name="csX997" fmla="*/ 676438 w 830147"/>
                <a:gd name="csY997" fmla="*/ 1120140 h 1880156"/>
                <a:gd name="csX998" fmla="*/ 698055 w 830147"/>
                <a:gd name="csY998" fmla="*/ 1120140 h 1880156"/>
                <a:gd name="csX999" fmla="*/ 698055 w 830147"/>
                <a:gd name="csY999" fmla="*/ 1108317 h 1880156"/>
                <a:gd name="csX1000" fmla="*/ 676438 w 830147"/>
                <a:gd name="csY1000" fmla="*/ 1108317 h 1880156"/>
                <a:gd name="csX1001" fmla="*/ 698055 w 830147"/>
                <a:gd name="csY1001" fmla="*/ 1034563 h 1880156"/>
                <a:gd name="csX1002" fmla="*/ 676438 w 830147"/>
                <a:gd name="csY1002" fmla="*/ 1034563 h 1880156"/>
                <a:gd name="csX1003" fmla="*/ 676438 w 830147"/>
                <a:gd name="csY1003" fmla="*/ 1060623 h 1880156"/>
                <a:gd name="csX1004" fmla="*/ 698055 w 830147"/>
                <a:gd name="csY1004" fmla="*/ 1060623 h 1880156"/>
                <a:gd name="csX1005" fmla="*/ 698055 w 830147"/>
                <a:gd name="csY1005" fmla="*/ 1105908 h 1880156"/>
                <a:gd name="csX1006" fmla="*/ 698055 w 830147"/>
                <a:gd name="csY1006" fmla="*/ 1094079 h 1880156"/>
                <a:gd name="csX1007" fmla="*/ 676438 w 830147"/>
                <a:gd name="csY1007" fmla="*/ 1094079 h 1880156"/>
                <a:gd name="csX1008" fmla="*/ 676438 w 830147"/>
                <a:gd name="csY1008" fmla="*/ 1105908 h 1880156"/>
                <a:gd name="csX1009" fmla="*/ 676438 w 830147"/>
                <a:gd name="csY1009" fmla="*/ 1001107 h 1880156"/>
                <a:gd name="csX1010" fmla="*/ 698055 w 830147"/>
                <a:gd name="csY1010" fmla="*/ 1001107 h 1880156"/>
                <a:gd name="csX1011" fmla="*/ 698055 w 830147"/>
                <a:gd name="csY1011" fmla="*/ 989278 h 1880156"/>
                <a:gd name="csX1012" fmla="*/ 676438 w 830147"/>
                <a:gd name="csY1012" fmla="*/ 989278 h 1880156"/>
                <a:gd name="csX1013" fmla="*/ 698055 w 830147"/>
                <a:gd name="csY1013" fmla="*/ 986875 h 1880156"/>
                <a:gd name="csX1014" fmla="*/ 698055 w 830147"/>
                <a:gd name="csY1014" fmla="*/ 975046 h 1880156"/>
                <a:gd name="csX1015" fmla="*/ 676438 w 830147"/>
                <a:gd name="csY1015" fmla="*/ 975046 h 1880156"/>
                <a:gd name="csX1016" fmla="*/ 676438 w 830147"/>
                <a:gd name="csY1016" fmla="*/ 986875 h 1880156"/>
                <a:gd name="csX1017" fmla="*/ 676438 w 830147"/>
                <a:gd name="csY1017" fmla="*/ 941590 h 1880156"/>
                <a:gd name="csX1018" fmla="*/ 698055 w 830147"/>
                <a:gd name="csY1018" fmla="*/ 941590 h 1880156"/>
                <a:gd name="csX1019" fmla="*/ 698055 w 830147"/>
                <a:gd name="csY1019" fmla="*/ 929762 h 1880156"/>
                <a:gd name="csX1020" fmla="*/ 676438 w 830147"/>
                <a:gd name="csY1020" fmla="*/ 929762 h 1880156"/>
                <a:gd name="csX1021" fmla="*/ 698055 w 830147"/>
                <a:gd name="csY1021" fmla="*/ 856013 h 1880156"/>
                <a:gd name="csX1022" fmla="*/ 676438 w 830147"/>
                <a:gd name="csY1022" fmla="*/ 856013 h 1880156"/>
                <a:gd name="csX1023" fmla="*/ 676438 w 830147"/>
                <a:gd name="csY1023" fmla="*/ 882074 h 1880156"/>
                <a:gd name="csX1024" fmla="*/ 698055 w 830147"/>
                <a:gd name="csY1024" fmla="*/ 882074 h 1880156"/>
                <a:gd name="csX1025" fmla="*/ 698055 w 830147"/>
                <a:gd name="csY1025" fmla="*/ 927359 h 1880156"/>
                <a:gd name="csX1026" fmla="*/ 698055 w 830147"/>
                <a:gd name="csY1026" fmla="*/ 915530 h 1880156"/>
                <a:gd name="csX1027" fmla="*/ 676438 w 830147"/>
                <a:gd name="csY1027" fmla="*/ 915530 h 1880156"/>
                <a:gd name="csX1028" fmla="*/ 676438 w 830147"/>
                <a:gd name="csY1028" fmla="*/ 927359 h 1880156"/>
                <a:gd name="csX1029" fmla="*/ 676438 w 830147"/>
                <a:gd name="csY1029" fmla="*/ 822557 h 1880156"/>
                <a:gd name="csX1030" fmla="*/ 698055 w 830147"/>
                <a:gd name="csY1030" fmla="*/ 822557 h 1880156"/>
                <a:gd name="csX1031" fmla="*/ 698055 w 830147"/>
                <a:gd name="csY1031" fmla="*/ 810734 h 1880156"/>
                <a:gd name="csX1032" fmla="*/ 676438 w 830147"/>
                <a:gd name="csY1032" fmla="*/ 810734 h 1880156"/>
                <a:gd name="csX1033" fmla="*/ 698055 w 830147"/>
                <a:gd name="csY1033" fmla="*/ 808326 h 1880156"/>
                <a:gd name="csX1034" fmla="*/ 698055 w 830147"/>
                <a:gd name="csY1034" fmla="*/ 796497 h 1880156"/>
                <a:gd name="csX1035" fmla="*/ 676438 w 830147"/>
                <a:gd name="csY1035" fmla="*/ 796497 h 1880156"/>
                <a:gd name="csX1036" fmla="*/ 676438 w 830147"/>
                <a:gd name="csY1036" fmla="*/ 808326 h 1880156"/>
                <a:gd name="csX1037" fmla="*/ 676438 w 830147"/>
                <a:gd name="csY1037" fmla="*/ 763046 h 1880156"/>
                <a:gd name="csX1038" fmla="*/ 698055 w 830147"/>
                <a:gd name="csY1038" fmla="*/ 763046 h 1880156"/>
                <a:gd name="csX1039" fmla="*/ 698055 w 830147"/>
                <a:gd name="csY1039" fmla="*/ 751212 h 1880156"/>
                <a:gd name="csX1040" fmla="*/ 676438 w 830147"/>
                <a:gd name="csY1040" fmla="*/ 751212 h 1880156"/>
                <a:gd name="csX1041" fmla="*/ 698055 w 830147"/>
                <a:gd name="csY1041" fmla="*/ 748809 h 1880156"/>
                <a:gd name="csX1042" fmla="*/ 698055 w 830147"/>
                <a:gd name="csY1042" fmla="*/ 736980 h 1880156"/>
                <a:gd name="csX1043" fmla="*/ 676438 w 830147"/>
                <a:gd name="csY1043" fmla="*/ 736980 h 1880156"/>
                <a:gd name="csX1044" fmla="*/ 676438 w 830147"/>
                <a:gd name="csY1044" fmla="*/ 748809 h 1880156"/>
                <a:gd name="csX1045" fmla="*/ 676438 w 830147"/>
                <a:gd name="csY1045" fmla="*/ 703530 h 1880156"/>
                <a:gd name="csX1046" fmla="*/ 698055 w 830147"/>
                <a:gd name="csY1046" fmla="*/ 703530 h 1880156"/>
                <a:gd name="csX1047" fmla="*/ 698055 w 830147"/>
                <a:gd name="csY1047" fmla="*/ 691701 h 1880156"/>
                <a:gd name="csX1048" fmla="*/ 676438 w 830147"/>
                <a:gd name="csY1048" fmla="*/ 691701 h 1880156"/>
                <a:gd name="csX1049" fmla="*/ 698055 w 830147"/>
                <a:gd name="csY1049" fmla="*/ 689298 h 1880156"/>
                <a:gd name="csX1050" fmla="*/ 698055 w 830147"/>
                <a:gd name="csY1050" fmla="*/ 677469 h 1880156"/>
                <a:gd name="csX1051" fmla="*/ 676438 w 830147"/>
                <a:gd name="csY1051" fmla="*/ 677469 h 1880156"/>
                <a:gd name="csX1052" fmla="*/ 676438 w 830147"/>
                <a:gd name="csY1052" fmla="*/ 689298 h 1880156"/>
                <a:gd name="csX1053" fmla="*/ 676438 w 830147"/>
                <a:gd name="csY1053" fmla="*/ 644013 h 1880156"/>
                <a:gd name="csX1054" fmla="*/ 698055 w 830147"/>
                <a:gd name="csY1054" fmla="*/ 644013 h 1880156"/>
                <a:gd name="csX1055" fmla="*/ 698055 w 830147"/>
                <a:gd name="csY1055" fmla="*/ 632185 h 1880156"/>
                <a:gd name="csX1056" fmla="*/ 676438 w 830147"/>
                <a:gd name="csY1056" fmla="*/ 632185 h 1880156"/>
                <a:gd name="csX1057" fmla="*/ 698055 w 830147"/>
                <a:gd name="csY1057" fmla="*/ 629776 h 1880156"/>
                <a:gd name="csX1058" fmla="*/ 698055 w 830147"/>
                <a:gd name="csY1058" fmla="*/ 617948 h 1880156"/>
                <a:gd name="csX1059" fmla="*/ 676438 w 830147"/>
                <a:gd name="csY1059" fmla="*/ 617948 h 1880156"/>
                <a:gd name="csX1060" fmla="*/ 676438 w 830147"/>
                <a:gd name="csY1060" fmla="*/ 629776 h 1880156"/>
                <a:gd name="csX1061" fmla="*/ 676438 w 830147"/>
                <a:gd name="csY1061" fmla="*/ 584491 h 1880156"/>
                <a:gd name="csX1062" fmla="*/ 698055 w 830147"/>
                <a:gd name="csY1062" fmla="*/ 584491 h 1880156"/>
                <a:gd name="csX1063" fmla="*/ 698055 w 830147"/>
                <a:gd name="csY1063" fmla="*/ 572668 h 1880156"/>
                <a:gd name="csX1064" fmla="*/ 676438 w 830147"/>
                <a:gd name="csY1064" fmla="*/ 572668 h 1880156"/>
                <a:gd name="csX1065" fmla="*/ 698055 w 830147"/>
                <a:gd name="csY1065" fmla="*/ 1167833 h 1880156"/>
                <a:gd name="csX1066" fmla="*/ 676438 w 830147"/>
                <a:gd name="csY1066" fmla="*/ 1167833 h 1880156"/>
                <a:gd name="csX1067" fmla="*/ 676438 w 830147"/>
                <a:gd name="csY1067" fmla="*/ 1174938 h 1880156"/>
                <a:gd name="csX1068" fmla="*/ 698055 w 830147"/>
                <a:gd name="csY1068" fmla="*/ 1174938 h 1880156"/>
                <a:gd name="csX1069" fmla="*/ 733936 w 830147"/>
                <a:gd name="csY1069" fmla="*/ 570260 h 1880156"/>
                <a:gd name="csX1070" fmla="*/ 755607 w 830147"/>
                <a:gd name="csY1070" fmla="*/ 570260 h 1880156"/>
                <a:gd name="csX1071" fmla="*/ 755607 w 830147"/>
                <a:gd name="csY1071" fmla="*/ 558431 h 1880156"/>
                <a:gd name="csX1072" fmla="*/ 733936 w 830147"/>
                <a:gd name="csY1072" fmla="*/ 558431 h 1880156"/>
                <a:gd name="csX1073" fmla="*/ 755607 w 830147"/>
                <a:gd name="csY1073" fmla="*/ 1165424 h 1880156"/>
                <a:gd name="csX1074" fmla="*/ 755607 w 830147"/>
                <a:gd name="csY1074" fmla="*/ 1153596 h 1880156"/>
                <a:gd name="csX1075" fmla="*/ 733936 w 830147"/>
                <a:gd name="csY1075" fmla="*/ 1153596 h 1880156"/>
                <a:gd name="csX1076" fmla="*/ 733936 w 830147"/>
                <a:gd name="csY1076" fmla="*/ 1165424 h 1880156"/>
                <a:gd name="csX1077" fmla="*/ 733936 w 830147"/>
                <a:gd name="csY1077" fmla="*/ 1120140 h 1880156"/>
                <a:gd name="csX1078" fmla="*/ 755607 w 830147"/>
                <a:gd name="csY1078" fmla="*/ 1120140 h 1880156"/>
                <a:gd name="csX1079" fmla="*/ 755607 w 830147"/>
                <a:gd name="csY1079" fmla="*/ 1108317 h 1880156"/>
                <a:gd name="csX1080" fmla="*/ 733936 w 830147"/>
                <a:gd name="csY1080" fmla="*/ 1108317 h 1880156"/>
                <a:gd name="csX1081" fmla="*/ 755607 w 830147"/>
                <a:gd name="csY1081" fmla="*/ 1105908 h 1880156"/>
                <a:gd name="csX1082" fmla="*/ 755607 w 830147"/>
                <a:gd name="csY1082" fmla="*/ 1094079 h 1880156"/>
                <a:gd name="csX1083" fmla="*/ 733936 w 830147"/>
                <a:gd name="csY1083" fmla="*/ 1094079 h 1880156"/>
                <a:gd name="csX1084" fmla="*/ 733936 w 830147"/>
                <a:gd name="csY1084" fmla="*/ 1105908 h 1880156"/>
                <a:gd name="csX1085" fmla="*/ 733936 w 830147"/>
                <a:gd name="csY1085" fmla="*/ 1060623 h 1880156"/>
                <a:gd name="csX1086" fmla="*/ 755607 w 830147"/>
                <a:gd name="csY1086" fmla="*/ 1060623 h 1880156"/>
                <a:gd name="csX1087" fmla="*/ 755607 w 830147"/>
                <a:gd name="csY1087" fmla="*/ 1048794 h 1880156"/>
                <a:gd name="csX1088" fmla="*/ 733936 w 830147"/>
                <a:gd name="csY1088" fmla="*/ 1048794 h 1880156"/>
                <a:gd name="csX1089" fmla="*/ 755607 w 830147"/>
                <a:gd name="csY1089" fmla="*/ 1046391 h 1880156"/>
                <a:gd name="csX1090" fmla="*/ 755607 w 830147"/>
                <a:gd name="csY1090" fmla="*/ 1034563 h 1880156"/>
                <a:gd name="csX1091" fmla="*/ 733936 w 830147"/>
                <a:gd name="csY1091" fmla="*/ 1034563 h 1880156"/>
                <a:gd name="csX1092" fmla="*/ 733936 w 830147"/>
                <a:gd name="csY1092" fmla="*/ 1046391 h 1880156"/>
                <a:gd name="csX1093" fmla="*/ 733936 w 830147"/>
                <a:gd name="csY1093" fmla="*/ 1001107 h 1880156"/>
                <a:gd name="csX1094" fmla="*/ 755607 w 830147"/>
                <a:gd name="csY1094" fmla="*/ 1001107 h 1880156"/>
                <a:gd name="csX1095" fmla="*/ 755607 w 830147"/>
                <a:gd name="csY1095" fmla="*/ 989278 h 1880156"/>
                <a:gd name="csX1096" fmla="*/ 733936 w 830147"/>
                <a:gd name="csY1096" fmla="*/ 989278 h 1880156"/>
                <a:gd name="csX1097" fmla="*/ 755607 w 830147"/>
                <a:gd name="csY1097" fmla="*/ 986875 h 1880156"/>
                <a:gd name="csX1098" fmla="*/ 755607 w 830147"/>
                <a:gd name="csY1098" fmla="*/ 975046 h 1880156"/>
                <a:gd name="csX1099" fmla="*/ 733936 w 830147"/>
                <a:gd name="csY1099" fmla="*/ 975046 h 1880156"/>
                <a:gd name="csX1100" fmla="*/ 733936 w 830147"/>
                <a:gd name="csY1100" fmla="*/ 986875 h 1880156"/>
                <a:gd name="csX1101" fmla="*/ 733936 w 830147"/>
                <a:gd name="csY1101" fmla="*/ 941590 h 1880156"/>
                <a:gd name="csX1102" fmla="*/ 755607 w 830147"/>
                <a:gd name="csY1102" fmla="*/ 941590 h 1880156"/>
                <a:gd name="csX1103" fmla="*/ 755607 w 830147"/>
                <a:gd name="csY1103" fmla="*/ 929762 h 1880156"/>
                <a:gd name="csX1104" fmla="*/ 733936 w 830147"/>
                <a:gd name="csY1104" fmla="*/ 929762 h 1880156"/>
                <a:gd name="csX1105" fmla="*/ 755607 w 830147"/>
                <a:gd name="csY1105" fmla="*/ 927359 h 1880156"/>
                <a:gd name="csX1106" fmla="*/ 755607 w 830147"/>
                <a:gd name="csY1106" fmla="*/ 915530 h 1880156"/>
                <a:gd name="csX1107" fmla="*/ 733936 w 830147"/>
                <a:gd name="csY1107" fmla="*/ 915530 h 1880156"/>
                <a:gd name="csX1108" fmla="*/ 733936 w 830147"/>
                <a:gd name="csY1108" fmla="*/ 927359 h 1880156"/>
                <a:gd name="csX1109" fmla="*/ 733936 w 830147"/>
                <a:gd name="csY1109" fmla="*/ 882074 h 1880156"/>
                <a:gd name="csX1110" fmla="*/ 755607 w 830147"/>
                <a:gd name="csY1110" fmla="*/ 882074 h 1880156"/>
                <a:gd name="csX1111" fmla="*/ 755607 w 830147"/>
                <a:gd name="csY1111" fmla="*/ 870245 h 1880156"/>
                <a:gd name="csX1112" fmla="*/ 733936 w 830147"/>
                <a:gd name="csY1112" fmla="*/ 870245 h 1880156"/>
                <a:gd name="csX1113" fmla="*/ 755607 w 830147"/>
                <a:gd name="csY1113" fmla="*/ 867847 h 1880156"/>
                <a:gd name="csX1114" fmla="*/ 755607 w 830147"/>
                <a:gd name="csY1114" fmla="*/ 856013 h 1880156"/>
                <a:gd name="csX1115" fmla="*/ 733936 w 830147"/>
                <a:gd name="csY1115" fmla="*/ 856013 h 1880156"/>
                <a:gd name="csX1116" fmla="*/ 733936 w 830147"/>
                <a:gd name="csY1116" fmla="*/ 867847 h 1880156"/>
                <a:gd name="csX1117" fmla="*/ 733936 w 830147"/>
                <a:gd name="csY1117" fmla="*/ 822557 h 1880156"/>
                <a:gd name="csX1118" fmla="*/ 755607 w 830147"/>
                <a:gd name="csY1118" fmla="*/ 822557 h 1880156"/>
                <a:gd name="csX1119" fmla="*/ 755607 w 830147"/>
                <a:gd name="csY1119" fmla="*/ 810734 h 1880156"/>
                <a:gd name="csX1120" fmla="*/ 733936 w 830147"/>
                <a:gd name="csY1120" fmla="*/ 810734 h 1880156"/>
                <a:gd name="csX1121" fmla="*/ 755607 w 830147"/>
                <a:gd name="csY1121" fmla="*/ 808326 h 1880156"/>
                <a:gd name="csX1122" fmla="*/ 755607 w 830147"/>
                <a:gd name="csY1122" fmla="*/ 796497 h 1880156"/>
                <a:gd name="csX1123" fmla="*/ 733936 w 830147"/>
                <a:gd name="csY1123" fmla="*/ 796497 h 1880156"/>
                <a:gd name="csX1124" fmla="*/ 733936 w 830147"/>
                <a:gd name="csY1124" fmla="*/ 808326 h 1880156"/>
                <a:gd name="csX1125" fmla="*/ 733936 w 830147"/>
                <a:gd name="csY1125" fmla="*/ 763046 h 1880156"/>
                <a:gd name="csX1126" fmla="*/ 755607 w 830147"/>
                <a:gd name="csY1126" fmla="*/ 763046 h 1880156"/>
                <a:gd name="csX1127" fmla="*/ 755607 w 830147"/>
                <a:gd name="csY1127" fmla="*/ 751212 h 1880156"/>
                <a:gd name="csX1128" fmla="*/ 733936 w 830147"/>
                <a:gd name="csY1128" fmla="*/ 751212 h 1880156"/>
                <a:gd name="csX1129" fmla="*/ 755607 w 830147"/>
                <a:gd name="csY1129" fmla="*/ 748809 h 1880156"/>
                <a:gd name="csX1130" fmla="*/ 755607 w 830147"/>
                <a:gd name="csY1130" fmla="*/ 736980 h 1880156"/>
                <a:gd name="csX1131" fmla="*/ 733936 w 830147"/>
                <a:gd name="csY1131" fmla="*/ 736980 h 1880156"/>
                <a:gd name="csX1132" fmla="*/ 733936 w 830147"/>
                <a:gd name="csY1132" fmla="*/ 748809 h 1880156"/>
                <a:gd name="csX1133" fmla="*/ 733936 w 830147"/>
                <a:gd name="csY1133" fmla="*/ 703530 h 1880156"/>
                <a:gd name="csX1134" fmla="*/ 755607 w 830147"/>
                <a:gd name="csY1134" fmla="*/ 703530 h 1880156"/>
                <a:gd name="csX1135" fmla="*/ 755607 w 830147"/>
                <a:gd name="csY1135" fmla="*/ 691701 h 1880156"/>
                <a:gd name="csX1136" fmla="*/ 733936 w 830147"/>
                <a:gd name="csY1136" fmla="*/ 691701 h 1880156"/>
                <a:gd name="csX1137" fmla="*/ 755607 w 830147"/>
                <a:gd name="csY1137" fmla="*/ 689298 h 1880156"/>
                <a:gd name="csX1138" fmla="*/ 755607 w 830147"/>
                <a:gd name="csY1138" fmla="*/ 677469 h 1880156"/>
                <a:gd name="csX1139" fmla="*/ 733936 w 830147"/>
                <a:gd name="csY1139" fmla="*/ 677469 h 1880156"/>
                <a:gd name="csX1140" fmla="*/ 733936 w 830147"/>
                <a:gd name="csY1140" fmla="*/ 689298 h 1880156"/>
                <a:gd name="csX1141" fmla="*/ 733936 w 830147"/>
                <a:gd name="csY1141" fmla="*/ 644013 h 1880156"/>
                <a:gd name="csX1142" fmla="*/ 755607 w 830147"/>
                <a:gd name="csY1142" fmla="*/ 644013 h 1880156"/>
                <a:gd name="csX1143" fmla="*/ 755607 w 830147"/>
                <a:gd name="csY1143" fmla="*/ 632185 h 1880156"/>
                <a:gd name="csX1144" fmla="*/ 733936 w 830147"/>
                <a:gd name="csY1144" fmla="*/ 632185 h 1880156"/>
                <a:gd name="csX1145" fmla="*/ 755607 w 830147"/>
                <a:gd name="csY1145" fmla="*/ 629776 h 1880156"/>
                <a:gd name="csX1146" fmla="*/ 755607 w 830147"/>
                <a:gd name="csY1146" fmla="*/ 617948 h 1880156"/>
                <a:gd name="csX1147" fmla="*/ 733936 w 830147"/>
                <a:gd name="csY1147" fmla="*/ 617948 h 1880156"/>
                <a:gd name="csX1148" fmla="*/ 733936 w 830147"/>
                <a:gd name="csY1148" fmla="*/ 629776 h 1880156"/>
                <a:gd name="csX1149" fmla="*/ 733936 w 830147"/>
                <a:gd name="csY1149" fmla="*/ 584491 h 1880156"/>
                <a:gd name="csX1150" fmla="*/ 755607 w 830147"/>
                <a:gd name="csY1150" fmla="*/ 584491 h 1880156"/>
                <a:gd name="csX1151" fmla="*/ 755607 w 830147"/>
                <a:gd name="csY1151" fmla="*/ 572668 h 1880156"/>
                <a:gd name="csX1152" fmla="*/ 733936 w 830147"/>
                <a:gd name="csY1152" fmla="*/ 572668 h 1880156"/>
                <a:gd name="csX1153" fmla="*/ 755607 w 830147"/>
                <a:gd name="csY1153" fmla="*/ 1167833 h 1880156"/>
                <a:gd name="csX1154" fmla="*/ 733936 w 830147"/>
                <a:gd name="csY1154" fmla="*/ 1167833 h 1880156"/>
                <a:gd name="csX1155" fmla="*/ 733936 w 830147"/>
                <a:gd name="csY1155" fmla="*/ 1174938 h 1880156"/>
                <a:gd name="csX1156" fmla="*/ 755607 w 830147"/>
                <a:gd name="csY1156" fmla="*/ 1174938 h 1880156"/>
                <a:gd name="csX1157" fmla="*/ 755607 w 830147"/>
                <a:gd name="csY1157" fmla="*/ 1167833 h 188015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 ang="0">
                  <a:pos x="csX97" y="csY97"/>
                </a:cxn>
                <a:cxn ang="0">
                  <a:pos x="csX98" y="csY98"/>
                </a:cxn>
                <a:cxn ang="0">
                  <a:pos x="csX99" y="csY99"/>
                </a:cxn>
                <a:cxn ang="0">
                  <a:pos x="csX100" y="csY100"/>
                </a:cxn>
                <a:cxn ang="0">
                  <a:pos x="csX101" y="csY101"/>
                </a:cxn>
                <a:cxn ang="0">
                  <a:pos x="csX102" y="csY102"/>
                </a:cxn>
                <a:cxn ang="0">
                  <a:pos x="csX103" y="csY103"/>
                </a:cxn>
                <a:cxn ang="0">
                  <a:pos x="csX104" y="csY104"/>
                </a:cxn>
                <a:cxn ang="0">
                  <a:pos x="csX105" y="csY105"/>
                </a:cxn>
                <a:cxn ang="0">
                  <a:pos x="csX106" y="csY106"/>
                </a:cxn>
                <a:cxn ang="0">
                  <a:pos x="csX107" y="csY107"/>
                </a:cxn>
                <a:cxn ang="0">
                  <a:pos x="csX108" y="csY108"/>
                </a:cxn>
                <a:cxn ang="0">
                  <a:pos x="csX109" y="csY109"/>
                </a:cxn>
                <a:cxn ang="0">
                  <a:pos x="csX110" y="csY110"/>
                </a:cxn>
                <a:cxn ang="0">
                  <a:pos x="csX111" y="csY111"/>
                </a:cxn>
                <a:cxn ang="0">
                  <a:pos x="csX112" y="csY112"/>
                </a:cxn>
                <a:cxn ang="0">
                  <a:pos x="csX113" y="csY113"/>
                </a:cxn>
                <a:cxn ang="0">
                  <a:pos x="csX114" y="csY114"/>
                </a:cxn>
                <a:cxn ang="0">
                  <a:pos x="csX115" y="csY115"/>
                </a:cxn>
                <a:cxn ang="0">
                  <a:pos x="csX116" y="csY116"/>
                </a:cxn>
                <a:cxn ang="0">
                  <a:pos x="csX117" y="csY117"/>
                </a:cxn>
                <a:cxn ang="0">
                  <a:pos x="csX118" y="csY118"/>
                </a:cxn>
                <a:cxn ang="0">
                  <a:pos x="csX119" y="csY119"/>
                </a:cxn>
                <a:cxn ang="0">
                  <a:pos x="csX120" y="csY120"/>
                </a:cxn>
                <a:cxn ang="0">
                  <a:pos x="csX121" y="csY121"/>
                </a:cxn>
                <a:cxn ang="0">
                  <a:pos x="csX122" y="csY122"/>
                </a:cxn>
                <a:cxn ang="0">
                  <a:pos x="csX123" y="csY123"/>
                </a:cxn>
                <a:cxn ang="0">
                  <a:pos x="csX124" y="csY124"/>
                </a:cxn>
                <a:cxn ang="0">
                  <a:pos x="csX125" y="csY125"/>
                </a:cxn>
                <a:cxn ang="0">
                  <a:pos x="csX126" y="csY126"/>
                </a:cxn>
                <a:cxn ang="0">
                  <a:pos x="csX127" y="csY127"/>
                </a:cxn>
                <a:cxn ang="0">
                  <a:pos x="csX128" y="csY128"/>
                </a:cxn>
                <a:cxn ang="0">
                  <a:pos x="csX129" y="csY129"/>
                </a:cxn>
                <a:cxn ang="0">
                  <a:pos x="csX130" y="csY130"/>
                </a:cxn>
                <a:cxn ang="0">
                  <a:pos x="csX131" y="csY131"/>
                </a:cxn>
                <a:cxn ang="0">
                  <a:pos x="csX132" y="csY132"/>
                </a:cxn>
                <a:cxn ang="0">
                  <a:pos x="csX133" y="csY133"/>
                </a:cxn>
                <a:cxn ang="0">
                  <a:pos x="csX134" y="csY134"/>
                </a:cxn>
                <a:cxn ang="0">
                  <a:pos x="csX135" y="csY135"/>
                </a:cxn>
                <a:cxn ang="0">
                  <a:pos x="csX136" y="csY136"/>
                </a:cxn>
                <a:cxn ang="0">
                  <a:pos x="csX137" y="csY137"/>
                </a:cxn>
                <a:cxn ang="0">
                  <a:pos x="csX138" y="csY138"/>
                </a:cxn>
                <a:cxn ang="0">
                  <a:pos x="csX139" y="csY139"/>
                </a:cxn>
                <a:cxn ang="0">
                  <a:pos x="csX140" y="csY140"/>
                </a:cxn>
                <a:cxn ang="0">
                  <a:pos x="csX141" y="csY141"/>
                </a:cxn>
                <a:cxn ang="0">
                  <a:pos x="csX142" y="csY142"/>
                </a:cxn>
                <a:cxn ang="0">
                  <a:pos x="csX143" y="csY143"/>
                </a:cxn>
                <a:cxn ang="0">
                  <a:pos x="csX144" y="csY144"/>
                </a:cxn>
                <a:cxn ang="0">
                  <a:pos x="csX145" y="csY145"/>
                </a:cxn>
                <a:cxn ang="0">
                  <a:pos x="csX146" y="csY146"/>
                </a:cxn>
                <a:cxn ang="0">
                  <a:pos x="csX147" y="csY147"/>
                </a:cxn>
                <a:cxn ang="0">
                  <a:pos x="csX148" y="csY148"/>
                </a:cxn>
                <a:cxn ang="0">
                  <a:pos x="csX149" y="csY149"/>
                </a:cxn>
                <a:cxn ang="0">
                  <a:pos x="csX150" y="csY150"/>
                </a:cxn>
                <a:cxn ang="0">
                  <a:pos x="csX151" y="csY151"/>
                </a:cxn>
                <a:cxn ang="0">
                  <a:pos x="csX152" y="csY152"/>
                </a:cxn>
                <a:cxn ang="0">
                  <a:pos x="csX153" y="csY153"/>
                </a:cxn>
                <a:cxn ang="0">
                  <a:pos x="csX154" y="csY154"/>
                </a:cxn>
                <a:cxn ang="0">
                  <a:pos x="csX155" y="csY155"/>
                </a:cxn>
                <a:cxn ang="0">
                  <a:pos x="csX156" y="csY156"/>
                </a:cxn>
                <a:cxn ang="0">
                  <a:pos x="csX157" y="csY157"/>
                </a:cxn>
                <a:cxn ang="0">
                  <a:pos x="csX158" y="csY158"/>
                </a:cxn>
                <a:cxn ang="0">
                  <a:pos x="csX159" y="csY159"/>
                </a:cxn>
                <a:cxn ang="0">
                  <a:pos x="csX160" y="csY160"/>
                </a:cxn>
                <a:cxn ang="0">
                  <a:pos x="csX161" y="csY161"/>
                </a:cxn>
                <a:cxn ang="0">
                  <a:pos x="csX162" y="csY162"/>
                </a:cxn>
                <a:cxn ang="0">
                  <a:pos x="csX163" y="csY163"/>
                </a:cxn>
                <a:cxn ang="0">
                  <a:pos x="csX164" y="csY164"/>
                </a:cxn>
                <a:cxn ang="0">
                  <a:pos x="csX165" y="csY165"/>
                </a:cxn>
                <a:cxn ang="0">
                  <a:pos x="csX166" y="csY166"/>
                </a:cxn>
                <a:cxn ang="0">
                  <a:pos x="csX167" y="csY167"/>
                </a:cxn>
                <a:cxn ang="0">
                  <a:pos x="csX168" y="csY168"/>
                </a:cxn>
                <a:cxn ang="0">
                  <a:pos x="csX169" y="csY169"/>
                </a:cxn>
                <a:cxn ang="0">
                  <a:pos x="csX170" y="csY170"/>
                </a:cxn>
                <a:cxn ang="0">
                  <a:pos x="csX171" y="csY171"/>
                </a:cxn>
                <a:cxn ang="0">
                  <a:pos x="csX172" y="csY172"/>
                </a:cxn>
                <a:cxn ang="0">
                  <a:pos x="csX173" y="csY173"/>
                </a:cxn>
                <a:cxn ang="0">
                  <a:pos x="csX174" y="csY174"/>
                </a:cxn>
                <a:cxn ang="0">
                  <a:pos x="csX175" y="csY175"/>
                </a:cxn>
                <a:cxn ang="0">
                  <a:pos x="csX176" y="csY176"/>
                </a:cxn>
                <a:cxn ang="0">
                  <a:pos x="csX177" y="csY177"/>
                </a:cxn>
                <a:cxn ang="0">
                  <a:pos x="csX178" y="csY178"/>
                </a:cxn>
                <a:cxn ang="0">
                  <a:pos x="csX179" y="csY179"/>
                </a:cxn>
                <a:cxn ang="0">
                  <a:pos x="csX180" y="csY180"/>
                </a:cxn>
                <a:cxn ang="0">
                  <a:pos x="csX181" y="csY181"/>
                </a:cxn>
                <a:cxn ang="0">
                  <a:pos x="csX182" y="csY182"/>
                </a:cxn>
                <a:cxn ang="0">
                  <a:pos x="csX183" y="csY183"/>
                </a:cxn>
                <a:cxn ang="0">
                  <a:pos x="csX184" y="csY184"/>
                </a:cxn>
                <a:cxn ang="0">
                  <a:pos x="csX185" y="csY185"/>
                </a:cxn>
                <a:cxn ang="0">
                  <a:pos x="csX186" y="csY186"/>
                </a:cxn>
                <a:cxn ang="0">
                  <a:pos x="csX187" y="csY187"/>
                </a:cxn>
                <a:cxn ang="0">
                  <a:pos x="csX188" y="csY188"/>
                </a:cxn>
                <a:cxn ang="0">
                  <a:pos x="csX189" y="csY189"/>
                </a:cxn>
                <a:cxn ang="0">
                  <a:pos x="csX190" y="csY190"/>
                </a:cxn>
                <a:cxn ang="0">
                  <a:pos x="csX191" y="csY191"/>
                </a:cxn>
                <a:cxn ang="0">
                  <a:pos x="csX192" y="csY192"/>
                </a:cxn>
                <a:cxn ang="0">
                  <a:pos x="csX193" y="csY193"/>
                </a:cxn>
                <a:cxn ang="0">
                  <a:pos x="csX194" y="csY194"/>
                </a:cxn>
                <a:cxn ang="0">
                  <a:pos x="csX195" y="csY195"/>
                </a:cxn>
                <a:cxn ang="0">
                  <a:pos x="csX196" y="csY196"/>
                </a:cxn>
                <a:cxn ang="0">
                  <a:pos x="csX197" y="csY197"/>
                </a:cxn>
                <a:cxn ang="0">
                  <a:pos x="csX198" y="csY198"/>
                </a:cxn>
                <a:cxn ang="0">
                  <a:pos x="csX199" y="csY199"/>
                </a:cxn>
                <a:cxn ang="0">
                  <a:pos x="csX200" y="csY200"/>
                </a:cxn>
                <a:cxn ang="0">
                  <a:pos x="csX201" y="csY201"/>
                </a:cxn>
                <a:cxn ang="0">
                  <a:pos x="csX202" y="csY202"/>
                </a:cxn>
                <a:cxn ang="0">
                  <a:pos x="csX203" y="csY203"/>
                </a:cxn>
                <a:cxn ang="0">
                  <a:pos x="csX204" y="csY204"/>
                </a:cxn>
                <a:cxn ang="0">
                  <a:pos x="csX205" y="csY205"/>
                </a:cxn>
                <a:cxn ang="0">
                  <a:pos x="csX206" y="csY206"/>
                </a:cxn>
                <a:cxn ang="0">
                  <a:pos x="csX207" y="csY207"/>
                </a:cxn>
                <a:cxn ang="0">
                  <a:pos x="csX208" y="csY208"/>
                </a:cxn>
                <a:cxn ang="0">
                  <a:pos x="csX209" y="csY209"/>
                </a:cxn>
                <a:cxn ang="0">
                  <a:pos x="csX210" y="csY210"/>
                </a:cxn>
                <a:cxn ang="0">
                  <a:pos x="csX211" y="csY211"/>
                </a:cxn>
                <a:cxn ang="0">
                  <a:pos x="csX212" y="csY212"/>
                </a:cxn>
                <a:cxn ang="0">
                  <a:pos x="csX213" y="csY213"/>
                </a:cxn>
                <a:cxn ang="0">
                  <a:pos x="csX214" y="csY214"/>
                </a:cxn>
                <a:cxn ang="0">
                  <a:pos x="csX215" y="csY215"/>
                </a:cxn>
                <a:cxn ang="0">
                  <a:pos x="csX216" y="csY216"/>
                </a:cxn>
                <a:cxn ang="0">
                  <a:pos x="csX217" y="csY217"/>
                </a:cxn>
                <a:cxn ang="0">
                  <a:pos x="csX218" y="csY218"/>
                </a:cxn>
                <a:cxn ang="0">
                  <a:pos x="csX219" y="csY219"/>
                </a:cxn>
                <a:cxn ang="0">
                  <a:pos x="csX220" y="csY220"/>
                </a:cxn>
                <a:cxn ang="0">
                  <a:pos x="csX221" y="csY221"/>
                </a:cxn>
                <a:cxn ang="0">
                  <a:pos x="csX222" y="csY222"/>
                </a:cxn>
                <a:cxn ang="0">
                  <a:pos x="csX223" y="csY223"/>
                </a:cxn>
                <a:cxn ang="0">
                  <a:pos x="csX224" y="csY224"/>
                </a:cxn>
                <a:cxn ang="0">
                  <a:pos x="csX225" y="csY225"/>
                </a:cxn>
                <a:cxn ang="0">
                  <a:pos x="csX226" y="csY226"/>
                </a:cxn>
                <a:cxn ang="0">
                  <a:pos x="csX227" y="csY227"/>
                </a:cxn>
                <a:cxn ang="0">
                  <a:pos x="csX228" y="csY228"/>
                </a:cxn>
                <a:cxn ang="0">
                  <a:pos x="csX229" y="csY229"/>
                </a:cxn>
                <a:cxn ang="0">
                  <a:pos x="csX230" y="csY230"/>
                </a:cxn>
                <a:cxn ang="0">
                  <a:pos x="csX231" y="csY231"/>
                </a:cxn>
                <a:cxn ang="0">
                  <a:pos x="csX232" y="csY232"/>
                </a:cxn>
                <a:cxn ang="0">
                  <a:pos x="csX233" y="csY233"/>
                </a:cxn>
                <a:cxn ang="0">
                  <a:pos x="csX234" y="csY234"/>
                </a:cxn>
                <a:cxn ang="0">
                  <a:pos x="csX235" y="csY235"/>
                </a:cxn>
                <a:cxn ang="0">
                  <a:pos x="csX236" y="csY236"/>
                </a:cxn>
                <a:cxn ang="0">
                  <a:pos x="csX237" y="csY237"/>
                </a:cxn>
                <a:cxn ang="0">
                  <a:pos x="csX238" y="csY238"/>
                </a:cxn>
                <a:cxn ang="0">
                  <a:pos x="csX239" y="csY239"/>
                </a:cxn>
                <a:cxn ang="0">
                  <a:pos x="csX240" y="csY240"/>
                </a:cxn>
                <a:cxn ang="0">
                  <a:pos x="csX241" y="csY241"/>
                </a:cxn>
                <a:cxn ang="0">
                  <a:pos x="csX242" y="csY242"/>
                </a:cxn>
                <a:cxn ang="0">
                  <a:pos x="csX243" y="csY243"/>
                </a:cxn>
                <a:cxn ang="0">
                  <a:pos x="csX244" y="csY244"/>
                </a:cxn>
                <a:cxn ang="0">
                  <a:pos x="csX245" y="csY245"/>
                </a:cxn>
                <a:cxn ang="0">
                  <a:pos x="csX246" y="csY246"/>
                </a:cxn>
                <a:cxn ang="0">
                  <a:pos x="csX247" y="csY247"/>
                </a:cxn>
                <a:cxn ang="0">
                  <a:pos x="csX248" y="csY248"/>
                </a:cxn>
                <a:cxn ang="0">
                  <a:pos x="csX249" y="csY249"/>
                </a:cxn>
                <a:cxn ang="0">
                  <a:pos x="csX250" y="csY250"/>
                </a:cxn>
                <a:cxn ang="0">
                  <a:pos x="csX251" y="csY251"/>
                </a:cxn>
                <a:cxn ang="0">
                  <a:pos x="csX252" y="csY252"/>
                </a:cxn>
                <a:cxn ang="0">
                  <a:pos x="csX253" y="csY253"/>
                </a:cxn>
                <a:cxn ang="0">
                  <a:pos x="csX254" y="csY254"/>
                </a:cxn>
                <a:cxn ang="0">
                  <a:pos x="csX255" y="csY255"/>
                </a:cxn>
                <a:cxn ang="0">
                  <a:pos x="csX256" y="csY256"/>
                </a:cxn>
                <a:cxn ang="0">
                  <a:pos x="csX257" y="csY257"/>
                </a:cxn>
                <a:cxn ang="0">
                  <a:pos x="csX258" y="csY258"/>
                </a:cxn>
                <a:cxn ang="0">
                  <a:pos x="csX259" y="csY259"/>
                </a:cxn>
                <a:cxn ang="0">
                  <a:pos x="csX260" y="csY260"/>
                </a:cxn>
                <a:cxn ang="0">
                  <a:pos x="csX261" y="csY261"/>
                </a:cxn>
                <a:cxn ang="0">
                  <a:pos x="csX262" y="csY262"/>
                </a:cxn>
                <a:cxn ang="0">
                  <a:pos x="csX263" y="csY263"/>
                </a:cxn>
                <a:cxn ang="0">
                  <a:pos x="csX264" y="csY264"/>
                </a:cxn>
                <a:cxn ang="0">
                  <a:pos x="csX265" y="csY265"/>
                </a:cxn>
                <a:cxn ang="0">
                  <a:pos x="csX266" y="csY266"/>
                </a:cxn>
                <a:cxn ang="0">
                  <a:pos x="csX267" y="csY267"/>
                </a:cxn>
                <a:cxn ang="0">
                  <a:pos x="csX268" y="csY268"/>
                </a:cxn>
                <a:cxn ang="0">
                  <a:pos x="csX269" y="csY269"/>
                </a:cxn>
                <a:cxn ang="0">
                  <a:pos x="csX270" y="csY270"/>
                </a:cxn>
                <a:cxn ang="0">
                  <a:pos x="csX271" y="csY271"/>
                </a:cxn>
                <a:cxn ang="0">
                  <a:pos x="csX272" y="csY272"/>
                </a:cxn>
                <a:cxn ang="0">
                  <a:pos x="csX273" y="csY273"/>
                </a:cxn>
                <a:cxn ang="0">
                  <a:pos x="csX274" y="csY274"/>
                </a:cxn>
                <a:cxn ang="0">
                  <a:pos x="csX275" y="csY275"/>
                </a:cxn>
                <a:cxn ang="0">
                  <a:pos x="csX276" y="csY276"/>
                </a:cxn>
                <a:cxn ang="0">
                  <a:pos x="csX277" y="csY277"/>
                </a:cxn>
                <a:cxn ang="0">
                  <a:pos x="csX278" y="csY278"/>
                </a:cxn>
                <a:cxn ang="0">
                  <a:pos x="csX279" y="csY279"/>
                </a:cxn>
                <a:cxn ang="0">
                  <a:pos x="csX280" y="csY280"/>
                </a:cxn>
                <a:cxn ang="0">
                  <a:pos x="csX281" y="csY281"/>
                </a:cxn>
                <a:cxn ang="0">
                  <a:pos x="csX282" y="csY282"/>
                </a:cxn>
                <a:cxn ang="0">
                  <a:pos x="csX283" y="csY283"/>
                </a:cxn>
                <a:cxn ang="0">
                  <a:pos x="csX284" y="csY284"/>
                </a:cxn>
                <a:cxn ang="0">
                  <a:pos x="csX285" y="csY285"/>
                </a:cxn>
                <a:cxn ang="0">
                  <a:pos x="csX286" y="csY286"/>
                </a:cxn>
                <a:cxn ang="0">
                  <a:pos x="csX287" y="csY287"/>
                </a:cxn>
                <a:cxn ang="0">
                  <a:pos x="csX288" y="csY288"/>
                </a:cxn>
                <a:cxn ang="0">
                  <a:pos x="csX289" y="csY289"/>
                </a:cxn>
                <a:cxn ang="0">
                  <a:pos x="csX290" y="csY290"/>
                </a:cxn>
                <a:cxn ang="0">
                  <a:pos x="csX291" y="csY291"/>
                </a:cxn>
                <a:cxn ang="0">
                  <a:pos x="csX292" y="csY292"/>
                </a:cxn>
                <a:cxn ang="0">
                  <a:pos x="csX293" y="csY293"/>
                </a:cxn>
                <a:cxn ang="0">
                  <a:pos x="csX294" y="csY294"/>
                </a:cxn>
                <a:cxn ang="0">
                  <a:pos x="csX295" y="csY295"/>
                </a:cxn>
                <a:cxn ang="0">
                  <a:pos x="csX296" y="csY296"/>
                </a:cxn>
                <a:cxn ang="0">
                  <a:pos x="csX297" y="csY297"/>
                </a:cxn>
                <a:cxn ang="0">
                  <a:pos x="csX298" y="csY298"/>
                </a:cxn>
                <a:cxn ang="0">
                  <a:pos x="csX299" y="csY299"/>
                </a:cxn>
                <a:cxn ang="0">
                  <a:pos x="csX300" y="csY300"/>
                </a:cxn>
                <a:cxn ang="0">
                  <a:pos x="csX301" y="csY301"/>
                </a:cxn>
                <a:cxn ang="0">
                  <a:pos x="csX302" y="csY302"/>
                </a:cxn>
                <a:cxn ang="0">
                  <a:pos x="csX303" y="csY303"/>
                </a:cxn>
                <a:cxn ang="0">
                  <a:pos x="csX304" y="csY304"/>
                </a:cxn>
                <a:cxn ang="0">
                  <a:pos x="csX305" y="csY305"/>
                </a:cxn>
                <a:cxn ang="0">
                  <a:pos x="csX306" y="csY306"/>
                </a:cxn>
                <a:cxn ang="0">
                  <a:pos x="csX307" y="csY307"/>
                </a:cxn>
                <a:cxn ang="0">
                  <a:pos x="csX308" y="csY308"/>
                </a:cxn>
                <a:cxn ang="0">
                  <a:pos x="csX309" y="csY309"/>
                </a:cxn>
                <a:cxn ang="0">
                  <a:pos x="csX310" y="csY310"/>
                </a:cxn>
                <a:cxn ang="0">
                  <a:pos x="csX311" y="csY311"/>
                </a:cxn>
                <a:cxn ang="0">
                  <a:pos x="csX312" y="csY312"/>
                </a:cxn>
                <a:cxn ang="0">
                  <a:pos x="csX313" y="csY313"/>
                </a:cxn>
                <a:cxn ang="0">
                  <a:pos x="csX314" y="csY314"/>
                </a:cxn>
                <a:cxn ang="0">
                  <a:pos x="csX315" y="csY315"/>
                </a:cxn>
                <a:cxn ang="0">
                  <a:pos x="csX316" y="csY316"/>
                </a:cxn>
                <a:cxn ang="0">
                  <a:pos x="csX317" y="csY317"/>
                </a:cxn>
                <a:cxn ang="0">
                  <a:pos x="csX318" y="csY318"/>
                </a:cxn>
                <a:cxn ang="0">
                  <a:pos x="csX319" y="csY319"/>
                </a:cxn>
                <a:cxn ang="0">
                  <a:pos x="csX320" y="csY320"/>
                </a:cxn>
                <a:cxn ang="0">
                  <a:pos x="csX321" y="csY321"/>
                </a:cxn>
                <a:cxn ang="0">
                  <a:pos x="csX322" y="csY322"/>
                </a:cxn>
                <a:cxn ang="0">
                  <a:pos x="csX323" y="csY323"/>
                </a:cxn>
                <a:cxn ang="0">
                  <a:pos x="csX324" y="csY324"/>
                </a:cxn>
                <a:cxn ang="0">
                  <a:pos x="csX325" y="csY325"/>
                </a:cxn>
                <a:cxn ang="0">
                  <a:pos x="csX326" y="csY326"/>
                </a:cxn>
                <a:cxn ang="0">
                  <a:pos x="csX327" y="csY327"/>
                </a:cxn>
                <a:cxn ang="0">
                  <a:pos x="csX328" y="csY328"/>
                </a:cxn>
                <a:cxn ang="0">
                  <a:pos x="csX329" y="csY329"/>
                </a:cxn>
                <a:cxn ang="0">
                  <a:pos x="csX330" y="csY330"/>
                </a:cxn>
                <a:cxn ang="0">
                  <a:pos x="csX331" y="csY331"/>
                </a:cxn>
                <a:cxn ang="0">
                  <a:pos x="csX332" y="csY332"/>
                </a:cxn>
                <a:cxn ang="0">
                  <a:pos x="csX333" y="csY333"/>
                </a:cxn>
                <a:cxn ang="0">
                  <a:pos x="csX334" y="csY334"/>
                </a:cxn>
                <a:cxn ang="0">
                  <a:pos x="csX335" y="csY335"/>
                </a:cxn>
                <a:cxn ang="0">
                  <a:pos x="csX336" y="csY336"/>
                </a:cxn>
                <a:cxn ang="0">
                  <a:pos x="csX337" y="csY337"/>
                </a:cxn>
                <a:cxn ang="0">
                  <a:pos x="csX338" y="csY338"/>
                </a:cxn>
                <a:cxn ang="0">
                  <a:pos x="csX339" y="csY339"/>
                </a:cxn>
                <a:cxn ang="0">
                  <a:pos x="csX340" y="csY340"/>
                </a:cxn>
                <a:cxn ang="0">
                  <a:pos x="csX341" y="csY341"/>
                </a:cxn>
                <a:cxn ang="0">
                  <a:pos x="csX342" y="csY342"/>
                </a:cxn>
                <a:cxn ang="0">
                  <a:pos x="csX343" y="csY343"/>
                </a:cxn>
                <a:cxn ang="0">
                  <a:pos x="csX344" y="csY344"/>
                </a:cxn>
                <a:cxn ang="0">
                  <a:pos x="csX345" y="csY345"/>
                </a:cxn>
                <a:cxn ang="0">
                  <a:pos x="csX346" y="csY346"/>
                </a:cxn>
                <a:cxn ang="0">
                  <a:pos x="csX347" y="csY347"/>
                </a:cxn>
                <a:cxn ang="0">
                  <a:pos x="csX348" y="csY348"/>
                </a:cxn>
                <a:cxn ang="0">
                  <a:pos x="csX349" y="csY349"/>
                </a:cxn>
                <a:cxn ang="0">
                  <a:pos x="csX350" y="csY350"/>
                </a:cxn>
                <a:cxn ang="0">
                  <a:pos x="csX351" y="csY351"/>
                </a:cxn>
                <a:cxn ang="0">
                  <a:pos x="csX352" y="csY352"/>
                </a:cxn>
                <a:cxn ang="0">
                  <a:pos x="csX353" y="csY353"/>
                </a:cxn>
                <a:cxn ang="0">
                  <a:pos x="csX354" y="csY354"/>
                </a:cxn>
                <a:cxn ang="0">
                  <a:pos x="csX355" y="csY355"/>
                </a:cxn>
                <a:cxn ang="0">
                  <a:pos x="csX356" y="csY356"/>
                </a:cxn>
                <a:cxn ang="0">
                  <a:pos x="csX357" y="csY357"/>
                </a:cxn>
                <a:cxn ang="0">
                  <a:pos x="csX358" y="csY358"/>
                </a:cxn>
                <a:cxn ang="0">
                  <a:pos x="csX359" y="csY359"/>
                </a:cxn>
                <a:cxn ang="0">
                  <a:pos x="csX360" y="csY360"/>
                </a:cxn>
                <a:cxn ang="0">
                  <a:pos x="csX361" y="csY361"/>
                </a:cxn>
                <a:cxn ang="0">
                  <a:pos x="csX362" y="csY362"/>
                </a:cxn>
                <a:cxn ang="0">
                  <a:pos x="csX363" y="csY363"/>
                </a:cxn>
                <a:cxn ang="0">
                  <a:pos x="csX364" y="csY364"/>
                </a:cxn>
                <a:cxn ang="0">
                  <a:pos x="csX365" y="csY365"/>
                </a:cxn>
                <a:cxn ang="0">
                  <a:pos x="csX366" y="csY366"/>
                </a:cxn>
                <a:cxn ang="0">
                  <a:pos x="csX367" y="csY367"/>
                </a:cxn>
                <a:cxn ang="0">
                  <a:pos x="csX368" y="csY368"/>
                </a:cxn>
                <a:cxn ang="0">
                  <a:pos x="csX369" y="csY369"/>
                </a:cxn>
                <a:cxn ang="0">
                  <a:pos x="csX370" y="csY370"/>
                </a:cxn>
                <a:cxn ang="0">
                  <a:pos x="csX371" y="csY371"/>
                </a:cxn>
                <a:cxn ang="0">
                  <a:pos x="csX372" y="csY372"/>
                </a:cxn>
                <a:cxn ang="0">
                  <a:pos x="csX373" y="csY373"/>
                </a:cxn>
                <a:cxn ang="0">
                  <a:pos x="csX374" y="csY374"/>
                </a:cxn>
                <a:cxn ang="0">
                  <a:pos x="csX375" y="csY375"/>
                </a:cxn>
                <a:cxn ang="0">
                  <a:pos x="csX376" y="csY376"/>
                </a:cxn>
                <a:cxn ang="0">
                  <a:pos x="csX377" y="csY377"/>
                </a:cxn>
                <a:cxn ang="0">
                  <a:pos x="csX378" y="csY378"/>
                </a:cxn>
                <a:cxn ang="0">
                  <a:pos x="csX379" y="csY379"/>
                </a:cxn>
                <a:cxn ang="0">
                  <a:pos x="csX380" y="csY380"/>
                </a:cxn>
                <a:cxn ang="0">
                  <a:pos x="csX381" y="csY381"/>
                </a:cxn>
                <a:cxn ang="0">
                  <a:pos x="csX382" y="csY382"/>
                </a:cxn>
                <a:cxn ang="0">
                  <a:pos x="csX383" y="csY383"/>
                </a:cxn>
                <a:cxn ang="0">
                  <a:pos x="csX384" y="csY384"/>
                </a:cxn>
                <a:cxn ang="0">
                  <a:pos x="csX385" y="csY385"/>
                </a:cxn>
                <a:cxn ang="0">
                  <a:pos x="csX386" y="csY386"/>
                </a:cxn>
                <a:cxn ang="0">
                  <a:pos x="csX387" y="csY387"/>
                </a:cxn>
                <a:cxn ang="0">
                  <a:pos x="csX388" y="csY388"/>
                </a:cxn>
                <a:cxn ang="0">
                  <a:pos x="csX389" y="csY389"/>
                </a:cxn>
                <a:cxn ang="0">
                  <a:pos x="csX390" y="csY390"/>
                </a:cxn>
                <a:cxn ang="0">
                  <a:pos x="csX391" y="csY391"/>
                </a:cxn>
                <a:cxn ang="0">
                  <a:pos x="csX392" y="csY392"/>
                </a:cxn>
                <a:cxn ang="0">
                  <a:pos x="csX393" y="csY393"/>
                </a:cxn>
                <a:cxn ang="0">
                  <a:pos x="csX394" y="csY394"/>
                </a:cxn>
                <a:cxn ang="0">
                  <a:pos x="csX395" y="csY395"/>
                </a:cxn>
                <a:cxn ang="0">
                  <a:pos x="csX396" y="csY396"/>
                </a:cxn>
                <a:cxn ang="0">
                  <a:pos x="csX397" y="csY397"/>
                </a:cxn>
                <a:cxn ang="0">
                  <a:pos x="csX398" y="csY398"/>
                </a:cxn>
                <a:cxn ang="0">
                  <a:pos x="csX399" y="csY399"/>
                </a:cxn>
                <a:cxn ang="0">
                  <a:pos x="csX400" y="csY400"/>
                </a:cxn>
                <a:cxn ang="0">
                  <a:pos x="csX401" y="csY401"/>
                </a:cxn>
                <a:cxn ang="0">
                  <a:pos x="csX402" y="csY402"/>
                </a:cxn>
                <a:cxn ang="0">
                  <a:pos x="csX403" y="csY403"/>
                </a:cxn>
                <a:cxn ang="0">
                  <a:pos x="csX404" y="csY404"/>
                </a:cxn>
                <a:cxn ang="0">
                  <a:pos x="csX405" y="csY405"/>
                </a:cxn>
                <a:cxn ang="0">
                  <a:pos x="csX406" y="csY406"/>
                </a:cxn>
                <a:cxn ang="0">
                  <a:pos x="csX407" y="csY407"/>
                </a:cxn>
                <a:cxn ang="0">
                  <a:pos x="csX408" y="csY408"/>
                </a:cxn>
                <a:cxn ang="0">
                  <a:pos x="csX409" y="csY409"/>
                </a:cxn>
                <a:cxn ang="0">
                  <a:pos x="csX410" y="csY410"/>
                </a:cxn>
                <a:cxn ang="0">
                  <a:pos x="csX411" y="csY411"/>
                </a:cxn>
                <a:cxn ang="0">
                  <a:pos x="csX412" y="csY412"/>
                </a:cxn>
                <a:cxn ang="0">
                  <a:pos x="csX413" y="csY413"/>
                </a:cxn>
                <a:cxn ang="0">
                  <a:pos x="csX414" y="csY414"/>
                </a:cxn>
                <a:cxn ang="0">
                  <a:pos x="csX415" y="csY415"/>
                </a:cxn>
                <a:cxn ang="0">
                  <a:pos x="csX416" y="csY416"/>
                </a:cxn>
                <a:cxn ang="0">
                  <a:pos x="csX417" y="csY417"/>
                </a:cxn>
                <a:cxn ang="0">
                  <a:pos x="csX418" y="csY418"/>
                </a:cxn>
                <a:cxn ang="0">
                  <a:pos x="csX419" y="csY419"/>
                </a:cxn>
                <a:cxn ang="0">
                  <a:pos x="csX420" y="csY420"/>
                </a:cxn>
                <a:cxn ang="0">
                  <a:pos x="csX421" y="csY421"/>
                </a:cxn>
                <a:cxn ang="0">
                  <a:pos x="csX422" y="csY422"/>
                </a:cxn>
                <a:cxn ang="0">
                  <a:pos x="csX423" y="csY423"/>
                </a:cxn>
                <a:cxn ang="0">
                  <a:pos x="csX424" y="csY424"/>
                </a:cxn>
                <a:cxn ang="0">
                  <a:pos x="csX425" y="csY425"/>
                </a:cxn>
                <a:cxn ang="0">
                  <a:pos x="csX426" y="csY426"/>
                </a:cxn>
                <a:cxn ang="0">
                  <a:pos x="csX427" y="csY427"/>
                </a:cxn>
                <a:cxn ang="0">
                  <a:pos x="csX428" y="csY428"/>
                </a:cxn>
                <a:cxn ang="0">
                  <a:pos x="csX429" y="csY429"/>
                </a:cxn>
                <a:cxn ang="0">
                  <a:pos x="csX430" y="csY430"/>
                </a:cxn>
                <a:cxn ang="0">
                  <a:pos x="csX431" y="csY431"/>
                </a:cxn>
                <a:cxn ang="0">
                  <a:pos x="csX432" y="csY432"/>
                </a:cxn>
                <a:cxn ang="0">
                  <a:pos x="csX433" y="csY433"/>
                </a:cxn>
                <a:cxn ang="0">
                  <a:pos x="csX434" y="csY434"/>
                </a:cxn>
                <a:cxn ang="0">
                  <a:pos x="csX435" y="csY435"/>
                </a:cxn>
                <a:cxn ang="0">
                  <a:pos x="csX436" y="csY436"/>
                </a:cxn>
                <a:cxn ang="0">
                  <a:pos x="csX437" y="csY437"/>
                </a:cxn>
                <a:cxn ang="0">
                  <a:pos x="csX438" y="csY438"/>
                </a:cxn>
                <a:cxn ang="0">
                  <a:pos x="csX439" y="csY439"/>
                </a:cxn>
                <a:cxn ang="0">
                  <a:pos x="csX440" y="csY440"/>
                </a:cxn>
                <a:cxn ang="0">
                  <a:pos x="csX441" y="csY441"/>
                </a:cxn>
                <a:cxn ang="0">
                  <a:pos x="csX442" y="csY442"/>
                </a:cxn>
                <a:cxn ang="0">
                  <a:pos x="csX443" y="csY443"/>
                </a:cxn>
                <a:cxn ang="0">
                  <a:pos x="csX444" y="csY444"/>
                </a:cxn>
                <a:cxn ang="0">
                  <a:pos x="csX445" y="csY445"/>
                </a:cxn>
                <a:cxn ang="0">
                  <a:pos x="csX446" y="csY446"/>
                </a:cxn>
                <a:cxn ang="0">
                  <a:pos x="csX447" y="csY447"/>
                </a:cxn>
                <a:cxn ang="0">
                  <a:pos x="csX448" y="csY448"/>
                </a:cxn>
                <a:cxn ang="0">
                  <a:pos x="csX449" y="csY449"/>
                </a:cxn>
                <a:cxn ang="0">
                  <a:pos x="csX450" y="csY450"/>
                </a:cxn>
                <a:cxn ang="0">
                  <a:pos x="csX451" y="csY451"/>
                </a:cxn>
                <a:cxn ang="0">
                  <a:pos x="csX452" y="csY452"/>
                </a:cxn>
                <a:cxn ang="0">
                  <a:pos x="csX453" y="csY453"/>
                </a:cxn>
                <a:cxn ang="0">
                  <a:pos x="csX454" y="csY454"/>
                </a:cxn>
                <a:cxn ang="0">
                  <a:pos x="csX455" y="csY455"/>
                </a:cxn>
                <a:cxn ang="0">
                  <a:pos x="csX456" y="csY456"/>
                </a:cxn>
                <a:cxn ang="0">
                  <a:pos x="csX457" y="csY457"/>
                </a:cxn>
                <a:cxn ang="0">
                  <a:pos x="csX458" y="csY458"/>
                </a:cxn>
                <a:cxn ang="0">
                  <a:pos x="csX459" y="csY459"/>
                </a:cxn>
                <a:cxn ang="0">
                  <a:pos x="csX460" y="csY460"/>
                </a:cxn>
                <a:cxn ang="0">
                  <a:pos x="csX461" y="csY461"/>
                </a:cxn>
                <a:cxn ang="0">
                  <a:pos x="csX462" y="csY462"/>
                </a:cxn>
                <a:cxn ang="0">
                  <a:pos x="csX463" y="csY463"/>
                </a:cxn>
                <a:cxn ang="0">
                  <a:pos x="csX464" y="csY464"/>
                </a:cxn>
                <a:cxn ang="0">
                  <a:pos x="csX465" y="csY465"/>
                </a:cxn>
                <a:cxn ang="0">
                  <a:pos x="csX466" y="csY466"/>
                </a:cxn>
                <a:cxn ang="0">
                  <a:pos x="csX467" y="csY467"/>
                </a:cxn>
                <a:cxn ang="0">
                  <a:pos x="csX468" y="csY468"/>
                </a:cxn>
                <a:cxn ang="0">
                  <a:pos x="csX469" y="csY469"/>
                </a:cxn>
                <a:cxn ang="0">
                  <a:pos x="csX470" y="csY470"/>
                </a:cxn>
                <a:cxn ang="0">
                  <a:pos x="csX471" y="csY471"/>
                </a:cxn>
                <a:cxn ang="0">
                  <a:pos x="csX472" y="csY472"/>
                </a:cxn>
                <a:cxn ang="0">
                  <a:pos x="csX473" y="csY473"/>
                </a:cxn>
                <a:cxn ang="0">
                  <a:pos x="csX474" y="csY474"/>
                </a:cxn>
                <a:cxn ang="0">
                  <a:pos x="csX475" y="csY475"/>
                </a:cxn>
                <a:cxn ang="0">
                  <a:pos x="csX476" y="csY476"/>
                </a:cxn>
                <a:cxn ang="0">
                  <a:pos x="csX477" y="csY477"/>
                </a:cxn>
                <a:cxn ang="0">
                  <a:pos x="csX478" y="csY478"/>
                </a:cxn>
                <a:cxn ang="0">
                  <a:pos x="csX479" y="csY479"/>
                </a:cxn>
                <a:cxn ang="0">
                  <a:pos x="csX480" y="csY480"/>
                </a:cxn>
                <a:cxn ang="0">
                  <a:pos x="csX481" y="csY481"/>
                </a:cxn>
                <a:cxn ang="0">
                  <a:pos x="csX482" y="csY482"/>
                </a:cxn>
                <a:cxn ang="0">
                  <a:pos x="csX483" y="csY483"/>
                </a:cxn>
                <a:cxn ang="0">
                  <a:pos x="csX484" y="csY484"/>
                </a:cxn>
                <a:cxn ang="0">
                  <a:pos x="csX485" y="csY485"/>
                </a:cxn>
                <a:cxn ang="0">
                  <a:pos x="csX486" y="csY486"/>
                </a:cxn>
                <a:cxn ang="0">
                  <a:pos x="csX487" y="csY487"/>
                </a:cxn>
                <a:cxn ang="0">
                  <a:pos x="csX488" y="csY488"/>
                </a:cxn>
                <a:cxn ang="0">
                  <a:pos x="csX489" y="csY489"/>
                </a:cxn>
                <a:cxn ang="0">
                  <a:pos x="csX490" y="csY490"/>
                </a:cxn>
                <a:cxn ang="0">
                  <a:pos x="csX491" y="csY491"/>
                </a:cxn>
                <a:cxn ang="0">
                  <a:pos x="csX492" y="csY492"/>
                </a:cxn>
                <a:cxn ang="0">
                  <a:pos x="csX493" y="csY493"/>
                </a:cxn>
                <a:cxn ang="0">
                  <a:pos x="csX494" y="csY494"/>
                </a:cxn>
                <a:cxn ang="0">
                  <a:pos x="csX495" y="csY495"/>
                </a:cxn>
                <a:cxn ang="0">
                  <a:pos x="csX496" y="csY496"/>
                </a:cxn>
                <a:cxn ang="0">
                  <a:pos x="csX497" y="csY497"/>
                </a:cxn>
                <a:cxn ang="0">
                  <a:pos x="csX498" y="csY498"/>
                </a:cxn>
                <a:cxn ang="0">
                  <a:pos x="csX499" y="csY499"/>
                </a:cxn>
                <a:cxn ang="0">
                  <a:pos x="csX500" y="csY500"/>
                </a:cxn>
                <a:cxn ang="0">
                  <a:pos x="csX501" y="csY501"/>
                </a:cxn>
                <a:cxn ang="0">
                  <a:pos x="csX502" y="csY502"/>
                </a:cxn>
                <a:cxn ang="0">
                  <a:pos x="csX503" y="csY503"/>
                </a:cxn>
                <a:cxn ang="0">
                  <a:pos x="csX504" y="csY504"/>
                </a:cxn>
                <a:cxn ang="0">
                  <a:pos x="csX505" y="csY505"/>
                </a:cxn>
                <a:cxn ang="0">
                  <a:pos x="csX506" y="csY506"/>
                </a:cxn>
                <a:cxn ang="0">
                  <a:pos x="csX507" y="csY507"/>
                </a:cxn>
                <a:cxn ang="0">
                  <a:pos x="csX508" y="csY508"/>
                </a:cxn>
                <a:cxn ang="0">
                  <a:pos x="csX509" y="csY509"/>
                </a:cxn>
                <a:cxn ang="0">
                  <a:pos x="csX510" y="csY510"/>
                </a:cxn>
                <a:cxn ang="0">
                  <a:pos x="csX511" y="csY511"/>
                </a:cxn>
                <a:cxn ang="0">
                  <a:pos x="csX512" y="csY512"/>
                </a:cxn>
                <a:cxn ang="0">
                  <a:pos x="csX513" y="csY513"/>
                </a:cxn>
                <a:cxn ang="0">
                  <a:pos x="csX514" y="csY514"/>
                </a:cxn>
                <a:cxn ang="0">
                  <a:pos x="csX515" y="csY515"/>
                </a:cxn>
                <a:cxn ang="0">
                  <a:pos x="csX516" y="csY516"/>
                </a:cxn>
                <a:cxn ang="0">
                  <a:pos x="csX517" y="csY517"/>
                </a:cxn>
                <a:cxn ang="0">
                  <a:pos x="csX518" y="csY518"/>
                </a:cxn>
                <a:cxn ang="0">
                  <a:pos x="csX519" y="csY519"/>
                </a:cxn>
                <a:cxn ang="0">
                  <a:pos x="csX520" y="csY520"/>
                </a:cxn>
                <a:cxn ang="0">
                  <a:pos x="csX521" y="csY521"/>
                </a:cxn>
                <a:cxn ang="0">
                  <a:pos x="csX522" y="csY522"/>
                </a:cxn>
                <a:cxn ang="0">
                  <a:pos x="csX523" y="csY523"/>
                </a:cxn>
                <a:cxn ang="0">
                  <a:pos x="csX524" y="csY524"/>
                </a:cxn>
                <a:cxn ang="0">
                  <a:pos x="csX525" y="csY525"/>
                </a:cxn>
                <a:cxn ang="0">
                  <a:pos x="csX526" y="csY526"/>
                </a:cxn>
                <a:cxn ang="0">
                  <a:pos x="csX527" y="csY527"/>
                </a:cxn>
                <a:cxn ang="0">
                  <a:pos x="csX528" y="csY528"/>
                </a:cxn>
                <a:cxn ang="0">
                  <a:pos x="csX529" y="csY529"/>
                </a:cxn>
                <a:cxn ang="0">
                  <a:pos x="csX530" y="csY530"/>
                </a:cxn>
                <a:cxn ang="0">
                  <a:pos x="csX531" y="csY531"/>
                </a:cxn>
                <a:cxn ang="0">
                  <a:pos x="csX532" y="csY532"/>
                </a:cxn>
                <a:cxn ang="0">
                  <a:pos x="csX533" y="csY533"/>
                </a:cxn>
                <a:cxn ang="0">
                  <a:pos x="csX534" y="csY534"/>
                </a:cxn>
                <a:cxn ang="0">
                  <a:pos x="csX535" y="csY535"/>
                </a:cxn>
                <a:cxn ang="0">
                  <a:pos x="csX536" y="csY536"/>
                </a:cxn>
                <a:cxn ang="0">
                  <a:pos x="csX537" y="csY537"/>
                </a:cxn>
                <a:cxn ang="0">
                  <a:pos x="csX538" y="csY538"/>
                </a:cxn>
                <a:cxn ang="0">
                  <a:pos x="csX539" y="csY539"/>
                </a:cxn>
                <a:cxn ang="0">
                  <a:pos x="csX540" y="csY540"/>
                </a:cxn>
                <a:cxn ang="0">
                  <a:pos x="csX541" y="csY541"/>
                </a:cxn>
                <a:cxn ang="0">
                  <a:pos x="csX542" y="csY542"/>
                </a:cxn>
                <a:cxn ang="0">
                  <a:pos x="csX543" y="csY543"/>
                </a:cxn>
                <a:cxn ang="0">
                  <a:pos x="csX544" y="csY544"/>
                </a:cxn>
                <a:cxn ang="0">
                  <a:pos x="csX545" y="csY545"/>
                </a:cxn>
                <a:cxn ang="0">
                  <a:pos x="csX546" y="csY546"/>
                </a:cxn>
                <a:cxn ang="0">
                  <a:pos x="csX547" y="csY547"/>
                </a:cxn>
                <a:cxn ang="0">
                  <a:pos x="csX548" y="csY548"/>
                </a:cxn>
                <a:cxn ang="0">
                  <a:pos x="csX549" y="csY549"/>
                </a:cxn>
                <a:cxn ang="0">
                  <a:pos x="csX550" y="csY550"/>
                </a:cxn>
                <a:cxn ang="0">
                  <a:pos x="csX551" y="csY551"/>
                </a:cxn>
                <a:cxn ang="0">
                  <a:pos x="csX552" y="csY552"/>
                </a:cxn>
                <a:cxn ang="0">
                  <a:pos x="csX553" y="csY553"/>
                </a:cxn>
                <a:cxn ang="0">
                  <a:pos x="csX554" y="csY554"/>
                </a:cxn>
                <a:cxn ang="0">
                  <a:pos x="csX555" y="csY555"/>
                </a:cxn>
                <a:cxn ang="0">
                  <a:pos x="csX556" y="csY556"/>
                </a:cxn>
                <a:cxn ang="0">
                  <a:pos x="csX557" y="csY557"/>
                </a:cxn>
                <a:cxn ang="0">
                  <a:pos x="csX558" y="csY558"/>
                </a:cxn>
                <a:cxn ang="0">
                  <a:pos x="csX559" y="csY559"/>
                </a:cxn>
                <a:cxn ang="0">
                  <a:pos x="csX560" y="csY560"/>
                </a:cxn>
                <a:cxn ang="0">
                  <a:pos x="csX561" y="csY561"/>
                </a:cxn>
                <a:cxn ang="0">
                  <a:pos x="csX562" y="csY562"/>
                </a:cxn>
                <a:cxn ang="0">
                  <a:pos x="csX563" y="csY563"/>
                </a:cxn>
                <a:cxn ang="0">
                  <a:pos x="csX564" y="csY564"/>
                </a:cxn>
                <a:cxn ang="0">
                  <a:pos x="csX565" y="csY565"/>
                </a:cxn>
                <a:cxn ang="0">
                  <a:pos x="csX566" y="csY566"/>
                </a:cxn>
                <a:cxn ang="0">
                  <a:pos x="csX567" y="csY567"/>
                </a:cxn>
                <a:cxn ang="0">
                  <a:pos x="csX568" y="csY568"/>
                </a:cxn>
                <a:cxn ang="0">
                  <a:pos x="csX569" y="csY569"/>
                </a:cxn>
                <a:cxn ang="0">
                  <a:pos x="csX570" y="csY570"/>
                </a:cxn>
                <a:cxn ang="0">
                  <a:pos x="csX571" y="csY571"/>
                </a:cxn>
                <a:cxn ang="0">
                  <a:pos x="csX572" y="csY572"/>
                </a:cxn>
                <a:cxn ang="0">
                  <a:pos x="csX573" y="csY573"/>
                </a:cxn>
                <a:cxn ang="0">
                  <a:pos x="csX574" y="csY574"/>
                </a:cxn>
                <a:cxn ang="0">
                  <a:pos x="csX575" y="csY575"/>
                </a:cxn>
                <a:cxn ang="0">
                  <a:pos x="csX576" y="csY576"/>
                </a:cxn>
                <a:cxn ang="0">
                  <a:pos x="csX577" y="csY577"/>
                </a:cxn>
                <a:cxn ang="0">
                  <a:pos x="csX578" y="csY578"/>
                </a:cxn>
                <a:cxn ang="0">
                  <a:pos x="csX579" y="csY579"/>
                </a:cxn>
                <a:cxn ang="0">
                  <a:pos x="csX580" y="csY580"/>
                </a:cxn>
                <a:cxn ang="0">
                  <a:pos x="csX581" y="csY581"/>
                </a:cxn>
                <a:cxn ang="0">
                  <a:pos x="csX582" y="csY582"/>
                </a:cxn>
                <a:cxn ang="0">
                  <a:pos x="csX583" y="csY583"/>
                </a:cxn>
                <a:cxn ang="0">
                  <a:pos x="csX584" y="csY584"/>
                </a:cxn>
                <a:cxn ang="0">
                  <a:pos x="csX585" y="csY585"/>
                </a:cxn>
                <a:cxn ang="0">
                  <a:pos x="csX586" y="csY586"/>
                </a:cxn>
                <a:cxn ang="0">
                  <a:pos x="csX587" y="csY587"/>
                </a:cxn>
                <a:cxn ang="0">
                  <a:pos x="csX588" y="csY588"/>
                </a:cxn>
                <a:cxn ang="0">
                  <a:pos x="csX589" y="csY589"/>
                </a:cxn>
                <a:cxn ang="0">
                  <a:pos x="csX590" y="csY590"/>
                </a:cxn>
                <a:cxn ang="0">
                  <a:pos x="csX591" y="csY591"/>
                </a:cxn>
                <a:cxn ang="0">
                  <a:pos x="csX592" y="csY592"/>
                </a:cxn>
                <a:cxn ang="0">
                  <a:pos x="csX593" y="csY593"/>
                </a:cxn>
                <a:cxn ang="0">
                  <a:pos x="csX594" y="csY594"/>
                </a:cxn>
                <a:cxn ang="0">
                  <a:pos x="csX595" y="csY595"/>
                </a:cxn>
                <a:cxn ang="0">
                  <a:pos x="csX596" y="csY596"/>
                </a:cxn>
                <a:cxn ang="0">
                  <a:pos x="csX597" y="csY597"/>
                </a:cxn>
                <a:cxn ang="0">
                  <a:pos x="csX598" y="csY598"/>
                </a:cxn>
                <a:cxn ang="0">
                  <a:pos x="csX599" y="csY599"/>
                </a:cxn>
                <a:cxn ang="0">
                  <a:pos x="csX600" y="csY600"/>
                </a:cxn>
                <a:cxn ang="0">
                  <a:pos x="csX601" y="csY601"/>
                </a:cxn>
                <a:cxn ang="0">
                  <a:pos x="csX602" y="csY602"/>
                </a:cxn>
                <a:cxn ang="0">
                  <a:pos x="csX603" y="csY603"/>
                </a:cxn>
                <a:cxn ang="0">
                  <a:pos x="csX604" y="csY604"/>
                </a:cxn>
                <a:cxn ang="0">
                  <a:pos x="csX605" y="csY605"/>
                </a:cxn>
                <a:cxn ang="0">
                  <a:pos x="csX606" y="csY606"/>
                </a:cxn>
                <a:cxn ang="0">
                  <a:pos x="csX607" y="csY607"/>
                </a:cxn>
                <a:cxn ang="0">
                  <a:pos x="csX608" y="csY608"/>
                </a:cxn>
                <a:cxn ang="0">
                  <a:pos x="csX609" y="csY609"/>
                </a:cxn>
                <a:cxn ang="0">
                  <a:pos x="csX610" y="csY610"/>
                </a:cxn>
                <a:cxn ang="0">
                  <a:pos x="csX611" y="csY611"/>
                </a:cxn>
                <a:cxn ang="0">
                  <a:pos x="csX612" y="csY612"/>
                </a:cxn>
                <a:cxn ang="0">
                  <a:pos x="csX613" y="csY613"/>
                </a:cxn>
                <a:cxn ang="0">
                  <a:pos x="csX614" y="csY614"/>
                </a:cxn>
                <a:cxn ang="0">
                  <a:pos x="csX615" y="csY615"/>
                </a:cxn>
                <a:cxn ang="0">
                  <a:pos x="csX616" y="csY616"/>
                </a:cxn>
                <a:cxn ang="0">
                  <a:pos x="csX617" y="csY617"/>
                </a:cxn>
                <a:cxn ang="0">
                  <a:pos x="csX618" y="csY618"/>
                </a:cxn>
                <a:cxn ang="0">
                  <a:pos x="csX619" y="csY619"/>
                </a:cxn>
                <a:cxn ang="0">
                  <a:pos x="csX620" y="csY620"/>
                </a:cxn>
                <a:cxn ang="0">
                  <a:pos x="csX621" y="csY621"/>
                </a:cxn>
                <a:cxn ang="0">
                  <a:pos x="csX622" y="csY622"/>
                </a:cxn>
                <a:cxn ang="0">
                  <a:pos x="csX623" y="csY623"/>
                </a:cxn>
                <a:cxn ang="0">
                  <a:pos x="csX624" y="csY624"/>
                </a:cxn>
                <a:cxn ang="0">
                  <a:pos x="csX625" y="csY625"/>
                </a:cxn>
                <a:cxn ang="0">
                  <a:pos x="csX626" y="csY626"/>
                </a:cxn>
                <a:cxn ang="0">
                  <a:pos x="csX627" y="csY627"/>
                </a:cxn>
                <a:cxn ang="0">
                  <a:pos x="csX628" y="csY628"/>
                </a:cxn>
                <a:cxn ang="0">
                  <a:pos x="csX629" y="csY629"/>
                </a:cxn>
                <a:cxn ang="0">
                  <a:pos x="csX630" y="csY630"/>
                </a:cxn>
                <a:cxn ang="0">
                  <a:pos x="csX631" y="csY631"/>
                </a:cxn>
                <a:cxn ang="0">
                  <a:pos x="csX632" y="csY632"/>
                </a:cxn>
                <a:cxn ang="0">
                  <a:pos x="csX633" y="csY633"/>
                </a:cxn>
                <a:cxn ang="0">
                  <a:pos x="csX634" y="csY634"/>
                </a:cxn>
                <a:cxn ang="0">
                  <a:pos x="csX635" y="csY635"/>
                </a:cxn>
                <a:cxn ang="0">
                  <a:pos x="csX636" y="csY636"/>
                </a:cxn>
                <a:cxn ang="0">
                  <a:pos x="csX637" y="csY637"/>
                </a:cxn>
                <a:cxn ang="0">
                  <a:pos x="csX638" y="csY638"/>
                </a:cxn>
                <a:cxn ang="0">
                  <a:pos x="csX639" y="csY639"/>
                </a:cxn>
                <a:cxn ang="0">
                  <a:pos x="csX640" y="csY640"/>
                </a:cxn>
                <a:cxn ang="0">
                  <a:pos x="csX641" y="csY641"/>
                </a:cxn>
                <a:cxn ang="0">
                  <a:pos x="csX642" y="csY642"/>
                </a:cxn>
                <a:cxn ang="0">
                  <a:pos x="csX643" y="csY643"/>
                </a:cxn>
                <a:cxn ang="0">
                  <a:pos x="csX644" y="csY644"/>
                </a:cxn>
                <a:cxn ang="0">
                  <a:pos x="csX645" y="csY645"/>
                </a:cxn>
                <a:cxn ang="0">
                  <a:pos x="csX646" y="csY646"/>
                </a:cxn>
                <a:cxn ang="0">
                  <a:pos x="csX647" y="csY647"/>
                </a:cxn>
                <a:cxn ang="0">
                  <a:pos x="csX648" y="csY648"/>
                </a:cxn>
                <a:cxn ang="0">
                  <a:pos x="csX649" y="csY649"/>
                </a:cxn>
                <a:cxn ang="0">
                  <a:pos x="csX650" y="csY650"/>
                </a:cxn>
                <a:cxn ang="0">
                  <a:pos x="csX651" y="csY651"/>
                </a:cxn>
                <a:cxn ang="0">
                  <a:pos x="csX652" y="csY652"/>
                </a:cxn>
                <a:cxn ang="0">
                  <a:pos x="csX653" y="csY653"/>
                </a:cxn>
                <a:cxn ang="0">
                  <a:pos x="csX654" y="csY654"/>
                </a:cxn>
                <a:cxn ang="0">
                  <a:pos x="csX655" y="csY655"/>
                </a:cxn>
                <a:cxn ang="0">
                  <a:pos x="csX656" y="csY656"/>
                </a:cxn>
                <a:cxn ang="0">
                  <a:pos x="csX657" y="csY657"/>
                </a:cxn>
                <a:cxn ang="0">
                  <a:pos x="csX658" y="csY658"/>
                </a:cxn>
                <a:cxn ang="0">
                  <a:pos x="csX659" y="csY659"/>
                </a:cxn>
                <a:cxn ang="0">
                  <a:pos x="csX660" y="csY660"/>
                </a:cxn>
                <a:cxn ang="0">
                  <a:pos x="csX661" y="csY661"/>
                </a:cxn>
                <a:cxn ang="0">
                  <a:pos x="csX662" y="csY662"/>
                </a:cxn>
                <a:cxn ang="0">
                  <a:pos x="csX663" y="csY663"/>
                </a:cxn>
                <a:cxn ang="0">
                  <a:pos x="csX664" y="csY664"/>
                </a:cxn>
                <a:cxn ang="0">
                  <a:pos x="csX665" y="csY665"/>
                </a:cxn>
                <a:cxn ang="0">
                  <a:pos x="csX666" y="csY666"/>
                </a:cxn>
                <a:cxn ang="0">
                  <a:pos x="csX667" y="csY667"/>
                </a:cxn>
                <a:cxn ang="0">
                  <a:pos x="csX668" y="csY668"/>
                </a:cxn>
                <a:cxn ang="0">
                  <a:pos x="csX669" y="csY669"/>
                </a:cxn>
                <a:cxn ang="0">
                  <a:pos x="csX670" y="csY670"/>
                </a:cxn>
                <a:cxn ang="0">
                  <a:pos x="csX671" y="csY671"/>
                </a:cxn>
                <a:cxn ang="0">
                  <a:pos x="csX672" y="csY672"/>
                </a:cxn>
                <a:cxn ang="0">
                  <a:pos x="csX673" y="csY673"/>
                </a:cxn>
                <a:cxn ang="0">
                  <a:pos x="csX674" y="csY674"/>
                </a:cxn>
                <a:cxn ang="0">
                  <a:pos x="csX675" y="csY675"/>
                </a:cxn>
                <a:cxn ang="0">
                  <a:pos x="csX676" y="csY676"/>
                </a:cxn>
                <a:cxn ang="0">
                  <a:pos x="csX677" y="csY677"/>
                </a:cxn>
                <a:cxn ang="0">
                  <a:pos x="csX678" y="csY678"/>
                </a:cxn>
                <a:cxn ang="0">
                  <a:pos x="csX679" y="csY679"/>
                </a:cxn>
                <a:cxn ang="0">
                  <a:pos x="csX680" y="csY680"/>
                </a:cxn>
                <a:cxn ang="0">
                  <a:pos x="csX681" y="csY681"/>
                </a:cxn>
                <a:cxn ang="0">
                  <a:pos x="csX682" y="csY682"/>
                </a:cxn>
                <a:cxn ang="0">
                  <a:pos x="csX683" y="csY683"/>
                </a:cxn>
                <a:cxn ang="0">
                  <a:pos x="csX684" y="csY684"/>
                </a:cxn>
                <a:cxn ang="0">
                  <a:pos x="csX685" y="csY685"/>
                </a:cxn>
                <a:cxn ang="0">
                  <a:pos x="csX686" y="csY686"/>
                </a:cxn>
                <a:cxn ang="0">
                  <a:pos x="csX687" y="csY687"/>
                </a:cxn>
                <a:cxn ang="0">
                  <a:pos x="csX688" y="csY688"/>
                </a:cxn>
                <a:cxn ang="0">
                  <a:pos x="csX689" y="csY689"/>
                </a:cxn>
                <a:cxn ang="0">
                  <a:pos x="csX690" y="csY690"/>
                </a:cxn>
                <a:cxn ang="0">
                  <a:pos x="csX691" y="csY691"/>
                </a:cxn>
                <a:cxn ang="0">
                  <a:pos x="csX692" y="csY692"/>
                </a:cxn>
                <a:cxn ang="0">
                  <a:pos x="csX693" y="csY693"/>
                </a:cxn>
                <a:cxn ang="0">
                  <a:pos x="csX694" y="csY694"/>
                </a:cxn>
                <a:cxn ang="0">
                  <a:pos x="csX695" y="csY695"/>
                </a:cxn>
                <a:cxn ang="0">
                  <a:pos x="csX696" y="csY696"/>
                </a:cxn>
                <a:cxn ang="0">
                  <a:pos x="csX697" y="csY697"/>
                </a:cxn>
                <a:cxn ang="0">
                  <a:pos x="csX698" y="csY698"/>
                </a:cxn>
                <a:cxn ang="0">
                  <a:pos x="csX699" y="csY699"/>
                </a:cxn>
                <a:cxn ang="0">
                  <a:pos x="csX700" y="csY700"/>
                </a:cxn>
                <a:cxn ang="0">
                  <a:pos x="csX701" y="csY701"/>
                </a:cxn>
                <a:cxn ang="0">
                  <a:pos x="csX702" y="csY702"/>
                </a:cxn>
                <a:cxn ang="0">
                  <a:pos x="csX703" y="csY703"/>
                </a:cxn>
                <a:cxn ang="0">
                  <a:pos x="csX704" y="csY704"/>
                </a:cxn>
                <a:cxn ang="0">
                  <a:pos x="csX705" y="csY705"/>
                </a:cxn>
                <a:cxn ang="0">
                  <a:pos x="csX706" y="csY706"/>
                </a:cxn>
                <a:cxn ang="0">
                  <a:pos x="csX707" y="csY707"/>
                </a:cxn>
                <a:cxn ang="0">
                  <a:pos x="csX708" y="csY708"/>
                </a:cxn>
                <a:cxn ang="0">
                  <a:pos x="csX709" y="csY709"/>
                </a:cxn>
                <a:cxn ang="0">
                  <a:pos x="csX710" y="csY710"/>
                </a:cxn>
                <a:cxn ang="0">
                  <a:pos x="csX711" y="csY711"/>
                </a:cxn>
                <a:cxn ang="0">
                  <a:pos x="csX712" y="csY712"/>
                </a:cxn>
                <a:cxn ang="0">
                  <a:pos x="csX713" y="csY713"/>
                </a:cxn>
                <a:cxn ang="0">
                  <a:pos x="csX714" y="csY714"/>
                </a:cxn>
                <a:cxn ang="0">
                  <a:pos x="csX715" y="csY715"/>
                </a:cxn>
                <a:cxn ang="0">
                  <a:pos x="csX716" y="csY716"/>
                </a:cxn>
                <a:cxn ang="0">
                  <a:pos x="csX717" y="csY717"/>
                </a:cxn>
                <a:cxn ang="0">
                  <a:pos x="csX718" y="csY718"/>
                </a:cxn>
                <a:cxn ang="0">
                  <a:pos x="csX719" y="csY719"/>
                </a:cxn>
                <a:cxn ang="0">
                  <a:pos x="csX720" y="csY720"/>
                </a:cxn>
                <a:cxn ang="0">
                  <a:pos x="csX721" y="csY721"/>
                </a:cxn>
                <a:cxn ang="0">
                  <a:pos x="csX722" y="csY722"/>
                </a:cxn>
                <a:cxn ang="0">
                  <a:pos x="csX723" y="csY723"/>
                </a:cxn>
                <a:cxn ang="0">
                  <a:pos x="csX724" y="csY724"/>
                </a:cxn>
                <a:cxn ang="0">
                  <a:pos x="csX725" y="csY725"/>
                </a:cxn>
                <a:cxn ang="0">
                  <a:pos x="csX726" y="csY726"/>
                </a:cxn>
                <a:cxn ang="0">
                  <a:pos x="csX727" y="csY727"/>
                </a:cxn>
                <a:cxn ang="0">
                  <a:pos x="csX728" y="csY728"/>
                </a:cxn>
                <a:cxn ang="0">
                  <a:pos x="csX729" y="csY729"/>
                </a:cxn>
                <a:cxn ang="0">
                  <a:pos x="csX730" y="csY730"/>
                </a:cxn>
                <a:cxn ang="0">
                  <a:pos x="csX731" y="csY731"/>
                </a:cxn>
                <a:cxn ang="0">
                  <a:pos x="csX732" y="csY732"/>
                </a:cxn>
                <a:cxn ang="0">
                  <a:pos x="csX733" y="csY733"/>
                </a:cxn>
                <a:cxn ang="0">
                  <a:pos x="csX734" y="csY734"/>
                </a:cxn>
                <a:cxn ang="0">
                  <a:pos x="csX735" y="csY735"/>
                </a:cxn>
                <a:cxn ang="0">
                  <a:pos x="csX736" y="csY736"/>
                </a:cxn>
                <a:cxn ang="0">
                  <a:pos x="csX737" y="csY737"/>
                </a:cxn>
                <a:cxn ang="0">
                  <a:pos x="csX738" y="csY738"/>
                </a:cxn>
                <a:cxn ang="0">
                  <a:pos x="csX739" y="csY739"/>
                </a:cxn>
                <a:cxn ang="0">
                  <a:pos x="csX740" y="csY740"/>
                </a:cxn>
                <a:cxn ang="0">
                  <a:pos x="csX741" y="csY741"/>
                </a:cxn>
                <a:cxn ang="0">
                  <a:pos x="csX742" y="csY742"/>
                </a:cxn>
                <a:cxn ang="0">
                  <a:pos x="csX743" y="csY743"/>
                </a:cxn>
                <a:cxn ang="0">
                  <a:pos x="csX744" y="csY744"/>
                </a:cxn>
                <a:cxn ang="0">
                  <a:pos x="csX745" y="csY745"/>
                </a:cxn>
                <a:cxn ang="0">
                  <a:pos x="csX746" y="csY746"/>
                </a:cxn>
                <a:cxn ang="0">
                  <a:pos x="csX747" y="csY747"/>
                </a:cxn>
                <a:cxn ang="0">
                  <a:pos x="csX748" y="csY748"/>
                </a:cxn>
                <a:cxn ang="0">
                  <a:pos x="csX749" y="csY749"/>
                </a:cxn>
                <a:cxn ang="0">
                  <a:pos x="csX750" y="csY750"/>
                </a:cxn>
                <a:cxn ang="0">
                  <a:pos x="csX751" y="csY751"/>
                </a:cxn>
                <a:cxn ang="0">
                  <a:pos x="csX752" y="csY752"/>
                </a:cxn>
                <a:cxn ang="0">
                  <a:pos x="csX753" y="csY753"/>
                </a:cxn>
                <a:cxn ang="0">
                  <a:pos x="csX754" y="csY754"/>
                </a:cxn>
                <a:cxn ang="0">
                  <a:pos x="csX755" y="csY755"/>
                </a:cxn>
                <a:cxn ang="0">
                  <a:pos x="csX756" y="csY756"/>
                </a:cxn>
                <a:cxn ang="0">
                  <a:pos x="csX757" y="csY757"/>
                </a:cxn>
                <a:cxn ang="0">
                  <a:pos x="csX758" y="csY758"/>
                </a:cxn>
                <a:cxn ang="0">
                  <a:pos x="csX759" y="csY759"/>
                </a:cxn>
                <a:cxn ang="0">
                  <a:pos x="csX760" y="csY760"/>
                </a:cxn>
                <a:cxn ang="0">
                  <a:pos x="csX761" y="csY761"/>
                </a:cxn>
                <a:cxn ang="0">
                  <a:pos x="csX762" y="csY762"/>
                </a:cxn>
                <a:cxn ang="0">
                  <a:pos x="csX763" y="csY763"/>
                </a:cxn>
                <a:cxn ang="0">
                  <a:pos x="csX764" y="csY764"/>
                </a:cxn>
                <a:cxn ang="0">
                  <a:pos x="csX765" y="csY765"/>
                </a:cxn>
                <a:cxn ang="0">
                  <a:pos x="csX766" y="csY766"/>
                </a:cxn>
                <a:cxn ang="0">
                  <a:pos x="csX767" y="csY767"/>
                </a:cxn>
                <a:cxn ang="0">
                  <a:pos x="csX768" y="csY768"/>
                </a:cxn>
                <a:cxn ang="0">
                  <a:pos x="csX769" y="csY769"/>
                </a:cxn>
                <a:cxn ang="0">
                  <a:pos x="csX770" y="csY770"/>
                </a:cxn>
                <a:cxn ang="0">
                  <a:pos x="csX771" y="csY771"/>
                </a:cxn>
                <a:cxn ang="0">
                  <a:pos x="csX772" y="csY772"/>
                </a:cxn>
                <a:cxn ang="0">
                  <a:pos x="csX773" y="csY773"/>
                </a:cxn>
                <a:cxn ang="0">
                  <a:pos x="csX774" y="csY774"/>
                </a:cxn>
                <a:cxn ang="0">
                  <a:pos x="csX775" y="csY775"/>
                </a:cxn>
                <a:cxn ang="0">
                  <a:pos x="csX776" y="csY776"/>
                </a:cxn>
                <a:cxn ang="0">
                  <a:pos x="csX777" y="csY777"/>
                </a:cxn>
                <a:cxn ang="0">
                  <a:pos x="csX778" y="csY778"/>
                </a:cxn>
                <a:cxn ang="0">
                  <a:pos x="csX779" y="csY779"/>
                </a:cxn>
                <a:cxn ang="0">
                  <a:pos x="csX780" y="csY780"/>
                </a:cxn>
                <a:cxn ang="0">
                  <a:pos x="csX781" y="csY781"/>
                </a:cxn>
                <a:cxn ang="0">
                  <a:pos x="csX782" y="csY782"/>
                </a:cxn>
                <a:cxn ang="0">
                  <a:pos x="csX783" y="csY783"/>
                </a:cxn>
                <a:cxn ang="0">
                  <a:pos x="csX784" y="csY784"/>
                </a:cxn>
                <a:cxn ang="0">
                  <a:pos x="csX785" y="csY785"/>
                </a:cxn>
                <a:cxn ang="0">
                  <a:pos x="csX786" y="csY786"/>
                </a:cxn>
                <a:cxn ang="0">
                  <a:pos x="csX787" y="csY787"/>
                </a:cxn>
                <a:cxn ang="0">
                  <a:pos x="csX788" y="csY788"/>
                </a:cxn>
                <a:cxn ang="0">
                  <a:pos x="csX789" y="csY789"/>
                </a:cxn>
                <a:cxn ang="0">
                  <a:pos x="csX790" y="csY790"/>
                </a:cxn>
                <a:cxn ang="0">
                  <a:pos x="csX791" y="csY791"/>
                </a:cxn>
                <a:cxn ang="0">
                  <a:pos x="csX792" y="csY792"/>
                </a:cxn>
                <a:cxn ang="0">
                  <a:pos x="csX793" y="csY793"/>
                </a:cxn>
                <a:cxn ang="0">
                  <a:pos x="csX794" y="csY794"/>
                </a:cxn>
                <a:cxn ang="0">
                  <a:pos x="csX795" y="csY795"/>
                </a:cxn>
                <a:cxn ang="0">
                  <a:pos x="csX796" y="csY796"/>
                </a:cxn>
                <a:cxn ang="0">
                  <a:pos x="csX797" y="csY797"/>
                </a:cxn>
                <a:cxn ang="0">
                  <a:pos x="csX798" y="csY798"/>
                </a:cxn>
                <a:cxn ang="0">
                  <a:pos x="csX799" y="csY799"/>
                </a:cxn>
                <a:cxn ang="0">
                  <a:pos x="csX800" y="csY800"/>
                </a:cxn>
                <a:cxn ang="0">
                  <a:pos x="csX801" y="csY801"/>
                </a:cxn>
                <a:cxn ang="0">
                  <a:pos x="csX802" y="csY802"/>
                </a:cxn>
                <a:cxn ang="0">
                  <a:pos x="csX803" y="csY803"/>
                </a:cxn>
                <a:cxn ang="0">
                  <a:pos x="csX804" y="csY804"/>
                </a:cxn>
                <a:cxn ang="0">
                  <a:pos x="csX805" y="csY805"/>
                </a:cxn>
                <a:cxn ang="0">
                  <a:pos x="csX806" y="csY806"/>
                </a:cxn>
                <a:cxn ang="0">
                  <a:pos x="csX807" y="csY807"/>
                </a:cxn>
                <a:cxn ang="0">
                  <a:pos x="csX808" y="csY808"/>
                </a:cxn>
                <a:cxn ang="0">
                  <a:pos x="csX809" y="csY809"/>
                </a:cxn>
                <a:cxn ang="0">
                  <a:pos x="csX810" y="csY810"/>
                </a:cxn>
                <a:cxn ang="0">
                  <a:pos x="csX811" y="csY811"/>
                </a:cxn>
                <a:cxn ang="0">
                  <a:pos x="csX812" y="csY812"/>
                </a:cxn>
                <a:cxn ang="0">
                  <a:pos x="csX813" y="csY813"/>
                </a:cxn>
                <a:cxn ang="0">
                  <a:pos x="csX814" y="csY814"/>
                </a:cxn>
                <a:cxn ang="0">
                  <a:pos x="csX815" y="csY815"/>
                </a:cxn>
                <a:cxn ang="0">
                  <a:pos x="csX816" y="csY816"/>
                </a:cxn>
                <a:cxn ang="0">
                  <a:pos x="csX817" y="csY817"/>
                </a:cxn>
                <a:cxn ang="0">
                  <a:pos x="csX818" y="csY818"/>
                </a:cxn>
                <a:cxn ang="0">
                  <a:pos x="csX819" y="csY819"/>
                </a:cxn>
                <a:cxn ang="0">
                  <a:pos x="csX820" y="csY820"/>
                </a:cxn>
                <a:cxn ang="0">
                  <a:pos x="csX821" y="csY821"/>
                </a:cxn>
                <a:cxn ang="0">
                  <a:pos x="csX822" y="csY822"/>
                </a:cxn>
                <a:cxn ang="0">
                  <a:pos x="csX823" y="csY823"/>
                </a:cxn>
                <a:cxn ang="0">
                  <a:pos x="csX824" y="csY824"/>
                </a:cxn>
                <a:cxn ang="0">
                  <a:pos x="csX825" y="csY825"/>
                </a:cxn>
                <a:cxn ang="0">
                  <a:pos x="csX826" y="csY826"/>
                </a:cxn>
                <a:cxn ang="0">
                  <a:pos x="csX827" y="csY827"/>
                </a:cxn>
                <a:cxn ang="0">
                  <a:pos x="csX828" y="csY828"/>
                </a:cxn>
                <a:cxn ang="0">
                  <a:pos x="csX829" y="csY829"/>
                </a:cxn>
                <a:cxn ang="0">
                  <a:pos x="csX830" y="csY830"/>
                </a:cxn>
                <a:cxn ang="0">
                  <a:pos x="csX831" y="csY831"/>
                </a:cxn>
                <a:cxn ang="0">
                  <a:pos x="csX832" y="csY832"/>
                </a:cxn>
                <a:cxn ang="0">
                  <a:pos x="csX833" y="csY833"/>
                </a:cxn>
                <a:cxn ang="0">
                  <a:pos x="csX834" y="csY834"/>
                </a:cxn>
                <a:cxn ang="0">
                  <a:pos x="csX835" y="csY835"/>
                </a:cxn>
                <a:cxn ang="0">
                  <a:pos x="csX836" y="csY836"/>
                </a:cxn>
                <a:cxn ang="0">
                  <a:pos x="csX837" y="csY837"/>
                </a:cxn>
                <a:cxn ang="0">
                  <a:pos x="csX838" y="csY838"/>
                </a:cxn>
                <a:cxn ang="0">
                  <a:pos x="csX839" y="csY839"/>
                </a:cxn>
                <a:cxn ang="0">
                  <a:pos x="csX840" y="csY840"/>
                </a:cxn>
                <a:cxn ang="0">
                  <a:pos x="csX841" y="csY841"/>
                </a:cxn>
                <a:cxn ang="0">
                  <a:pos x="csX842" y="csY842"/>
                </a:cxn>
                <a:cxn ang="0">
                  <a:pos x="csX843" y="csY843"/>
                </a:cxn>
                <a:cxn ang="0">
                  <a:pos x="csX844" y="csY844"/>
                </a:cxn>
                <a:cxn ang="0">
                  <a:pos x="csX845" y="csY845"/>
                </a:cxn>
                <a:cxn ang="0">
                  <a:pos x="csX846" y="csY846"/>
                </a:cxn>
                <a:cxn ang="0">
                  <a:pos x="csX847" y="csY847"/>
                </a:cxn>
                <a:cxn ang="0">
                  <a:pos x="csX848" y="csY848"/>
                </a:cxn>
                <a:cxn ang="0">
                  <a:pos x="csX849" y="csY849"/>
                </a:cxn>
                <a:cxn ang="0">
                  <a:pos x="csX850" y="csY850"/>
                </a:cxn>
                <a:cxn ang="0">
                  <a:pos x="csX851" y="csY851"/>
                </a:cxn>
                <a:cxn ang="0">
                  <a:pos x="csX852" y="csY852"/>
                </a:cxn>
                <a:cxn ang="0">
                  <a:pos x="csX853" y="csY853"/>
                </a:cxn>
                <a:cxn ang="0">
                  <a:pos x="csX854" y="csY854"/>
                </a:cxn>
                <a:cxn ang="0">
                  <a:pos x="csX855" y="csY855"/>
                </a:cxn>
                <a:cxn ang="0">
                  <a:pos x="csX856" y="csY856"/>
                </a:cxn>
                <a:cxn ang="0">
                  <a:pos x="csX857" y="csY857"/>
                </a:cxn>
                <a:cxn ang="0">
                  <a:pos x="csX858" y="csY858"/>
                </a:cxn>
                <a:cxn ang="0">
                  <a:pos x="csX859" y="csY859"/>
                </a:cxn>
                <a:cxn ang="0">
                  <a:pos x="csX860" y="csY860"/>
                </a:cxn>
                <a:cxn ang="0">
                  <a:pos x="csX861" y="csY861"/>
                </a:cxn>
                <a:cxn ang="0">
                  <a:pos x="csX862" y="csY862"/>
                </a:cxn>
                <a:cxn ang="0">
                  <a:pos x="csX863" y="csY863"/>
                </a:cxn>
                <a:cxn ang="0">
                  <a:pos x="csX864" y="csY864"/>
                </a:cxn>
                <a:cxn ang="0">
                  <a:pos x="csX865" y="csY865"/>
                </a:cxn>
                <a:cxn ang="0">
                  <a:pos x="csX866" y="csY866"/>
                </a:cxn>
                <a:cxn ang="0">
                  <a:pos x="csX867" y="csY867"/>
                </a:cxn>
                <a:cxn ang="0">
                  <a:pos x="csX868" y="csY868"/>
                </a:cxn>
                <a:cxn ang="0">
                  <a:pos x="csX869" y="csY869"/>
                </a:cxn>
                <a:cxn ang="0">
                  <a:pos x="csX870" y="csY870"/>
                </a:cxn>
                <a:cxn ang="0">
                  <a:pos x="csX871" y="csY871"/>
                </a:cxn>
                <a:cxn ang="0">
                  <a:pos x="csX872" y="csY872"/>
                </a:cxn>
                <a:cxn ang="0">
                  <a:pos x="csX873" y="csY873"/>
                </a:cxn>
                <a:cxn ang="0">
                  <a:pos x="csX874" y="csY874"/>
                </a:cxn>
                <a:cxn ang="0">
                  <a:pos x="csX875" y="csY875"/>
                </a:cxn>
                <a:cxn ang="0">
                  <a:pos x="csX876" y="csY876"/>
                </a:cxn>
                <a:cxn ang="0">
                  <a:pos x="csX877" y="csY877"/>
                </a:cxn>
                <a:cxn ang="0">
                  <a:pos x="csX878" y="csY878"/>
                </a:cxn>
                <a:cxn ang="0">
                  <a:pos x="csX879" y="csY879"/>
                </a:cxn>
                <a:cxn ang="0">
                  <a:pos x="csX880" y="csY880"/>
                </a:cxn>
                <a:cxn ang="0">
                  <a:pos x="csX881" y="csY881"/>
                </a:cxn>
                <a:cxn ang="0">
                  <a:pos x="csX882" y="csY882"/>
                </a:cxn>
                <a:cxn ang="0">
                  <a:pos x="csX883" y="csY883"/>
                </a:cxn>
                <a:cxn ang="0">
                  <a:pos x="csX884" y="csY884"/>
                </a:cxn>
                <a:cxn ang="0">
                  <a:pos x="csX885" y="csY885"/>
                </a:cxn>
                <a:cxn ang="0">
                  <a:pos x="csX886" y="csY886"/>
                </a:cxn>
                <a:cxn ang="0">
                  <a:pos x="csX887" y="csY887"/>
                </a:cxn>
                <a:cxn ang="0">
                  <a:pos x="csX888" y="csY888"/>
                </a:cxn>
                <a:cxn ang="0">
                  <a:pos x="csX889" y="csY889"/>
                </a:cxn>
                <a:cxn ang="0">
                  <a:pos x="csX890" y="csY890"/>
                </a:cxn>
                <a:cxn ang="0">
                  <a:pos x="csX891" y="csY891"/>
                </a:cxn>
                <a:cxn ang="0">
                  <a:pos x="csX892" y="csY892"/>
                </a:cxn>
                <a:cxn ang="0">
                  <a:pos x="csX893" y="csY893"/>
                </a:cxn>
                <a:cxn ang="0">
                  <a:pos x="csX894" y="csY894"/>
                </a:cxn>
                <a:cxn ang="0">
                  <a:pos x="csX895" y="csY895"/>
                </a:cxn>
                <a:cxn ang="0">
                  <a:pos x="csX896" y="csY896"/>
                </a:cxn>
                <a:cxn ang="0">
                  <a:pos x="csX897" y="csY897"/>
                </a:cxn>
                <a:cxn ang="0">
                  <a:pos x="csX898" y="csY898"/>
                </a:cxn>
                <a:cxn ang="0">
                  <a:pos x="csX899" y="csY899"/>
                </a:cxn>
                <a:cxn ang="0">
                  <a:pos x="csX900" y="csY900"/>
                </a:cxn>
                <a:cxn ang="0">
                  <a:pos x="csX901" y="csY901"/>
                </a:cxn>
                <a:cxn ang="0">
                  <a:pos x="csX902" y="csY902"/>
                </a:cxn>
                <a:cxn ang="0">
                  <a:pos x="csX903" y="csY903"/>
                </a:cxn>
                <a:cxn ang="0">
                  <a:pos x="csX904" y="csY904"/>
                </a:cxn>
                <a:cxn ang="0">
                  <a:pos x="csX905" y="csY905"/>
                </a:cxn>
                <a:cxn ang="0">
                  <a:pos x="csX906" y="csY906"/>
                </a:cxn>
                <a:cxn ang="0">
                  <a:pos x="csX907" y="csY907"/>
                </a:cxn>
                <a:cxn ang="0">
                  <a:pos x="csX908" y="csY908"/>
                </a:cxn>
                <a:cxn ang="0">
                  <a:pos x="csX909" y="csY909"/>
                </a:cxn>
                <a:cxn ang="0">
                  <a:pos x="csX910" y="csY910"/>
                </a:cxn>
                <a:cxn ang="0">
                  <a:pos x="csX911" y="csY911"/>
                </a:cxn>
                <a:cxn ang="0">
                  <a:pos x="csX912" y="csY912"/>
                </a:cxn>
                <a:cxn ang="0">
                  <a:pos x="csX913" y="csY913"/>
                </a:cxn>
                <a:cxn ang="0">
                  <a:pos x="csX914" y="csY914"/>
                </a:cxn>
                <a:cxn ang="0">
                  <a:pos x="csX915" y="csY915"/>
                </a:cxn>
                <a:cxn ang="0">
                  <a:pos x="csX916" y="csY916"/>
                </a:cxn>
                <a:cxn ang="0">
                  <a:pos x="csX917" y="csY917"/>
                </a:cxn>
                <a:cxn ang="0">
                  <a:pos x="csX918" y="csY918"/>
                </a:cxn>
                <a:cxn ang="0">
                  <a:pos x="csX919" y="csY919"/>
                </a:cxn>
                <a:cxn ang="0">
                  <a:pos x="csX920" y="csY920"/>
                </a:cxn>
                <a:cxn ang="0">
                  <a:pos x="csX921" y="csY921"/>
                </a:cxn>
                <a:cxn ang="0">
                  <a:pos x="csX922" y="csY922"/>
                </a:cxn>
                <a:cxn ang="0">
                  <a:pos x="csX923" y="csY923"/>
                </a:cxn>
                <a:cxn ang="0">
                  <a:pos x="csX924" y="csY924"/>
                </a:cxn>
                <a:cxn ang="0">
                  <a:pos x="csX925" y="csY925"/>
                </a:cxn>
                <a:cxn ang="0">
                  <a:pos x="csX926" y="csY926"/>
                </a:cxn>
                <a:cxn ang="0">
                  <a:pos x="csX927" y="csY927"/>
                </a:cxn>
                <a:cxn ang="0">
                  <a:pos x="csX928" y="csY928"/>
                </a:cxn>
                <a:cxn ang="0">
                  <a:pos x="csX929" y="csY929"/>
                </a:cxn>
                <a:cxn ang="0">
                  <a:pos x="csX930" y="csY930"/>
                </a:cxn>
                <a:cxn ang="0">
                  <a:pos x="csX931" y="csY931"/>
                </a:cxn>
                <a:cxn ang="0">
                  <a:pos x="csX932" y="csY932"/>
                </a:cxn>
                <a:cxn ang="0">
                  <a:pos x="csX933" y="csY933"/>
                </a:cxn>
                <a:cxn ang="0">
                  <a:pos x="csX934" y="csY934"/>
                </a:cxn>
                <a:cxn ang="0">
                  <a:pos x="csX935" y="csY935"/>
                </a:cxn>
                <a:cxn ang="0">
                  <a:pos x="csX936" y="csY936"/>
                </a:cxn>
                <a:cxn ang="0">
                  <a:pos x="csX937" y="csY937"/>
                </a:cxn>
                <a:cxn ang="0">
                  <a:pos x="csX938" y="csY938"/>
                </a:cxn>
                <a:cxn ang="0">
                  <a:pos x="csX939" y="csY939"/>
                </a:cxn>
                <a:cxn ang="0">
                  <a:pos x="csX940" y="csY940"/>
                </a:cxn>
                <a:cxn ang="0">
                  <a:pos x="csX941" y="csY941"/>
                </a:cxn>
                <a:cxn ang="0">
                  <a:pos x="csX942" y="csY942"/>
                </a:cxn>
                <a:cxn ang="0">
                  <a:pos x="csX943" y="csY943"/>
                </a:cxn>
                <a:cxn ang="0">
                  <a:pos x="csX944" y="csY944"/>
                </a:cxn>
                <a:cxn ang="0">
                  <a:pos x="csX945" y="csY945"/>
                </a:cxn>
                <a:cxn ang="0">
                  <a:pos x="csX946" y="csY946"/>
                </a:cxn>
                <a:cxn ang="0">
                  <a:pos x="csX947" y="csY947"/>
                </a:cxn>
                <a:cxn ang="0">
                  <a:pos x="csX948" y="csY948"/>
                </a:cxn>
                <a:cxn ang="0">
                  <a:pos x="csX949" y="csY949"/>
                </a:cxn>
                <a:cxn ang="0">
                  <a:pos x="csX950" y="csY950"/>
                </a:cxn>
                <a:cxn ang="0">
                  <a:pos x="csX951" y="csY951"/>
                </a:cxn>
                <a:cxn ang="0">
                  <a:pos x="csX952" y="csY952"/>
                </a:cxn>
                <a:cxn ang="0">
                  <a:pos x="csX953" y="csY953"/>
                </a:cxn>
                <a:cxn ang="0">
                  <a:pos x="csX954" y="csY954"/>
                </a:cxn>
                <a:cxn ang="0">
                  <a:pos x="csX955" y="csY955"/>
                </a:cxn>
                <a:cxn ang="0">
                  <a:pos x="csX956" y="csY956"/>
                </a:cxn>
                <a:cxn ang="0">
                  <a:pos x="csX957" y="csY957"/>
                </a:cxn>
                <a:cxn ang="0">
                  <a:pos x="csX958" y="csY958"/>
                </a:cxn>
                <a:cxn ang="0">
                  <a:pos x="csX959" y="csY959"/>
                </a:cxn>
                <a:cxn ang="0">
                  <a:pos x="csX960" y="csY960"/>
                </a:cxn>
                <a:cxn ang="0">
                  <a:pos x="csX961" y="csY961"/>
                </a:cxn>
                <a:cxn ang="0">
                  <a:pos x="csX962" y="csY962"/>
                </a:cxn>
                <a:cxn ang="0">
                  <a:pos x="csX963" y="csY963"/>
                </a:cxn>
                <a:cxn ang="0">
                  <a:pos x="csX964" y="csY964"/>
                </a:cxn>
                <a:cxn ang="0">
                  <a:pos x="csX965" y="csY965"/>
                </a:cxn>
                <a:cxn ang="0">
                  <a:pos x="csX966" y="csY966"/>
                </a:cxn>
                <a:cxn ang="0">
                  <a:pos x="csX967" y="csY967"/>
                </a:cxn>
                <a:cxn ang="0">
                  <a:pos x="csX968" y="csY968"/>
                </a:cxn>
                <a:cxn ang="0">
                  <a:pos x="csX969" y="csY969"/>
                </a:cxn>
                <a:cxn ang="0">
                  <a:pos x="csX970" y="csY970"/>
                </a:cxn>
                <a:cxn ang="0">
                  <a:pos x="csX971" y="csY971"/>
                </a:cxn>
                <a:cxn ang="0">
                  <a:pos x="csX972" y="csY972"/>
                </a:cxn>
                <a:cxn ang="0">
                  <a:pos x="csX973" y="csY973"/>
                </a:cxn>
                <a:cxn ang="0">
                  <a:pos x="csX974" y="csY974"/>
                </a:cxn>
                <a:cxn ang="0">
                  <a:pos x="csX975" y="csY975"/>
                </a:cxn>
                <a:cxn ang="0">
                  <a:pos x="csX976" y="csY976"/>
                </a:cxn>
                <a:cxn ang="0">
                  <a:pos x="csX977" y="csY977"/>
                </a:cxn>
                <a:cxn ang="0">
                  <a:pos x="csX978" y="csY978"/>
                </a:cxn>
                <a:cxn ang="0">
                  <a:pos x="csX979" y="csY979"/>
                </a:cxn>
                <a:cxn ang="0">
                  <a:pos x="csX980" y="csY980"/>
                </a:cxn>
                <a:cxn ang="0">
                  <a:pos x="csX981" y="csY981"/>
                </a:cxn>
                <a:cxn ang="0">
                  <a:pos x="csX982" y="csY982"/>
                </a:cxn>
                <a:cxn ang="0">
                  <a:pos x="csX983" y="csY983"/>
                </a:cxn>
                <a:cxn ang="0">
                  <a:pos x="csX984" y="csY984"/>
                </a:cxn>
                <a:cxn ang="0">
                  <a:pos x="csX985" y="csY985"/>
                </a:cxn>
                <a:cxn ang="0">
                  <a:pos x="csX986" y="csY986"/>
                </a:cxn>
                <a:cxn ang="0">
                  <a:pos x="csX987" y="csY987"/>
                </a:cxn>
                <a:cxn ang="0">
                  <a:pos x="csX988" y="csY988"/>
                </a:cxn>
                <a:cxn ang="0">
                  <a:pos x="csX989" y="csY989"/>
                </a:cxn>
                <a:cxn ang="0">
                  <a:pos x="csX990" y="csY990"/>
                </a:cxn>
                <a:cxn ang="0">
                  <a:pos x="csX991" y="csY991"/>
                </a:cxn>
                <a:cxn ang="0">
                  <a:pos x="csX992" y="csY992"/>
                </a:cxn>
                <a:cxn ang="0">
                  <a:pos x="csX993" y="csY993"/>
                </a:cxn>
                <a:cxn ang="0">
                  <a:pos x="csX994" y="csY994"/>
                </a:cxn>
                <a:cxn ang="0">
                  <a:pos x="csX995" y="csY995"/>
                </a:cxn>
                <a:cxn ang="0">
                  <a:pos x="csX996" y="csY996"/>
                </a:cxn>
                <a:cxn ang="0">
                  <a:pos x="csX997" y="csY997"/>
                </a:cxn>
                <a:cxn ang="0">
                  <a:pos x="csX998" y="csY998"/>
                </a:cxn>
                <a:cxn ang="0">
                  <a:pos x="csX999" y="csY999"/>
                </a:cxn>
                <a:cxn ang="0">
                  <a:pos x="csX1000" y="csY1000"/>
                </a:cxn>
                <a:cxn ang="0">
                  <a:pos x="csX1001" y="csY1001"/>
                </a:cxn>
                <a:cxn ang="0">
                  <a:pos x="csX1002" y="csY1002"/>
                </a:cxn>
                <a:cxn ang="0">
                  <a:pos x="csX1003" y="csY1003"/>
                </a:cxn>
                <a:cxn ang="0">
                  <a:pos x="csX1004" y="csY1004"/>
                </a:cxn>
                <a:cxn ang="0">
                  <a:pos x="csX1005" y="csY1005"/>
                </a:cxn>
                <a:cxn ang="0">
                  <a:pos x="csX1006" y="csY1006"/>
                </a:cxn>
                <a:cxn ang="0">
                  <a:pos x="csX1007" y="csY1007"/>
                </a:cxn>
                <a:cxn ang="0">
                  <a:pos x="csX1008" y="csY1008"/>
                </a:cxn>
                <a:cxn ang="0">
                  <a:pos x="csX1009" y="csY1009"/>
                </a:cxn>
                <a:cxn ang="0">
                  <a:pos x="csX1010" y="csY1010"/>
                </a:cxn>
                <a:cxn ang="0">
                  <a:pos x="csX1011" y="csY1011"/>
                </a:cxn>
                <a:cxn ang="0">
                  <a:pos x="csX1012" y="csY1012"/>
                </a:cxn>
                <a:cxn ang="0">
                  <a:pos x="csX1013" y="csY1013"/>
                </a:cxn>
                <a:cxn ang="0">
                  <a:pos x="csX1014" y="csY1014"/>
                </a:cxn>
                <a:cxn ang="0">
                  <a:pos x="csX1015" y="csY1015"/>
                </a:cxn>
                <a:cxn ang="0">
                  <a:pos x="csX1016" y="csY1016"/>
                </a:cxn>
                <a:cxn ang="0">
                  <a:pos x="csX1017" y="csY1017"/>
                </a:cxn>
                <a:cxn ang="0">
                  <a:pos x="csX1018" y="csY1018"/>
                </a:cxn>
                <a:cxn ang="0">
                  <a:pos x="csX1019" y="csY1019"/>
                </a:cxn>
                <a:cxn ang="0">
                  <a:pos x="csX1020" y="csY1020"/>
                </a:cxn>
                <a:cxn ang="0">
                  <a:pos x="csX1021" y="csY1021"/>
                </a:cxn>
                <a:cxn ang="0">
                  <a:pos x="csX1022" y="csY1022"/>
                </a:cxn>
                <a:cxn ang="0">
                  <a:pos x="csX1023" y="csY1023"/>
                </a:cxn>
                <a:cxn ang="0">
                  <a:pos x="csX1024" y="csY1024"/>
                </a:cxn>
                <a:cxn ang="0">
                  <a:pos x="csX1025" y="csY1025"/>
                </a:cxn>
                <a:cxn ang="0">
                  <a:pos x="csX1026" y="csY1026"/>
                </a:cxn>
                <a:cxn ang="0">
                  <a:pos x="csX1027" y="csY1027"/>
                </a:cxn>
                <a:cxn ang="0">
                  <a:pos x="csX1028" y="csY1028"/>
                </a:cxn>
                <a:cxn ang="0">
                  <a:pos x="csX1029" y="csY1029"/>
                </a:cxn>
                <a:cxn ang="0">
                  <a:pos x="csX1030" y="csY1030"/>
                </a:cxn>
                <a:cxn ang="0">
                  <a:pos x="csX1031" y="csY1031"/>
                </a:cxn>
                <a:cxn ang="0">
                  <a:pos x="csX1032" y="csY1032"/>
                </a:cxn>
                <a:cxn ang="0">
                  <a:pos x="csX1033" y="csY1033"/>
                </a:cxn>
                <a:cxn ang="0">
                  <a:pos x="csX1034" y="csY1034"/>
                </a:cxn>
                <a:cxn ang="0">
                  <a:pos x="csX1035" y="csY1035"/>
                </a:cxn>
                <a:cxn ang="0">
                  <a:pos x="csX1036" y="csY1036"/>
                </a:cxn>
                <a:cxn ang="0">
                  <a:pos x="csX1037" y="csY1037"/>
                </a:cxn>
                <a:cxn ang="0">
                  <a:pos x="csX1038" y="csY1038"/>
                </a:cxn>
                <a:cxn ang="0">
                  <a:pos x="csX1039" y="csY1039"/>
                </a:cxn>
                <a:cxn ang="0">
                  <a:pos x="csX1040" y="csY1040"/>
                </a:cxn>
                <a:cxn ang="0">
                  <a:pos x="csX1041" y="csY1041"/>
                </a:cxn>
                <a:cxn ang="0">
                  <a:pos x="csX1042" y="csY1042"/>
                </a:cxn>
                <a:cxn ang="0">
                  <a:pos x="csX1043" y="csY1043"/>
                </a:cxn>
                <a:cxn ang="0">
                  <a:pos x="csX1044" y="csY1044"/>
                </a:cxn>
                <a:cxn ang="0">
                  <a:pos x="csX1045" y="csY1045"/>
                </a:cxn>
                <a:cxn ang="0">
                  <a:pos x="csX1046" y="csY1046"/>
                </a:cxn>
                <a:cxn ang="0">
                  <a:pos x="csX1047" y="csY1047"/>
                </a:cxn>
                <a:cxn ang="0">
                  <a:pos x="csX1048" y="csY1048"/>
                </a:cxn>
                <a:cxn ang="0">
                  <a:pos x="csX1049" y="csY1049"/>
                </a:cxn>
                <a:cxn ang="0">
                  <a:pos x="csX1050" y="csY1050"/>
                </a:cxn>
                <a:cxn ang="0">
                  <a:pos x="csX1051" y="csY1051"/>
                </a:cxn>
                <a:cxn ang="0">
                  <a:pos x="csX1052" y="csY1052"/>
                </a:cxn>
                <a:cxn ang="0">
                  <a:pos x="csX1053" y="csY1053"/>
                </a:cxn>
                <a:cxn ang="0">
                  <a:pos x="csX1054" y="csY1054"/>
                </a:cxn>
                <a:cxn ang="0">
                  <a:pos x="csX1055" y="csY1055"/>
                </a:cxn>
                <a:cxn ang="0">
                  <a:pos x="csX1056" y="csY1056"/>
                </a:cxn>
                <a:cxn ang="0">
                  <a:pos x="csX1057" y="csY1057"/>
                </a:cxn>
                <a:cxn ang="0">
                  <a:pos x="csX1058" y="csY1058"/>
                </a:cxn>
                <a:cxn ang="0">
                  <a:pos x="csX1059" y="csY1059"/>
                </a:cxn>
                <a:cxn ang="0">
                  <a:pos x="csX1060" y="csY1060"/>
                </a:cxn>
                <a:cxn ang="0">
                  <a:pos x="csX1061" y="csY1061"/>
                </a:cxn>
                <a:cxn ang="0">
                  <a:pos x="csX1062" y="csY1062"/>
                </a:cxn>
                <a:cxn ang="0">
                  <a:pos x="csX1063" y="csY1063"/>
                </a:cxn>
                <a:cxn ang="0">
                  <a:pos x="csX1064" y="csY1064"/>
                </a:cxn>
                <a:cxn ang="0">
                  <a:pos x="csX1065" y="csY1065"/>
                </a:cxn>
                <a:cxn ang="0">
                  <a:pos x="csX1066" y="csY1066"/>
                </a:cxn>
                <a:cxn ang="0">
                  <a:pos x="csX1067" y="csY1067"/>
                </a:cxn>
                <a:cxn ang="0">
                  <a:pos x="csX1068" y="csY1068"/>
                </a:cxn>
                <a:cxn ang="0">
                  <a:pos x="csX1069" y="csY1069"/>
                </a:cxn>
                <a:cxn ang="0">
                  <a:pos x="csX1070" y="csY1070"/>
                </a:cxn>
                <a:cxn ang="0">
                  <a:pos x="csX1071" y="csY1071"/>
                </a:cxn>
                <a:cxn ang="0">
                  <a:pos x="csX1072" y="csY1072"/>
                </a:cxn>
                <a:cxn ang="0">
                  <a:pos x="csX1073" y="csY1073"/>
                </a:cxn>
                <a:cxn ang="0">
                  <a:pos x="csX1074" y="csY1074"/>
                </a:cxn>
                <a:cxn ang="0">
                  <a:pos x="csX1075" y="csY1075"/>
                </a:cxn>
                <a:cxn ang="0">
                  <a:pos x="csX1076" y="csY1076"/>
                </a:cxn>
                <a:cxn ang="0">
                  <a:pos x="csX1077" y="csY1077"/>
                </a:cxn>
                <a:cxn ang="0">
                  <a:pos x="csX1078" y="csY1078"/>
                </a:cxn>
                <a:cxn ang="0">
                  <a:pos x="csX1079" y="csY1079"/>
                </a:cxn>
                <a:cxn ang="0">
                  <a:pos x="csX1080" y="csY1080"/>
                </a:cxn>
                <a:cxn ang="0">
                  <a:pos x="csX1081" y="csY1081"/>
                </a:cxn>
                <a:cxn ang="0">
                  <a:pos x="csX1082" y="csY1082"/>
                </a:cxn>
                <a:cxn ang="0">
                  <a:pos x="csX1083" y="csY1083"/>
                </a:cxn>
                <a:cxn ang="0">
                  <a:pos x="csX1084" y="csY1084"/>
                </a:cxn>
                <a:cxn ang="0">
                  <a:pos x="csX1085" y="csY1085"/>
                </a:cxn>
                <a:cxn ang="0">
                  <a:pos x="csX1086" y="csY1086"/>
                </a:cxn>
                <a:cxn ang="0">
                  <a:pos x="csX1087" y="csY1087"/>
                </a:cxn>
                <a:cxn ang="0">
                  <a:pos x="csX1088" y="csY1088"/>
                </a:cxn>
                <a:cxn ang="0">
                  <a:pos x="csX1089" y="csY1089"/>
                </a:cxn>
                <a:cxn ang="0">
                  <a:pos x="csX1090" y="csY1090"/>
                </a:cxn>
                <a:cxn ang="0">
                  <a:pos x="csX1091" y="csY1091"/>
                </a:cxn>
                <a:cxn ang="0">
                  <a:pos x="csX1092" y="csY1092"/>
                </a:cxn>
                <a:cxn ang="0">
                  <a:pos x="csX1093" y="csY1093"/>
                </a:cxn>
                <a:cxn ang="0">
                  <a:pos x="csX1094" y="csY1094"/>
                </a:cxn>
                <a:cxn ang="0">
                  <a:pos x="csX1095" y="csY1095"/>
                </a:cxn>
                <a:cxn ang="0">
                  <a:pos x="csX1096" y="csY1096"/>
                </a:cxn>
                <a:cxn ang="0">
                  <a:pos x="csX1097" y="csY1097"/>
                </a:cxn>
                <a:cxn ang="0">
                  <a:pos x="csX1098" y="csY1098"/>
                </a:cxn>
                <a:cxn ang="0">
                  <a:pos x="csX1099" y="csY1099"/>
                </a:cxn>
                <a:cxn ang="0">
                  <a:pos x="csX1100" y="csY1100"/>
                </a:cxn>
                <a:cxn ang="0">
                  <a:pos x="csX1101" y="csY1101"/>
                </a:cxn>
                <a:cxn ang="0">
                  <a:pos x="csX1102" y="csY1102"/>
                </a:cxn>
                <a:cxn ang="0">
                  <a:pos x="csX1103" y="csY1103"/>
                </a:cxn>
                <a:cxn ang="0">
                  <a:pos x="csX1104" y="csY1104"/>
                </a:cxn>
                <a:cxn ang="0">
                  <a:pos x="csX1105" y="csY1105"/>
                </a:cxn>
                <a:cxn ang="0">
                  <a:pos x="csX1106" y="csY1106"/>
                </a:cxn>
                <a:cxn ang="0">
                  <a:pos x="csX1107" y="csY1107"/>
                </a:cxn>
                <a:cxn ang="0">
                  <a:pos x="csX1108" y="csY1108"/>
                </a:cxn>
                <a:cxn ang="0">
                  <a:pos x="csX1109" y="csY1109"/>
                </a:cxn>
                <a:cxn ang="0">
                  <a:pos x="csX1110" y="csY1110"/>
                </a:cxn>
                <a:cxn ang="0">
                  <a:pos x="csX1111" y="csY1111"/>
                </a:cxn>
                <a:cxn ang="0">
                  <a:pos x="csX1112" y="csY1112"/>
                </a:cxn>
                <a:cxn ang="0">
                  <a:pos x="csX1113" y="csY1113"/>
                </a:cxn>
                <a:cxn ang="0">
                  <a:pos x="csX1114" y="csY1114"/>
                </a:cxn>
                <a:cxn ang="0">
                  <a:pos x="csX1115" y="csY1115"/>
                </a:cxn>
                <a:cxn ang="0">
                  <a:pos x="csX1116" y="csY1116"/>
                </a:cxn>
                <a:cxn ang="0">
                  <a:pos x="csX1117" y="csY1117"/>
                </a:cxn>
                <a:cxn ang="0">
                  <a:pos x="csX1118" y="csY1118"/>
                </a:cxn>
                <a:cxn ang="0">
                  <a:pos x="csX1119" y="csY1119"/>
                </a:cxn>
                <a:cxn ang="0">
                  <a:pos x="csX1120" y="csY1120"/>
                </a:cxn>
                <a:cxn ang="0">
                  <a:pos x="csX1121" y="csY1121"/>
                </a:cxn>
                <a:cxn ang="0">
                  <a:pos x="csX1122" y="csY1122"/>
                </a:cxn>
                <a:cxn ang="0">
                  <a:pos x="csX1123" y="csY1123"/>
                </a:cxn>
                <a:cxn ang="0">
                  <a:pos x="csX1124" y="csY1124"/>
                </a:cxn>
                <a:cxn ang="0">
                  <a:pos x="csX1125" y="csY1125"/>
                </a:cxn>
                <a:cxn ang="0">
                  <a:pos x="csX1126" y="csY1126"/>
                </a:cxn>
                <a:cxn ang="0">
                  <a:pos x="csX1127" y="csY1127"/>
                </a:cxn>
                <a:cxn ang="0">
                  <a:pos x="csX1128" y="csY1128"/>
                </a:cxn>
                <a:cxn ang="0">
                  <a:pos x="csX1129" y="csY1129"/>
                </a:cxn>
                <a:cxn ang="0">
                  <a:pos x="csX1130" y="csY1130"/>
                </a:cxn>
                <a:cxn ang="0">
                  <a:pos x="csX1131" y="csY1131"/>
                </a:cxn>
                <a:cxn ang="0">
                  <a:pos x="csX1132" y="csY1132"/>
                </a:cxn>
                <a:cxn ang="0">
                  <a:pos x="csX1133" y="csY1133"/>
                </a:cxn>
                <a:cxn ang="0">
                  <a:pos x="csX1134" y="csY1134"/>
                </a:cxn>
                <a:cxn ang="0">
                  <a:pos x="csX1135" y="csY1135"/>
                </a:cxn>
                <a:cxn ang="0">
                  <a:pos x="csX1136" y="csY1136"/>
                </a:cxn>
                <a:cxn ang="0">
                  <a:pos x="csX1137" y="csY1137"/>
                </a:cxn>
                <a:cxn ang="0">
                  <a:pos x="csX1138" y="csY1138"/>
                </a:cxn>
                <a:cxn ang="0">
                  <a:pos x="csX1139" y="csY1139"/>
                </a:cxn>
                <a:cxn ang="0">
                  <a:pos x="csX1140" y="csY1140"/>
                </a:cxn>
                <a:cxn ang="0">
                  <a:pos x="csX1141" y="csY1141"/>
                </a:cxn>
                <a:cxn ang="0">
                  <a:pos x="csX1142" y="csY1142"/>
                </a:cxn>
                <a:cxn ang="0">
                  <a:pos x="csX1143" y="csY1143"/>
                </a:cxn>
                <a:cxn ang="0">
                  <a:pos x="csX1144" y="csY1144"/>
                </a:cxn>
                <a:cxn ang="0">
                  <a:pos x="csX1145" y="csY1145"/>
                </a:cxn>
                <a:cxn ang="0">
                  <a:pos x="csX1146" y="csY1146"/>
                </a:cxn>
                <a:cxn ang="0">
                  <a:pos x="csX1147" y="csY1147"/>
                </a:cxn>
                <a:cxn ang="0">
                  <a:pos x="csX1148" y="csY1148"/>
                </a:cxn>
                <a:cxn ang="0">
                  <a:pos x="csX1149" y="csY1149"/>
                </a:cxn>
                <a:cxn ang="0">
                  <a:pos x="csX1150" y="csY1150"/>
                </a:cxn>
                <a:cxn ang="0">
                  <a:pos x="csX1151" y="csY1151"/>
                </a:cxn>
                <a:cxn ang="0">
                  <a:pos x="csX1152" y="csY1152"/>
                </a:cxn>
                <a:cxn ang="0">
                  <a:pos x="csX1153" y="csY1153"/>
                </a:cxn>
                <a:cxn ang="0">
                  <a:pos x="csX1154" y="csY1154"/>
                </a:cxn>
                <a:cxn ang="0">
                  <a:pos x="csX1155" y="csY1155"/>
                </a:cxn>
                <a:cxn ang="0">
                  <a:pos x="csX1156" y="csY1156"/>
                </a:cxn>
                <a:cxn ang="0">
                  <a:pos x="csX1157" y="csY1157"/>
                </a:cxn>
              </a:cxnLst>
              <a:rect l="l" t="t" r="r" b="b"/>
              <a:pathLst>
                <a:path w="830147" h="1880156">
                  <a:moveTo>
                    <a:pt x="809319" y="544358"/>
                  </a:moveTo>
                  <a:lnTo>
                    <a:pt x="809319" y="1047950"/>
                  </a:lnTo>
                  <a:lnTo>
                    <a:pt x="819468" y="1047950"/>
                  </a:lnTo>
                  <a:lnTo>
                    <a:pt x="819468" y="1059641"/>
                  </a:lnTo>
                  <a:lnTo>
                    <a:pt x="789568" y="1059641"/>
                  </a:lnTo>
                  <a:lnTo>
                    <a:pt x="789568" y="1182289"/>
                  </a:lnTo>
                  <a:lnTo>
                    <a:pt x="794615" y="1182289"/>
                  </a:lnTo>
                  <a:lnTo>
                    <a:pt x="794615" y="1192000"/>
                  </a:lnTo>
                  <a:lnTo>
                    <a:pt x="746555" y="1192000"/>
                  </a:lnTo>
                  <a:lnTo>
                    <a:pt x="746555" y="1720747"/>
                  </a:lnTo>
                  <a:lnTo>
                    <a:pt x="749901" y="1720747"/>
                  </a:lnTo>
                  <a:lnTo>
                    <a:pt x="749901" y="1729432"/>
                  </a:lnTo>
                  <a:lnTo>
                    <a:pt x="707875" y="1729432"/>
                  </a:lnTo>
                  <a:lnTo>
                    <a:pt x="707875" y="1720747"/>
                  </a:lnTo>
                  <a:lnTo>
                    <a:pt x="707875" y="1192000"/>
                  </a:lnTo>
                  <a:lnTo>
                    <a:pt x="700633" y="1192000"/>
                  </a:lnTo>
                  <a:lnTo>
                    <a:pt x="700633" y="1777953"/>
                  </a:lnTo>
                  <a:lnTo>
                    <a:pt x="710783" y="1777953"/>
                  </a:lnTo>
                  <a:lnTo>
                    <a:pt x="710783" y="1791763"/>
                  </a:lnTo>
                  <a:lnTo>
                    <a:pt x="651201" y="1791763"/>
                  </a:lnTo>
                  <a:lnTo>
                    <a:pt x="651201" y="1844054"/>
                  </a:lnTo>
                  <a:lnTo>
                    <a:pt x="651091" y="1844054"/>
                  </a:lnTo>
                  <a:lnTo>
                    <a:pt x="651091" y="1873905"/>
                  </a:lnTo>
                  <a:lnTo>
                    <a:pt x="161100" y="1873905"/>
                  </a:lnTo>
                  <a:lnTo>
                    <a:pt x="161100" y="1844054"/>
                  </a:lnTo>
                  <a:lnTo>
                    <a:pt x="161100" y="1791763"/>
                  </a:lnTo>
                  <a:lnTo>
                    <a:pt x="101518" y="1791763"/>
                  </a:lnTo>
                  <a:lnTo>
                    <a:pt x="101518" y="1777953"/>
                  </a:lnTo>
                  <a:lnTo>
                    <a:pt x="111668" y="1777953"/>
                  </a:lnTo>
                  <a:lnTo>
                    <a:pt x="111668" y="1192000"/>
                  </a:lnTo>
                  <a:lnTo>
                    <a:pt x="104426" y="1192000"/>
                  </a:lnTo>
                  <a:lnTo>
                    <a:pt x="104426" y="1720747"/>
                  </a:lnTo>
                  <a:lnTo>
                    <a:pt x="104426" y="1729432"/>
                  </a:lnTo>
                  <a:lnTo>
                    <a:pt x="62400" y="1729432"/>
                  </a:lnTo>
                  <a:lnTo>
                    <a:pt x="62400" y="1720747"/>
                  </a:lnTo>
                  <a:lnTo>
                    <a:pt x="65747" y="1720747"/>
                  </a:lnTo>
                  <a:lnTo>
                    <a:pt x="65747" y="1192000"/>
                  </a:lnTo>
                  <a:lnTo>
                    <a:pt x="17686" y="1192000"/>
                  </a:lnTo>
                  <a:lnTo>
                    <a:pt x="17686" y="1182289"/>
                  </a:lnTo>
                  <a:lnTo>
                    <a:pt x="22734" y="1182289"/>
                  </a:lnTo>
                  <a:lnTo>
                    <a:pt x="22734" y="1059641"/>
                  </a:lnTo>
                  <a:lnTo>
                    <a:pt x="-7167" y="1059641"/>
                  </a:lnTo>
                  <a:lnTo>
                    <a:pt x="-7167" y="1047950"/>
                  </a:lnTo>
                  <a:lnTo>
                    <a:pt x="2983" y="1047950"/>
                  </a:lnTo>
                  <a:lnTo>
                    <a:pt x="2983" y="544358"/>
                  </a:lnTo>
                  <a:lnTo>
                    <a:pt x="-8923" y="544358"/>
                  </a:lnTo>
                  <a:lnTo>
                    <a:pt x="-8923" y="530593"/>
                  </a:lnTo>
                  <a:lnTo>
                    <a:pt x="2983" y="530593"/>
                  </a:lnTo>
                  <a:lnTo>
                    <a:pt x="2983" y="184171"/>
                  </a:lnTo>
                  <a:lnTo>
                    <a:pt x="2983" y="67162"/>
                  </a:lnTo>
                  <a:lnTo>
                    <a:pt x="2983" y="50187"/>
                  </a:lnTo>
                  <a:lnTo>
                    <a:pt x="2983" y="-2559"/>
                  </a:lnTo>
                  <a:lnTo>
                    <a:pt x="2983" y="-6251"/>
                  </a:lnTo>
                  <a:lnTo>
                    <a:pt x="20594" y="-6251"/>
                  </a:lnTo>
                  <a:lnTo>
                    <a:pt x="33707" y="-6251"/>
                  </a:lnTo>
                  <a:lnTo>
                    <a:pt x="36120" y="-6251"/>
                  </a:lnTo>
                  <a:lnTo>
                    <a:pt x="52086" y="-6251"/>
                  </a:lnTo>
                  <a:lnTo>
                    <a:pt x="54500" y="-6251"/>
                  </a:lnTo>
                  <a:lnTo>
                    <a:pt x="70410" y="-6251"/>
                  </a:lnTo>
                  <a:lnTo>
                    <a:pt x="72825" y="-6251"/>
                  </a:lnTo>
                  <a:lnTo>
                    <a:pt x="88790" y="-6251"/>
                  </a:lnTo>
                  <a:lnTo>
                    <a:pt x="91204" y="-6251"/>
                  </a:lnTo>
                  <a:lnTo>
                    <a:pt x="106566" y="-6251"/>
                  </a:lnTo>
                  <a:lnTo>
                    <a:pt x="124177" y="-6251"/>
                  </a:lnTo>
                  <a:lnTo>
                    <a:pt x="138442" y="-6251"/>
                  </a:lnTo>
                  <a:lnTo>
                    <a:pt x="140856" y="-6251"/>
                  </a:lnTo>
                  <a:lnTo>
                    <a:pt x="156821" y="-6251"/>
                  </a:lnTo>
                  <a:lnTo>
                    <a:pt x="159235" y="-6251"/>
                  </a:lnTo>
                  <a:lnTo>
                    <a:pt x="175201" y="-6251"/>
                  </a:lnTo>
                  <a:lnTo>
                    <a:pt x="177560" y="-6251"/>
                  </a:lnTo>
                  <a:lnTo>
                    <a:pt x="193525" y="-6251"/>
                  </a:lnTo>
                  <a:lnTo>
                    <a:pt x="195939" y="-6251"/>
                  </a:lnTo>
                  <a:lnTo>
                    <a:pt x="210204" y="-6251"/>
                  </a:lnTo>
                  <a:lnTo>
                    <a:pt x="227815" y="-6251"/>
                  </a:lnTo>
                  <a:lnTo>
                    <a:pt x="243232" y="-6251"/>
                  </a:lnTo>
                  <a:lnTo>
                    <a:pt x="245591" y="-6251"/>
                  </a:lnTo>
                  <a:lnTo>
                    <a:pt x="261557" y="-6251"/>
                  </a:lnTo>
                  <a:lnTo>
                    <a:pt x="263970" y="-6251"/>
                  </a:lnTo>
                  <a:lnTo>
                    <a:pt x="279936" y="-6251"/>
                  </a:lnTo>
                  <a:lnTo>
                    <a:pt x="282350" y="-6251"/>
                  </a:lnTo>
                  <a:lnTo>
                    <a:pt x="298260" y="-6251"/>
                  </a:lnTo>
                  <a:lnTo>
                    <a:pt x="300675" y="-6251"/>
                  </a:lnTo>
                  <a:lnTo>
                    <a:pt x="313787" y="-6251"/>
                  </a:lnTo>
                  <a:lnTo>
                    <a:pt x="320316" y="-6251"/>
                  </a:lnTo>
                  <a:lnTo>
                    <a:pt x="331399" y="-6251"/>
                  </a:lnTo>
                  <a:lnTo>
                    <a:pt x="480738" y="-6251"/>
                  </a:lnTo>
                  <a:lnTo>
                    <a:pt x="480738" y="50187"/>
                  </a:lnTo>
                  <a:lnTo>
                    <a:pt x="480738" y="67162"/>
                  </a:lnTo>
                  <a:lnTo>
                    <a:pt x="480738" y="186996"/>
                  </a:lnTo>
                  <a:lnTo>
                    <a:pt x="480738" y="251439"/>
                  </a:lnTo>
                  <a:lnTo>
                    <a:pt x="480738" y="1380892"/>
                  </a:lnTo>
                  <a:lnTo>
                    <a:pt x="480903" y="1380892"/>
                  </a:lnTo>
                  <a:lnTo>
                    <a:pt x="480903" y="1366188"/>
                  </a:lnTo>
                  <a:lnTo>
                    <a:pt x="637430" y="1366188"/>
                  </a:lnTo>
                  <a:lnTo>
                    <a:pt x="637430" y="1192000"/>
                  </a:lnTo>
                  <a:lnTo>
                    <a:pt x="637430" y="1182289"/>
                  </a:lnTo>
                  <a:lnTo>
                    <a:pt x="637430" y="544358"/>
                  </a:lnTo>
                  <a:lnTo>
                    <a:pt x="480903" y="544358"/>
                  </a:lnTo>
                  <a:lnTo>
                    <a:pt x="480903" y="530593"/>
                  </a:lnTo>
                  <a:lnTo>
                    <a:pt x="645111" y="530593"/>
                  </a:lnTo>
                  <a:lnTo>
                    <a:pt x="645111" y="184171"/>
                  </a:lnTo>
                  <a:lnTo>
                    <a:pt x="610931" y="184171"/>
                  </a:lnTo>
                  <a:lnTo>
                    <a:pt x="480903" y="184171"/>
                  </a:lnTo>
                  <a:lnTo>
                    <a:pt x="480903" y="119727"/>
                  </a:lnTo>
                  <a:lnTo>
                    <a:pt x="488968" y="119727"/>
                  </a:lnTo>
                  <a:lnTo>
                    <a:pt x="488968" y="67162"/>
                  </a:lnTo>
                  <a:lnTo>
                    <a:pt x="480903" y="67162"/>
                  </a:lnTo>
                  <a:lnTo>
                    <a:pt x="480903" y="50187"/>
                  </a:lnTo>
                  <a:lnTo>
                    <a:pt x="480903" y="-6251"/>
                  </a:lnTo>
                  <a:lnTo>
                    <a:pt x="491986" y="-6251"/>
                  </a:lnTo>
                  <a:lnTo>
                    <a:pt x="511627" y="-6251"/>
                  </a:lnTo>
                  <a:lnTo>
                    <a:pt x="514041" y="-6251"/>
                  </a:lnTo>
                  <a:lnTo>
                    <a:pt x="529952" y="-6251"/>
                  </a:lnTo>
                  <a:lnTo>
                    <a:pt x="532365" y="-6251"/>
                  </a:lnTo>
                  <a:lnTo>
                    <a:pt x="548331" y="-6251"/>
                  </a:lnTo>
                  <a:lnTo>
                    <a:pt x="550745" y="-6251"/>
                  </a:lnTo>
                  <a:lnTo>
                    <a:pt x="566710" y="-6251"/>
                  </a:lnTo>
                  <a:lnTo>
                    <a:pt x="569070" y="-6251"/>
                  </a:lnTo>
                  <a:lnTo>
                    <a:pt x="584486" y="-6251"/>
                  </a:lnTo>
                  <a:lnTo>
                    <a:pt x="602098" y="-6251"/>
                  </a:lnTo>
                  <a:lnTo>
                    <a:pt x="616362" y="-6251"/>
                  </a:lnTo>
                  <a:lnTo>
                    <a:pt x="618776" y="-6251"/>
                  </a:lnTo>
                  <a:lnTo>
                    <a:pt x="634742" y="-6251"/>
                  </a:lnTo>
                  <a:lnTo>
                    <a:pt x="637101" y="-6251"/>
                  </a:lnTo>
                  <a:lnTo>
                    <a:pt x="653066" y="-6251"/>
                  </a:lnTo>
                  <a:lnTo>
                    <a:pt x="655480" y="-6251"/>
                  </a:lnTo>
                  <a:lnTo>
                    <a:pt x="671446" y="-6251"/>
                  </a:lnTo>
                  <a:lnTo>
                    <a:pt x="673805" y="-6251"/>
                  </a:lnTo>
                  <a:lnTo>
                    <a:pt x="688124" y="-6251"/>
                  </a:lnTo>
                  <a:lnTo>
                    <a:pt x="705736" y="-6251"/>
                  </a:lnTo>
                  <a:lnTo>
                    <a:pt x="721097" y="-6251"/>
                  </a:lnTo>
                  <a:lnTo>
                    <a:pt x="723512" y="-6251"/>
                  </a:lnTo>
                  <a:lnTo>
                    <a:pt x="739477" y="-6251"/>
                  </a:lnTo>
                  <a:lnTo>
                    <a:pt x="741891" y="-6251"/>
                  </a:lnTo>
                  <a:lnTo>
                    <a:pt x="757802" y="-6251"/>
                  </a:lnTo>
                  <a:lnTo>
                    <a:pt x="760215" y="-6251"/>
                  </a:lnTo>
                  <a:lnTo>
                    <a:pt x="776181" y="-6251"/>
                  </a:lnTo>
                  <a:lnTo>
                    <a:pt x="778595" y="-6251"/>
                  </a:lnTo>
                  <a:lnTo>
                    <a:pt x="791708" y="-6251"/>
                  </a:lnTo>
                  <a:lnTo>
                    <a:pt x="809319" y="-6251"/>
                  </a:lnTo>
                  <a:lnTo>
                    <a:pt x="809319" y="-2559"/>
                  </a:lnTo>
                  <a:lnTo>
                    <a:pt x="809319" y="50187"/>
                  </a:lnTo>
                  <a:lnTo>
                    <a:pt x="809319" y="67162"/>
                  </a:lnTo>
                  <a:lnTo>
                    <a:pt x="809319" y="184171"/>
                  </a:lnTo>
                  <a:lnTo>
                    <a:pt x="809319" y="530593"/>
                  </a:lnTo>
                  <a:lnTo>
                    <a:pt x="821224" y="530593"/>
                  </a:lnTo>
                  <a:lnTo>
                    <a:pt x="821224" y="544358"/>
                  </a:lnTo>
                  <a:close/>
                  <a:moveTo>
                    <a:pt x="581194" y="1791763"/>
                  </a:moveTo>
                  <a:lnTo>
                    <a:pt x="574666" y="1791763"/>
                  </a:lnTo>
                  <a:lnTo>
                    <a:pt x="574666" y="1815799"/>
                  </a:lnTo>
                  <a:lnTo>
                    <a:pt x="581194" y="1815799"/>
                  </a:lnTo>
                  <a:close/>
                  <a:moveTo>
                    <a:pt x="583608" y="1815799"/>
                  </a:moveTo>
                  <a:lnTo>
                    <a:pt x="590192" y="1815799"/>
                  </a:lnTo>
                  <a:lnTo>
                    <a:pt x="590192" y="1791763"/>
                  </a:lnTo>
                  <a:lnTo>
                    <a:pt x="583608" y="1791763"/>
                  </a:lnTo>
                  <a:close/>
                  <a:moveTo>
                    <a:pt x="613784" y="1791763"/>
                  </a:moveTo>
                  <a:lnTo>
                    <a:pt x="607200" y="1791763"/>
                  </a:lnTo>
                  <a:lnTo>
                    <a:pt x="607200" y="1815799"/>
                  </a:lnTo>
                  <a:lnTo>
                    <a:pt x="613784" y="1815799"/>
                  </a:lnTo>
                  <a:close/>
                  <a:moveTo>
                    <a:pt x="616197" y="1815799"/>
                  </a:moveTo>
                  <a:lnTo>
                    <a:pt x="622726" y="1815799"/>
                  </a:lnTo>
                  <a:lnTo>
                    <a:pt x="622726" y="1791763"/>
                  </a:lnTo>
                  <a:lnTo>
                    <a:pt x="616197" y="1791763"/>
                  </a:lnTo>
                  <a:close/>
                  <a:moveTo>
                    <a:pt x="419894" y="1844054"/>
                  </a:moveTo>
                  <a:lnTo>
                    <a:pt x="419894" y="1205865"/>
                  </a:lnTo>
                  <a:lnTo>
                    <a:pt x="392298" y="1205865"/>
                  </a:lnTo>
                  <a:lnTo>
                    <a:pt x="392298" y="1844054"/>
                  </a:lnTo>
                  <a:close/>
                  <a:moveTo>
                    <a:pt x="388841" y="1196127"/>
                  </a:moveTo>
                  <a:lnTo>
                    <a:pt x="388841" y="1156970"/>
                  </a:lnTo>
                  <a:lnTo>
                    <a:pt x="357623" y="1156970"/>
                  </a:lnTo>
                  <a:lnTo>
                    <a:pt x="357623" y="1196127"/>
                  </a:lnTo>
                  <a:close/>
                  <a:moveTo>
                    <a:pt x="357623" y="283497"/>
                  </a:moveTo>
                  <a:lnTo>
                    <a:pt x="388841" y="283497"/>
                  </a:lnTo>
                  <a:lnTo>
                    <a:pt x="388841" y="269654"/>
                  </a:lnTo>
                  <a:lnTo>
                    <a:pt x="357623" y="269654"/>
                  </a:lnTo>
                  <a:close/>
                  <a:moveTo>
                    <a:pt x="421266" y="1084379"/>
                  </a:moveTo>
                  <a:lnTo>
                    <a:pt x="391255" y="1084379"/>
                  </a:lnTo>
                  <a:lnTo>
                    <a:pt x="391255" y="1123530"/>
                  </a:lnTo>
                  <a:lnTo>
                    <a:pt x="421266" y="1123530"/>
                  </a:lnTo>
                  <a:close/>
                  <a:moveTo>
                    <a:pt x="421266" y="1011789"/>
                  </a:moveTo>
                  <a:lnTo>
                    <a:pt x="391255" y="1011789"/>
                  </a:lnTo>
                  <a:lnTo>
                    <a:pt x="391255" y="1050945"/>
                  </a:lnTo>
                  <a:lnTo>
                    <a:pt x="421266" y="1050945"/>
                  </a:lnTo>
                  <a:close/>
                  <a:moveTo>
                    <a:pt x="421266" y="939204"/>
                  </a:moveTo>
                  <a:lnTo>
                    <a:pt x="391255" y="939204"/>
                  </a:lnTo>
                  <a:lnTo>
                    <a:pt x="391255" y="978354"/>
                  </a:lnTo>
                  <a:lnTo>
                    <a:pt x="421266" y="978354"/>
                  </a:lnTo>
                  <a:close/>
                  <a:moveTo>
                    <a:pt x="421266" y="866613"/>
                  </a:moveTo>
                  <a:lnTo>
                    <a:pt x="391255" y="866613"/>
                  </a:lnTo>
                  <a:lnTo>
                    <a:pt x="391255" y="905770"/>
                  </a:lnTo>
                  <a:lnTo>
                    <a:pt x="421266" y="905770"/>
                  </a:lnTo>
                  <a:close/>
                  <a:moveTo>
                    <a:pt x="421266" y="794022"/>
                  </a:moveTo>
                  <a:lnTo>
                    <a:pt x="391255" y="794022"/>
                  </a:lnTo>
                  <a:lnTo>
                    <a:pt x="391255" y="833179"/>
                  </a:lnTo>
                  <a:lnTo>
                    <a:pt x="421266" y="833179"/>
                  </a:lnTo>
                  <a:close/>
                  <a:moveTo>
                    <a:pt x="421266" y="721432"/>
                  </a:moveTo>
                  <a:lnTo>
                    <a:pt x="391255" y="721432"/>
                  </a:lnTo>
                  <a:lnTo>
                    <a:pt x="391255" y="760588"/>
                  </a:lnTo>
                  <a:lnTo>
                    <a:pt x="421266" y="760588"/>
                  </a:lnTo>
                  <a:close/>
                  <a:moveTo>
                    <a:pt x="421266" y="648841"/>
                  </a:moveTo>
                  <a:lnTo>
                    <a:pt x="391255" y="648841"/>
                  </a:lnTo>
                  <a:lnTo>
                    <a:pt x="391255" y="687998"/>
                  </a:lnTo>
                  <a:lnTo>
                    <a:pt x="421266" y="687998"/>
                  </a:lnTo>
                  <a:close/>
                  <a:moveTo>
                    <a:pt x="421266" y="576251"/>
                  </a:moveTo>
                  <a:lnTo>
                    <a:pt x="391255" y="576251"/>
                  </a:lnTo>
                  <a:lnTo>
                    <a:pt x="391255" y="615402"/>
                  </a:lnTo>
                  <a:lnTo>
                    <a:pt x="421266" y="615402"/>
                  </a:lnTo>
                  <a:close/>
                  <a:moveTo>
                    <a:pt x="421266" y="503666"/>
                  </a:moveTo>
                  <a:lnTo>
                    <a:pt x="391255" y="503666"/>
                  </a:lnTo>
                  <a:lnTo>
                    <a:pt x="391255" y="542817"/>
                  </a:lnTo>
                  <a:lnTo>
                    <a:pt x="421266" y="542817"/>
                  </a:lnTo>
                  <a:close/>
                  <a:moveTo>
                    <a:pt x="421266" y="431075"/>
                  </a:moveTo>
                  <a:lnTo>
                    <a:pt x="391255" y="431075"/>
                  </a:lnTo>
                  <a:lnTo>
                    <a:pt x="391255" y="470232"/>
                  </a:lnTo>
                  <a:lnTo>
                    <a:pt x="421266" y="470232"/>
                  </a:lnTo>
                  <a:close/>
                  <a:moveTo>
                    <a:pt x="421266" y="358485"/>
                  </a:moveTo>
                  <a:lnTo>
                    <a:pt x="391255" y="358485"/>
                  </a:lnTo>
                  <a:lnTo>
                    <a:pt x="391255" y="397641"/>
                  </a:lnTo>
                  <a:lnTo>
                    <a:pt x="421266" y="397641"/>
                  </a:lnTo>
                  <a:close/>
                  <a:moveTo>
                    <a:pt x="391255" y="356081"/>
                  </a:moveTo>
                  <a:lnTo>
                    <a:pt x="421266" y="356081"/>
                  </a:lnTo>
                  <a:lnTo>
                    <a:pt x="421266" y="342245"/>
                  </a:lnTo>
                  <a:lnTo>
                    <a:pt x="391255" y="342245"/>
                  </a:lnTo>
                  <a:close/>
                  <a:moveTo>
                    <a:pt x="391255" y="414836"/>
                  </a:moveTo>
                  <a:lnTo>
                    <a:pt x="391255" y="428672"/>
                  </a:lnTo>
                  <a:lnTo>
                    <a:pt x="421266" y="428672"/>
                  </a:lnTo>
                  <a:lnTo>
                    <a:pt x="421266" y="414836"/>
                  </a:lnTo>
                  <a:close/>
                  <a:moveTo>
                    <a:pt x="391255" y="487421"/>
                  </a:moveTo>
                  <a:lnTo>
                    <a:pt x="391255" y="501263"/>
                  </a:lnTo>
                  <a:lnTo>
                    <a:pt x="421266" y="501263"/>
                  </a:lnTo>
                  <a:lnTo>
                    <a:pt x="421266" y="487421"/>
                  </a:lnTo>
                  <a:close/>
                  <a:moveTo>
                    <a:pt x="391255" y="560011"/>
                  </a:moveTo>
                  <a:lnTo>
                    <a:pt x="391255" y="573848"/>
                  </a:lnTo>
                  <a:lnTo>
                    <a:pt x="421266" y="573848"/>
                  </a:lnTo>
                  <a:lnTo>
                    <a:pt x="421266" y="560011"/>
                  </a:lnTo>
                  <a:close/>
                  <a:moveTo>
                    <a:pt x="391255" y="632602"/>
                  </a:moveTo>
                  <a:lnTo>
                    <a:pt x="391255" y="646438"/>
                  </a:lnTo>
                  <a:lnTo>
                    <a:pt x="421266" y="646438"/>
                  </a:lnTo>
                  <a:lnTo>
                    <a:pt x="421266" y="632602"/>
                  </a:lnTo>
                  <a:close/>
                  <a:moveTo>
                    <a:pt x="391255" y="705192"/>
                  </a:moveTo>
                  <a:lnTo>
                    <a:pt x="391255" y="719029"/>
                  </a:lnTo>
                  <a:lnTo>
                    <a:pt x="421266" y="719029"/>
                  </a:lnTo>
                  <a:lnTo>
                    <a:pt x="421266" y="705192"/>
                  </a:lnTo>
                  <a:close/>
                  <a:moveTo>
                    <a:pt x="391255" y="777777"/>
                  </a:moveTo>
                  <a:lnTo>
                    <a:pt x="391255" y="791619"/>
                  </a:lnTo>
                  <a:lnTo>
                    <a:pt x="421266" y="791619"/>
                  </a:lnTo>
                  <a:lnTo>
                    <a:pt x="421266" y="777777"/>
                  </a:lnTo>
                  <a:close/>
                  <a:moveTo>
                    <a:pt x="391255" y="850368"/>
                  </a:moveTo>
                  <a:lnTo>
                    <a:pt x="391255" y="864210"/>
                  </a:lnTo>
                  <a:lnTo>
                    <a:pt x="421266" y="864210"/>
                  </a:lnTo>
                  <a:lnTo>
                    <a:pt x="421266" y="850368"/>
                  </a:lnTo>
                  <a:close/>
                  <a:moveTo>
                    <a:pt x="391255" y="922953"/>
                  </a:moveTo>
                  <a:lnTo>
                    <a:pt x="391255" y="936801"/>
                  </a:lnTo>
                  <a:lnTo>
                    <a:pt x="421266" y="936801"/>
                  </a:lnTo>
                  <a:lnTo>
                    <a:pt x="421266" y="922953"/>
                  </a:lnTo>
                  <a:close/>
                  <a:moveTo>
                    <a:pt x="391255" y="995549"/>
                  </a:moveTo>
                  <a:lnTo>
                    <a:pt x="391255" y="1009386"/>
                  </a:lnTo>
                  <a:lnTo>
                    <a:pt x="421266" y="1009386"/>
                  </a:lnTo>
                  <a:lnTo>
                    <a:pt x="421266" y="995549"/>
                  </a:lnTo>
                  <a:close/>
                  <a:moveTo>
                    <a:pt x="391255" y="1068140"/>
                  </a:moveTo>
                  <a:lnTo>
                    <a:pt x="391255" y="1081971"/>
                  </a:lnTo>
                  <a:lnTo>
                    <a:pt x="421266" y="1081971"/>
                  </a:lnTo>
                  <a:lnTo>
                    <a:pt x="421266" y="1068140"/>
                  </a:lnTo>
                  <a:close/>
                  <a:moveTo>
                    <a:pt x="391255" y="285894"/>
                  </a:moveTo>
                  <a:lnTo>
                    <a:pt x="391255" y="325050"/>
                  </a:lnTo>
                  <a:lnTo>
                    <a:pt x="421266" y="325050"/>
                  </a:lnTo>
                  <a:lnTo>
                    <a:pt x="421266" y="285894"/>
                  </a:lnTo>
                  <a:close/>
                  <a:moveTo>
                    <a:pt x="421266" y="1140725"/>
                  </a:moveTo>
                  <a:lnTo>
                    <a:pt x="391255" y="1140725"/>
                  </a:lnTo>
                  <a:lnTo>
                    <a:pt x="391255" y="1154567"/>
                  </a:lnTo>
                  <a:lnTo>
                    <a:pt x="421266" y="1154567"/>
                  </a:lnTo>
                  <a:close/>
                  <a:moveTo>
                    <a:pt x="388841" y="1154567"/>
                  </a:moveTo>
                  <a:lnTo>
                    <a:pt x="388841" y="1140725"/>
                  </a:lnTo>
                  <a:lnTo>
                    <a:pt x="357623" y="1140725"/>
                  </a:lnTo>
                  <a:lnTo>
                    <a:pt x="357623" y="1154567"/>
                  </a:lnTo>
                  <a:close/>
                  <a:moveTo>
                    <a:pt x="357623" y="1123530"/>
                  </a:moveTo>
                  <a:lnTo>
                    <a:pt x="388841" y="1123530"/>
                  </a:lnTo>
                  <a:lnTo>
                    <a:pt x="388841" y="1084379"/>
                  </a:lnTo>
                  <a:lnTo>
                    <a:pt x="357623" y="1084379"/>
                  </a:lnTo>
                  <a:close/>
                  <a:moveTo>
                    <a:pt x="388841" y="1081971"/>
                  </a:moveTo>
                  <a:lnTo>
                    <a:pt x="388841" y="1068140"/>
                  </a:lnTo>
                  <a:lnTo>
                    <a:pt x="357623" y="1068140"/>
                  </a:lnTo>
                  <a:lnTo>
                    <a:pt x="357623" y="1081971"/>
                  </a:lnTo>
                  <a:close/>
                  <a:moveTo>
                    <a:pt x="357623" y="1050945"/>
                  </a:moveTo>
                  <a:lnTo>
                    <a:pt x="388841" y="1050945"/>
                  </a:lnTo>
                  <a:lnTo>
                    <a:pt x="388841" y="1011789"/>
                  </a:lnTo>
                  <a:lnTo>
                    <a:pt x="357623" y="1011789"/>
                  </a:lnTo>
                  <a:close/>
                  <a:moveTo>
                    <a:pt x="388841" y="1009386"/>
                  </a:moveTo>
                  <a:lnTo>
                    <a:pt x="388841" y="995549"/>
                  </a:lnTo>
                  <a:lnTo>
                    <a:pt x="357623" y="995549"/>
                  </a:lnTo>
                  <a:lnTo>
                    <a:pt x="357623" y="1009386"/>
                  </a:lnTo>
                  <a:close/>
                  <a:moveTo>
                    <a:pt x="357623" y="978354"/>
                  </a:moveTo>
                  <a:lnTo>
                    <a:pt x="388841" y="978354"/>
                  </a:lnTo>
                  <a:lnTo>
                    <a:pt x="388841" y="939204"/>
                  </a:lnTo>
                  <a:lnTo>
                    <a:pt x="357623" y="939204"/>
                  </a:lnTo>
                  <a:close/>
                  <a:moveTo>
                    <a:pt x="388841" y="936801"/>
                  </a:moveTo>
                  <a:lnTo>
                    <a:pt x="388841" y="922953"/>
                  </a:lnTo>
                  <a:lnTo>
                    <a:pt x="357623" y="922953"/>
                  </a:lnTo>
                  <a:lnTo>
                    <a:pt x="357623" y="936801"/>
                  </a:lnTo>
                  <a:close/>
                  <a:moveTo>
                    <a:pt x="357623" y="905770"/>
                  </a:moveTo>
                  <a:lnTo>
                    <a:pt x="388841" y="905770"/>
                  </a:lnTo>
                  <a:lnTo>
                    <a:pt x="388841" y="866613"/>
                  </a:lnTo>
                  <a:lnTo>
                    <a:pt x="357623" y="866613"/>
                  </a:lnTo>
                  <a:close/>
                  <a:moveTo>
                    <a:pt x="388841" y="864210"/>
                  </a:moveTo>
                  <a:lnTo>
                    <a:pt x="388841" y="850368"/>
                  </a:lnTo>
                  <a:lnTo>
                    <a:pt x="357623" y="850368"/>
                  </a:lnTo>
                  <a:lnTo>
                    <a:pt x="357623" y="864210"/>
                  </a:lnTo>
                  <a:close/>
                  <a:moveTo>
                    <a:pt x="357623" y="833179"/>
                  </a:moveTo>
                  <a:lnTo>
                    <a:pt x="388841" y="833179"/>
                  </a:lnTo>
                  <a:lnTo>
                    <a:pt x="388841" y="794022"/>
                  </a:lnTo>
                  <a:lnTo>
                    <a:pt x="357623" y="794022"/>
                  </a:lnTo>
                  <a:close/>
                  <a:moveTo>
                    <a:pt x="388841" y="791619"/>
                  </a:moveTo>
                  <a:lnTo>
                    <a:pt x="388841" y="777777"/>
                  </a:lnTo>
                  <a:lnTo>
                    <a:pt x="357623" y="777777"/>
                  </a:lnTo>
                  <a:lnTo>
                    <a:pt x="357623" y="791619"/>
                  </a:lnTo>
                  <a:close/>
                  <a:moveTo>
                    <a:pt x="357623" y="760588"/>
                  </a:moveTo>
                  <a:lnTo>
                    <a:pt x="388841" y="760588"/>
                  </a:lnTo>
                  <a:lnTo>
                    <a:pt x="388841" y="721432"/>
                  </a:lnTo>
                  <a:lnTo>
                    <a:pt x="357623" y="721432"/>
                  </a:lnTo>
                  <a:close/>
                  <a:moveTo>
                    <a:pt x="388841" y="719029"/>
                  </a:moveTo>
                  <a:lnTo>
                    <a:pt x="388841" y="705192"/>
                  </a:lnTo>
                  <a:lnTo>
                    <a:pt x="357623" y="705192"/>
                  </a:lnTo>
                  <a:lnTo>
                    <a:pt x="357623" y="719029"/>
                  </a:lnTo>
                  <a:close/>
                  <a:moveTo>
                    <a:pt x="357623" y="687998"/>
                  </a:moveTo>
                  <a:lnTo>
                    <a:pt x="388841" y="687998"/>
                  </a:lnTo>
                  <a:lnTo>
                    <a:pt x="388841" y="648841"/>
                  </a:lnTo>
                  <a:lnTo>
                    <a:pt x="357623" y="648841"/>
                  </a:lnTo>
                  <a:close/>
                  <a:moveTo>
                    <a:pt x="388841" y="646438"/>
                  </a:moveTo>
                  <a:lnTo>
                    <a:pt x="388841" y="632602"/>
                  </a:lnTo>
                  <a:lnTo>
                    <a:pt x="357623" y="632602"/>
                  </a:lnTo>
                  <a:lnTo>
                    <a:pt x="357623" y="646438"/>
                  </a:lnTo>
                  <a:close/>
                  <a:moveTo>
                    <a:pt x="357623" y="615402"/>
                  </a:moveTo>
                  <a:lnTo>
                    <a:pt x="388841" y="615402"/>
                  </a:lnTo>
                  <a:lnTo>
                    <a:pt x="388841" y="576251"/>
                  </a:lnTo>
                  <a:lnTo>
                    <a:pt x="357623" y="576251"/>
                  </a:lnTo>
                  <a:close/>
                  <a:moveTo>
                    <a:pt x="388841" y="573848"/>
                  </a:moveTo>
                  <a:lnTo>
                    <a:pt x="388841" y="560011"/>
                  </a:lnTo>
                  <a:lnTo>
                    <a:pt x="357623" y="560011"/>
                  </a:lnTo>
                  <a:lnTo>
                    <a:pt x="357623" y="573848"/>
                  </a:lnTo>
                  <a:close/>
                  <a:moveTo>
                    <a:pt x="357623" y="542817"/>
                  </a:moveTo>
                  <a:lnTo>
                    <a:pt x="388841" y="542817"/>
                  </a:lnTo>
                  <a:lnTo>
                    <a:pt x="388841" y="503666"/>
                  </a:lnTo>
                  <a:lnTo>
                    <a:pt x="357623" y="503666"/>
                  </a:lnTo>
                  <a:close/>
                  <a:moveTo>
                    <a:pt x="388841" y="501263"/>
                  </a:moveTo>
                  <a:lnTo>
                    <a:pt x="388841" y="487421"/>
                  </a:lnTo>
                  <a:lnTo>
                    <a:pt x="357623" y="487421"/>
                  </a:lnTo>
                  <a:lnTo>
                    <a:pt x="357623" y="501263"/>
                  </a:lnTo>
                  <a:close/>
                  <a:moveTo>
                    <a:pt x="357623" y="470232"/>
                  </a:moveTo>
                  <a:lnTo>
                    <a:pt x="388841" y="470232"/>
                  </a:lnTo>
                  <a:lnTo>
                    <a:pt x="388841" y="431075"/>
                  </a:lnTo>
                  <a:lnTo>
                    <a:pt x="357623" y="431075"/>
                  </a:lnTo>
                  <a:close/>
                  <a:moveTo>
                    <a:pt x="388841" y="428672"/>
                  </a:moveTo>
                  <a:lnTo>
                    <a:pt x="388841" y="414836"/>
                  </a:lnTo>
                  <a:lnTo>
                    <a:pt x="357623" y="414836"/>
                  </a:lnTo>
                  <a:lnTo>
                    <a:pt x="357623" y="428672"/>
                  </a:lnTo>
                  <a:close/>
                  <a:moveTo>
                    <a:pt x="357623" y="397641"/>
                  </a:moveTo>
                  <a:lnTo>
                    <a:pt x="388841" y="397641"/>
                  </a:lnTo>
                  <a:lnTo>
                    <a:pt x="388841" y="358485"/>
                  </a:lnTo>
                  <a:lnTo>
                    <a:pt x="357623" y="358485"/>
                  </a:lnTo>
                  <a:close/>
                  <a:moveTo>
                    <a:pt x="388841" y="356081"/>
                  </a:moveTo>
                  <a:lnTo>
                    <a:pt x="388841" y="342245"/>
                  </a:lnTo>
                  <a:lnTo>
                    <a:pt x="357623" y="342245"/>
                  </a:lnTo>
                  <a:lnTo>
                    <a:pt x="357623" y="356081"/>
                  </a:lnTo>
                  <a:close/>
                  <a:moveTo>
                    <a:pt x="357623" y="325050"/>
                  </a:moveTo>
                  <a:lnTo>
                    <a:pt x="388841" y="325050"/>
                  </a:lnTo>
                  <a:lnTo>
                    <a:pt x="388841" y="285894"/>
                  </a:lnTo>
                  <a:lnTo>
                    <a:pt x="357623" y="285894"/>
                  </a:lnTo>
                  <a:close/>
                  <a:moveTo>
                    <a:pt x="391255" y="283497"/>
                  </a:moveTo>
                  <a:lnTo>
                    <a:pt x="421266" y="283497"/>
                  </a:lnTo>
                  <a:lnTo>
                    <a:pt x="421266" y="269654"/>
                  </a:lnTo>
                  <a:lnTo>
                    <a:pt x="391255" y="269654"/>
                  </a:lnTo>
                  <a:close/>
                  <a:moveTo>
                    <a:pt x="423680" y="285894"/>
                  </a:moveTo>
                  <a:lnTo>
                    <a:pt x="423680" y="325050"/>
                  </a:lnTo>
                  <a:lnTo>
                    <a:pt x="454897" y="325050"/>
                  </a:lnTo>
                  <a:lnTo>
                    <a:pt x="454897" y="285894"/>
                  </a:lnTo>
                  <a:close/>
                  <a:moveTo>
                    <a:pt x="454897" y="342245"/>
                  </a:moveTo>
                  <a:lnTo>
                    <a:pt x="423680" y="342245"/>
                  </a:lnTo>
                  <a:lnTo>
                    <a:pt x="423680" y="356081"/>
                  </a:lnTo>
                  <a:lnTo>
                    <a:pt x="454897" y="356081"/>
                  </a:lnTo>
                  <a:close/>
                  <a:moveTo>
                    <a:pt x="423680" y="358485"/>
                  </a:moveTo>
                  <a:lnTo>
                    <a:pt x="423680" y="397641"/>
                  </a:lnTo>
                  <a:lnTo>
                    <a:pt x="454897" y="397641"/>
                  </a:lnTo>
                  <a:lnTo>
                    <a:pt x="454897" y="358485"/>
                  </a:lnTo>
                  <a:close/>
                  <a:moveTo>
                    <a:pt x="454897" y="414836"/>
                  </a:moveTo>
                  <a:lnTo>
                    <a:pt x="423680" y="414836"/>
                  </a:lnTo>
                  <a:lnTo>
                    <a:pt x="423680" y="428672"/>
                  </a:lnTo>
                  <a:lnTo>
                    <a:pt x="454897" y="428672"/>
                  </a:lnTo>
                  <a:close/>
                  <a:moveTo>
                    <a:pt x="423680" y="431075"/>
                  </a:moveTo>
                  <a:lnTo>
                    <a:pt x="423680" y="470232"/>
                  </a:lnTo>
                  <a:lnTo>
                    <a:pt x="454897" y="470232"/>
                  </a:lnTo>
                  <a:lnTo>
                    <a:pt x="454897" y="431075"/>
                  </a:lnTo>
                  <a:close/>
                  <a:moveTo>
                    <a:pt x="454897" y="487421"/>
                  </a:moveTo>
                  <a:lnTo>
                    <a:pt x="423680" y="487421"/>
                  </a:lnTo>
                  <a:lnTo>
                    <a:pt x="423680" y="501263"/>
                  </a:lnTo>
                  <a:lnTo>
                    <a:pt x="454897" y="501263"/>
                  </a:lnTo>
                  <a:close/>
                  <a:moveTo>
                    <a:pt x="423680" y="503666"/>
                  </a:moveTo>
                  <a:lnTo>
                    <a:pt x="423680" y="542817"/>
                  </a:lnTo>
                  <a:lnTo>
                    <a:pt x="454897" y="542817"/>
                  </a:lnTo>
                  <a:lnTo>
                    <a:pt x="454897" y="503666"/>
                  </a:lnTo>
                  <a:close/>
                  <a:moveTo>
                    <a:pt x="454897" y="560011"/>
                  </a:moveTo>
                  <a:lnTo>
                    <a:pt x="423680" y="560011"/>
                  </a:lnTo>
                  <a:lnTo>
                    <a:pt x="423680" y="573848"/>
                  </a:lnTo>
                  <a:lnTo>
                    <a:pt x="454897" y="573848"/>
                  </a:lnTo>
                  <a:close/>
                  <a:moveTo>
                    <a:pt x="423680" y="576251"/>
                  </a:moveTo>
                  <a:lnTo>
                    <a:pt x="423680" y="615402"/>
                  </a:lnTo>
                  <a:lnTo>
                    <a:pt x="454897" y="615402"/>
                  </a:lnTo>
                  <a:lnTo>
                    <a:pt x="454897" y="576251"/>
                  </a:lnTo>
                  <a:close/>
                  <a:moveTo>
                    <a:pt x="454897" y="632602"/>
                  </a:moveTo>
                  <a:lnTo>
                    <a:pt x="423680" y="632602"/>
                  </a:lnTo>
                  <a:lnTo>
                    <a:pt x="423680" y="646438"/>
                  </a:lnTo>
                  <a:lnTo>
                    <a:pt x="454897" y="646438"/>
                  </a:lnTo>
                  <a:close/>
                  <a:moveTo>
                    <a:pt x="423680" y="648841"/>
                  </a:moveTo>
                  <a:lnTo>
                    <a:pt x="423680" y="687998"/>
                  </a:lnTo>
                  <a:lnTo>
                    <a:pt x="454897" y="687998"/>
                  </a:lnTo>
                  <a:lnTo>
                    <a:pt x="454897" y="648841"/>
                  </a:lnTo>
                  <a:close/>
                  <a:moveTo>
                    <a:pt x="454897" y="705192"/>
                  </a:moveTo>
                  <a:lnTo>
                    <a:pt x="423680" y="705192"/>
                  </a:lnTo>
                  <a:lnTo>
                    <a:pt x="423680" y="719029"/>
                  </a:lnTo>
                  <a:lnTo>
                    <a:pt x="454897" y="719029"/>
                  </a:lnTo>
                  <a:close/>
                  <a:moveTo>
                    <a:pt x="423680" y="721432"/>
                  </a:moveTo>
                  <a:lnTo>
                    <a:pt x="423680" y="760588"/>
                  </a:lnTo>
                  <a:lnTo>
                    <a:pt x="454897" y="760588"/>
                  </a:lnTo>
                  <a:lnTo>
                    <a:pt x="454897" y="721432"/>
                  </a:lnTo>
                  <a:close/>
                  <a:moveTo>
                    <a:pt x="454897" y="777777"/>
                  </a:moveTo>
                  <a:lnTo>
                    <a:pt x="423680" y="777777"/>
                  </a:lnTo>
                  <a:lnTo>
                    <a:pt x="423680" y="791619"/>
                  </a:lnTo>
                  <a:lnTo>
                    <a:pt x="454897" y="791619"/>
                  </a:lnTo>
                  <a:close/>
                  <a:moveTo>
                    <a:pt x="423680" y="794022"/>
                  </a:moveTo>
                  <a:lnTo>
                    <a:pt x="423680" y="833179"/>
                  </a:lnTo>
                  <a:lnTo>
                    <a:pt x="454897" y="833179"/>
                  </a:lnTo>
                  <a:lnTo>
                    <a:pt x="454897" y="794022"/>
                  </a:lnTo>
                  <a:close/>
                  <a:moveTo>
                    <a:pt x="454897" y="850368"/>
                  </a:moveTo>
                  <a:lnTo>
                    <a:pt x="423680" y="850368"/>
                  </a:lnTo>
                  <a:lnTo>
                    <a:pt x="423680" y="864210"/>
                  </a:lnTo>
                  <a:lnTo>
                    <a:pt x="454897" y="864210"/>
                  </a:lnTo>
                  <a:close/>
                  <a:moveTo>
                    <a:pt x="423680" y="866613"/>
                  </a:moveTo>
                  <a:lnTo>
                    <a:pt x="423680" y="905770"/>
                  </a:lnTo>
                  <a:lnTo>
                    <a:pt x="454897" y="905770"/>
                  </a:lnTo>
                  <a:lnTo>
                    <a:pt x="454897" y="866613"/>
                  </a:lnTo>
                  <a:close/>
                  <a:moveTo>
                    <a:pt x="454897" y="922953"/>
                  </a:moveTo>
                  <a:lnTo>
                    <a:pt x="423680" y="922953"/>
                  </a:lnTo>
                  <a:lnTo>
                    <a:pt x="423680" y="936801"/>
                  </a:lnTo>
                  <a:lnTo>
                    <a:pt x="454897" y="936801"/>
                  </a:lnTo>
                  <a:close/>
                  <a:moveTo>
                    <a:pt x="423680" y="939204"/>
                  </a:moveTo>
                  <a:lnTo>
                    <a:pt x="423680" y="978354"/>
                  </a:lnTo>
                  <a:lnTo>
                    <a:pt x="454897" y="978354"/>
                  </a:lnTo>
                  <a:lnTo>
                    <a:pt x="454897" y="939204"/>
                  </a:lnTo>
                  <a:close/>
                  <a:moveTo>
                    <a:pt x="454897" y="995549"/>
                  </a:moveTo>
                  <a:lnTo>
                    <a:pt x="423680" y="995549"/>
                  </a:lnTo>
                  <a:lnTo>
                    <a:pt x="423680" y="1009386"/>
                  </a:lnTo>
                  <a:lnTo>
                    <a:pt x="454897" y="1009386"/>
                  </a:lnTo>
                  <a:close/>
                  <a:moveTo>
                    <a:pt x="423680" y="1011789"/>
                  </a:moveTo>
                  <a:lnTo>
                    <a:pt x="423680" y="1050945"/>
                  </a:lnTo>
                  <a:lnTo>
                    <a:pt x="454897" y="1050945"/>
                  </a:lnTo>
                  <a:lnTo>
                    <a:pt x="454897" y="1011789"/>
                  </a:lnTo>
                  <a:close/>
                  <a:moveTo>
                    <a:pt x="454897" y="1068140"/>
                  </a:moveTo>
                  <a:lnTo>
                    <a:pt x="423680" y="1068140"/>
                  </a:lnTo>
                  <a:lnTo>
                    <a:pt x="423680" y="1081971"/>
                  </a:lnTo>
                  <a:lnTo>
                    <a:pt x="454897" y="1081971"/>
                  </a:lnTo>
                  <a:close/>
                  <a:moveTo>
                    <a:pt x="423680" y="1084379"/>
                  </a:moveTo>
                  <a:lnTo>
                    <a:pt x="423680" y="1123530"/>
                  </a:lnTo>
                  <a:lnTo>
                    <a:pt x="454897" y="1123530"/>
                  </a:lnTo>
                  <a:lnTo>
                    <a:pt x="454897" y="1084379"/>
                  </a:lnTo>
                  <a:close/>
                  <a:moveTo>
                    <a:pt x="454897" y="1140725"/>
                  </a:moveTo>
                  <a:lnTo>
                    <a:pt x="423680" y="1140725"/>
                  </a:lnTo>
                  <a:lnTo>
                    <a:pt x="423680" y="1154567"/>
                  </a:lnTo>
                  <a:lnTo>
                    <a:pt x="454897" y="1154567"/>
                  </a:lnTo>
                  <a:close/>
                  <a:moveTo>
                    <a:pt x="421266" y="1156970"/>
                  </a:moveTo>
                  <a:lnTo>
                    <a:pt x="391255" y="1156970"/>
                  </a:lnTo>
                  <a:lnTo>
                    <a:pt x="391255" y="1196127"/>
                  </a:lnTo>
                  <a:lnTo>
                    <a:pt x="421266" y="1196127"/>
                  </a:lnTo>
                  <a:close/>
                  <a:moveTo>
                    <a:pt x="423680" y="283497"/>
                  </a:moveTo>
                  <a:lnTo>
                    <a:pt x="454897" y="283497"/>
                  </a:lnTo>
                  <a:lnTo>
                    <a:pt x="454897" y="269654"/>
                  </a:lnTo>
                  <a:lnTo>
                    <a:pt x="423680" y="269654"/>
                  </a:lnTo>
                  <a:close/>
                  <a:moveTo>
                    <a:pt x="454897" y="1156970"/>
                  </a:moveTo>
                  <a:lnTo>
                    <a:pt x="423680" y="1156970"/>
                  </a:lnTo>
                  <a:lnTo>
                    <a:pt x="423680" y="1196127"/>
                  </a:lnTo>
                  <a:lnTo>
                    <a:pt x="454897" y="1196127"/>
                  </a:lnTo>
                  <a:close/>
                  <a:moveTo>
                    <a:pt x="369693" y="1844054"/>
                  </a:moveTo>
                  <a:lnTo>
                    <a:pt x="369693" y="1205865"/>
                  </a:lnTo>
                  <a:lnTo>
                    <a:pt x="365798" y="1205865"/>
                  </a:lnTo>
                  <a:lnTo>
                    <a:pt x="365798" y="1380892"/>
                  </a:lnTo>
                  <a:lnTo>
                    <a:pt x="342097" y="1380892"/>
                  </a:lnTo>
                  <a:lnTo>
                    <a:pt x="342097" y="1844054"/>
                  </a:lnTo>
                  <a:close/>
                  <a:moveTo>
                    <a:pt x="319548" y="1844054"/>
                  </a:moveTo>
                  <a:lnTo>
                    <a:pt x="319548" y="1380892"/>
                  </a:lnTo>
                  <a:lnTo>
                    <a:pt x="291951" y="1380892"/>
                  </a:lnTo>
                  <a:lnTo>
                    <a:pt x="291951" y="1844054"/>
                  </a:lnTo>
                  <a:close/>
                  <a:moveTo>
                    <a:pt x="196104" y="1791763"/>
                  </a:moveTo>
                  <a:lnTo>
                    <a:pt x="189575" y="1791763"/>
                  </a:lnTo>
                  <a:lnTo>
                    <a:pt x="189575" y="1815799"/>
                  </a:lnTo>
                  <a:lnTo>
                    <a:pt x="196104" y="1815799"/>
                  </a:lnTo>
                  <a:close/>
                  <a:moveTo>
                    <a:pt x="198518" y="1815799"/>
                  </a:moveTo>
                  <a:lnTo>
                    <a:pt x="205101" y="1815799"/>
                  </a:lnTo>
                  <a:lnTo>
                    <a:pt x="205101" y="1791763"/>
                  </a:lnTo>
                  <a:lnTo>
                    <a:pt x="198518" y="1791763"/>
                  </a:lnTo>
                  <a:close/>
                  <a:moveTo>
                    <a:pt x="228693" y="1791763"/>
                  </a:moveTo>
                  <a:lnTo>
                    <a:pt x="222109" y="1791763"/>
                  </a:lnTo>
                  <a:lnTo>
                    <a:pt x="222109" y="1815799"/>
                  </a:lnTo>
                  <a:lnTo>
                    <a:pt x="228693" y="1815799"/>
                  </a:lnTo>
                  <a:close/>
                  <a:moveTo>
                    <a:pt x="231107" y="1815799"/>
                  </a:moveTo>
                  <a:lnTo>
                    <a:pt x="237636" y="1815799"/>
                  </a:lnTo>
                  <a:lnTo>
                    <a:pt x="237636" y="1791763"/>
                  </a:lnTo>
                  <a:lnTo>
                    <a:pt x="231107" y="1791763"/>
                  </a:lnTo>
                  <a:close/>
                  <a:moveTo>
                    <a:pt x="269348" y="1777953"/>
                  </a:moveTo>
                  <a:lnTo>
                    <a:pt x="269348" y="1380892"/>
                  </a:lnTo>
                  <a:lnTo>
                    <a:pt x="174872" y="1380892"/>
                  </a:lnTo>
                  <a:lnTo>
                    <a:pt x="174872" y="1777953"/>
                  </a:lnTo>
                  <a:close/>
                  <a:moveTo>
                    <a:pt x="174872" y="1192000"/>
                  </a:moveTo>
                  <a:lnTo>
                    <a:pt x="174872" y="1366188"/>
                  </a:lnTo>
                  <a:lnTo>
                    <a:pt x="331399" y="1366188"/>
                  </a:lnTo>
                  <a:lnTo>
                    <a:pt x="331399" y="544358"/>
                  </a:lnTo>
                  <a:lnTo>
                    <a:pt x="174872" y="544358"/>
                  </a:lnTo>
                  <a:lnTo>
                    <a:pt x="174872" y="1182289"/>
                  </a:lnTo>
                  <a:close/>
                  <a:moveTo>
                    <a:pt x="56694" y="570260"/>
                  </a:moveTo>
                  <a:lnTo>
                    <a:pt x="78366" y="570260"/>
                  </a:lnTo>
                  <a:lnTo>
                    <a:pt x="78366" y="558431"/>
                  </a:lnTo>
                  <a:lnTo>
                    <a:pt x="56694" y="558431"/>
                  </a:lnTo>
                  <a:close/>
                  <a:moveTo>
                    <a:pt x="78366" y="1165424"/>
                  </a:moveTo>
                  <a:lnTo>
                    <a:pt x="78366" y="1153596"/>
                  </a:lnTo>
                  <a:lnTo>
                    <a:pt x="56694" y="1153596"/>
                  </a:lnTo>
                  <a:lnTo>
                    <a:pt x="56694" y="1165424"/>
                  </a:lnTo>
                  <a:close/>
                  <a:moveTo>
                    <a:pt x="56694" y="1120140"/>
                  </a:moveTo>
                  <a:lnTo>
                    <a:pt x="78366" y="1120140"/>
                  </a:lnTo>
                  <a:lnTo>
                    <a:pt x="78366" y="1108317"/>
                  </a:lnTo>
                  <a:lnTo>
                    <a:pt x="56694" y="1108317"/>
                  </a:lnTo>
                  <a:close/>
                  <a:moveTo>
                    <a:pt x="78366" y="1105908"/>
                  </a:moveTo>
                  <a:lnTo>
                    <a:pt x="78366" y="1094079"/>
                  </a:lnTo>
                  <a:lnTo>
                    <a:pt x="56694" y="1094079"/>
                  </a:lnTo>
                  <a:lnTo>
                    <a:pt x="56694" y="1105908"/>
                  </a:lnTo>
                  <a:close/>
                  <a:moveTo>
                    <a:pt x="56694" y="1060623"/>
                  </a:moveTo>
                  <a:lnTo>
                    <a:pt x="78366" y="1060623"/>
                  </a:lnTo>
                  <a:lnTo>
                    <a:pt x="78366" y="1048794"/>
                  </a:lnTo>
                  <a:lnTo>
                    <a:pt x="56694" y="1048794"/>
                  </a:lnTo>
                  <a:close/>
                  <a:moveTo>
                    <a:pt x="78366" y="1046391"/>
                  </a:moveTo>
                  <a:lnTo>
                    <a:pt x="78366" y="1034563"/>
                  </a:lnTo>
                  <a:lnTo>
                    <a:pt x="56694" y="1034563"/>
                  </a:lnTo>
                  <a:lnTo>
                    <a:pt x="56694" y="1046391"/>
                  </a:lnTo>
                  <a:close/>
                  <a:moveTo>
                    <a:pt x="56694" y="1001107"/>
                  </a:moveTo>
                  <a:lnTo>
                    <a:pt x="78366" y="1001107"/>
                  </a:lnTo>
                  <a:lnTo>
                    <a:pt x="78366" y="989278"/>
                  </a:lnTo>
                  <a:lnTo>
                    <a:pt x="56694" y="989278"/>
                  </a:lnTo>
                  <a:close/>
                  <a:moveTo>
                    <a:pt x="78366" y="986875"/>
                  </a:moveTo>
                  <a:lnTo>
                    <a:pt x="78366" y="975046"/>
                  </a:lnTo>
                  <a:lnTo>
                    <a:pt x="56694" y="975046"/>
                  </a:lnTo>
                  <a:lnTo>
                    <a:pt x="56694" y="986875"/>
                  </a:lnTo>
                  <a:close/>
                  <a:moveTo>
                    <a:pt x="56694" y="941590"/>
                  </a:moveTo>
                  <a:lnTo>
                    <a:pt x="78366" y="941590"/>
                  </a:lnTo>
                  <a:lnTo>
                    <a:pt x="78366" y="929762"/>
                  </a:lnTo>
                  <a:lnTo>
                    <a:pt x="56694" y="929762"/>
                  </a:lnTo>
                  <a:close/>
                  <a:moveTo>
                    <a:pt x="78366" y="927359"/>
                  </a:moveTo>
                  <a:lnTo>
                    <a:pt x="78366" y="915530"/>
                  </a:lnTo>
                  <a:lnTo>
                    <a:pt x="56694" y="915530"/>
                  </a:lnTo>
                  <a:lnTo>
                    <a:pt x="56694" y="927359"/>
                  </a:lnTo>
                  <a:close/>
                  <a:moveTo>
                    <a:pt x="56694" y="882074"/>
                  </a:moveTo>
                  <a:lnTo>
                    <a:pt x="78366" y="882074"/>
                  </a:lnTo>
                  <a:lnTo>
                    <a:pt x="78366" y="870245"/>
                  </a:lnTo>
                  <a:lnTo>
                    <a:pt x="56694" y="870245"/>
                  </a:lnTo>
                  <a:close/>
                  <a:moveTo>
                    <a:pt x="78366" y="867847"/>
                  </a:moveTo>
                  <a:lnTo>
                    <a:pt x="78366" y="856013"/>
                  </a:lnTo>
                  <a:lnTo>
                    <a:pt x="56694" y="856013"/>
                  </a:lnTo>
                  <a:lnTo>
                    <a:pt x="56694" y="867847"/>
                  </a:lnTo>
                  <a:close/>
                  <a:moveTo>
                    <a:pt x="56694" y="822557"/>
                  </a:moveTo>
                  <a:lnTo>
                    <a:pt x="78366" y="822557"/>
                  </a:lnTo>
                  <a:lnTo>
                    <a:pt x="78366" y="810734"/>
                  </a:lnTo>
                  <a:lnTo>
                    <a:pt x="56694" y="810734"/>
                  </a:lnTo>
                  <a:close/>
                  <a:moveTo>
                    <a:pt x="78366" y="808326"/>
                  </a:moveTo>
                  <a:lnTo>
                    <a:pt x="78366" y="796497"/>
                  </a:lnTo>
                  <a:lnTo>
                    <a:pt x="56694" y="796497"/>
                  </a:lnTo>
                  <a:lnTo>
                    <a:pt x="56694" y="808326"/>
                  </a:lnTo>
                  <a:close/>
                  <a:moveTo>
                    <a:pt x="56694" y="763046"/>
                  </a:moveTo>
                  <a:lnTo>
                    <a:pt x="78366" y="763046"/>
                  </a:lnTo>
                  <a:lnTo>
                    <a:pt x="78366" y="751212"/>
                  </a:lnTo>
                  <a:lnTo>
                    <a:pt x="56694" y="751212"/>
                  </a:lnTo>
                  <a:close/>
                  <a:moveTo>
                    <a:pt x="78366" y="748809"/>
                  </a:moveTo>
                  <a:lnTo>
                    <a:pt x="78366" y="736980"/>
                  </a:lnTo>
                  <a:lnTo>
                    <a:pt x="56694" y="736980"/>
                  </a:lnTo>
                  <a:lnTo>
                    <a:pt x="56694" y="748809"/>
                  </a:lnTo>
                  <a:close/>
                  <a:moveTo>
                    <a:pt x="56694" y="703530"/>
                  </a:moveTo>
                  <a:lnTo>
                    <a:pt x="78366" y="703530"/>
                  </a:lnTo>
                  <a:lnTo>
                    <a:pt x="78366" y="691701"/>
                  </a:lnTo>
                  <a:lnTo>
                    <a:pt x="56694" y="691701"/>
                  </a:lnTo>
                  <a:close/>
                  <a:moveTo>
                    <a:pt x="78366" y="689298"/>
                  </a:moveTo>
                  <a:lnTo>
                    <a:pt x="78366" y="677469"/>
                  </a:lnTo>
                  <a:lnTo>
                    <a:pt x="56694" y="677469"/>
                  </a:lnTo>
                  <a:lnTo>
                    <a:pt x="56694" y="689298"/>
                  </a:lnTo>
                  <a:close/>
                  <a:moveTo>
                    <a:pt x="56694" y="644013"/>
                  </a:moveTo>
                  <a:lnTo>
                    <a:pt x="78366" y="644013"/>
                  </a:lnTo>
                  <a:lnTo>
                    <a:pt x="78366" y="632185"/>
                  </a:lnTo>
                  <a:lnTo>
                    <a:pt x="56694" y="632185"/>
                  </a:lnTo>
                  <a:close/>
                  <a:moveTo>
                    <a:pt x="78366" y="629776"/>
                  </a:moveTo>
                  <a:lnTo>
                    <a:pt x="78366" y="617948"/>
                  </a:lnTo>
                  <a:lnTo>
                    <a:pt x="56694" y="617948"/>
                  </a:lnTo>
                  <a:lnTo>
                    <a:pt x="56694" y="629776"/>
                  </a:lnTo>
                  <a:close/>
                  <a:moveTo>
                    <a:pt x="56694" y="584491"/>
                  </a:moveTo>
                  <a:lnTo>
                    <a:pt x="78366" y="584491"/>
                  </a:lnTo>
                  <a:lnTo>
                    <a:pt x="78366" y="572668"/>
                  </a:lnTo>
                  <a:lnTo>
                    <a:pt x="56694" y="572668"/>
                  </a:lnTo>
                  <a:close/>
                  <a:moveTo>
                    <a:pt x="78366" y="1167833"/>
                  </a:moveTo>
                  <a:lnTo>
                    <a:pt x="56694" y="1167833"/>
                  </a:lnTo>
                  <a:lnTo>
                    <a:pt x="56694" y="1174938"/>
                  </a:lnTo>
                  <a:lnTo>
                    <a:pt x="78366" y="1174938"/>
                  </a:lnTo>
                  <a:close/>
                  <a:moveTo>
                    <a:pt x="114192" y="570260"/>
                  </a:moveTo>
                  <a:lnTo>
                    <a:pt x="135863" y="570260"/>
                  </a:lnTo>
                  <a:lnTo>
                    <a:pt x="135863" y="558431"/>
                  </a:lnTo>
                  <a:lnTo>
                    <a:pt x="114192" y="558431"/>
                  </a:lnTo>
                  <a:close/>
                  <a:moveTo>
                    <a:pt x="135863" y="1165424"/>
                  </a:moveTo>
                  <a:lnTo>
                    <a:pt x="135863" y="1153596"/>
                  </a:lnTo>
                  <a:lnTo>
                    <a:pt x="114192" y="1153596"/>
                  </a:lnTo>
                  <a:lnTo>
                    <a:pt x="114192" y="1165424"/>
                  </a:lnTo>
                  <a:close/>
                  <a:moveTo>
                    <a:pt x="114192" y="1120140"/>
                  </a:moveTo>
                  <a:lnTo>
                    <a:pt x="135863" y="1120140"/>
                  </a:lnTo>
                  <a:lnTo>
                    <a:pt x="135863" y="1108317"/>
                  </a:lnTo>
                  <a:lnTo>
                    <a:pt x="114192" y="1108317"/>
                  </a:lnTo>
                  <a:close/>
                  <a:moveTo>
                    <a:pt x="135863" y="1034563"/>
                  </a:moveTo>
                  <a:lnTo>
                    <a:pt x="114192" y="1034563"/>
                  </a:lnTo>
                  <a:lnTo>
                    <a:pt x="114192" y="1060623"/>
                  </a:lnTo>
                  <a:lnTo>
                    <a:pt x="135863" y="1060623"/>
                  </a:lnTo>
                  <a:close/>
                  <a:moveTo>
                    <a:pt x="135863" y="1105908"/>
                  </a:moveTo>
                  <a:lnTo>
                    <a:pt x="135863" y="1094079"/>
                  </a:lnTo>
                  <a:lnTo>
                    <a:pt x="114192" y="1094079"/>
                  </a:lnTo>
                  <a:lnTo>
                    <a:pt x="114192" y="1105908"/>
                  </a:lnTo>
                  <a:close/>
                  <a:moveTo>
                    <a:pt x="114192" y="1001107"/>
                  </a:moveTo>
                  <a:lnTo>
                    <a:pt x="135863" y="1001107"/>
                  </a:lnTo>
                  <a:lnTo>
                    <a:pt x="135863" y="989278"/>
                  </a:lnTo>
                  <a:lnTo>
                    <a:pt x="114192" y="989278"/>
                  </a:lnTo>
                  <a:close/>
                  <a:moveTo>
                    <a:pt x="135863" y="986875"/>
                  </a:moveTo>
                  <a:lnTo>
                    <a:pt x="135863" y="975046"/>
                  </a:lnTo>
                  <a:lnTo>
                    <a:pt x="114192" y="975046"/>
                  </a:lnTo>
                  <a:lnTo>
                    <a:pt x="114192" y="986875"/>
                  </a:lnTo>
                  <a:close/>
                  <a:moveTo>
                    <a:pt x="114192" y="941590"/>
                  </a:moveTo>
                  <a:lnTo>
                    <a:pt x="135863" y="941590"/>
                  </a:lnTo>
                  <a:lnTo>
                    <a:pt x="135863" y="929762"/>
                  </a:lnTo>
                  <a:lnTo>
                    <a:pt x="114192" y="929762"/>
                  </a:lnTo>
                  <a:close/>
                  <a:moveTo>
                    <a:pt x="135863" y="856013"/>
                  </a:moveTo>
                  <a:lnTo>
                    <a:pt x="114192" y="856013"/>
                  </a:lnTo>
                  <a:lnTo>
                    <a:pt x="114192" y="882074"/>
                  </a:lnTo>
                  <a:lnTo>
                    <a:pt x="135863" y="882074"/>
                  </a:lnTo>
                  <a:close/>
                  <a:moveTo>
                    <a:pt x="135863" y="927359"/>
                  </a:moveTo>
                  <a:lnTo>
                    <a:pt x="135863" y="915530"/>
                  </a:lnTo>
                  <a:lnTo>
                    <a:pt x="114192" y="915530"/>
                  </a:lnTo>
                  <a:lnTo>
                    <a:pt x="114192" y="927359"/>
                  </a:lnTo>
                  <a:close/>
                  <a:moveTo>
                    <a:pt x="114192" y="822557"/>
                  </a:moveTo>
                  <a:lnTo>
                    <a:pt x="135863" y="822557"/>
                  </a:lnTo>
                  <a:lnTo>
                    <a:pt x="135863" y="810734"/>
                  </a:lnTo>
                  <a:lnTo>
                    <a:pt x="114192" y="810734"/>
                  </a:lnTo>
                  <a:close/>
                  <a:moveTo>
                    <a:pt x="135863" y="808326"/>
                  </a:moveTo>
                  <a:lnTo>
                    <a:pt x="135863" y="796497"/>
                  </a:lnTo>
                  <a:lnTo>
                    <a:pt x="114192" y="796497"/>
                  </a:lnTo>
                  <a:lnTo>
                    <a:pt x="114192" y="808326"/>
                  </a:lnTo>
                  <a:close/>
                  <a:moveTo>
                    <a:pt x="114192" y="763046"/>
                  </a:moveTo>
                  <a:lnTo>
                    <a:pt x="135863" y="763046"/>
                  </a:lnTo>
                  <a:lnTo>
                    <a:pt x="135863" y="751212"/>
                  </a:lnTo>
                  <a:lnTo>
                    <a:pt x="114192" y="751212"/>
                  </a:lnTo>
                  <a:close/>
                  <a:moveTo>
                    <a:pt x="135863" y="748809"/>
                  </a:moveTo>
                  <a:lnTo>
                    <a:pt x="135863" y="736980"/>
                  </a:lnTo>
                  <a:lnTo>
                    <a:pt x="114192" y="736980"/>
                  </a:lnTo>
                  <a:lnTo>
                    <a:pt x="114192" y="748809"/>
                  </a:lnTo>
                  <a:close/>
                  <a:moveTo>
                    <a:pt x="114192" y="703530"/>
                  </a:moveTo>
                  <a:lnTo>
                    <a:pt x="135863" y="703530"/>
                  </a:lnTo>
                  <a:lnTo>
                    <a:pt x="135863" y="691701"/>
                  </a:lnTo>
                  <a:lnTo>
                    <a:pt x="114192" y="691701"/>
                  </a:lnTo>
                  <a:close/>
                  <a:moveTo>
                    <a:pt x="135863" y="689298"/>
                  </a:moveTo>
                  <a:lnTo>
                    <a:pt x="135863" y="677469"/>
                  </a:lnTo>
                  <a:lnTo>
                    <a:pt x="114192" y="677469"/>
                  </a:lnTo>
                  <a:lnTo>
                    <a:pt x="114192" y="689298"/>
                  </a:lnTo>
                  <a:close/>
                  <a:moveTo>
                    <a:pt x="114192" y="644013"/>
                  </a:moveTo>
                  <a:lnTo>
                    <a:pt x="135863" y="644013"/>
                  </a:lnTo>
                  <a:lnTo>
                    <a:pt x="135863" y="632185"/>
                  </a:lnTo>
                  <a:lnTo>
                    <a:pt x="114192" y="632185"/>
                  </a:lnTo>
                  <a:close/>
                  <a:moveTo>
                    <a:pt x="135863" y="629776"/>
                  </a:moveTo>
                  <a:lnTo>
                    <a:pt x="135863" y="617948"/>
                  </a:lnTo>
                  <a:lnTo>
                    <a:pt x="114192" y="617948"/>
                  </a:lnTo>
                  <a:lnTo>
                    <a:pt x="114192" y="629776"/>
                  </a:lnTo>
                  <a:close/>
                  <a:moveTo>
                    <a:pt x="114192" y="584491"/>
                  </a:moveTo>
                  <a:lnTo>
                    <a:pt x="135863" y="584491"/>
                  </a:lnTo>
                  <a:lnTo>
                    <a:pt x="135863" y="572668"/>
                  </a:lnTo>
                  <a:lnTo>
                    <a:pt x="114192" y="572668"/>
                  </a:lnTo>
                  <a:close/>
                  <a:moveTo>
                    <a:pt x="135863" y="1167833"/>
                  </a:moveTo>
                  <a:lnTo>
                    <a:pt x="114192" y="1167833"/>
                  </a:lnTo>
                  <a:lnTo>
                    <a:pt x="114192" y="1174938"/>
                  </a:lnTo>
                  <a:lnTo>
                    <a:pt x="135863" y="1174938"/>
                  </a:lnTo>
                  <a:close/>
                  <a:moveTo>
                    <a:pt x="50385" y="120775"/>
                  </a:moveTo>
                  <a:lnTo>
                    <a:pt x="50385" y="173873"/>
                  </a:lnTo>
                  <a:lnTo>
                    <a:pt x="153968" y="173873"/>
                  </a:lnTo>
                  <a:lnTo>
                    <a:pt x="153968" y="120775"/>
                  </a:lnTo>
                  <a:close/>
                  <a:moveTo>
                    <a:pt x="153968" y="113144"/>
                  </a:moveTo>
                  <a:lnTo>
                    <a:pt x="153968" y="77460"/>
                  </a:lnTo>
                  <a:lnTo>
                    <a:pt x="119459" y="77460"/>
                  </a:lnTo>
                  <a:lnTo>
                    <a:pt x="119459" y="113144"/>
                  </a:lnTo>
                  <a:close/>
                  <a:moveTo>
                    <a:pt x="113753" y="113144"/>
                  </a:moveTo>
                  <a:lnTo>
                    <a:pt x="113753" y="77460"/>
                  </a:lnTo>
                  <a:lnTo>
                    <a:pt x="90546" y="77460"/>
                  </a:lnTo>
                  <a:lnTo>
                    <a:pt x="90546" y="113144"/>
                  </a:lnTo>
                  <a:close/>
                  <a:moveTo>
                    <a:pt x="84895" y="113144"/>
                  </a:moveTo>
                  <a:lnTo>
                    <a:pt x="84895" y="77460"/>
                  </a:lnTo>
                  <a:lnTo>
                    <a:pt x="50385" y="77460"/>
                  </a:lnTo>
                  <a:lnTo>
                    <a:pt x="50385" y="113144"/>
                  </a:lnTo>
                  <a:close/>
                  <a:moveTo>
                    <a:pt x="279991" y="67162"/>
                  </a:moveTo>
                  <a:lnTo>
                    <a:pt x="270993" y="67162"/>
                  </a:lnTo>
                  <a:lnTo>
                    <a:pt x="270993" y="119727"/>
                  </a:lnTo>
                  <a:lnTo>
                    <a:pt x="279991" y="119727"/>
                  </a:lnTo>
                  <a:close/>
                  <a:moveTo>
                    <a:pt x="227651" y="67162"/>
                  </a:moveTo>
                  <a:lnTo>
                    <a:pt x="218598" y="67162"/>
                  </a:lnTo>
                  <a:lnTo>
                    <a:pt x="218598" y="119727"/>
                  </a:lnTo>
                  <a:lnTo>
                    <a:pt x="227651" y="119727"/>
                  </a:lnTo>
                  <a:close/>
                  <a:moveTo>
                    <a:pt x="175256" y="67162"/>
                  </a:moveTo>
                  <a:lnTo>
                    <a:pt x="167191" y="67162"/>
                  </a:lnTo>
                  <a:lnTo>
                    <a:pt x="167191" y="119727"/>
                  </a:lnTo>
                  <a:lnTo>
                    <a:pt x="175256" y="119727"/>
                  </a:lnTo>
                  <a:close/>
                  <a:moveTo>
                    <a:pt x="45393" y="216293"/>
                  </a:moveTo>
                  <a:lnTo>
                    <a:pt x="64375" y="216293"/>
                  </a:lnTo>
                  <a:lnTo>
                    <a:pt x="64375" y="204218"/>
                  </a:lnTo>
                  <a:lnTo>
                    <a:pt x="45393" y="204218"/>
                  </a:lnTo>
                  <a:close/>
                  <a:moveTo>
                    <a:pt x="45393" y="284287"/>
                  </a:moveTo>
                  <a:lnTo>
                    <a:pt x="64375" y="284287"/>
                  </a:lnTo>
                  <a:lnTo>
                    <a:pt x="64375" y="271613"/>
                  </a:lnTo>
                  <a:lnTo>
                    <a:pt x="45393" y="271613"/>
                  </a:lnTo>
                  <a:close/>
                  <a:moveTo>
                    <a:pt x="45393" y="299358"/>
                  </a:moveTo>
                  <a:lnTo>
                    <a:pt x="64375" y="299358"/>
                  </a:lnTo>
                  <a:lnTo>
                    <a:pt x="64375" y="286690"/>
                  </a:lnTo>
                  <a:lnTo>
                    <a:pt x="45393" y="286690"/>
                  </a:lnTo>
                  <a:close/>
                  <a:moveTo>
                    <a:pt x="45393" y="314434"/>
                  </a:moveTo>
                  <a:lnTo>
                    <a:pt x="64375" y="314434"/>
                  </a:lnTo>
                  <a:lnTo>
                    <a:pt x="64375" y="301766"/>
                  </a:lnTo>
                  <a:lnTo>
                    <a:pt x="45393" y="301766"/>
                  </a:lnTo>
                  <a:close/>
                  <a:moveTo>
                    <a:pt x="45393" y="329511"/>
                  </a:moveTo>
                  <a:lnTo>
                    <a:pt x="64375" y="329511"/>
                  </a:lnTo>
                  <a:lnTo>
                    <a:pt x="64375" y="316843"/>
                  </a:lnTo>
                  <a:lnTo>
                    <a:pt x="45393" y="316843"/>
                  </a:lnTo>
                  <a:close/>
                  <a:moveTo>
                    <a:pt x="64375" y="508603"/>
                  </a:moveTo>
                  <a:lnTo>
                    <a:pt x="64375" y="496522"/>
                  </a:lnTo>
                  <a:lnTo>
                    <a:pt x="45393" y="496522"/>
                  </a:lnTo>
                  <a:lnTo>
                    <a:pt x="45393" y="508603"/>
                  </a:lnTo>
                  <a:close/>
                  <a:moveTo>
                    <a:pt x="45393" y="464290"/>
                  </a:moveTo>
                  <a:lnTo>
                    <a:pt x="64375" y="464290"/>
                  </a:lnTo>
                  <a:lnTo>
                    <a:pt x="64375" y="452214"/>
                  </a:lnTo>
                  <a:lnTo>
                    <a:pt x="45393" y="452214"/>
                  </a:lnTo>
                  <a:close/>
                  <a:moveTo>
                    <a:pt x="64375" y="449811"/>
                  </a:moveTo>
                  <a:lnTo>
                    <a:pt x="64375" y="437730"/>
                  </a:lnTo>
                  <a:lnTo>
                    <a:pt x="45393" y="437730"/>
                  </a:lnTo>
                  <a:lnTo>
                    <a:pt x="45393" y="449811"/>
                  </a:lnTo>
                  <a:close/>
                  <a:moveTo>
                    <a:pt x="45393" y="405498"/>
                  </a:moveTo>
                  <a:lnTo>
                    <a:pt x="64375" y="405498"/>
                  </a:lnTo>
                  <a:lnTo>
                    <a:pt x="64375" y="393422"/>
                  </a:lnTo>
                  <a:lnTo>
                    <a:pt x="45393" y="393422"/>
                  </a:lnTo>
                  <a:close/>
                  <a:moveTo>
                    <a:pt x="64375" y="391019"/>
                  </a:moveTo>
                  <a:lnTo>
                    <a:pt x="64375" y="378938"/>
                  </a:lnTo>
                  <a:lnTo>
                    <a:pt x="45393" y="378938"/>
                  </a:lnTo>
                  <a:lnTo>
                    <a:pt x="45393" y="391019"/>
                  </a:lnTo>
                  <a:close/>
                  <a:moveTo>
                    <a:pt x="45393" y="346705"/>
                  </a:moveTo>
                  <a:lnTo>
                    <a:pt x="64375" y="346705"/>
                  </a:lnTo>
                  <a:lnTo>
                    <a:pt x="64375" y="331919"/>
                  </a:lnTo>
                  <a:lnTo>
                    <a:pt x="45393" y="331919"/>
                  </a:lnTo>
                  <a:close/>
                  <a:moveTo>
                    <a:pt x="64375" y="269210"/>
                  </a:moveTo>
                  <a:lnTo>
                    <a:pt x="64375" y="254435"/>
                  </a:lnTo>
                  <a:lnTo>
                    <a:pt x="45393" y="254435"/>
                  </a:lnTo>
                  <a:lnTo>
                    <a:pt x="45393" y="269210"/>
                  </a:lnTo>
                  <a:close/>
                  <a:moveTo>
                    <a:pt x="45393" y="230778"/>
                  </a:moveTo>
                  <a:lnTo>
                    <a:pt x="64375" y="230778"/>
                  </a:lnTo>
                  <a:lnTo>
                    <a:pt x="64375" y="218697"/>
                  </a:lnTo>
                  <a:lnTo>
                    <a:pt x="45393" y="218697"/>
                  </a:lnTo>
                  <a:close/>
                  <a:moveTo>
                    <a:pt x="64375" y="511012"/>
                  </a:moveTo>
                  <a:lnTo>
                    <a:pt x="45393" y="511012"/>
                  </a:lnTo>
                  <a:lnTo>
                    <a:pt x="45393" y="523082"/>
                  </a:lnTo>
                  <a:lnTo>
                    <a:pt x="64375" y="523082"/>
                  </a:lnTo>
                  <a:close/>
                  <a:moveTo>
                    <a:pt x="102231" y="216293"/>
                  </a:moveTo>
                  <a:lnTo>
                    <a:pt x="121215" y="216293"/>
                  </a:lnTo>
                  <a:lnTo>
                    <a:pt x="121215" y="204218"/>
                  </a:lnTo>
                  <a:lnTo>
                    <a:pt x="102231" y="204218"/>
                  </a:lnTo>
                  <a:close/>
                  <a:moveTo>
                    <a:pt x="102231" y="284287"/>
                  </a:moveTo>
                  <a:lnTo>
                    <a:pt x="121215" y="284287"/>
                  </a:lnTo>
                  <a:lnTo>
                    <a:pt x="121215" y="271613"/>
                  </a:lnTo>
                  <a:lnTo>
                    <a:pt x="102231" y="271613"/>
                  </a:lnTo>
                  <a:close/>
                  <a:moveTo>
                    <a:pt x="102231" y="299358"/>
                  </a:moveTo>
                  <a:lnTo>
                    <a:pt x="121215" y="299358"/>
                  </a:lnTo>
                  <a:lnTo>
                    <a:pt x="121215" y="286690"/>
                  </a:lnTo>
                  <a:lnTo>
                    <a:pt x="102231" y="286690"/>
                  </a:lnTo>
                  <a:close/>
                  <a:moveTo>
                    <a:pt x="102231" y="314434"/>
                  </a:moveTo>
                  <a:lnTo>
                    <a:pt x="121215" y="314434"/>
                  </a:lnTo>
                  <a:lnTo>
                    <a:pt x="121215" y="301766"/>
                  </a:lnTo>
                  <a:lnTo>
                    <a:pt x="102231" y="301766"/>
                  </a:lnTo>
                  <a:close/>
                  <a:moveTo>
                    <a:pt x="102231" y="329511"/>
                  </a:moveTo>
                  <a:lnTo>
                    <a:pt x="121215" y="329511"/>
                  </a:lnTo>
                  <a:lnTo>
                    <a:pt x="121215" y="316843"/>
                  </a:lnTo>
                  <a:lnTo>
                    <a:pt x="102231" y="316843"/>
                  </a:lnTo>
                  <a:close/>
                  <a:moveTo>
                    <a:pt x="121215" y="508603"/>
                  </a:moveTo>
                  <a:lnTo>
                    <a:pt x="121215" y="496522"/>
                  </a:lnTo>
                  <a:lnTo>
                    <a:pt x="102231" y="496522"/>
                  </a:lnTo>
                  <a:lnTo>
                    <a:pt x="102231" y="508603"/>
                  </a:lnTo>
                  <a:close/>
                  <a:moveTo>
                    <a:pt x="102231" y="464290"/>
                  </a:moveTo>
                  <a:lnTo>
                    <a:pt x="121215" y="464290"/>
                  </a:lnTo>
                  <a:lnTo>
                    <a:pt x="121215" y="452214"/>
                  </a:lnTo>
                  <a:lnTo>
                    <a:pt x="102231" y="452214"/>
                  </a:lnTo>
                  <a:close/>
                  <a:moveTo>
                    <a:pt x="121215" y="449811"/>
                  </a:moveTo>
                  <a:lnTo>
                    <a:pt x="121215" y="437730"/>
                  </a:lnTo>
                  <a:lnTo>
                    <a:pt x="102231" y="437730"/>
                  </a:lnTo>
                  <a:lnTo>
                    <a:pt x="102231" y="449811"/>
                  </a:lnTo>
                  <a:close/>
                  <a:moveTo>
                    <a:pt x="102231" y="405498"/>
                  </a:moveTo>
                  <a:lnTo>
                    <a:pt x="121215" y="405498"/>
                  </a:lnTo>
                  <a:lnTo>
                    <a:pt x="121215" y="393422"/>
                  </a:lnTo>
                  <a:lnTo>
                    <a:pt x="102231" y="393422"/>
                  </a:lnTo>
                  <a:close/>
                  <a:moveTo>
                    <a:pt x="121215" y="391019"/>
                  </a:moveTo>
                  <a:lnTo>
                    <a:pt x="121215" y="378938"/>
                  </a:lnTo>
                  <a:lnTo>
                    <a:pt x="102231" y="378938"/>
                  </a:lnTo>
                  <a:lnTo>
                    <a:pt x="102231" y="391019"/>
                  </a:lnTo>
                  <a:close/>
                  <a:moveTo>
                    <a:pt x="102231" y="346705"/>
                  </a:moveTo>
                  <a:lnTo>
                    <a:pt x="121215" y="346705"/>
                  </a:lnTo>
                  <a:lnTo>
                    <a:pt x="121215" y="331919"/>
                  </a:lnTo>
                  <a:lnTo>
                    <a:pt x="102231" y="331919"/>
                  </a:lnTo>
                  <a:close/>
                  <a:moveTo>
                    <a:pt x="121215" y="269210"/>
                  </a:moveTo>
                  <a:lnTo>
                    <a:pt x="121215" y="254435"/>
                  </a:lnTo>
                  <a:lnTo>
                    <a:pt x="102231" y="254435"/>
                  </a:lnTo>
                  <a:lnTo>
                    <a:pt x="102231" y="269210"/>
                  </a:lnTo>
                  <a:close/>
                  <a:moveTo>
                    <a:pt x="102231" y="230778"/>
                  </a:moveTo>
                  <a:lnTo>
                    <a:pt x="121215" y="230778"/>
                  </a:lnTo>
                  <a:lnTo>
                    <a:pt x="121215" y="218697"/>
                  </a:lnTo>
                  <a:lnTo>
                    <a:pt x="102231" y="218697"/>
                  </a:lnTo>
                  <a:close/>
                  <a:moveTo>
                    <a:pt x="121215" y="511012"/>
                  </a:moveTo>
                  <a:lnTo>
                    <a:pt x="102231" y="511012"/>
                  </a:lnTo>
                  <a:lnTo>
                    <a:pt x="102231" y="523082"/>
                  </a:lnTo>
                  <a:lnTo>
                    <a:pt x="121215" y="523082"/>
                  </a:lnTo>
                  <a:close/>
                  <a:moveTo>
                    <a:pt x="323333" y="67162"/>
                  </a:moveTo>
                  <a:lnTo>
                    <a:pt x="323333" y="119727"/>
                  </a:lnTo>
                  <a:lnTo>
                    <a:pt x="331399" y="119727"/>
                  </a:lnTo>
                  <a:lnTo>
                    <a:pt x="331399" y="67162"/>
                  </a:lnTo>
                  <a:close/>
                  <a:moveTo>
                    <a:pt x="331399" y="184171"/>
                  </a:moveTo>
                  <a:lnTo>
                    <a:pt x="167191" y="184171"/>
                  </a:lnTo>
                  <a:lnTo>
                    <a:pt x="167191" y="530593"/>
                  </a:lnTo>
                  <a:lnTo>
                    <a:pt x="331399" y="530593"/>
                  </a:lnTo>
                  <a:lnTo>
                    <a:pt x="331399" y="251439"/>
                  </a:lnTo>
                  <a:lnTo>
                    <a:pt x="331399" y="186996"/>
                  </a:lnTo>
                  <a:close/>
                  <a:moveTo>
                    <a:pt x="446339" y="1380892"/>
                  </a:moveTo>
                  <a:lnTo>
                    <a:pt x="446339" y="1205865"/>
                  </a:lnTo>
                  <a:lnTo>
                    <a:pt x="442443" y="1205865"/>
                  </a:lnTo>
                  <a:lnTo>
                    <a:pt x="442443" y="1844054"/>
                  </a:lnTo>
                  <a:lnTo>
                    <a:pt x="470040" y="1844054"/>
                  </a:lnTo>
                  <a:lnTo>
                    <a:pt x="470040" y="1380892"/>
                  </a:lnTo>
                  <a:close/>
                  <a:moveTo>
                    <a:pt x="492589" y="1380892"/>
                  </a:moveTo>
                  <a:lnTo>
                    <a:pt x="492589" y="1844054"/>
                  </a:lnTo>
                  <a:lnTo>
                    <a:pt x="520185" y="1844054"/>
                  </a:lnTo>
                  <a:lnTo>
                    <a:pt x="520185" y="1380892"/>
                  </a:lnTo>
                  <a:close/>
                  <a:moveTo>
                    <a:pt x="542789" y="1380892"/>
                  </a:moveTo>
                  <a:lnTo>
                    <a:pt x="542789" y="1844054"/>
                  </a:lnTo>
                  <a:lnTo>
                    <a:pt x="542954" y="1844054"/>
                  </a:lnTo>
                  <a:lnTo>
                    <a:pt x="542954" y="1777953"/>
                  </a:lnTo>
                  <a:lnTo>
                    <a:pt x="637430" y="1777953"/>
                  </a:lnTo>
                  <a:lnTo>
                    <a:pt x="637430" y="1380892"/>
                  </a:lnTo>
                  <a:close/>
                  <a:moveTo>
                    <a:pt x="766909" y="511012"/>
                  </a:moveTo>
                  <a:lnTo>
                    <a:pt x="747926" y="511012"/>
                  </a:lnTo>
                  <a:lnTo>
                    <a:pt x="747926" y="523082"/>
                  </a:lnTo>
                  <a:lnTo>
                    <a:pt x="766909" y="523082"/>
                  </a:lnTo>
                  <a:close/>
                  <a:moveTo>
                    <a:pt x="766909" y="316843"/>
                  </a:moveTo>
                  <a:lnTo>
                    <a:pt x="747926" y="316843"/>
                  </a:lnTo>
                  <a:lnTo>
                    <a:pt x="747926" y="329511"/>
                  </a:lnTo>
                  <a:lnTo>
                    <a:pt x="766909" y="329511"/>
                  </a:lnTo>
                  <a:close/>
                  <a:moveTo>
                    <a:pt x="766909" y="301766"/>
                  </a:moveTo>
                  <a:lnTo>
                    <a:pt x="747926" y="301766"/>
                  </a:lnTo>
                  <a:lnTo>
                    <a:pt x="747926" y="314434"/>
                  </a:lnTo>
                  <a:lnTo>
                    <a:pt x="766909" y="314434"/>
                  </a:lnTo>
                  <a:close/>
                  <a:moveTo>
                    <a:pt x="766909" y="286690"/>
                  </a:moveTo>
                  <a:lnTo>
                    <a:pt x="747926" y="286690"/>
                  </a:lnTo>
                  <a:lnTo>
                    <a:pt x="747926" y="299358"/>
                  </a:lnTo>
                  <a:lnTo>
                    <a:pt x="766909" y="299358"/>
                  </a:lnTo>
                  <a:close/>
                  <a:moveTo>
                    <a:pt x="766909" y="271613"/>
                  </a:moveTo>
                  <a:lnTo>
                    <a:pt x="747926" y="271613"/>
                  </a:lnTo>
                  <a:lnTo>
                    <a:pt x="747926" y="284287"/>
                  </a:lnTo>
                  <a:lnTo>
                    <a:pt x="766909" y="284287"/>
                  </a:lnTo>
                  <a:close/>
                  <a:moveTo>
                    <a:pt x="747926" y="218697"/>
                  </a:moveTo>
                  <a:lnTo>
                    <a:pt x="747926" y="230778"/>
                  </a:lnTo>
                  <a:lnTo>
                    <a:pt x="766909" y="230778"/>
                  </a:lnTo>
                  <a:lnTo>
                    <a:pt x="766909" y="218697"/>
                  </a:lnTo>
                  <a:close/>
                  <a:moveTo>
                    <a:pt x="766909" y="254435"/>
                  </a:moveTo>
                  <a:lnTo>
                    <a:pt x="747926" y="254435"/>
                  </a:lnTo>
                  <a:lnTo>
                    <a:pt x="747926" y="269210"/>
                  </a:lnTo>
                  <a:lnTo>
                    <a:pt x="766909" y="269210"/>
                  </a:lnTo>
                  <a:close/>
                  <a:moveTo>
                    <a:pt x="747926" y="331919"/>
                  </a:moveTo>
                  <a:lnTo>
                    <a:pt x="747926" y="346705"/>
                  </a:lnTo>
                  <a:lnTo>
                    <a:pt x="766909" y="346705"/>
                  </a:lnTo>
                  <a:lnTo>
                    <a:pt x="766909" y="331919"/>
                  </a:lnTo>
                  <a:close/>
                  <a:moveTo>
                    <a:pt x="766909" y="378938"/>
                  </a:moveTo>
                  <a:lnTo>
                    <a:pt x="747926" y="378938"/>
                  </a:lnTo>
                  <a:lnTo>
                    <a:pt x="747926" y="391019"/>
                  </a:lnTo>
                  <a:lnTo>
                    <a:pt x="766909" y="391019"/>
                  </a:lnTo>
                  <a:close/>
                  <a:moveTo>
                    <a:pt x="747926" y="393422"/>
                  </a:moveTo>
                  <a:lnTo>
                    <a:pt x="747926" y="405498"/>
                  </a:lnTo>
                  <a:lnTo>
                    <a:pt x="766909" y="405498"/>
                  </a:lnTo>
                  <a:lnTo>
                    <a:pt x="766909" y="393422"/>
                  </a:lnTo>
                  <a:close/>
                  <a:moveTo>
                    <a:pt x="766909" y="437730"/>
                  </a:moveTo>
                  <a:lnTo>
                    <a:pt x="747926" y="437730"/>
                  </a:lnTo>
                  <a:lnTo>
                    <a:pt x="747926" y="449811"/>
                  </a:lnTo>
                  <a:lnTo>
                    <a:pt x="766909" y="449811"/>
                  </a:lnTo>
                  <a:close/>
                  <a:moveTo>
                    <a:pt x="747926" y="452214"/>
                  </a:moveTo>
                  <a:lnTo>
                    <a:pt x="747926" y="464290"/>
                  </a:lnTo>
                  <a:lnTo>
                    <a:pt x="766909" y="464290"/>
                  </a:lnTo>
                  <a:lnTo>
                    <a:pt x="766909" y="452214"/>
                  </a:lnTo>
                  <a:close/>
                  <a:moveTo>
                    <a:pt x="766909" y="496522"/>
                  </a:moveTo>
                  <a:lnTo>
                    <a:pt x="747926" y="496522"/>
                  </a:lnTo>
                  <a:lnTo>
                    <a:pt x="747926" y="508603"/>
                  </a:lnTo>
                  <a:lnTo>
                    <a:pt x="766909" y="508603"/>
                  </a:lnTo>
                  <a:close/>
                  <a:moveTo>
                    <a:pt x="747926" y="216293"/>
                  </a:moveTo>
                  <a:lnTo>
                    <a:pt x="766909" y="216293"/>
                  </a:lnTo>
                  <a:lnTo>
                    <a:pt x="766909" y="204218"/>
                  </a:lnTo>
                  <a:lnTo>
                    <a:pt x="747926" y="204218"/>
                  </a:lnTo>
                  <a:close/>
                  <a:moveTo>
                    <a:pt x="710070" y="511012"/>
                  </a:moveTo>
                  <a:lnTo>
                    <a:pt x="691087" y="511012"/>
                  </a:lnTo>
                  <a:lnTo>
                    <a:pt x="691087" y="523082"/>
                  </a:lnTo>
                  <a:lnTo>
                    <a:pt x="710070" y="523082"/>
                  </a:lnTo>
                  <a:close/>
                  <a:moveTo>
                    <a:pt x="710070" y="316843"/>
                  </a:moveTo>
                  <a:lnTo>
                    <a:pt x="691087" y="316843"/>
                  </a:lnTo>
                  <a:lnTo>
                    <a:pt x="691087" y="329511"/>
                  </a:lnTo>
                  <a:lnTo>
                    <a:pt x="710070" y="329511"/>
                  </a:lnTo>
                  <a:close/>
                  <a:moveTo>
                    <a:pt x="710070" y="301766"/>
                  </a:moveTo>
                  <a:lnTo>
                    <a:pt x="691087" y="301766"/>
                  </a:lnTo>
                  <a:lnTo>
                    <a:pt x="691087" y="314434"/>
                  </a:lnTo>
                  <a:lnTo>
                    <a:pt x="710070" y="314434"/>
                  </a:lnTo>
                  <a:close/>
                  <a:moveTo>
                    <a:pt x="710070" y="286690"/>
                  </a:moveTo>
                  <a:lnTo>
                    <a:pt x="691087" y="286690"/>
                  </a:lnTo>
                  <a:lnTo>
                    <a:pt x="691087" y="299358"/>
                  </a:lnTo>
                  <a:lnTo>
                    <a:pt x="710070" y="299358"/>
                  </a:lnTo>
                  <a:close/>
                  <a:moveTo>
                    <a:pt x="710070" y="271613"/>
                  </a:moveTo>
                  <a:lnTo>
                    <a:pt x="691087" y="271613"/>
                  </a:lnTo>
                  <a:lnTo>
                    <a:pt x="691087" y="284287"/>
                  </a:lnTo>
                  <a:lnTo>
                    <a:pt x="710070" y="284287"/>
                  </a:lnTo>
                  <a:close/>
                  <a:moveTo>
                    <a:pt x="691087" y="218697"/>
                  </a:moveTo>
                  <a:lnTo>
                    <a:pt x="691087" y="230778"/>
                  </a:lnTo>
                  <a:lnTo>
                    <a:pt x="710070" y="230778"/>
                  </a:lnTo>
                  <a:lnTo>
                    <a:pt x="710070" y="218697"/>
                  </a:lnTo>
                  <a:close/>
                  <a:moveTo>
                    <a:pt x="710070" y="254435"/>
                  </a:moveTo>
                  <a:lnTo>
                    <a:pt x="691087" y="254435"/>
                  </a:lnTo>
                  <a:lnTo>
                    <a:pt x="691087" y="269210"/>
                  </a:lnTo>
                  <a:lnTo>
                    <a:pt x="710070" y="269210"/>
                  </a:lnTo>
                  <a:close/>
                  <a:moveTo>
                    <a:pt x="691087" y="331919"/>
                  </a:moveTo>
                  <a:lnTo>
                    <a:pt x="691087" y="346705"/>
                  </a:lnTo>
                  <a:lnTo>
                    <a:pt x="710070" y="346705"/>
                  </a:lnTo>
                  <a:lnTo>
                    <a:pt x="710070" y="331919"/>
                  </a:lnTo>
                  <a:close/>
                  <a:moveTo>
                    <a:pt x="710070" y="378938"/>
                  </a:moveTo>
                  <a:lnTo>
                    <a:pt x="691087" y="378938"/>
                  </a:lnTo>
                  <a:lnTo>
                    <a:pt x="691087" y="391019"/>
                  </a:lnTo>
                  <a:lnTo>
                    <a:pt x="710070" y="391019"/>
                  </a:lnTo>
                  <a:close/>
                  <a:moveTo>
                    <a:pt x="691087" y="393422"/>
                  </a:moveTo>
                  <a:lnTo>
                    <a:pt x="691087" y="405498"/>
                  </a:lnTo>
                  <a:lnTo>
                    <a:pt x="710070" y="405498"/>
                  </a:lnTo>
                  <a:lnTo>
                    <a:pt x="710070" y="393422"/>
                  </a:lnTo>
                  <a:close/>
                  <a:moveTo>
                    <a:pt x="710070" y="437730"/>
                  </a:moveTo>
                  <a:lnTo>
                    <a:pt x="691087" y="437730"/>
                  </a:lnTo>
                  <a:lnTo>
                    <a:pt x="691087" y="449811"/>
                  </a:lnTo>
                  <a:lnTo>
                    <a:pt x="710070" y="449811"/>
                  </a:lnTo>
                  <a:close/>
                  <a:moveTo>
                    <a:pt x="691087" y="452214"/>
                  </a:moveTo>
                  <a:lnTo>
                    <a:pt x="691087" y="464290"/>
                  </a:lnTo>
                  <a:lnTo>
                    <a:pt x="710070" y="464290"/>
                  </a:lnTo>
                  <a:lnTo>
                    <a:pt x="710070" y="452214"/>
                  </a:lnTo>
                  <a:close/>
                  <a:moveTo>
                    <a:pt x="710070" y="496522"/>
                  </a:moveTo>
                  <a:lnTo>
                    <a:pt x="691087" y="496522"/>
                  </a:lnTo>
                  <a:lnTo>
                    <a:pt x="691087" y="508603"/>
                  </a:lnTo>
                  <a:lnTo>
                    <a:pt x="710070" y="508603"/>
                  </a:lnTo>
                  <a:close/>
                  <a:moveTo>
                    <a:pt x="691087" y="216293"/>
                  </a:moveTo>
                  <a:lnTo>
                    <a:pt x="710070" y="216293"/>
                  </a:lnTo>
                  <a:lnTo>
                    <a:pt x="710070" y="204218"/>
                  </a:lnTo>
                  <a:lnTo>
                    <a:pt x="691087" y="204218"/>
                  </a:lnTo>
                  <a:close/>
                  <a:moveTo>
                    <a:pt x="658333" y="77460"/>
                  </a:moveTo>
                  <a:lnTo>
                    <a:pt x="658333" y="113144"/>
                  </a:lnTo>
                  <a:lnTo>
                    <a:pt x="692842" y="113144"/>
                  </a:lnTo>
                  <a:lnTo>
                    <a:pt x="692842" y="77460"/>
                  </a:lnTo>
                  <a:close/>
                  <a:moveTo>
                    <a:pt x="698549" y="77460"/>
                  </a:moveTo>
                  <a:lnTo>
                    <a:pt x="698549" y="113144"/>
                  </a:lnTo>
                  <a:lnTo>
                    <a:pt x="721756" y="113144"/>
                  </a:lnTo>
                  <a:lnTo>
                    <a:pt x="721756" y="77460"/>
                  </a:lnTo>
                  <a:close/>
                  <a:moveTo>
                    <a:pt x="727407" y="77460"/>
                  </a:moveTo>
                  <a:lnTo>
                    <a:pt x="727407" y="113144"/>
                  </a:lnTo>
                  <a:lnTo>
                    <a:pt x="761916" y="113144"/>
                  </a:lnTo>
                  <a:lnTo>
                    <a:pt x="761916" y="77460"/>
                  </a:lnTo>
                  <a:close/>
                  <a:moveTo>
                    <a:pt x="761916" y="120775"/>
                  </a:moveTo>
                  <a:lnTo>
                    <a:pt x="658333" y="120775"/>
                  </a:lnTo>
                  <a:lnTo>
                    <a:pt x="658333" y="173873"/>
                  </a:lnTo>
                  <a:lnTo>
                    <a:pt x="761916" y="173873"/>
                  </a:lnTo>
                  <a:close/>
                  <a:moveTo>
                    <a:pt x="645111" y="119727"/>
                  </a:moveTo>
                  <a:lnTo>
                    <a:pt x="645111" y="67162"/>
                  </a:lnTo>
                  <a:lnTo>
                    <a:pt x="637046" y="67162"/>
                  </a:lnTo>
                  <a:lnTo>
                    <a:pt x="637046" y="119727"/>
                  </a:lnTo>
                  <a:close/>
                  <a:moveTo>
                    <a:pt x="593703" y="119727"/>
                  </a:moveTo>
                  <a:lnTo>
                    <a:pt x="593703" y="67162"/>
                  </a:lnTo>
                  <a:lnTo>
                    <a:pt x="584651" y="67162"/>
                  </a:lnTo>
                  <a:lnTo>
                    <a:pt x="584651" y="119727"/>
                  </a:lnTo>
                  <a:close/>
                  <a:moveTo>
                    <a:pt x="532311" y="119727"/>
                  </a:moveTo>
                  <a:lnTo>
                    <a:pt x="541308" y="119727"/>
                  </a:lnTo>
                  <a:lnTo>
                    <a:pt x="541308" y="67162"/>
                  </a:lnTo>
                  <a:lnTo>
                    <a:pt x="532311" y="67162"/>
                  </a:lnTo>
                  <a:close/>
                  <a:moveTo>
                    <a:pt x="676438" y="570260"/>
                  </a:moveTo>
                  <a:lnTo>
                    <a:pt x="698055" y="570260"/>
                  </a:lnTo>
                  <a:lnTo>
                    <a:pt x="698055" y="558431"/>
                  </a:lnTo>
                  <a:lnTo>
                    <a:pt x="676438" y="558431"/>
                  </a:lnTo>
                  <a:close/>
                  <a:moveTo>
                    <a:pt x="698055" y="1165424"/>
                  </a:moveTo>
                  <a:lnTo>
                    <a:pt x="698055" y="1153596"/>
                  </a:lnTo>
                  <a:lnTo>
                    <a:pt x="676438" y="1153596"/>
                  </a:lnTo>
                  <a:lnTo>
                    <a:pt x="676438" y="1165424"/>
                  </a:lnTo>
                  <a:close/>
                  <a:moveTo>
                    <a:pt x="676438" y="1120140"/>
                  </a:moveTo>
                  <a:lnTo>
                    <a:pt x="698055" y="1120140"/>
                  </a:lnTo>
                  <a:lnTo>
                    <a:pt x="698055" y="1108317"/>
                  </a:lnTo>
                  <a:lnTo>
                    <a:pt x="676438" y="1108317"/>
                  </a:lnTo>
                  <a:close/>
                  <a:moveTo>
                    <a:pt x="698055" y="1034563"/>
                  </a:moveTo>
                  <a:lnTo>
                    <a:pt x="676438" y="1034563"/>
                  </a:lnTo>
                  <a:lnTo>
                    <a:pt x="676438" y="1060623"/>
                  </a:lnTo>
                  <a:lnTo>
                    <a:pt x="698055" y="1060623"/>
                  </a:lnTo>
                  <a:close/>
                  <a:moveTo>
                    <a:pt x="698055" y="1105908"/>
                  </a:moveTo>
                  <a:lnTo>
                    <a:pt x="698055" y="1094079"/>
                  </a:lnTo>
                  <a:lnTo>
                    <a:pt x="676438" y="1094079"/>
                  </a:lnTo>
                  <a:lnTo>
                    <a:pt x="676438" y="1105908"/>
                  </a:lnTo>
                  <a:close/>
                  <a:moveTo>
                    <a:pt x="676438" y="1001107"/>
                  </a:moveTo>
                  <a:lnTo>
                    <a:pt x="698055" y="1001107"/>
                  </a:lnTo>
                  <a:lnTo>
                    <a:pt x="698055" y="989278"/>
                  </a:lnTo>
                  <a:lnTo>
                    <a:pt x="676438" y="989278"/>
                  </a:lnTo>
                  <a:close/>
                  <a:moveTo>
                    <a:pt x="698055" y="986875"/>
                  </a:moveTo>
                  <a:lnTo>
                    <a:pt x="698055" y="975046"/>
                  </a:lnTo>
                  <a:lnTo>
                    <a:pt x="676438" y="975046"/>
                  </a:lnTo>
                  <a:lnTo>
                    <a:pt x="676438" y="986875"/>
                  </a:lnTo>
                  <a:close/>
                  <a:moveTo>
                    <a:pt x="676438" y="941590"/>
                  </a:moveTo>
                  <a:lnTo>
                    <a:pt x="698055" y="941590"/>
                  </a:lnTo>
                  <a:lnTo>
                    <a:pt x="698055" y="929762"/>
                  </a:lnTo>
                  <a:lnTo>
                    <a:pt x="676438" y="929762"/>
                  </a:lnTo>
                  <a:close/>
                  <a:moveTo>
                    <a:pt x="698055" y="856013"/>
                  </a:moveTo>
                  <a:lnTo>
                    <a:pt x="676438" y="856013"/>
                  </a:lnTo>
                  <a:lnTo>
                    <a:pt x="676438" y="882074"/>
                  </a:lnTo>
                  <a:lnTo>
                    <a:pt x="698055" y="882074"/>
                  </a:lnTo>
                  <a:close/>
                  <a:moveTo>
                    <a:pt x="698055" y="927359"/>
                  </a:moveTo>
                  <a:lnTo>
                    <a:pt x="698055" y="915530"/>
                  </a:lnTo>
                  <a:lnTo>
                    <a:pt x="676438" y="915530"/>
                  </a:lnTo>
                  <a:lnTo>
                    <a:pt x="676438" y="927359"/>
                  </a:lnTo>
                  <a:close/>
                  <a:moveTo>
                    <a:pt x="676438" y="822557"/>
                  </a:moveTo>
                  <a:lnTo>
                    <a:pt x="698055" y="822557"/>
                  </a:lnTo>
                  <a:lnTo>
                    <a:pt x="698055" y="810734"/>
                  </a:lnTo>
                  <a:lnTo>
                    <a:pt x="676438" y="810734"/>
                  </a:lnTo>
                  <a:close/>
                  <a:moveTo>
                    <a:pt x="698055" y="808326"/>
                  </a:moveTo>
                  <a:lnTo>
                    <a:pt x="698055" y="796497"/>
                  </a:lnTo>
                  <a:lnTo>
                    <a:pt x="676438" y="796497"/>
                  </a:lnTo>
                  <a:lnTo>
                    <a:pt x="676438" y="808326"/>
                  </a:lnTo>
                  <a:close/>
                  <a:moveTo>
                    <a:pt x="676438" y="763046"/>
                  </a:moveTo>
                  <a:lnTo>
                    <a:pt x="698055" y="763046"/>
                  </a:lnTo>
                  <a:lnTo>
                    <a:pt x="698055" y="751212"/>
                  </a:lnTo>
                  <a:lnTo>
                    <a:pt x="676438" y="751212"/>
                  </a:lnTo>
                  <a:close/>
                  <a:moveTo>
                    <a:pt x="698055" y="748809"/>
                  </a:moveTo>
                  <a:lnTo>
                    <a:pt x="698055" y="736980"/>
                  </a:lnTo>
                  <a:lnTo>
                    <a:pt x="676438" y="736980"/>
                  </a:lnTo>
                  <a:lnTo>
                    <a:pt x="676438" y="748809"/>
                  </a:lnTo>
                  <a:close/>
                  <a:moveTo>
                    <a:pt x="676438" y="703530"/>
                  </a:moveTo>
                  <a:lnTo>
                    <a:pt x="698055" y="703530"/>
                  </a:lnTo>
                  <a:lnTo>
                    <a:pt x="698055" y="691701"/>
                  </a:lnTo>
                  <a:lnTo>
                    <a:pt x="676438" y="691701"/>
                  </a:lnTo>
                  <a:close/>
                  <a:moveTo>
                    <a:pt x="698055" y="689298"/>
                  </a:moveTo>
                  <a:lnTo>
                    <a:pt x="698055" y="677469"/>
                  </a:lnTo>
                  <a:lnTo>
                    <a:pt x="676438" y="677469"/>
                  </a:lnTo>
                  <a:lnTo>
                    <a:pt x="676438" y="689298"/>
                  </a:lnTo>
                  <a:close/>
                  <a:moveTo>
                    <a:pt x="676438" y="644013"/>
                  </a:moveTo>
                  <a:lnTo>
                    <a:pt x="698055" y="644013"/>
                  </a:lnTo>
                  <a:lnTo>
                    <a:pt x="698055" y="632185"/>
                  </a:lnTo>
                  <a:lnTo>
                    <a:pt x="676438" y="632185"/>
                  </a:lnTo>
                  <a:close/>
                  <a:moveTo>
                    <a:pt x="698055" y="629776"/>
                  </a:moveTo>
                  <a:lnTo>
                    <a:pt x="698055" y="617948"/>
                  </a:lnTo>
                  <a:lnTo>
                    <a:pt x="676438" y="617948"/>
                  </a:lnTo>
                  <a:lnTo>
                    <a:pt x="676438" y="629776"/>
                  </a:lnTo>
                  <a:close/>
                  <a:moveTo>
                    <a:pt x="676438" y="584491"/>
                  </a:moveTo>
                  <a:lnTo>
                    <a:pt x="698055" y="584491"/>
                  </a:lnTo>
                  <a:lnTo>
                    <a:pt x="698055" y="572668"/>
                  </a:lnTo>
                  <a:lnTo>
                    <a:pt x="676438" y="572668"/>
                  </a:lnTo>
                  <a:close/>
                  <a:moveTo>
                    <a:pt x="698055" y="1167833"/>
                  </a:moveTo>
                  <a:lnTo>
                    <a:pt x="676438" y="1167833"/>
                  </a:lnTo>
                  <a:lnTo>
                    <a:pt x="676438" y="1174938"/>
                  </a:lnTo>
                  <a:lnTo>
                    <a:pt x="698055" y="1174938"/>
                  </a:lnTo>
                  <a:close/>
                  <a:moveTo>
                    <a:pt x="733936" y="570260"/>
                  </a:moveTo>
                  <a:lnTo>
                    <a:pt x="755607" y="570260"/>
                  </a:lnTo>
                  <a:lnTo>
                    <a:pt x="755607" y="558431"/>
                  </a:lnTo>
                  <a:lnTo>
                    <a:pt x="733936" y="558431"/>
                  </a:lnTo>
                  <a:close/>
                  <a:moveTo>
                    <a:pt x="755607" y="1165424"/>
                  </a:moveTo>
                  <a:lnTo>
                    <a:pt x="755607" y="1153596"/>
                  </a:lnTo>
                  <a:lnTo>
                    <a:pt x="733936" y="1153596"/>
                  </a:lnTo>
                  <a:lnTo>
                    <a:pt x="733936" y="1165424"/>
                  </a:lnTo>
                  <a:close/>
                  <a:moveTo>
                    <a:pt x="733936" y="1120140"/>
                  </a:moveTo>
                  <a:lnTo>
                    <a:pt x="755607" y="1120140"/>
                  </a:lnTo>
                  <a:lnTo>
                    <a:pt x="755607" y="1108317"/>
                  </a:lnTo>
                  <a:lnTo>
                    <a:pt x="733936" y="1108317"/>
                  </a:lnTo>
                  <a:close/>
                  <a:moveTo>
                    <a:pt x="755607" y="1105908"/>
                  </a:moveTo>
                  <a:lnTo>
                    <a:pt x="755607" y="1094079"/>
                  </a:lnTo>
                  <a:lnTo>
                    <a:pt x="733936" y="1094079"/>
                  </a:lnTo>
                  <a:lnTo>
                    <a:pt x="733936" y="1105908"/>
                  </a:lnTo>
                  <a:close/>
                  <a:moveTo>
                    <a:pt x="733936" y="1060623"/>
                  </a:moveTo>
                  <a:lnTo>
                    <a:pt x="755607" y="1060623"/>
                  </a:lnTo>
                  <a:lnTo>
                    <a:pt x="755607" y="1048794"/>
                  </a:lnTo>
                  <a:lnTo>
                    <a:pt x="733936" y="1048794"/>
                  </a:lnTo>
                  <a:close/>
                  <a:moveTo>
                    <a:pt x="755607" y="1046391"/>
                  </a:moveTo>
                  <a:lnTo>
                    <a:pt x="755607" y="1034563"/>
                  </a:lnTo>
                  <a:lnTo>
                    <a:pt x="733936" y="1034563"/>
                  </a:lnTo>
                  <a:lnTo>
                    <a:pt x="733936" y="1046391"/>
                  </a:lnTo>
                  <a:close/>
                  <a:moveTo>
                    <a:pt x="733936" y="1001107"/>
                  </a:moveTo>
                  <a:lnTo>
                    <a:pt x="755607" y="1001107"/>
                  </a:lnTo>
                  <a:lnTo>
                    <a:pt x="755607" y="989278"/>
                  </a:lnTo>
                  <a:lnTo>
                    <a:pt x="733936" y="989278"/>
                  </a:lnTo>
                  <a:close/>
                  <a:moveTo>
                    <a:pt x="755607" y="986875"/>
                  </a:moveTo>
                  <a:lnTo>
                    <a:pt x="755607" y="975046"/>
                  </a:lnTo>
                  <a:lnTo>
                    <a:pt x="733936" y="975046"/>
                  </a:lnTo>
                  <a:lnTo>
                    <a:pt x="733936" y="986875"/>
                  </a:lnTo>
                  <a:close/>
                  <a:moveTo>
                    <a:pt x="733936" y="941590"/>
                  </a:moveTo>
                  <a:lnTo>
                    <a:pt x="755607" y="941590"/>
                  </a:lnTo>
                  <a:lnTo>
                    <a:pt x="755607" y="929762"/>
                  </a:lnTo>
                  <a:lnTo>
                    <a:pt x="733936" y="929762"/>
                  </a:lnTo>
                  <a:close/>
                  <a:moveTo>
                    <a:pt x="755607" y="927359"/>
                  </a:moveTo>
                  <a:lnTo>
                    <a:pt x="755607" y="915530"/>
                  </a:lnTo>
                  <a:lnTo>
                    <a:pt x="733936" y="915530"/>
                  </a:lnTo>
                  <a:lnTo>
                    <a:pt x="733936" y="927359"/>
                  </a:lnTo>
                  <a:close/>
                  <a:moveTo>
                    <a:pt x="733936" y="882074"/>
                  </a:moveTo>
                  <a:lnTo>
                    <a:pt x="755607" y="882074"/>
                  </a:lnTo>
                  <a:lnTo>
                    <a:pt x="755607" y="870245"/>
                  </a:lnTo>
                  <a:lnTo>
                    <a:pt x="733936" y="870245"/>
                  </a:lnTo>
                  <a:close/>
                  <a:moveTo>
                    <a:pt x="755607" y="867847"/>
                  </a:moveTo>
                  <a:lnTo>
                    <a:pt x="755607" y="856013"/>
                  </a:lnTo>
                  <a:lnTo>
                    <a:pt x="733936" y="856013"/>
                  </a:lnTo>
                  <a:lnTo>
                    <a:pt x="733936" y="867847"/>
                  </a:lnTo>
                  <a:close/>
                  <a:moveTo>
                    <a:pt x="733936" y="822557"/>
                  </a:moveTo>
                  <a:lnTo>
                    <a:pt x="755607" y="822557"/>
                  </a:lnTo>
                  <a:lnTo>
                    <a:pt x="755607" y="810734"/>
                  </a:lnTo>
                  <a:lnTo>
                    <a:pt x="733936" y="810734"/>
                  </a:lnTo>
                  <a:close/>
                  <a:moveTo>
                    <a:pt x="755607" y="808326"/>
                  </a:moveTo>
                  <a:lnTo>
                    <a:pt x="755607" y="796497"/>
                  </a:lnTo>
                  <a:lnTo>
                    <a:pt x="733936" y="796497"/>
                  </a:lnTo>
                  <a:lnTo>
                    <a:pt x="733936" y="808326"/>
                  </a:lnTo>
                  <a:close/>
                  <a:moveTo>
                    <a:pt x="733936" y="763046"/>
                  </a:moveTo>
                  <a:lnTo>
                    <a:pt x="755607" y="763046"/>
                  </a:lnTo>
                  <a:lnTo>
                    <a:pt x="755607" y="751212"/>
                  </a:lnTo>
                  <a:lnTo>
                    <a:pt x="733936" y="751212"/>
                  </a:lnTo>
                  <a:close/>
                  <a:moveTo>
                    <a:pt x="755607" y="748809"/>
                  </a:moveTo>
                  <a:lnTo>
                    <a:pt x="755607" y="736980"/>
                  </a:lnTo>
                  <a:lnTo>
                    <a:pt x="733936" y="736980"/>
                  </a:lnTo>
                  <a:lnTo>
                    <a:pt x="733936" y="748809"/>
                  </a:lnTo>
                  <a:close/>
                  <a:moveTo>
                    <a:pt x="733936" y="703530"/>
                  </a:moveTo>
                  <a:lnTo>
                    <a:pt x="755607" y="703530"/>
                  </a:lnTo>
                  <a:lnTo>
                    <a:pt x="755607" y="691701"/>
                  </a:lnTo>
                  <a:lnTo>
                    <a:pt x="733936" y="691701"/>
                  </a:lnTo>
                  <a:close/>
                  <a:moveTo>
                    <a:pt x="755607" y="689298"/>
                  </a:moveTo>
                  <a:lnTo>
                    <a:pt x="755607" y="677469"/>
                  </a:lnTo>
                  <a:lnTo>
                    <a:pt x="733936" y="677469"/>
                  </a:lnTo>
                  <a:lnTo>
                    <a:pt x="733936" y="689298"/>
                  </a:lnTo>
                  <a:close/>
                  <a:moveTo>
                    <a:pt x="733936" y="644013"/>
                  </a:moveTo>
                  <a:lnTo>
                    <a:pt x="755607" y="644013"/>
                  </a:lnTo>
                  <a:lnTo>
                    <a:pt x="755607" y="632185"/>
                  </a:lnTo>
                  <a:lnTo>
                    <a:pt x="733936" y="632185"/>
                  </a:lnTo>
                  <a:close/>
                  <a:moveTo>
                    <a:pt x="755607" y="629776"/>
                  </a:moveTo>
                  <a:lnTo>
                    <a:pt x="755607" y="617948"/>
                  </a:lnTo>
                  <a:lnTo>
                    <a:pt x="733936" y="617948"/>
                  </a:lnTo>
                  <a:lnTo>
                    <a:pt x="733936" y="629776"/>
                  </a:lnTo>
                  <a:close/>
                  <a:moveTo>
                    <a:pt x="733936" y="584491"/>
                  </a:moveTo>
                  <a:lnTo>
                    <a:pt x="755607" y="584491"/>
                  </a:lnTo>
                  <a:lnTo>
                    <a:pt x="755607" y="572668"/>
                  </a:lnTo>
                  <a:lnTo>
                    <a:pt x="733936" y="572668"/>
                  </a:lnTo>
                  <a:close/>
                  <a:moveTo>
                    <a:pt x="755607" y="1167833"/>
                  </a:moveTo>
                  <a:lnTo>
                    <a:pt x="733936" y="1167833"/>
                  </a:lnTo>
                  <a:lnTo>
                    <a:pt x="733936" y="1174938"/>
                  </a:lnTo>
                  <a:lnTo>
                    <a:pt x="755607" y="1174938"/>
                  </a:lnTo>
                  <a:lnTo>
                    <a:pt x="755607" y="1167833"/>
                  </a:lnTo>
                </a:path>
              </a:pathLst>
            </a:custGeom>
            <a:grpFill/>
            <a:ln w="548" cap="flat">
              <a:noFill/>
              <a:prstDash val="solid"/>
              <a:miter/>
            </a:ln>
          </p:spPr>
          <p:txBody>
            <a:bodyPr/>
            <a:lstStyle/>
            <a:p>
              <a:endParaRPr lang="en-US"/>
            </a:p>
          </p:txBody>
        </p:sp>
        <p:sp>
          <p:nvSpPr>
            <p:cNvPr id="378" name="Freeform: Shape 377">
              <a:extLst>
                <a:ext uri="{FF2B5EF4-FFF2-40B4-BE49-F238E27FC236}">
                  <a16:creationId xmlns:a16="http://schemas.microsoft.com/office/drawing/2014/main" id="{2E2940B0-F09B-DFDB-7AAE-BEF361AEE9C0}"/>
                </a:ext>
              </a:extLst>
            </p:cNvPr>
            <p:cNvSpPr/>
            <p:nvPr/>
          </p:nvSpPr>
          <p:spPr>
            <a:xfrm flipV="1">
              <a:off x="24454328" y="4394277"/>
              <a:ext cx="18983" cy="12070"/>
            </a:xfrm>
            <a:custGeom>
              <a:avLst/>
              <a:gdLst>
                <a:gd name="csX0" fmla="*/ 9826 w 18983"/>
                <a:gd name="csY0" fmla="*/ 6822 h 12070"/>
                <a:gd name="csX1" fmla="*/ -9157 w 18983"/>
                <a:gd name="csY1" fmla="*/ 6822 h 12070"/>
                <a:gd name="csX2" fmla="*/ -9157 w 18983"/>
                <a:gd name="csY2" fmla="*/ -5249 h 12070"/>
                <a:gd name="csX3" fmla="*/ 9826 w 18983"/>
                <a:gd name="csY3" fmla="*/ -5249 h 12070"/>
                <a:gd name="csX4" fmla="*/ 9826 w 18983"/>
                <a:gd name="csY4" fmla="*/ 6822 h 12070"/>
              </a:gdLst>
              <a:ahLst/>
              <a:cxnLst>
                <a:cxn ang="0">
                  <a:pos x="csX0" y="csY0"/>
                </a:cxn>
                <a:cxn ang="0">
                  <a:pos x="csX1" y="csY1"/>
                </a:cxn>
                <a:cxn ang="0">
                  <a:pos x="csX2" y="csY2"/>
                </a:cxn>
                <a:cxn ang="0">
                  <a:pos x="csX3" y="csY3"/>
                </a:cxn>
                <a:cxn ang="0">
                  <a:pos x="csX4" y="csY4"/>
                </a:cxn>
              </a:cxnLst>
              <a:rect l="l" t="t" r="r" b="b"/>
              <a:pathLst>
                <a:path w="18983" h="12070">
                  <a:moveTo>
                    <a:pt x="9826" y="6822"/>
                  </a:moveTo>
                  <a:lnTo>
                    <a:pt x="-9157" y="6822"/>
                  </a:lnTo>
                  <a:lnTo>
                    <a:pt x="-9157" y="-5249"/>
                  </a:lnTo>
                  <a:lnTo>
                    <a:pt x="9826" y="-5249"/>
                  </a:lnTo>
                  <a:lnTo>
                    <a:pt x="9826" y="6822"/>
                  </a:lnTo>
                </a:path>
              </a:pathLst>
            </a:custGeom>
            <a:grpFill/>
            <a:ln w="548" cap="flat">
              <a:noFill/>
              <a:prstDash val="solid"/>
              <a:miter/>
            </a:ln>
          </p:spPr>
          <p:txBody>
            <a:bodyPr/>
            <a:lstStyle/>
            <a:p>
              <a:endParaRPr lang="en-US"/>
            </a:p>
          </p:txBody>
        </p:sp>
        <p:sp>
          <p:nvSpPr>
            <p:cNvPr id="379" name="Freeform: Shape 378">
              <a:extLst>
                <a:ext uri="{FF2B5EF4-FFF2-40B4-BE49-F238E27FC236}">
                  <a16:creationId xmlns:a16="http://schemas.microsoft.com/office/drawing/2014/main" id="{EBEF6387-0790-8F59-89BB-0BFBC6CF7532}"/>
                </a:ext>
              </a:extLst>
            </p:cNvPr>
            <p:cNvSpPr/>
            <p:nvPr/>
          </p:nvSpPr>
          <p:spPr>
            <a:xfrm flipV="1">
              <a:off x="24454328" y="4408756"/>
              <a:ext cx="18983" cy="12081"/>
            </a:xfrm>
            <a:custGeom>
              <a:avLst/>
              <a:gdLst>
                <a:gd name="csX0" fmla="*/ -9157 w 18983"/>
                <a:gd name="csY0" fmla="*/ -5214 h 12081"/>
                <a:gd name="csX1" fmla="*/ 9826 w 18983"/>
                <a:gd name="csY1" fmla="*/ -5214 h 12081"/>
                <a:gd name="csX2" fmla="*/ 9826 w 18983"/>
                <a:gd name="csY2" fmla="*/ 6867 h 12081"/>
                <a:gd name="csX3" fmla="*/ -9157 w 18983"/>
                <a:gd name="csY3" fmla="*/ 6867 h 12081"/>
                <a:gd name="csX4" fmla="*/ -9157 w 18983"/>
                <a:gd name="csY4" fmla="*/ -5214 h 12081"/>
              </a:gdLst>
              <a:ahLst/>
              <a:cxnLst>
                <a:cxn ang="0">
                  <a:pos x="csX0" y="csY0"/>
                </a:cxn>
                <a:cxn ang="0">
                  <a:pos x="csX1" y="csY1"/>
                </a:cxn>
                <a:cxn ang="0">
                  <a:pos x="csX2" y="csY2"/>
                </a:cxn>
                <a:cxn ang="0">
                  <a:pos x="csX3" y="csY3"/>
                </a:cxn>
                <a:cxn ang="0">
                  <a:pos x="csX4" y="csY4"/>
                </a:cxn>
              </a:cxnLst>
              <a:rect l="l" t="t" r="r" b="b"/>
              <a:pathLst>
                <a:path w="18983" h="12081">
                  <a:moveTo>
                    <a:pt x="-9157" y="-5214"/>
                  </a:moveTo>
                  <a:lnTo>
                    <a:pt x="9826" y="-5214"/>
                  </a:lnTo>
                  <a:lnTo>
                    <a:pt x="9826" y="6867"/>
                  </a:lnTo>
                  <a:lnTo>
                    <a:pt x="-9157" y="6867"/>
                  </a:lnTo>
                  <a:lnTo>
                    <a:pt x="-9157" y="-5214"/>
                  </a:lnTo>
                </a:path>
              </a:pathLst>
            </a:custGeom>
            <a:grpFill/>
            <a:ln w="548" cap="flat">
              <a:noFill/>
              <a:prstDash val="solid"/>
              <a:miter/>
            </a:ln>
          </p:spPr>
          <p:txBody>
            <a:bodyPr/>
            <a:lstStyle/>
            <a:p>
              <a:endParaRPr lang="en-US"/>
            </a:p>
          </p:txBody>
        </p:sp>
        <p:sp>
          <p:nvSpPr>
            <p:cNvPr id="380" name="Freeform: Shape 379">
              <a:extLst>
                <a:ext uri="{FF2B5EF4-FFF2-40B4-BE49-F238E27FC236}">
                  <a16:creationId xmlns:a16="http://schemas.microsoft.com/office/drawing/2014/main" id="{B6973963-5A6E-D4F8-5C5D-5CDA870DDF03}"/>
                </a:ext>
              </a:extLst>
            </p:cNvPr>
            <p:cNvSpPr/>
            <p:nvPr/>
          </p:nvSpPr>
          <p:spPr>
            <a:xfrm flipV="1">
              <a:off x="24454328" y="4453070"/>
              <a:ext cx="18983" cy="12075"/>
            </a:xfrm>
            <a:custGeom>
              <a:avLst/>
              <a:gdLst>
                <a:gd name="csX0" fmla="*/ -9157 w 18983"/>
                <a:gd name="csY0" fmla="*/ -5107 h 12075"/>
                <a:gd name="csX1" fmla="*/ 9826 w 18983"/>
                <a:gd name="csY1" fmla="*/ -5107 h 12075"/>
                <a:gd name="csX2" fmla="*/ 9826 w 18983"/>
                <a:gd name="csY2" fmla="*/ 6968 h 12075"/>
                <a:gd name="csX3" fmla="*/ -9157 w 18983"/>
                <a:gd name="csY3" fmla="*/ 6968 h 12075"/>
                <a:gd name="csX4" fmla="*/ -9157 w 18983"/>
                <a:gd name="csY4" fmla="*/ -5107 h 12075"/>
              </a:gdLst>
              <a:ahLst/>
              <a:cxnLst>
                <a:cxn ang="0">
                  <a:pos x="csX0" y="csY0"/>
                </a:cxn>
                <a:cxn ang="0">
                  <a:pos x="csX1" y="csY1"/>
                </a:cxn>
                <a:cxn ang="0">
                  <a:pos x="csX2" y="csY2"/>
                </a:cxn>
                <a:cxn ang="0">
                  <a:pos x="csX3" y="csY3"/>
                </a:cxn>
                <a:cxn ang="0">
                  <a:pos x="csX4" y="csY4"/>
                </a:cxn>
              </a:cxnLst>
              <a:rect l="l" t="t" r="r" b="b"/>
              <a:pathLst>
                <a:path w="18983" h="12075">
                  <a:moveTo>
                    <a:pt x="-9157" y="-5107"/>
                  </a:moveTo>
                  <a:lnTo>
                    <a:pt x="9826" y="-5107"/>
                  </a:lnTo>
                  <a:lnTo>
                    <a:pt x="9826" y="6968"/>
                  </a:lnTo>
                  <a:lnTo>
                    <a:pt x="-9157" y="6968"/>
                  </a:lnTo>
                  <a:lnTo>
                    <a:pt x="-9157" y="-5107"/>
                  </a:lnTo>
                </a:path>
              </a:pathLst>
            </a:custGeom>
            <a:grpFill/>
            <a:ln w="548" cap="flat">
              <a:noFill/>
              <a:prstDash val="solid"/>
              <a:miter/>
            </a:ln>
          </p:spPr>
          <p:txBody>
            <a:bodyPr/>
            <a:lstStyle/>
            <a:p>
              <a:endParaRPr lang="en-US"/>
            </a:p>
          </p:txBody>
        </p:sp>
        <p:sp>
          <p:nvSpPr>
            <p:cNvPr id="381" name="Freeform: Shape 380">
              <a:extLst>
                <a:ext uri="{FF2B5EF4-FFF2-40B4-BE49-F238E27FC236}">
                  <a16:creationId xmlns:a16="http://schemas.microsoft.com/office/drawing/2014/main" id="{E5274D56-21A4-ABDA-284C-E4145C02D132}"/>
                </a:ext>
              </a:extLst>
            </p:cNvPr>
            <p:cNvSpPr/>
            <p:nvPr/>
          </p:nvSpPr>
          <p:spPr>
            <a:xfrm flipV="1">
              <a:off x="24454328" y="4467548"/>
              <a:ext cx="18983" cy="12081"/>
            </a:xfrm>
            <a:custGeom>
              <a:avLst/>
              <a:gdLst>
                <a:gd name="csX0" fmla="*/ -9157 w 18983"/>
                <a:gd name="csY0" fmla="*/ -5072 h 12081"/>
                <a:gd name="csX1" fmla="*/ 9826 w 18983"/>
                <a:gd name="csY1" fmla="*/ -5072 h 12081"/>
                <a:gd name="csX2" fmla="*/ 9826 w 18983"/>
                <a:gd name="csY2" fmla="*/ 7009 h 12081"/>
                <a:gd name="csX3" fmla="*/ -9157 w 18983"/>
                <a:gd name="csY3" fmla="*/ 7009 h 12081"/>
                <a:gd name="csX4" fmla="*/ -9157 w 18983"/>
                <a:gd name="csY4" fmla="*/ -5072 h 12081"/>
              </a:gdLst>
              <a:ahLst/>
              <a:cxnLst>
                <a:cxn ang="0">
                  <a:pos x="csX0" y="csY0"/>
                </a:cxn>
                <a:cxn ang="0">
                  <a:pos x="csX1" y="csY1"/>
                </a:cxn>
                <a:cxn ang="0">
                  <a:pos x="csX2" y="csY2"/>
                </a:cxn>
                <a:cxn ang="0">
                  <a:pos x="csX3" y="csY3"/>
                </a:cxn>
                <a:cxn ang="0">
                  <a:pos x="csX4" y="csY4"/>
                </a:cxn>
              </a:cxnLst>
              <a:rect l="l" t="t" r="r" b="b"/>
              <a:pathLst>
                <a:path w="18983" h="12081">
                  <a:moveTo>
                    <a:pt x="-9157" y="-5072"/>
                  </a:moveTo>
                  <a:lnTo>
                    <a:pt x="9826" y="-5072"/>
                  </a:lnTo>
                  <a:lnTo>
                    <a:pt x="9826" y="7009"/>
                  </a:lnTo>
                  <a:lnTo>
                    <a:pt x="-9157" y="7009"/>
                  </a:lnTo>
                  <a:lnTo>
                    <a:pt x="-9157" y="-5072"/>
                  </a:lnTo>
                </a:path>
              </a:pathLst>
            </a:custGeom>
            <a:grpFill/>
            <a:ln w="548" cap="flat">
              <a:noFill/>
              <a:prstDash val="solid"/>
              <a:miter/>
            </a:ln>
          </p:spPr>
          <p:txBody>
            <a:bodyPr/>
            <a:lstStyle/>
            <a:p>
              <a:endParaRPr lang="en-US"/>
            </a:p>
          </p:txBody>
        </p:sp>
        <p:sp>
          <p:nvSpPr>
            <p:cNvPr id="382" name="Freeform: Shape 381">
              <a:extLst>
                <a:ext uri="{FF2B5EF4-FFF2-40B4-BE49-F238E27FC236}">
                  <a16:creationId xmlns:a16="http://schemas.microsoft.com/office/drawing/2014/main" id="{F2C49BD1-2A32-39D1-D385-38F124FC89A2}"/>
                </a:ext>
              </a:extLst>
            </p:cNvPr>
            <p:cNvSpPr/>
            <p:nvPr/>
          </p:nvSpPr>
          <p:spPr>
            <a:xfrm flipV="1">
              <a:off x="24454328" y="4511862"/>
              <a:ext cx="18983" cy="12075"/>
            </a:xfrm>
            <a:custGeom>
              <a:avLst/>
              <a:gdLst>
                <a:gd name="csX0" fmla="*/ -9157 w 18983"/>
                <a:gd name="csY0" fmla="*/ -4966 h 12075"/>
                <a:gd name="csX1" fmla="*/ 9826 w 18983"/>
                <a:gd name="csY1" fmla="*/ -4966 h 12075"/>
                <a:gd name="csX2" fmla="*/ 9826 w 18983"/>
                <a:gd name="csY2" fmla="*/ 7110 h 12075"/>
                <a:gd name="csX3" fmla="*/ -9157 w 18983"/>
                <a:gd name="csY3" fmla="*/ 7110 h 12075"/>
                <a:gd name="csX4" fmla="*/ -9157 w 18983"/>
                <a:gd name="csY4" fmla="*/ -4966 h 12075"/>
              </a:gdLst>
              <a:ahLst/>
              <a:cxnLst>
                <a:cxn ang="0">
                  <a:pos x="csX0" y="csY0"/>
                </a:cxn>
                <a:cxn ang="0">
                  <a:pos x="csX1" y="csY1"/>
                </a:cxn>
                <a:cxn ang="0">
                  <a:pos x="csX2" y="csY2"/>
                </a:cxn>
                <a:cxn ang="0">
                  <a:pos x="csX3" y="csY3"/>
                </a:cxn>
                <a:cxn ang="0">
                  <a:pos x="csX4" y="csY4"/>
                </a:cxn>
              </a:cxnLst>
              <a:rect l="l" t="t" r="r" b="b"/>
              <a:pathLst>
                <a:path w="18983" h="12075">
                  <a:moveTo>
                    <a:pt x="-9157" y="-4966"/>
                  </a:moveTo>
                  <a:lnTo>
                    <a:pt x="9826" y="-4966"/>
                  </a:lnTo>
                  <a:lnTo>
                    <a:pt x="9826" y="7110"/>
                  </a:lnTo>
                  <a:lnTo>
                    <a:pt x="-9157" y="7110"/>
                  </a:lnTo>
                  <a:lnTo>
                    <a:pt x="-9157" y="-4966"/>
                  </a:lnTo>
                </a:path>
              </a:pathLst>
            </a:custGeom>
            <a:grpFill/>
            <a:ln w="548" cap="flat">
              <a:noFill/>
              <a:prstDash val="solid"/>
              <a:miter/>
            </a:ln>
          </p:spPr>
          <p:txBody>
            <a:bodyPr/>
            <a:lstStyle/>
            <a:p>
              <a:endParaRPr lang="en-US"/>
            </a:p>
          </p:txBody>
        </p:sp>
        <p:sp>
          <p:nvSpPr>
            <p:cNvPr id="383" name="Freeform: Shape 382">
              <a:extLst>
                <a:ext uri="{FF2B5EF4-FFF2-40B4-BE49-F238E27FC236}">
                  <a16:creationId xmlns:a16="http://schemas.microsoft.com/office/drawing/2014/main" id="{B100FB18-9C08-D570-A0A5-3B16F7E9206A}"/>
                </a:ext>
              </a:extLst>
            </p:cNvPr>
            <p:cNvSpPr/>
            <p:nvPr/>
          </p:nvSpPr>
          <p:spPr>
            <a:xfrm flipV="1">
              <a:off x="24454328" y="4526340"/>
              <a:ext cx="18983" cy="12081"/>
            </a:xfrm>
            <a:custGeom>
              <a:avLst/>
              <a:gdLst>
                <a:gd name="csX0" fmla="*/ -9157 w 18983"/>
                <a:gd name="csY0" fmla="*/ -4931 h 12081"/>
                <a:gd name="csX1" fmla="*/ 9826 w 18983"/>
                <a:gd name="csY1" fmla="*/ -4931 h 12081"/>
                <a:gd name="csX2" fmla="*/ 9826 w 18983"/>
                <a:gd name="csY2" fmla="*/ 7150 h 12081"/>
                <a:gd name="csX3" fmla="*/ -9157 w 18983"/>
                <a:gd name="csY3" fmla="*/ 7150 h 12081"/>
                <a:gd name="csX4" fmla="*/ -9157 w 18983"/>
                <a:gd name="csY4" fmla="*/ -4931 h 12081"/>
              </a:gdLst>
              <a:ahLst/>
              <a:cxnLst>
                <a:cxn ang="0">
                  <a:pos x="csX0" y="csY0"/>
                </a:cxn>
                <a:cxn ang="0">
                  <a:pos x="csX1" y="csY1"/>
                </a:cxn>
                <a:cxn ang="0">
                  <a:pos x="csX2" y="csY2"/>
                </a:cxn>
                <a:cxn ang="0">
                  <a:pos x="csX3" y="csY3"/>
                </a:cxn>
                <a:cxn ang="0">
                  <a:pos x="csX4" y="csY4"/>
                </a:cxn>
              </a:cxnLst>
              <a:rect l="l" t="t" r="r" b="b"/>
              <a:pathLst>
                <a:path w="18983" h="12081">
                  <a:moveTo>
                    <a:pt x="-9157" y="-4931"/>
                  </a:moveTo>
                  <a:lnTo>
                    <a:pt x="9826" y="-4931"/>
                  </a:lnTo>
                  <a:lnTo>
                    <a:pt x="9826" y="7150"/>
                  </a:lnTo>
                  <a:lnTo>
                    <a:pt x="-9157" y="7150"/>
                  </a:lnTo>
                  <a:lnTo>
                    <a:pt x="-9157" y="-4931"/>
                  </a:lnTo>
                </a:path>
              </a:pathLst>
            </a:custGeom>
            <a:grpFill/>
            <a:ln w="548" cap="flat">
              <a:noFill/>
              <a:prstDash val="solid"/>
              <a:miter/>
            </a:ln>
          </p:spPr>
          <p:txBody>
            <a:bodyPr/>
            <a:lstStyle/>
            <a:p>
              <a:endParaRPr lang="en-US"/>
            </a:p>
          </p:txBody>
        </p:sp>
        <p:sp>
          <p:nvSpPr>
            <p:cNvPr id="384" name="Freeform: Shape 383">
              <a:extLst>
                <a:ext uri="{FF2B5EF4-FFF2-40B4-BE49-F238E27FC236}">
                  <a16:creationId xmlns:a16="http://schemas.microsoft.com/office/drawing/2014/main" id="{1B742158-E086-C3E6-0B1B-E6F166B3052B}"/>
                </a:ext>
              </a:extLst>
            </p:cNvPr>
            <p:cNvSpPr/>
            <p:nvPr/>
          </p:nvSpPr>
          <p:spPr>
            <a:xfrm flipV="1">
              <a:off x="24454328" y="4686582"/>
              <a:ext cx="18983" cy="12081"/>
            </a:xfrm>
            <a:custGeom>
              <a:avLst/>
              <a:gdLst>
                <a:gd name="csX0" fmla="*/ -9157 w 18983"/>
                <a:gd name="csY0" fmla="*/ -4545 h 12081"/>
                <a:gd name="csX1" fmla="*/ 9826 w 18983"/>
                <a:gd name="csY1" fmla="*/ -4545 h 12081"/>
                <a:gd name="csX2" fmla="*/ 9826 w 18983"/>
                <a:gd name="csY2" fmla="*/ 7536 h 12081"/>
                <a:gd name="csX3" fmla="*/ -9157 w 18983"/>
                <a:gd name="csY3" fmla="*/ 7536 h 12081"/>
                <a:gd name="csX4" fmla="*/ -9157 w 18983"/>
                <a:gd name="csY4" fmla="*/ -4545 h 12081"/>
              </a:gdLst>
              <a:ahLst/>
              <a:cxnLst>
                <a:cxn ang="0">
                  <a:pos x="csX0" y="csY0"/>
                </a:cxn>
                <a:cxn ang="0">
                  <a:pos x="csX1" y="csY1"/>
                </a:cxn>
                <a:cxn ang="0">
                  <a:pos x="csX2" y="csY2"/>
                </a:cxn>
                <a:cxn ang="0">
                  <a:pos x="csX3" y="csY3"/>
                </a:cxn>
                <a:cxn ang="0">
                  <a:pos x="csX4" y="csY4"/>
                </a:cxn>
              </a:cxnLst>
              <a:rect l="l" t="t" r="r" b="b"/>
              <a:pathLst>
                <a:path w="18983" h="12081">
                  <a:moveTo>
                    <a:pt x="-9157" y="-4545"/>
                  </a:moveTo>
                  <a:lnTo>
                    <a:pt x="9826" y="-4545"/>
                  </a:lnTo>
                  <a:lnTo>
                    <a:pt x="9826" y="7536"/>
                  </a:lnTo>
                  <a:lnTo>
                    <a:pt x="-9157" y="7536"/>
                  </a:lnTo>
                  <a:lnTo>
                    <a:pt x="-9157" y="-4545"/>
                  </a:lnTo>
                </a:path>
              </a:pathLst>
            </a:custGeom>
            <a:grpFill/>
            <a:ln w="548" cap="flat">
              <a:noFill/>
              <a:prstDash val="solid"/>
              <a:miter/>
            </a:ln>
          </p:spPr>
          <p:txBody>
            <a:bodyPr/>
            <a:lstStyle/>
            <a:p>
              <a:endParaRPr lang="en-US"/>
            </a:p>
          </p:txBody>
        </p:sp>
        <p:sp>
          <p:nvSpPr>
            <p:cNvPr id="385" name="Freeform: Shape 384">
              <a:extLst>
                <a:ext uri="{FF2B5EF4-FFF2-40B4-BE49-F238E27FC236}">
                  <a16:creationId xmlns:a16="http://schemas.microsoft.com/office/drawing/2014/main" id="{11603FC0-ADA0-9DAA-097D-7B70A84580E1}"/>
                </a:ext>
              </a:extLst>
            </p:cNvPr>
            <p:cNvSpPr/>
            <p:nvPr/>
          </p:nvSpPr>
          <p:spPr>
            <a:xfrm flipV="1">
              <a:off x="24454328" y="4701066"/>
              <a:ext cx="18983" cy="12075"/>
            </a:xfrm>
            <a:custGeom>
              <a:avLst/>
              <a:gdLst>
                <a:gd name="csX0" fmla="*/ -9157 w 18983"/>
                <a:gd name="csY0" fmla="*/ -4510 h 12075"/>
                <a:gd name="csX1" fmla="*/ 9826 w 18983"/>
                <a:gd name="csY1" fmla="*/ -4510 h 12075"/>
                <a:gd name="csX2" fmla="*/ 9826 w 18983"/>
                <a:gd name="csY2" fmla="*/ 7565 h 12075"/>
                <a:gd name="csX3" fmla="*/ -9157 w 18983"/>
                <a:gd name="csY3" fmla="*/ 7565 h 12075"/>
                <a:gd name="csX4" fmla="*/ -9157 w 18983"/>
                <a:gd name="csY4" fmla="*/ -4510 h 12075"/>
              </a:gdLst>
              <a:ahLst/>
              <a:cxnLst>
                <a:cxn ang="0">
                  <a:pos x="csX0" y="csY0"/>
                </a:cxn>
                <a:cxn ang="0">
                  <a:pos x="csX1" y="csY1"/>
                </a:cxn>
                <a:cxn ang="0">
                  <a:pos x="csX2" y="csY2"/>
                </a:cxn>
                <a:cxn ang="0">
                  <a:pos x="csX3" y="csY3"/>
                </a:cxn>
                <a:cxn ang="0">
                  <a:pos x="csX4" y="csY4"/>
                </a:cxn>
              </a:cxnLst>
              <a:rect l="l" t="t" r="r" b="b"/>
              <a:pathLst>
                <a:path w="18983" h="12075">
                  <a:moveTo>
                    <a:pt x="-9157" y="-4510"/>
                  </a:moveTo>
                  <a:lnTo>
                    <a:pt x="9826" y="-4510"/>
                  </a:lnTo>
                  <a:lnTo>
                    <a:pt x="9826" y="7565"/>
                  </a:lnTo>
                  <a:lnTo>
                    <a:pt x="-9157" y="7565"/>
                  </a:lnTo>
                  <a:lnTo>
                    <a:pt x="-9157" y="-4510"/>
                  </a:lnTo>
                </a:path>
              </a:pathLst>
            </a:custGeom>
            <a:grpFill/>
            <a:ln w="548" cap="flat">
              <a:noFill/>
              <a:prstDash val="solid"/>
              <a:miter/>
            </a:ln>
          </p:spPr>
          <p:txBody>
            <a:bodyPr/>
            <a:lstStyle/>
            <a:p>
              <a:endParaRPr lang="en-US"/>
            </a:p>
          </p:txBody>
        </p:sp>
        <p:sp>
          <p:nvSpPr>
            <p:cNvPr id="386" name="Freeform: Shape 385">
              <a:extLst>
                <a:ext uri="{FF2B5EF4-FFF2-40B4-BE49-F238E27FC236}">
                  <a16:creationId xmlns:a16="http://schemas.microsoft.com/office/drawing/2014/main" id="{36352ACD-A900-D483-3747-82B9B831B1C9}"/>
                </a:ext>
              </a:extLst>
            </p:cNvPr>
            <p:cNvSpPr/>
            <p:nvPr/>
          </p:nvSpPr>
          <p:spPr>
            <a:xfrm flipV="1">
              <a:off x="24454328" y="4587848"/>
              <a:ext cx="18983" cy="12668"/>
            </a:xfrm>
            <a:custGeom>
              <a:avLst/>
              <a:gdLst>
                <a:gd name="csX0" fmla="*/ -9157 w 18983"/>
                <a:gd name="csY0" fmla="*/ -4782 h 12668"/>
                <a:gd name="csX1" fmla="*/ 9826 w 18983"/>
                <a:gd name="csY1" fmla="*/ -4782 h 12668"/>
                <a:gd name="csX2" fmla="*/ 9826 w 18983"/>
                <a:gd name="csY2" fmla="*/ 7886 h 12668"/>
                <a:gd name="csX3" fmla="*/ -9157 w 18983"/>
                <a:gd name="csY3" fmla="*/ 7886 h 12668"/>
                <a:gd name="csX4" fmla="*/ -9157 w 18983"/>
                <a:gd name="csY4" fmla="*/ -4782 h 12668"/>
              </a:gdLst>
              <a:ahLst/>
              <a:cxnLst>
                <a:cxn ang="0">
                  <a:pos x="csX0" y="csY0"/>
                </a:cxn>
                <a:cxn ang="0">
                  <a:pos x="csX1" y="csY1"/>
                </a:cxn>
                <a:cxn ang="0">
                  <a:pos x="csX2" y="csY2"/>
                </a:cxn>
                <a:cxn ang="0">
                  <a:pos x="csX3" y="csY3"/>
                </a:cxn>
                <a:cxn ang="0">
                  <a:pos x="csX4" y="csY4"/>
                </a:cxn>
              </a:cxnLst>
              <a:rect l="l" t="t" r="r" b="b"/>
              <a:pathLst>
                <a:path w="18983" h="12668">
                  <a:moveTo>
                    <a:pt x="-9157" y="-4782"/>
                  </a:moveTo>
                  <a:lnTo>
                    <a:pt x="9826" y="-4782"/>
                  </a:lnTo>
                  <a:lnTo>
                    <a:pt x="9826" y="7886"/>
                  </a:lnTo>
                  <a:lnTo>
                    <a:pt x="-9157" y="7886"/>
                  </a:lnTo>
                  <a:lnTo>
                    <a:pt x="-9157" y="-4782"/>
                  </a:lnTo>
                </a:path>
              </a:pathLst>
            </a:custGeom>
            <a:grpFill/>
            <a:ln w="548" cap="flat">
              <a:noFill/>
              <a:prstDash val="solid"/>
              <a:miter/>
            </a:ln>
          </p:spPr>
          <p:txBody>
            <a:bodyPr/>
            <a:lstStyle/>
            <a:p>
              <a:endParaRPr lang="en-US"/>
            </a:p>
          </p:txBody>
        </p:sp>
        <p:sp>
          <p:nvSpPr>
            <p:cNvPr id="387" name="Freeform: Shape 386">
              <a:extLst>
                <a:ext uri="{FF2B5EF4-FFF2-40B4-BE49-F238E27FC236}">
                  <a16:creationId xmlns:a16="http://schemas.microsoft.com/office/drawing/2014/main" id="{0E5B7993-AE73-FF66-66FA-94A60C5C0C61}"/>
                </a:ext>
              </a:extLst>
            </p:cNvPr>
            <p:cNvSpPr/>
            <p:nvPr/>
          </p:nvSpPr>
          <p:spPr>
            <a:xfrm flipV="1">
              <a:off x="24454328" y="4618002"/>
              <a:ext cx="18983" cy="12668"/>
            </a:xfrm>
            <a:custGeom>
              <a:avLst/>
              <a:gdLst>
                <a:gd name="csX0" fmla="*/ -9157 w 18983"/>
                <a:gd name="csY0" fmla="*/ -4710 h 12668"/>
                <a:gd name="csX1" fmla="*/ 9826 w 18983"/>
                <a:gd name="csY1" fmla="*/ -4710 h 12668"/>
                <a:gd name="csX2" fmla="*/ 9826 w 18983"/>
                <a:gd name="csY2" fmla="*/ 7959 h 12668"/>
                <a:gd name="csX3" fmla="*/ -9157 w 18983"/>
                <a:gd name="csY3" fmla="*/ 7959 h 12668"/>
                <a:gd name="csX4" fmla="*/ -9157 w 18983"/>
                <a:gd name="csY4" fmla="*/ -4710 h 12668"/>
              </a:gdLst>
              <a:ahLst/>
              <a:cxnLst>
                <a:cxn ang="0">
                  <a:pos x="csX0" y="csY0"/>
                </a:cxn>
                <a:cxn ang="0">
                  <a:pos x="csX1" y="csY1"/>
                </a:cxn>
                <a:cxn ang="0">
                  <a:pos x="csX2" y="csY2"/>
                </a:cxn>
                <a:cxn ang="0">
                  <a:pos x="csX3" y="csY3"/>
                </a:cxn>
                <a:cxn ang="0">
                  <a:pos x="csX4" y="csY4"/>
                </a:cxn>
              </a:cxnLst>
              <a:rect l="l" t="t" r="r" b="b"/>
              <a:pathLst>
                <a:path w="18983" h="12668">
                  <a:moveTo>
                    <a:pt x="-9157" y="-4710"/>
                  </a:moveTo>
                  <a:lnTo>
                    <a:pt x="9826" y="-4710"/>
                  </a:lnTo>
                  <a:lnTo>
                    <a:pt x="9826" y="7959"/>
                  </a:lnTo>
                  <a:lnTo>
                    <a:pt x="-9157" y="7959"/>
                  </a:lnTo>
                  <a:lnTo>
                    <a:pt x="-9157" y="-4710"/>
                  </a:lnTo>
                </a:path>
              </a:pathLst>
            </a:custGeom>
            <a:grpFill/>
            <a:ln w="548" cap="flat">
              <a:noFill/>
              <a:prstDash val="solid"/>
              <a:miter/>
            </a:ln>
          </p:spPr>
          <p:txBody>
            <a:bodyPr/>
            <a:lstStyle/>
            <a:p>
              <a:endParaRPr lang="en-US"/>
            </a:p>
          </p:txBody>
        </p:sp>
        <p:sp>
          <p:nvSpPr>
            <p:cNvPr id="388" name="Freeform: Shape 387">
              <a:extLst>
                <a:ext uri="{FF2B5EF4-FFF2-40B4-BE49-F238E27FC236}">
                  <a16:creationId xmlns:a16="http://schemas.microsoft.com/office/drawing/2014/main" id="{1B2B0DE9-C417-8717-E47C-B9E374A84FC2}"/>
                </a:ext>
              </a:extLst>
            </p:cNvPr>
            <p:cNvSpPr/>
            <p:nvPr/>
          </p:nvSpPr>
          <p:spPr>
            <a:xfrm flipV="1">
              <a:off x="24454328" y="4602925"/>
              <a:ext cx="18983" cy="12668"/>
            </a:xfrm>
            <a:custGeom>
              <a:avLst/>
              <a:gdLst>
                <a:gd name="csX0" fmla="*/ -9157 w 18983"/>
                <a:gd name="csY0" fmla="*/ -4746 h 12668"/>
                <a:gd name="csX1" fmla="*/ 9826 w 18983"/>
                <a:gd name="csY1" fmla="*/ -4746 h 12668"/>
                <a:gd name="csX2" fmla="*/ 9826 w 18983"/>
                <a:gd name="csY2" fmla="*/ 7922 h 12668"/>
                <a:gd name="csX3" fmla="*/ -9157 w 18983"/>
                <a:gd name="csY3" fmla="*/ 7922 h 12668"/>
                <a:gd name="csX4" fmla="*/ -9157 w 18983"/>
                <a:gd name="csY4" fmla="*/ -4746 h 12668"/>
              </a:gdLst>
              <a:ahLst/>
              <a:cxnLst>
                <a:cxn ang="0">
                  <a:pos x="csX0" y="csY0"/>
                </a:cxn>
                <a:cxn ang="0">
                  <a:pos x="csX1" y="csY1"/>
                </a:cxn>
                <a:cxn ang="0">
                  <a:pos x="csX2" y="csY2"/>
                </a:cxn>
                <a:cxn ang="0">
                  <a:pos x="csX3" y="csY3"/>
                </a:cxn>
                <a:cxn ang="0">
                  <a:pos x="csX4" y="csY4"/>
                </a:cxn>
              </a:cxnLst>
              <a:rect l="l" t="t" r="r" b="b"/>
              <a:pathLst>
                <a:path w="18983" h="12668">
                  <a:moveTo>
                    <a:pt x="-9157" y="-4746"/>
                  </a:moveTo>
                  <a:lnTo>
                    <a:pt x="9826" y="-4746"/>
                  </a:lnTo>
                  <a:lnTo>
                    <a:pt x="9826" y="7922"/>
                  </a:lnTo>
                  <a:lnTo>
                    <a:pt x="-9157" y="7922"/>
                  </a:lnTo>
                  <a:lnTo>
                    <a:pt x="-9157" y="-4746"/>
                  </a:lnTo>
                </a:path>
              </a:pathLst>
            </a:custGeom>
            <a:grpFill/>
            <a:ln w="548" cap="flat">
              <a:noFill/>
              <a:prstDash val="solid"/>
              <a:miter/>
            </a:ln>
          </p:spPr>
          <p:txBody>
            <a:bodyPr/>
            <a:lstStyle/>
            <a:p>
              <a:endParaRPr lang="en-US"/>
            </a:p>
          </p:txBody>
        </p:sp>
        <p:sp>
          <p:nvSpPr>
            <p:cNvPr id="389" name="Freeform: Shape 388">
              <a:extLst>
                <a:ext uri="{FF2B5EF4-FFF2-40B4-BE49-F238E27FC236}">
                  <a16:creationId xmlns:a16="http://schemas.microsoft.com/office/drawing/2014/main" id="{13FA317E-637D-2253-4907-DCD322C2FC92}"/>
                </a:ext>
              </a:extLst>
            </p:cNvPr>
            <p:cNvSpPr/>
            <p:nvPr/>
          </p:nvSpPr>
          <p:spPr>
            <a:xfrm flipV="1">
              <a:off x="24454328" y="4633073"/>
              <a:ext cx="18983" cy="12673"/>
            </a:xfrm>
            <a:custGeom>
              <a:avLst/>
              <a:gdLst>
                <a:gd name="csX0" fmla="*/ -9157 w 18983"/>
                <a:gd name="csY0" fmla="*/ -4673 h 12673"/>
                <a:gd name="csX1" fmla="*/ 9826 w 18983"/>
                <a:gd name="csY1" fmla="*/ -4673 h 12673"/>
                <a:gd name="csX2" fmla="*/ 9826 w 18983"/>
                <a:gd name="csY2" fmla="*/ 8000 h 12673"/>
                <a:gd name="csX3" fmla="*/ -9157 w 18983"/>
                <a:gd name="csY3" fmla="*/ 8000 h 12673"/>
                <a:gd name="csX4" fmla="*/ -9157 w 18983"/>
                <a:gd name="csY4" fmla="*/ -4673 h 12673"/>
              </a:gdLst>
              <a:ahLst/>
              <a:cxnLst>
                <a:cxn ang="0">
                  <a:pos x="csX0" y="csY0"/>
                </a:cxn>
                <a:cxn ang="0">
                  <a:pos x="csX1" y="csY1"/>
                </a:cxn>
                <a:cxn ang="0">
                  <a:pos x="csX2" y="csY2"/>
                </a:cxn>
                <a:cxn ang="0">
                  <a:pos x="csX3" y="csY3"/>
                </a:cxn>
                <a:cxn ang="0">
                  <a:pos x="csX4" y="csY4"/>
                </a:cxn>
              </a:cxnLst>
              <a:rect l="l" t="t" r="r" b="b"/>
              <a:pathLst>
                <a:path w="18983" h="12673">
                  <a:moveTo>
                    <a:pt x="-9157" y="-4673"/>
                  </a:moveTo>
                  <a:lnTo>
                    <a:pt x="9826" y="-4673"/>
                  </a:lnTo>
                  <a:lnTo>
                    <a:pt x="9826" y="8000"/>
                  </a:lnTo>
                  <a:lnTo>
                    <a:pt x="-9157" y="8000"/>
                  </a:lnTo>
                  <a:lnTo>
                    <a:pt x="-9157" y="-4673"/>
                  </a:lnTo>
                </a:path>
              </a:pathLst>
            </a:custGeom>
            <a:grpFill/>
            <a:ln w="548" cap="flat">
              <a:noFill/>
              <a:prstDash val="solid"/>
              <a:miter/>
            </a:ln>
          </p:spPr>
          <p:txBody>
            <a:bodyPr/>
            <a:lstStyle/>
            <a:p>
              <a:endParaRPr lang="en-US"/>
            </a:p>
          </p:txBody>
        </p:sp>
        <p:sp>
          <p:nvSpPr>
            <p:cNvPr id="390" name="Freeform: Shape 389">
              <a:extLst>
                <a:ext uri="{FF2B5EF4-FFF2-40B4-BE49-F238E27FC236}">
                  <a16:creationId xmlns:a16="http://schemas.microsoft.com/office/drawing/2014/main" id="{0EAB69B5-0912-5894-63BB-BFCC589E12D4}"/>
                </a:ext>
              </a:extLst>
            </p:cNvPr>
            <p:cNvSpPr/>
            <p:nvPr/>
          </p:nvSpPr>
          <p:spPr>
            <a:xfrm flipV="1">
              <a:off x="24454328" y="4570654"/>
              <a:ext cx="18983" cy="14785"/>
            </a:xfrm>
            <a:custGeom>
              <a:avLst/>
              <a:gdLst>
                <a:gd name="csX0" fmla="*/ -9157 w 18983"/>
                <a:gd name="csY0" fmla="*/ -4821 h 14785"/>
                <a:gd name="csX1" fmla="*/ 9826 w 18983"/>
                <a:gd name="csY1" fmla="*/ -4821 h 14785"/>
                <a:gd name="csX2" fmla="*/ 9826 w 18983"/>
                <a:gd name="csY2" fmla="*/ 9965 h 14785"/>
                <a:gd name="csX3" fmla="*/ -9157 w 18983"/>
                <a:gd name="csY3" fmla="*/ 9965 h 14785"/>
                <a:gd name="csX4" fmla="*/ -9157 w 18983"/>
                <a:gd name="csY4" fmla="*/ -4821 h 14785"/>
              </a:gdLst>
              <a:ahLst/>
              <a:cxnLst>
                <a:cxn ang="0">
                  <a:pos x="csX0" y="csY0"/>
                </a:cxn>
                <a:cxn ang="0">
                  <a:pos x="csX1" y="csY1"/>
                </a:cxn>
                <a:cxn ang="0">
                  <a:pos x="csX2" y="csY2"/>
                </a:cxn>
                <a:cxn ang="0">
                  <a:pos x="csX3" y="csY3"/>
                </a:cxn>
                <a:cxn ang="0">
                  <a:pos x="csX4" y="csY4"/>
                </a:cxn>
              </a:cxnLst>
              <a:rect l="l" t="t" r="r" b="b"/>
              <a:pathLst>
                <a:path w="18983" h="14785">
                  <a:moveTo>
                    <a:pt x="-9157" y="-4821"/>
                  </a:moveTo>
                  <a:lnTo>
                    <a:pt x="9826" y="-4821"/>
                  </a:lnTo>
                  <a:lnTo>
                    <a:pt x="9826" y="9965"/>
                  </a:lnTo>
                  <a:lnTo>
                    <a:pt x="-9157" y="9965"/>
                  </a:lnTo>
                  <a:lnTo>
                    <a:pt x="-9157" y="-4821"/>
                  </a:lnTo>
                </a:path>
              </a:pathLst>
            </a:custGeom>
            <a:grpFill/>
            <a:ln w="548" cap="flat">
              <a:noFill/>
              <a:prstDash val="solid"/>
              <a:miter/>
            </a:ln>
          </p:spPr>
          <p:txBody>
            <a:bodyPr/>
            <a:lstStyle/>
            <a:p>
              <a:endParaRPr lang="en-US"/>
            </a:p>
          </p:txBody>
        </p:sp>
        <p:sp>
          <p:nvSpPr>
            <p:cNvPr id="391" name="Freeform: Shape 390">
              <a:extLst>
                <a:ext uri="{FF2B5EF4-FFF2-40B4-BE49-F238E27FC236}">
                  <a16:creationId xmlns:a16="http://schemas.microsoft.com/office/drawing/2014/main" id="{7C3B6C4A-9573-6C20-B625-00CD403C3949}"/>
                </a:ext>
              </a:extLst>
            </p:cNvPr>
            <p:cNvSpPr/>
            <p:nvPr/>
          </p:nvSpPr>
          <p:spPr>
            <a:xfrm flipV="1">
              <a:off x="24454328" y="4648149"/>
              <a:ext cx="18983" cy="14774"/>
            </a:xfrm>
            <a:custGeom>
              <a:avLst/>
              <a:gdLst>
                <a:gd name="csX0" fmla="*/ -9157 w 18983"/>
                <a:gd name="csY0" fmla="*/ -4634 h 14774"/>
                <a:gd name="csX1" fmla="*/ 9826 w 18983"/>
                <a:gd name="csY1" fmla="*/ -4634 h 14774"/>
                <a:gd name="csX2" fmla="*/ 9826 w 18983"/>
                <a:gd name="csY2" fmla="*/ 10140 h 14774"/>
                <a:gd name="csX3" fmla="*/ -9157 w 18983"/>
                <a:gd name="csY3" fmla="*/ 10140 h 14774"/>
                <a:gd name="csX4" fmla="*/ -9157 w 18983"/>
                <a:gd name="csY4" fmla="*/ -4634 h 14774"/>
              </a:gdLst>
              <a:ahLst/>
              <a:cxnLst>
                <a:cxn ang="0">
                  <a:pos x="csX0" y="csY0"/>
                </a:cxn>
                <a:cxn ang="0">
                  <a:pos x="csX1" y="csY1"/>
                </a:cxn>
                <a:cxn ang="0">
                  <a:pos x="csX2" y="csY2"/>
                </a:cxn>
                <a:cxn ang="0">
                  <a:pos x="csX3" y="csY3"/>
                </a:cxn>
                <a:cxn ang="0">
                  <a:pos x="csX4" y="csY4"/>
                </a:cxn>
              </a:cxnLst>
              <a:rect l="l" t="t" r="r" b="b"/>
              <a:pathLst>
                <a:path w="18983" h="14774">
                  <a:moveTo>
                    <a:pt x="-9157" y="-4634"/>
                  </a:moveTo>
                  <a:lnTo>
                    <a:pt x="9826" y="-4634"/>
                  </a:lnTo>
                  <a:lnTo>
                    <a:pt x="9826" y="10140"/>
                  </a:lnTo>
                  <a:lnTo>
                    <a:pt x="-9157" y="10140"/>
                  </a:lnTo>
                  <a:lnTo>
                    <a:pt x="-9157" y="-4634"/>
                  </a:lnTo>
                </a:path>
              </a:pathLst>
            </a:custGeom>
            <a:grpFill/>
            <a:ln w="548" cap="flat">
              <a:noFill/>
              <a:prstDash val="solid"/>
              <a:miter/>
            </a:ln>
          </p:spPr>
          <p:txBody>
            <a:bodyPr/>
            <a:lstStyle/>
            <a:p>
              <a:endParaRPr lang="en-US"/>
            </a:p>
          </p:txBody>
        </p:sp>
        <p:sp>
          <p:nvSpPr>
            <p:cNvPr id="392" name="Freeform: Shape 391">
              <a:extLst>
                <a:ext uri="{FF2B5EF4-FFF2-40B4-BE49-F238E27FC236}">
                  <a16:creationId xmlns:a16="http://schemas.microsoft.com/office/drawing/2014/main" id="{1D67036F-CE8B-6658-0178-2BE6D12D2AEF}"/>
                </a:ext>
              </a:extLst>
            </p:cNvPr>
            <p:cNvSpPr/>
            <p:nvPr/>
          </p:nvSpPr>
          <p:spPr>
            <a:xfrm flipV="1">
              <a:off x="24397708" y="4394277"/>
              <a:ext cx="18982" cy="12070"/>
            </a:xfrm>
            <a:custGeom>
              <a:avLst/>
              <a:gdLst>
                <a:gd name="csX0" fmla="*/ 9896 w 18982"/>
                <a:gd name="csY0" fmla="*/ 6822 h 12070"/>
                <a:gd name="csX1" fmla="*/ -9087 w 18982"/>
                <a:gd name="csY1" fmla="*/ 6822 h 12070"/>
                <a:gd name="csX2" fmla="*/ -9087 w 18982"/>
                <a:gd name="csY2" fmla="*/ -5249 h 12070"/>
                <a:gd name="csX3" fmla="*/ 9896 w 18982"/>
                <a:gd name="csY3" fmla="*/ -5249 h 12070"/>
                <a:gd name="csX4" fmla="*/ 9896 w 18982"/>
                <a:gd name="csY4" fmla="*/ 6822 h 12070"/>
              </a:gdLst>
              <a:ahLst/>
              <a:cxnLst>
                <a:cxn ang="0">
                  <a:pos x="csX0" y="csY0"/>
                </a:cxn>
                <a:cxn ang="0">
                  <a:pos x="csX1" y="csY1"/>
                </a:cxn>
                <a:cxn ang="0">
                  <a:pos x="csX2" y="csY2"/>
                </a:cxn>
                <a:cxn ang="0">
                  <a:pos x="csX3" y="csY3"/>
                </a:cxn>
                <a:cxn ang="0">
                  <a:pos x="csX4" y="csY4"/>
                </a:cxn>
              </a:cxnLst>
              <a:rect l="l" t="t" r="r" b="b"/>
              <a:pathLst>
                <a:path w="18982" h="12070">
                  <a:moveTo>
                    <a:pt x="9896" y="6822"/>
                  </a:moveTo>
                  <a:lnTo>
                    <a:pt x="-9087" y="6822"/>
                  </a:lnTo>
                  <a:lnTo>
                    <a:pt x="-9087" y="-5249"/>
                  </a:lnTo>
                  <a:lnTo>
                    <a:pt x="9896" y="-5249"/>
                  </a:lnTo>
                  <a:lnTo>
                    <a:pt x="9896" y="6822"/>
                  </a:lnTo>
                </a:path>
              </a:pathLst>
            </a:custGeom>
            <a:grpFill/>
            <a:ln w="548" cap="flat">
              <a:noFill/>
              <a:prstDash val="solid"/>
              <a:miter/>
            </a:ln>
          </p:spPr>
          <p:txBody>
            <a:bodyPr/>
            <a:lstStyle/>
            <a:p>
              <a:endParaRPr lang="en-US"/>
            </a:p>
          </p:txBody>
        </p:sp>
        <p:sp>
          <p:nvSpPr>
            <p:cNvPr id="393" name="Freeform: Shape 392">
              <a:extLst>
                <a:ext uri="{FF2B5EF4-FFF2-40B4-BE49-F238E27FC236}">
                  <a16:creationId xmlns:a16="http://schemas.microsoft.com/office/drawing/2014/main" id="{8A0B9FAA-4958-4DC3-3D4A-54D303C71989}"/>
                </a:ext>
              </a:extLst>
            </p:cNvPr>
            <p:cNvSpPr/>
            <p:nvPr/>
          </p:nvSpPr>
          <p:spPr>
            <a:xfrm flipV="1">
              <a:off x="24397708" y="4408756"/>
              <a:ext cx="18982" cy="12081"/>
            </a:xfrm>
            <a:custGeom>
              <a:avLst/>
              <a:gdLst>
                <a:gd name="csX0" fmla="*/ -9087 w 18982"/>
                <a:gd name="csY0" fmla="*/ -5214 h 12081"/>
                <a:gd name="csX1" fmla="*/ 9896 w 18982"/>
                <a:gd name="csY1" fmla="*/ -5214 h 12081"/>
                <a:gd name="csX2" fmla="*/ 9896 w 18982"/>
                <a:gd name="csY2" fmla="*/ 6867 h 12081"/>
                <a:gd name="csX3" fmla="*/ -9087 w 18982"/>
                <a:gd name="csY3" fmla="*/ 6867 h 12081"/>
                <a:gd name="csX4" fmla="*/ -9087 w 18982"/>
                <a:gd name="csY4" fmla="*/ -5214 h 12081"/>
              </a:gdLst>
              <a:ahLst/>
              <a:cxnLst>
                <a:cxn ang="0">
                  <a:pos x="csX0" y="csY0"/>
                </a:cxn>
                <a:cxn ang="0">
                  <a:pos x="csX1" y="csY1"/>
                </a:cxn>
                <a:cxn ang="0">
                  <a:pos x="csX2" y="csY2"/>
                </a:cxn>
                <a:cxn ang="0">
                  <a:pos x="csX3" y="csY3"/>
                </a:cxn>
                <a:cxn ang="0">
                  <a:pos x="csX4" y="csY4"/>
                </a:cxn>
              </a:cxnLst>
              <a:rect l="l" t="t" r="r" b="b"/>
              <a:pathLst>
                <a:path w="18982" h="12081">
                  <a:moveTo>
                    <a:pt x="-9087" y="-5214"/>
                  </a:moveTo>
                  <a:lnTo>
                    <a:pt x="9896" y="-5214"/>
                  </a:lnTo>
                  <a:lnTo>
                    <a:pt x="9896" y="6867"/>
                  </a:lnTo>
                  <a:lnTo>
                    <a:pt x="-9087" y="6867"/>
                  </a:lnTo>
                  <a:lnTo>
                    <a:pt x="-9087" y="-5214"/>
                  </a:lnTo>
                </a:path>
              </a:pathLst>
            </a:custGeom>
            <a:grpFill/>
            <a:ln w="548" cap="flat">
              <a:noFill/>
              <a:prstDash val="solid"/>
              <a:miter/>
            </a:ln>
          </p:spPr>
          <p:txBody>
            <a:bodyPr/>
            <a:lstStyle/>
            <a:p>
              <a:endParaRPr lang="en-US"/>
            </a:p>
          </p:txBody>
        </p:sp>
        <p:sp>
          <p:nvSpPr>
            <p:cNvPr id="394" name="Freeform: Shape 393">
              <a:extLst>
                <a:ext uri="{FF2B5EF4-FFF2-40B4-BE49-F238E27FC236}">
                  <a16:creationId xmlns:a16="http://schemas.microsoft.com/office/drawing/2014/main" id="{FA3DD95F-CB0A-C189-F90F-5D4D80DE59D3}"/>
                </a:ext>
              </a:extLst>
            </p:cNvPr>
            <p:cNvSpPr/>
            <p:nvPr/>
          </p:nvSpPr>
          <p:spPr>
            <a:xfrm flipV="1">
              <a:off x="24397708" y="4453070"/>
              <a:ext cx="18982" cy="12075"/>
            </a:xfrm>
            <a:custGeom>
              <a:avLst/>
              <a:gdLst>
                <a:gd name="csX0" fmla="*/ -9087 w 18982"/>
                <a:gd name="csY0" fmla="*/ -5107 h 12075"/>
                <a:gd name="csX1" fmla="*/ 9896 w 18982"/>
                <a:gd name="csY1" fmla="*/ -5107 h 12075"/>
                <a:gd name="csX2" fmla="*/ 9896 w 18982"/>
                <a:gd name="csY2" fmla="*/ 6968 h 12075"/>
                <a:gd name="csX3" fmla="*/ -9087 w 18982"/>
                <a:gd name="csY3" fmla="*/ 6968 h 12075"/>
                <a:gd name="csX4" fmla="*/ -9087 w 18982"/>
                <a:gd name="csY4" fmla="*/ -5107 h 12075"/>
              </a:gdLst>
              <a:ahLst/>
              <a:cxnLst>
                <a:cxn ang="0">
                  <a:pos x="csX0" y="csY0"/>
                </a:cxn>
                <a:cxn ang="0">
                  <a:pos x="csX1" y="csY1"/>
                </a:cxn>
                <a:cxn ang="0">
                  <a:pos x="csX2" y="csY2"/>
                </a:cxn>
                <a:cxn ang="0">
                  <a:pos x="csX3" y="csY3"/>
                </a:cxn>
                <a:cxn ang="0">
                  <a:pos x="csX4" y="csY4"/>
                </a:cxn>
              </a:cxnLst>
              <a:rect l="l" t="t" r="r" b="b"/>
              <a:pathLst>
                <a:path w="18982" h="12075">
                  <a:moveTo>
                    <a:pt x="-9087" y="-5107"/>
                  </a:moveTo>
                  <a:lnTo>
                    <a:pt x="9896" y="-5107"/>
                  </a:lnTo>
                  <a:lnTo>
                    <a:pt x="9896" y="6968"/>
                  </a:lnTo>
                  <a:lnTo>
                    <a:pt x="-9087" y="6968"/>
                  </a:lnTo>
                  <a:lnTo>
                    <a:pt x="-9087" y="-5107"/>
                  </a:lnTo>
                </a:path>
              </a:pathLst>
            </a:custGeom>
            <a:grpFill/>
            <a:ln w="548" cap="flat">
              <a:noFill/>
              <a:prstDash val="solid"/>
              <a:miter/>
            </a:ln>
          </p:spPr>
          <p:txBody>
            <a:bodyPr/>
            <a:lstStyle/>
            <a:p>
              <a:endParaRPr lang="en-US"/>
            </a:p>
          </p:txBody>
        </p:sp>
        <p:sp>
          <p:nvSpPr>
            <p:cNvPr id="395" name="Freeform: Shape 394">
              <a:extLst>
                <a:ext uri="{FF2B5EF4-FFF2-40B4-BE49-F238E27FC236}">
                  <a16:creationId xmlns:a16="http://schemas.microsoft.com/office/drawing/2014/main" id="{427968CF-6C70-09F9-0AD6-FA7724AD825A}"/>
                </a:ext>
              </a:extLst>
            </p:cNvPr>
            <p:cNvSpPr/>
            <p:nvPr/>
          </p:nvSpPr>
          <p:spPr>
            <a:xfrm flipV="1">
              <a:off x="24397708" y="4467548"/>
              <a:ext cx="18982" cy="12081"/>
            </a:xfrm>
            <a:custGeom>
              <a:avLst/>
              <a:gdLst>
                <a:gd name="csX0" fmla="*/ -9087 w 18982"/>
                <a:gd name="csY0" fmla="*/ -5072 h 12081"/>
                <a:gd name="csX1" fmla="*/ 9896 w 18982"/>
                <a:gd name="csY1" fmla="*/ -5072 h 12081"/>
                <a:gd name="csX2" fmla="*/ 9896 w 18982"/>
                <a:gd name="csY2" fmla="*/ 7009 h 12081"/>
                <a:gd name="csX3" fmla="*/ -9087 w 18982"/>
                <a:gd name="csY3" fmla="*/ 7009 h 12081"/>
                <a:gd name="csX4" fmla="*/ -9087 w 18982"/>
                <a:gd name="csY4" fmla="*/ -5072 h 12081"/>
              </a:gdLst>
              <a:ahLst/>
              <a:cxnLst>
                <a:cxn ang="0">
                  <a:pos x="csX0" y="csY0"/>
                </a:cxn>
                <a:cxn ang="0">
                  <a:pos x="csX1" y="csY1"/>
                </a:cxn>
                <a:cxn ang="0">
                  <a:pos x="csX2" y="csY2"/>
                </a:cxn>
                <a:cxn ang="0">
                  <a:pos x="csX3" y="csY3"/>
                </a:cxn>
                <a:cxn ang="0">
                  <a:pos x="csX4" y="csY4"/>
                </a:cxn>
              </a:cxnLst>
              <a:rect l="l" t="t" r="r" b="b"/>
              <a:pathLst>
                <a:path w="18982" h="12081">
                  <a:moveTo>
                    <a:pt x="-9087" y="-5072"/>
                  </a:moveTo>
                  <a:lnTo>
                    <a:pt x="9896" y="-5072"/>
                  </a:lnTo>
                  <a:lnTo>
                    <a:pt x="9896" y="7009"/>
                  </a:lnTo>
                  <a:lnTo>
                    <a:pt x="-9087" y="7009"/>
                  </a:lnTo>
                  <a:lnTo>
                    <a:pt x="-9087" y="-5072"/>
                  </a:lnTo>
                </a:path>
              </a:pathLst>
            </a:custGeom>
            <a:grpFill/>
            <a:ln w="548" cap="flat">
              <a:noFill/>
              <a:prstDash val="solid"/>
              <a:miter/>
            </a:ln>
          </p:spPr>
          <p:txBody>
            <a:bodyPr/>
            <a:lstStyle/>
            <a:p>
              <a:endParaRPr lang="en-US"/>
            </a:p>
          </p:txBody>
        </p:sp>
        <p:sp>
          <p:nvSpPr>
            <p:cNvPr id="396" name="Freeform: Shape 395">
              <a:extLst>
                <a:ext uri="{FF2B5EF4-FFF2-40B4-BE49-F238E27FC236}">
                  <a16:creationId xmlns:a16="http://schemas.microsoft.com/office/drawing/2014/main" id="{C57E4EA5-8CB2-371A-D3D9-CDD5EFA7071C}"/>
                </a:ext>
              </a:extLst>
            </p:cNvPr>
            <p:cNvSpPr/>
            <p:nvPr/>
          </p:nvSpPr>
          <p:spPr>
            <a:xfrm flipV="1">
              <a:off x="24397708" y="4511862"/>
              <a:ext cx="18982" cy="12075"/>
            </a:xfrm>
            <a:custGeom>
              <a:avLst/>
              <a:gdLst>
                <a:gd name="csX0" fmla="*/ -9087 w 18982"/>
                <a:gd name="csY0" fmla="*/ -4966 h 12075"/>
                <a:gd name="csX1" fmla="*/ 9896 w 18982"/>
                <a:gd name="csY1" fmla="*/ -4966 h 12075"/>
                <a:gd name="csX2" fmla="*/ 9896 w 18982"/>
                <a:gd name="csY2" fmla="*/ 7110 h 12075"/>
                <a:gd name="csX3" fmla="*/ -9087 w 18982"/>
                <a:gd name="csY3" fmla="*/ 7110 h 12075"/>
                <a:gd name="csX4" fmla="*/ -9087 w 18982"/>
                <a:gd name="csY4" fmla="*/ -4966 h 12075"/>
              </a:gdLst>
              <a:ahLst/>
              <a:cxnLst>
                <a:cxn ang="0">
                  <a:pos x="csX0" y="csY0"/>
                </a:cxn>
                <a:cxn ang="0">
                  <a:pos x="csX1" y="csY1"/>
                </a:cxn>
                <a:cxn ang="0">
                  <a:pos x="csX2" y="csY2"/>
                </a:cxn>
                <a:cxn ang="0">
                  <a:pos x="csX3" y="csY3"/>
                </a:cxn>
                <a:cxn ang="0">
                  <a:pos x="csX4" y="csY4"/>
                </a:cxn>
              </a:cxnLst>
              <a:rect l="l" t="t" r="r" b="b"/>
              <a:pathLst>
                <a:path w="18982" h="12075">
                  <a:moveTo>
                    <a:pt x="-9087" y="-4966"/>
                  </a:moveTo>
                  <a:lnTo>
                    <a:pt x="9896" y="-4966"/>
                  </a:lnTo>
                  <a:lnTo>
                    <a:pt x="9896" y="7110"/>
                  </a:lnTo>
                  <a:lnTo>
                    <a:pt x="-9087" y="7110"/>
                  </a:lnTo>
                  <a:lnTo>
                    <a:pt x="-9087" y="-4966"/>
                  </a:lnTo>
                </a:path>
              </a:pathLst>
            </a:custGeom>
            <a:grpFill/>
            <a:ln w="548" cap="flat">
              <a:noFill/>
              <a:prstDash val="solid"/>
              <a:miter/>
            </a:ln>
          </p:spPr>
          <p:txBody>
            <a:bodyPr/>
            <a:lstStyle/>
            <a:p>
              <a:endParaRPr lang="en-US"/>
            </a:p>
          </p:txBody>
        </p:sp>
        <p:sp>
          <p:nvSpPr>
            <p:cNvPr id="397" name="Freeform: Shape 396">
              <a:extLst>
                <a:ext uri="{FF2B5EF4-FFF2-40B4-BE49-F238E27FC236}">
                  <a16:creationId xmlns:a16="http://schemas.microsoft.com/office/drawing/2014/main" id="{21F5319A-A958-27D7-CFEB-C9C122BED9D5}"/>
                </a:ext>
              </a:extLst>
            </p:cNvPr>
            <p:cNvSpPr/>
            <p:nvPr/>
          </p:nvSpPr>
          <p:spPr>
            <a:xfrm flipV="1">
              <a:off x="24397708" y="4526340"/>
              <a:ext cx="18982" cy="12081"/>
            </a:xfrm>
            <a:custGeom>
              <a:avLst/>
              <a:gdLst>
                <a:gd name="csX0" fmla="*/ -9087 w 18982"/>
                <a:gd name="csY0" fmla="*/ -4931 h 12081"/>
                <a:gd name="csX1" fmla="*/ 9896 w 18982"/>
                <a:gd name="csY1" fmla="*/ -4931 h 12081"/>
                <a:gd name="csX2" fmla="*/ 9896 w 18982"/>
                <a:gd name="csY2" fmla="*/ 7150 h 12081"/>
                <a:gd name="csX3" fmla="*/ -9087 w 18982"/>
                <a:gd name="csY3" fmla="*/ 7150 h 12081"/>
                <a:gd name="csX4" fmla="*/ -9087 w 18982"/>
                <a:gd name="csY4" fmla="*/ -4931 h 12081"/>
              </a:gdLst>
              <a:ahLst/>
              <a:cxnLst>
                <a:cxn ang="0">
                  <a:pos x="csX0" y="csY0"/>
                </a:cxn>
                <a:cxn ang="0">
                  <a:pos x="csX1" y="csY1"/>
                </a:cxn>
                <a:cxn ang="0">
                  <a:pos x="csX2" y="csY2"/>
                </a:cxn>
                <a:cxn ang="0">
                  <a:pos x="csX3" y="csY3"/>
                </a:cxn>
                <a:cxn ang="0">
                  <a:pos x="csX4" y="csY4"/>
                </a:cxn>
              </a:cxnLst>
              <a:rect l="l" t="t" r="r" b="b"/>
              <a:pathLst>
                <a:path w="18982" h="12081">
                  <a:moveTo>
                    <a:pt x="-9087" y="-4931"/>
                  </a:moveTo>
                  <a:lnTo>
                    <a:pt x="9896" y="-4931"/>
                  </a:lnTo>
                  <a:lnTo>
                    <a:pt x="9896" y="7150"/>
                  </a:lnTo>
                  <a:lnTo>
                    <a:pt x="-9087" y="7150"/>
                  </a:lnTo>
                  <a:lnTo>
                    <a:pt x="-9087" y="-4931"/>
                  </a:lnTo>
                </a:path>
              </a:pathLst>
            </a:custGeom>
            <a:grpFill/>
            <a:ln w="548" cap="flat">
              <a:noFill/>
              <a:prstDash val="solid"/>
              <a:miter/>
            </a:ln>
          </p:spPr>
          <p:txBody>
            <a:bodyPr/>
            <a:lstStyle/>
            <a:p>
              <a:endParaRPr lang="en-US"/>
            </a:p>
          </p:txBody>
        </p:sp>
        <p:sp>
          <p:nvSpPr>
            <p:cNvPr id="398" name="Freeform: Shape 397">
              <a:extLst>
                <a:ext uri="{FF2B5EF4-FFF2-40B4-BE49-F238E27FC236}">
                  <a16:creationId xmlns:a16="http://schemas.microsoft.com/office/drawing/2014/main" id="{85A50020-BBB2-E6C1-D822-25CB3CD92B0D}"/>
                </a:ext>
              </a:extLst>
            </p:cNvPr>
            <p:cNvSpPr/>
            <p:nvPr/>
          </p:nvSpPr>
          <p:spPr>
            <a:xfrm flipV="1">
              <a:off x="24397708" y="4686582"/>
              <a:ext cx="18982" cy="12081"/>
            </a:xfrm>
            <a:custGeom>
              <a:avLst/>
              <a:gdLst>
                <a:gd name="csX0" fmla="*/ -9087 w 18982"/>
                <a:gd name="csY0" fmla="*/ -4545 h 12081"/>
                <a:gd name="csX1" fmla="*/ 9896 w 18982"/>
                <a:gd name="csY1" fmla="*/ -4545 h 12081"/>
                <a:gd name="csX2" fmla="*/ 9896 w 18982"/>
                <a:gd name="csY2" fmla="*/ 7536 h 12081"/>
                <a:gd name="csX3" fmla="*/ -9087 w 18982"/>
                <a:gd name="csY3" fmla="*/ 7536 h 12081"/>
                <a:gd name="csX4" fmla="*/ -9087 w 18982"/>
                <a:gd name="csY4" fmla="*/ -4545 h 12081"/>
              </a:gdLst>
              <a:ahLst/>
              <a:cxnLst>
                <a:cxn ang="0">
                  <a:pos x="csX0" y="csY0"/>
                </a:cxn>
                <a:cxn ang="0">
                  <a:pos x="csX1" y="csY1"/>
                </a:cxn>
                <a:cxn ang="0">
                  <a:pos x="csX2" y="csY2"/>
                </a:cxn>
                <a:cxn ang="0">
                  <a:pos x="csX3" y="csY3"/>
                </a:cxn>
                <a:cxn ang="0">
                  <a:pos x="csX4" y="csY4"/>
                </a:cxn>
              </a:cxnLst>
              <a:rect l="l" t="t" r="r" b="b"/>
              <a:pathLst>
                <a:path w="18982" h="12081">
                  <a:moveTo>
                    <a:pt x="-9087" y="-4545"/>
                  </a:moveTo>
                  <a:lnTo>
                    <a:pt x="9896" y="-4545"/>
                  </a:lnTo>
                  <a:lnTo>
                    <a:pt x="9896" y="7536"/>
                  </a:lnTo>
                  <a:lnTo>
                    <a:pt x="-9087" y="7536"/>
                  </a:lnTo>
                  <a:lnTo>
                    <a:pt x="-9087" y="-4545"/>
                  </a:lnTo>
                </a:path>
              </a:pathLst>
            </a:custGeom>
            <a:grpFill/>
            <a:ln w="548" cap="flat">
              <a:noFill/>
              <a:prstDash val="solid"/>
              <a:miter/>
            </a:ln>
          </p:spPr>
          <p:txBody>
            <a:bodyPr/>
            <a:lstStyle/>
            <a:p>
              <a:endParaRPr lang="en-US"/>
            </a:p>
          </p:txBody>
        </p:sp>
        <p:sp>
          <p:nvSpPr>
            <p:cNvPr id="399" name="Freeform: Shape 398">
              <a:extLst>
                <a:ext uri="{FF2B5EF4-FFF2-40B4-BE49-F238E27FC236}">
                  <a16:creationId xmlns:a16="http://schemas.microsoft.com/office/drawing/2014/main" id="{8084A926-7D4E-6434-D46C-4A19E2C41D14}"/>
                </a:ext>
              </a:extLst>
            </p:cNvPr>
            <p:cNvSpPr/>
            <p:nvPr/>
          </p:nvSpPr>
          <p:spPr>
            <a:xfrm flipV="1">
              <a:off x="24397708" y="4701066"/>
              <a:ext cx="18982" cy="12075"/>
            </a:xfrm>
            <a:custGeom>
              <a:avLst/>
              <a:gdLst>
                <a:gd name="csX0" fmla="*/ -9087 w 18982"/>
                <a:gd name="csY0" fmla="*/ -4510 h 12075"/>
                <a:gd name="csX1" fmla="*/ 9896 w 18982"/>
                <a:gd name="csY1" fmla="*/ -4510 h 12075"/>
                <a:gd name="csX2" fmla="*/ 9896 w 18982"/>
                <a:gd name="csY2" fmla="*/ 7565 h 12075"/>
                <a:gd name="csX3" fmla="*/ -9087 w 18982"/>
                <a:gd name="csY3" fmla="*/ 7565 h 12075"/>
                <a:gd name="csX4" fmla="*/ -9087 w 18982"/>
                <a:gd name="csY4" fmla="*/ -4510 h 12075"/>
              </a:gdLst>
              <a:ahLst/>
              <a:cxnLst>
                <a:cxn ang="0">
                  <a:pos x="csX0" y="csY0"/>
                </a:cxn>
                <a:cxn ang="0">
                  <a:pos x="csX1" y="csY1"/>
                </a:cxn>
                <a:cxn ang="0">
                  <a:pos x="csX2" y="csY2"/>
                </a:cxn>
                <a:cxn ang="0">
                  <a:pos x="csX3" y="csY3"/>
                </a:cxn>
                <a:cxn ang="0">
                  <a:pos x="csX4" y="csY4"/>
                </a:cxn>
              </a:cxnLst>
              <a:rect l="l" t="t" r="r" b="b"/>
              <a:pathLst>
                <a:path w="18982" h="12075">
                  <a:moveTo>
                    <a:pt x="-9087" y="-4510"/>
                  </a:moveTo>
                  <a:lnTo>
                    <a:pt x="9896" y="-4510"/>
                  </a:lnTo>
                  <a:lnTo>
                    <a:pt x="9896" y="7565"/>
                  </a:lnTo>
                  <a:lnTo>
                    <a:pt x="-9087" y="7565"/>
                  </a:lnTo>
                  <a:lnTo>
                    <a:pt x="-9087" y="-4510"/>
                  </a:lnTo>
                </a:path>
              </a:pathLst>
            </a:custGeom>
            <a:grpFill/>
            <a:ln w="548" cap="flat">
              <a:noFill/>
              <a:prstDash val="solid"/>
              <a:miter/>
            </a:ln>
          </p:spPr>
          <p:txBody>
            <a:bodyPr/>
            <a:lstStyle/>
            <a:p>
              <a:endParaRPr lang="en-US"/>
            </a:p>
          </p:txBody>
        </p:sp>
        <p:sp>
          <p:nvSpPr>
            <p:cNvPr id="400" name="Freeform: Shape 399">
              <a:extLst>
                <a:ext uri="{FF2B5EF4-FFF2-40B4-BE49-F238E27FC236}">
                  <a16:creationId xmlns:a16="http://schemas.microsoft.com/office/drawing/2014/main" id="{71EF62F5-8072-7A49-615C-BB7F79ACFA5A}"/>
                </a:ext>
              </a:extLst>
            </p:cNvPr>
            <p:cNvSpPr/>
            <p:nvPr/>
          </p:nvSpPr>
          <p:spPr>
            <a:xfrm flipV="1">
              <a:off x="24397708" y="4587848"/>
              <a:ext cx="18982" cy="12668"/>
            </a:xfrm>
            <a:custGeom>
              <a:avLst/>
              <a:gdLst>
                <a:gd name="csX0" fmla="*/ -9087 w 18982"/>
                <a:gd name="csY0" fmla="*/ -4782 h 12668"/>
                <a:gd name="csX1" fmla="*/ 9896 w 18982"/>
                <a:gd name="csY1" fmla="*/ -4782 h 12668"/>
                <a:gd name="csX2" fmla="*/ 9896 w 18982"/>
                <a:gd name="csY2" fmla="*/ 7886 h 12668"/>
                <a:gd name="csX3" fmla="*/ -9087 w 18982"/>
                <a:gd name="csY3" fmla="*/ 7886 h 12668"/>
                <a:gd name="csX4" fmla="*/ -9087 w 18982"/>
                <a:gd name="csY4" fmla="*/ -4782 h 12668"/>
              </a:gdLst>
              <a:ahLst/>
              <a:cxnLst>
                <a:cxn ang="0">
                  <a:pos x="csX0" y="csY0"/>
                </a:cxn>
                <a:cxn ang="0">
                  <a:pos x="csX1" y="csY1"/>
                </a:cxn>
                <a:cxn ang="0">
                  <a:pos x="csX2" y="csY2"/>
                </a:cxn>
                <a:cxn ang="0">
                  <a:pos x="csX3" y="csY3"/>
                </a:cxn>
                <a:cxn ang="0">
                  <a:pos x="csX4" y="csY4"/>
                </a:cxn>
              </a:cxnLst>
              <a:rect l="l" t="t" r="r" b="b"/>
              <a:pathLst>
                <a:path w="18982" h="12668">
                  <a:moveTo>
                    <a:pt x="-9087" y="-4782"/>
                  </a:moveTo>
                  <a:lnTo>
                    <a:pt x="9896" y="-4782"/>
                  </a:lnTo>
                  <a:lnTo>
                    <a:pt x="9896" y="7886"/>
                  </a:lnTo>
                  <a:lnTo>
                    <a:pt x="-9087" y="7886"/>
                  </a:lnTo>
                  <a:lnTo>
                    <a:pt x="-9087" y="-4782"/>
                  </a:lnTo>
                </a:path>
              </a:pathLst>
            </a:custGeom>
            <a:grpFill/>
            <a:ln w="548" cap="flat">
              <a:noFill/>
              <a:prstDash val="solid"/>
              <a:miter/>
            </a:ln>
          </p:spPr>
          <p:txBody>
            <a:bodyPr/>
            <a:lstStyle/>
            <a:p>
              <a:endParaRPr lang="en-US"/>
            </a:p>
          </p:txBody>
        </p:sp>
        <p:sp>
          <p:nvSpPr>
            <p:cNvPr id="401" name="Freeform: Shape 400">
              <a:extLst>
                <a:ext uri="{FF2B5EF4-FFF2-40B4-BE49-F238E27FC236}">
                  <a16:creationId xmlns:a16="http://schemas.microsoft.com/office/drawing/2014/main" id="{4549B113-10F5-82D7-8EDA-2BF82377E1EF}"/>
                </a:ext>
              </a:extLst>
            </p:cNvPr>
            <p:cNvSpPr/>
            <p:nvPr/>
          </p:nvSpPr>
          <p:spPr>
            <a:xfrm flipV="1">
              <a:off x="24397708" y="4618002"/>
              <a:ext cx="18982" cy="12668"/>
            </a:xfrm>
            <a:custGeom>
              <a:avLst/>
              <a:gdLst>
                <a:gd name="csX0" fmla="*/ -9087 w 18982"/>
                <a:gd name="csY0" fmla="*/ -4710 h 12668"/>
                <a:gd name="csX1" fmla="*/ 9896 w 18982"/>
                <a:gd name="csY1" fmla="*/ -4710 h 12668"/>
                <a:gd name="csX2" fmla="*/ 9896 w 18982"/>
                <a:gd name="csY2" fmla="*/ 7959 h 12668"/>
                <a:gd name="csX3" fmla="*/ -9087 w 18982"/>
                <a:gd name="csY3" fmla="*/ 7959 h 12668"/>
                <a:gd name="csX4" fmla="*/ -9087 w 18982"/>
                <a:gd name="csY4" fmla="*/ -4710 h 12668"/>
              </a:gdLst>
              <a:ahLst/>
              <a:cxnLst>
                <a:cxn ang="0">
                  <a:pos x="csX0" y="csY0"/>
                </a:cxn>
                <a:cxn ang="0">
                  <a:pos x="csX1" y="csY1"/>
                </a:cxn>
                <a:cxn ang="0">
                  <a:pos x="csX2" y="csY2"/>
                </a:cxn>
                <a:cxn ang="0">
                  <a:pos x="csX3" y="csY3"/>
                </a:cxn>
                <a:cxn ang="0">
                  <a:pos x="csX4" y="csY4"/>
                </a:cxn>
              </a:cxnLst>
              <a:rect l="l" t="t" r="r" b="b"/>
              <a:pathLst>
                <a:path w="18982" h="12668">
                  <a:moveTo>
                    <a:pt x="-9087" y="-4710"/>
                  </a:moveTo>
                  <a:lnTo>
                    <a:pt x="9896" y="-4710"/>
                  </a:lnTo>
                  <a:lnTo>
                    <a:pt x="9896" y="7959"/>
                  </a:lnTo>
                  <a:lnTo>
                    <a:pt x="-9087" y="7959"/>
                  </a:lnTo>
                  <a:lnTo>
                    <a:pt x="-9087" y="-4710"/>
                  </a:lnTo>
                </a:path>
              </a:pathLst>
            </a:custGeom>
            <a:grpFill/>
            <a:ln w="548" cap="flat">
              <a:noFill/>
              <a:prstDash val="solid"/>
              <a:miter/>
            </a:ln>
          </p:spPr>
          <p:txBody>
            <a:bodyPr/>
            <a:lstStyle/>
            <a:p>
              <a:endParaRPr lang="en-US"/>
            </a:p>
          </p:txBody>
        </p:sp>
        <p:sp>
          <p:nvSpPr>
            <p:cNvPr id="402" name="Freeform: Shape 401">
              <a:extLst>
                <a:ext uri="{FF2B5EF4-FFF2-40B4-BE49-F238E27FC236}">
                  <a16:creationId xmlns:a16="http://schemas.microsoft.com/office/drawing/2014/main" id="{F9CD11DF-03B6-6849-22B4-21732C3F4C22}"/>
                </a:ext>
              </a:extLst>
            </p:cNvPr>
            <p:cNvSpPr/>
            <p:nvPr/>
          </p:nvSpPr>
          <p:spPr>
            <a:xfrm flipV="1">
              <a:off x="24397708" y="4602925"/>
              <a:ext cx="18982" cy="12668"/>
            </a:xfrm>
            <a:custGeom>
              <a:avLst/>
              <a:gdLst>
                <a:gd name="csX0" fmla="*/ -9087 w 18982"/>
                <a:gd name="csY0" fmla="*/ -4746 h 12668"/>
                <a:gd name="csX1" fmla="*/ 9896 w 18982"/>
                <a:gd name="csY1" fmla="*/ -4746 h 12668"/>
                <a:gd name="csX2" fmla="*/ 9896 w 18982"/>
                <a:gd name="csY2" fmla="*/ 7922 h 12668"/>
                <a:gd name="csX3" fmla="*/ -9087 w 18982"/>
                <a:gd name="csY3" fmla="*/ 7922 h 12668"/>
                <a:gd name="csX4" fmla="*/ -9087 w 18982"/>
                <a:gd name="csY4" fmla="*/ -4746 h 12668"/>
              </a:gdLst>
              <a:ahLst/>
              <a:cxnLst>
                <a:cxn ang="0">
                  <a:pos x="csX0" y="csY0"/>
                </a:cxn>
                <a:cxn ang="0">
                  <a:pos x="csX1" y="csY1"/>
                </a:cxn>
                <a:cxn ang="0">
                  <a:pos x="csX2" y="csY2"/>
                </a:cxn>
                <a:cxn ang="0">
                  <a:pos x="csX3" y="csY3"/>
                </a:cxn>
                <a:cxn ang="0">
                  <a:pos x="csX4" y="csY4"/>
                </a:cxn>
              </a:cxnLst>
              <a:rect l="l" t="t" r="r" b="b"/>
              <a:pathLst>
                <a:path w="18982" h="12668">
                  <a:moveTo>
                    <a:pt x="-9087" y="-4746"/>
                  </a:moveTo>
                  <a:lnTo>
                    <a:pt x="9896" y="-4746"/>
                  </a:lnTo>
                  <a:lnTo>
                    <a:pt x="9896" y="7922"/>
                  </a:lnTo>
                  <a:lnTo>
                    <a:pt x="-9087" y="7922"/>
                  </a:lnTo>
                  <a:lnTo>
                    <a:pt x="-9087" y="-4746"/>
                  </a:lnTo>
                </a:path>
              </a:pathLst>
            </a:custGeom>
            <a:grpFill/>
            <a:ln w="548" cap="flat">
              <a:noFill/>
              <a:prstDash val="solid"/>
              <a:miter/>
            </a:ln>
          </p:spPr>
          <p:txBody>
            <a:bodyPr/>
            <a:lstStyle/>
            <a:p>
              <a:endParaRPr lang="en-US"/>
            </a:p>
          </p:txBody>
        </p:sp>
        <p:sp>
          <p:nvSpPr>
            <p:cNvPr id="403" name="Freeform: Shape 402">
              <a:extLst>
                <a:ext uri="{FF2B5EF4-FFF2-40B4-BE49-F238E27FC236}">
                  <a16:creationId xmlns:a16="http://schemas.microsoft.com/office/drawing/2014/main" id="{764EC29B-83FC-5D75-01E1-CF99AEC1BBFB}"/>
                </a:ext>
              </a:extLst>
            </p:cNvPr>
            <p:cNvSpPr/>
            <p:nvPr/>
          </p:nvSpPr>
          <p:spPr>
            <a:xfrm flipV="1">
              <a:off x="24397708" y="4633073"/>
              <a:ext cx="18982" cy="12673"/>
            </a:xfrm>
            <a:custGeom>
              <a:avLst/>
              <a:gdLst>
                <a:gd name="csX0" fmla="*/ -9087 w 18982"/>
                <a:gd name="csY0" fmla="*/ -4673 h 12673"/>
                <a:gd name="csX1" fmla="*/ 9896 w 18982"/>
                <a:gd name="csY1" fmla="*/ -4673 h 12673"/>
                <a:gd name="csX2" fmla="*/ 9896 w 18982"/>
                <a:gd name="csY2" fmla="*/ 8000 h 12673"/>
                <a:gd name="csX3" fmla="*/ -9087 w 18982"/>
                <a:gd name="csY3" fmla="*/ 8000 h 12673"/>
                <a:gd name="csX4" fmla="*/ -9087 w 18982"/>
                <a:gd name="csY4" fmla="*/ -4673 h 12673"/>
              </a:gdLst>
              <a:ahLst/>
              <a:cxnLst>
                <a:cxn ang="0">
                  <a:pos x="csX0" y="csY0"/>
                </a:cxn>
                <a:cxn ang="0">
                  <a:pos x="csX1" y="csY1"/>
                </a:cxn>
                <a:cxn ang="0">
                  <a:pos x="csX2" y="csY2"/>
                </a:cxn>
                <a:cxn ang="0">
                  <a:pos x="csX3" y="csY3"/>
                </a:cxn>
                <a:cxn ang="0">
                  <a:pos x="csX4" y="csY4"/>
                </a:cxn>
              </a:cxnLst>
              <a:rect l="l" t="t" r="r" b="b"/>
              <a:pathLst>
                <a:path w="18982" h="12673">
                  <a:moveTo>
                    <a:pt x="-9087" y="-4673"/>
                  </a:moveTo>
                  <a:lnTo>
                    <a:pt x="9896" y="-4673"/>
                  </a:lnTo>
                  <a:lnTo>
                    <a:pt x="9896" y="8000"/>
                  </a:lnTo>
                  <a:lnTo>
                    <a:pt x="-9087" y="8000"/>
                  </a:lnTo>
                  <a:lnTo>
                    <a:pt x="-9087" y="-4673"/>
                  </a:lnTo>
                </a:path>
              </a:pathLst>
            </a:custGeom>
            <a:grpFill/>
            <a:ln w="548" cap="flat">
              <a:noFill/>
              <a:prstDash val="solid"/>
              <a:miter/>
            </a:ln>
          </p:spPr>
          <p:txBody>
            <a:bodyPr/>
            <a:lstStyle/>
            <a:p>
              <a:endParaRPr lang="en-US"/>
            </a:p>
          </p:txBody>
        </p:sp>
        <p:sp>
          <p:nvSpPr>
            <p:cNvPr id="404" name="Freeform: Shape 403">
              <a:extLst>
                <a:ext uri="{FF2B5EF4-FFF2-40B4-BE49-F238E27FC236}">
                  <a16:creationId xmlns:a16="http://schemas.microsoft.com/office/drawing/2014/main" id="{CC041095-5D54-48E0-751E-8A9F633AC2A2}"/>
                </a:ext>
              </a:extLst>
            </p:cNvPr>
            <p:cNvSpPr/>
            <p:nvPr/>
          </p:nvSpPr>
          <p:spPr>
            <a:xfrm flipV="1">
              <a:off x="24397708" y="4570654"/>
              <a:ext cx="18982" cy="14785"/>
            </a:xfrm>
            <a:custGeom>
              <a:avLst/>
              <a:gdLst>
                <a:gd name="csX0" fmla="*/ -9087 w 18982"/>
                <a:gd name="csY0" fmla="*/ -4821 h 14785"/>
                <a:gd name="csX1" fmla="*/ 9896 w 18982"/>
                <a:gd name="csY1" fmla="*/ -4821 h 14785"/>
                <a:gd name="csX2" fmla="*/ 9896 w 18982"/>
                <a:gd name="csY2" fmla="*/ 9965 h 14785"/>
                <a:gd name="csX3" fmla="*/ -9087 w 18982"/>
                <a:gd name="csY3" fmla="*/ 9965 h 14785"/>
                <a:gd name="csX4" fmla="*/ -9087 w 18982"/>
                <a:gd name="csY4" fmla="*/ -4821 h 14785"/>
              </a:gdLst>
              <a:ahLst/>
              <a:cxnLst>
                <a:cxn ang="0">
                  <a:pos x="csX0" y="csY0"/>
                </a:cxn>
                <a:cxn ang="0">
                  <a:pos x="csX1" y="csY1"/>
                </a:cxn>
                <a:cxn ang="0">
                  <a:pos x="csX2" y="csY2"/>
                </a:cxn>
                <a:cxn ang="0">
                  <a:pos x="csX3" y="csY3"/>
                </a:cxn>
                <a:cxn ang="0">
                  <a:pos x="csX4" y="csY4"/>
                </a:cxn>
              </a:cxnLst>
              <a:rect l="l" t="t" r="r" b="b"/>
              <a:pathLst>
                <a:path w="18982" h="14785">
                  <a:moveTo>
                    <a:pt x="-9087" y="-4821"/>
                  </a:moveTo>
                  <a:lnTo>
                    <a:pt x="9896" y="-4821"/>
                  </a:lnTo>
                  <a:lnTo>
                    <a:pt x="9896" y="9965"/>
                  </a:lnTo>
                  <a:lnTo>
                    <a:pt x="-9087" y="9965"/>
                  </a:lnTo>
                  <a:lnTo>
                    <a:pt x="-9087" y="-4821"/>
                  </a:lnTo>
                </a:path>
              </a:pathLst>
            </a:custGeom>
            <a:grpFill/>
            <a:ln w="548" cap="flat">
              <a:noFill/>
              <a:prstDash val="solid"/>
              <a:miter/>
            </a:ln>
          </p:spPr>
          <p:txBody>
            <a:bodyPr/>
            <a:lstStyle/>
            <a:p>
              <a:endParaRPr lang="en-US"/>
            </a:p>
          </p:txBody>
        </p:sp>
        <p:sp>
          <p:nvSpPr>
            <p:cNvPr id="405" name="Freeform: Shape 404">
              <a:extLst>
                <a:ext uri="{FF2B5EF4-FFF2-40B4-BE49-F238E27FC236}">
                  <a16:creationId xmlns:a16="http://schemas.microsoft.com/office/drawing/2014/main" id="{C3F22FB0-B1D1-88B8-E2BF-36428A095B37}"/>
                </a:ext>
              </a:extLst>
            </p:cNvPr>
            <p:cNvSpPr/>
            <p:nvPr/>
          </p:nvSpPr>
          <p:spPr>
            <a:xfrm flipV="1">
              <a:off x="24397708" y="4648149"/>
              <a:ext cx="18982" cy="14774"/>
            </a:xfrm>
            <a:custGeom>
              <a:avLst/>
              <a:gdLst>
                <a:gd name="csX0" fmla="*/ -9087 w 18982"/>
                <a:gd name="csY0" fmla="*/ -4634 h 14774"/>
                <a:gd name="csX1" fmla="*/ 9896 w 18982"/>
                <a:gd name="csY1" fmla="*/ -4634 h 14774"/>
                <a:gd name="csX2" fmla="*/ 9896 w 18982"/>
                <a:gd name="csY2" fmla="*/ 10140 h 14774"/>
                <a:gd name="csX3" fmla="*/ -9087 w 18982"/>
                <a:gd name="csY3" fmla="*/ 10140 h 14774"/>
                <a:gd name="csX4" fmla="*/ -9087 w 18982"/>
                <a:gd name="csY4" fmla="*/ -4634 h 14774"/>
              </a:gdLst>
              <a:ahLst/>
              <a:cxnLst>
                <a:cxn ang="0">
                  <a:pos x="csX0" y="csY0"/>
                </a:cxn>
                <a:cxn ang="0">
                  <a:pos x="csX1" y="csY1"/>
                </a:cxn>
                <a:cxn ang="0">
                  <a:pos x="csX2" y="csY2"/>
                </a:cxn>
                <a:cxn ang="0">
                  <a:pos x="csX3" y="csY3"/>
                </a:cxn>
                <a:cxn ang="0">
                  <a:pos x="csX4" y="csY4"/>
                </a:cxn>
              </a:cxnLst>
              <a:rect l="l" t="t" r="r" b="b"/>
              <a:pathLst>
                <a:path w="18982" h="14774">
                  <a:moveTo>
                    <a:pt x="-9087" y="-4634"/>
                  </a:moveTo>
                  <a:lnTo>
                    <a:pt x="9896" y="-4634"/>
                  </a:lnTo>
                  <a:lnTo>
                    <a:pt x="9896" y="10140"/>
                  </a:lnTo>
                  <a:lnTo>
                    <a:pt x="-9087" y="10140"/>
                  </a:lnTo>
                  <a:lnTo>
                    <a:pt x="-9087" y="-4634"/>
                  </a:lnTo>
                </a:path>
              </a:pathLst>
            </a:custGeom>
            <a:grpFill/>
            <a:ln w="548" cap="flat">
              <a:noFill/>
              <a:prstDash val="solid"/>
              <a:miter/>
            </a:ln>
          </p:spPr>
          <p:txBody>
            <a:bodyPr/>
            <a:lstStyle/>
            <a:p>
              <a:endParaRPr lang="en-US"/>
            </a:p>
          </p:txBody>
        </p:sp>
        <p:sp>
          <p:nvSpPr>
            <p:cNvPr id="406" name="Freeform: Shape 405">
              <a:extLst>
                <a:ext uri="{FF2B5EF4-FFF2-40B4-BE49-F238E27FC236}">
                  <a16:creationId xmlns:a16="http://schemas.microsoft.com/office/drawing/2014/main" id="{5761FF41-EDC0-0740-C772-44CA4DF73F36}"/>
                </a:ext>
              </a:extLst>
            </p:cNvPr>
            <p:cNvSpPr/>
            <p:nvPr/>
          </p:nvSpPr>
          <p:spPr>
            <a:xfrm flipV="1">
              <a:off x="24424482" y="3149830"/>
              <a:ext cx="12673" cy="12821"/>
            </a:xfrm>
            <a:custGeom>
              <a:avLst/>
              <a:gdLst>
                <a:gd name="csX0" fmla="*/ -9116 w 12673"/>
                <a:gd name="csY0" fmla="*/ -8242 h 12821"/>
                <a:gd name="csX1" fmla="*/ 3557 w 12673"/>
                <a:gd name="csY1" fmla="*/ -8242 h 12821"/>
                <a:gd name="csX2" fmla="*/ 3557 w 12673"/>
                <a:gd name="csY2" fmla="*/ 4580 h 12821"/>
                <a:gd name="csX3" fmla="*/ -9116 w 12673"/>
                <a:gd name="csY3" fmla="*/ 4580 h 12821"/>
                <a:gd name="csX4" fmla="*/ -9116 w 12673"/>
                <a:gd name="csY4" fmla="*/ -8242 h 12821"/>
              </a:gdLst>
              <a:ahLst/>
              <a:cxnLst>
                <a:cxn ang="0">
                  <a:pos x="csX0" y="csY0"/>
                </a:cxn>
                <a:cxn ang="0">
                  <a:pos x="csX1" y="csY1"/>
                </a:cxn>
                <a:cxn ang="0">
                  <a:pos x="csX2" y="csY2"/>
                </a:cxn>
                <a:cxn ang="0">
                  <a:pos x="csX3" y="csY3"/>
                </a:cxn>
                <a:cxn ang="0">
                  <a:pos x="csX4" y="csY4"/>
                </a:cxn>
              </a:cxnLst>
              <a:rect l="l" t="t" r="r" b="b"/>
              <a:pathLst>
                <a:path w="12673" h="12821">
                  <a:moveTo>
                    <a:pt x="-9116" y="-8242"/>
                  </a:moveTo>
                  <a:lnTo>
                    <a:pt x="3557" y="-8242"/>
                  </a:lnTo>
                  <a:lnTo>
                    <a:pt x="3557" y="4580"/>
                  </a:lnTo>
                  <a:lnTo>
                    <a:pt x="-9116" y="4580"/>
                  </a:lnTo>
                  <a:lnTo>
                    <a:pt x="-9116" y="-8242"/>
                  </a:lnTo>
                </a:path>
              </a:pathLst>
            </a:custGeom>
            <a:grpFill/>
            <a:ln w="548" cap="flat">
              <a:noFill/>
              <a:prstDash val="solid"/>
              <a:miter/>
            </a:ln>
          </p:spPr>
          <p:txBody>
            <a:bodyPr/>
            <a:lstStyle/>
            <a:p>
              <a:endParaRPr lang="en-US"/>
            </a:p>
          </p:txBody>
        </p:sp>
        <p:sp>
          <p:nvSpPr>
            <p:cNvPr id="407" name="Freeform: Shape 406">
              <a:extLst>
                <a:ext uri="{FF2B5EF4-FFF2-40B4-BE49-F238E27FC236}">
                  <a16:creationId xmlns:a16="http://schemas.microsoft.com/office/drawing/2014/main" id="{1E8EFFB1-F03D-244D-5040-A9E32C73C734}"/>
                </a:ext>
              </a:extLst>
            </p:cNvPr>
            <p:cNvSpPr/>
            <p:nvPr/>
          </p:nvSpPr>
          <p:spPr>
            <a:xfrm flipV="1">
              <a:off x="24424482" y="3165055"/>
              <a:ext cx="12673" cy="12827"/>
            </a:xfrm>
            <a:custGeom>
              <a:avLst/>
              <a:gdLst>
                <a:gd name="csX0" fmla="*/ -9116 w 12673"/>
                <a:gd name="csY0" fmla="*/ -8205 h 12827"/>
                <a:gd name="csX1" fmla="*/ 3557 w 12673"/>
                <a:gd name="csY1" fmla="*/ -8205 h 12827"/>
                <a:gd name="csX2" fmla="*/ 3557 w 12673"/>
                <a:gd name="csY2" fmla="*/ 4622 h 12827"/>
                <a:gd name="csX3" fmla="*/ -9116 w 12673"/>
                <a:gd name="csY3" fmla="*/ 4622 h 12827"/>
                <a:gd name="csX4" fmla="*/ -9116 w 12673"/>
                <a:gd name="csY4" fmla="*/ -8205 h 12827"/>
              </a:gdLst>
              <a:ahLst/>
              <a:cxnLst>
                <a:cxn ang="0">
                  <a:pos x="csX0" y="csY0"/>
                </a:cxn>
                <a:cxn ang="0">
                  <a:pos x="csX1" y="csY1"/>
                </a:cxn>
                <a:cxn ang="0">
                  <a:pos x="csX2" y="csY2"/>
                </a:cxn>
                <a:cxn ang="0">
                  <a:pos x="csX3" y="csY3"/>
                </a:cxn>
                <a:cxn ang="0">
                  <a:pos x="csX4" y="csY4"/>
                </a:cxn>
              </a:cxnLst>
              <a:rect l="l" t="t" r="r" b="b"/>
              <a:pathLst>
                <a:path w="12673" h="12827">
                  <a:moveTo>
                    <a:pt x="-9116" y="-8205"/>
                  </a:moveTo>
                  <a:lnTo>
                    <a:pt x="3557" y="-8205"/>
                  </a:lnTo>
                  <a:lnTo>
                    <a:pt x="3557" y="4622"/>
                  </a:lnTo>
                  <a:lnTo>
                    <a:pt x="-9116" y="4622"/>
                  </a:lnTo>
                  <a:lnTo>
                    <a:pt x="-9116" y="-8205"/>
                  </a:lnTo>
                </a:path>
              </a:pathLst>
            </a:custGeom>
            <a:grpFill/>
            <a:ln w="548" cap="flat">
              <a:noFill/>
              <a:prstDash val="solid"/>
              <a:miter/>
            </a:ln>
          </p:spPr>
          <p:txBody>
            <a:bodyPr/>
            <a:lstStyle/>
            <a:p>
              <a:endParaRPr lang="en-US"/>
            </a:p>
          </p:txBody>
        </p:sp>
        <p:sp>
          <p:nvSpPr>
            <p:cNvPr id="408" name="Freeform: Shape 407">
              <a:extLst>
                <a:ext uri="{FF2B5EF4-FFF2-40B4-BE49-F238E27FC236}">
                  <a16:creationId xmlns:a16="http://schemas.microsoft.com/office/drawing/2014/main" id="{71B643DF-1A76-B6B2-2C2F-3587AA5CEE55}"/>
                </a:ext>
              </a:extLst>
            </p:cNvPr>
            <p:cNvSpPr/>
            <p:nvPr/>
          </p:nvSpPr>
          <p:spPr>
            <a:xfrm flipV="1">
              <a:off x="24465740" y="3149830"/>
              <a:ext cx="12728" cy="12821"/>
            </a:xfrm>
            <a:custGeom>
              <a:avLst/>
              <a:gdLst>
                <a:gd name="csX0" fmla="*/ -9167 w 12728"/>
                <a:gd name="csY0" fmla="*/ 4580 h 12821"/>
                <a:gd name="csX1" fmla="*/ -9167 w 12728"/>
                <a:gd name="csY1" fmla="*/ -8242 h 12821"/>
                <a:gd name="csX2" fmla="*/ 3561 w 12728"/>
                <a:gd name="csY2" fmla="*/ -8242 h 12821"/>
                <a:gd name="csX3" fmla="*/ 3561 w 12728"/>
                <a:gd name="csY3" fmla="*/ 4580 h 12821"/>
                <a:gd name="csX4" fmla="*/ -9167 w 12728"/>
                <a:gd name="csY4" fmla="*/ 4580 h 12821"/>
              </a:gdLst>
              <a:ahLst/>
              <a:cxnLst>
                <a:cxn ang="0">
                  <a:pos x="csX0" y="csY0"/>
                </a:cxn>
                <a:cxn ang="0">
                  <a:pos x="csX1" y="csY1"/>
                </a:cxn>
                <a:cxn ang="0">
                  <a:pos x="csX2" y="csY2"/>
                </a:cxn>
                <a:cxn ang="0">
                  <a:pos x="csX3" y="csY3"/>
                </a:cxn>
                <a:cxn ang="0">
                  <a:pos x="csX4" y="csY4"/>
                </a:cxn>
              </a:cxnLst>
              <a:rect l="l" t="t" r="r" b="b"/>
              <a:pathLst>
                <a:path w="12728" h="12821">
                  <a:moveTo>
                    <a:pt x="-9167" y="4580"/>
                  </a:moveTo>
                  <a:lnTo>
                    <a:pt x="-9167" y="-8242"/>
                  </a:lnTo>
                  <a:lnTo>
                    <a:pt x="3561" y="-8242"/>
                  </a:lnTo>
                  <a:lnTo>
                    <a:pt x="3561" y="4580"/>
                  </a:lnTo>
                  <a:lnTo>
                    <a:pt x="-9167" y="4580"/>
                  </a:lnTo>
                </a:path>
              </a:pathLst>
            </a:custGeom>
            <a:grpFill/>
            <a:ln w="548" cap="flat">
              <a:noFill/>
              <a:prstDash val="solid"/>
              <a:miter/>
            </a:ln>
          </p:spPr>
          <p:txBody>
            <a:bodyPr/>
            <a:lstStyle/>
            <a:p>
              <a:endParaRPr lang="en-US"/>
            </a:p>
          </p:txBody>
        </p:sp>
        <p:sp>
          <p:nvSpPr>
            <p:cNvPr id="409" name="Freeform: Shape 408">
              <a:extLst>
                <a:ext uri="{FF2B5EF4-FFF2-40B4-BE49-F238E27FC236}">
                  <a16:creationId xmlns:a16="http://schemas.microsoft.com/office/drawing/2014/main" id="{C69F57E7-3BBC-B7B2-FA06-AFD610A9A6A6}"/>
                </a:ext>
              </a:extLst>
            </p:cNvPr>
            <p:cNvSpPr/>
            <p:nvPr/>
          </p:nvSpPr>
          <p:spPr>
            <a:xfrm flipV="1">
              <a:off x="24465740" y="3165055"/>
              <a:ext cx="12728" cy="12827"/>
            </a:xfrm>
            <a:custGeom>
              <a:avLst/>
              <a:gdLst>
                <a:gd name="csX0" fmla="*/ -9167 w 12728"/>
                <a:gd name="csY0" fmla="*/ -8205 h 12827"/>
                <a:gd name="csX1" fmla="*/ 3561 w 12728"/>
                <a:gd name="csY1" fmla="*/ -8205 h 12827"/>
                <a:gd name="csX2" fmla="*/ 3561 w 12728"/>
                <a:gd name="csY2" fmla="*/ 4622 h 12827"/>
                <a:gd name="csX3" fmla="*/ -9167 w 12728"/>
                <a:gd name="csY3" fmla="*/ 4622 h 12827"/>
                <a:gd name="csX4" fmla="*/ -9167 w 12728"/>
                <a:gd name="csY4" fmla="*/ -8205 h 12827"/>
              </a:gdLst>
              <a:ahLst/>
              <a:cxnLst>
                <a:cxn ang="0">
                  <a:pos x="csX0" y="csY0"/>
                </a:cxn>
                <a:cxn ang="0">
                  <a:pos x="csX1" y="csY1"/>
                </a:cxn>
                <a:cxn ang="0">
                  <a:pos x="csX2" y="csY2"/>
                </a:cxn>
                <a:cxn ang="0">
                  <a:pos x="csX3" y="csY3"/>
                </a:cxn>
                <a:cxn ang="0">
                  <a:pos x="csX4" y="csY4"/>
                </a:cxn>
              </a:cxnLst>
              <a:rect l="l" t="t" r="r" b="b"/>
              <a:pathLst>
                <a:path w="12728" h="12827">
                  <a:moveTo>
                    <a:pt x="-9167" y="-8205"/>
                  </a:moveTo>
                  <a:lnTo>
                    <a:pt x="3561" y="-8205"/>
                  </a:lnTo>
                  <a:lnTo>
                    <a:pt x="3561" y="4622"/>
                  </a:lnTo>
                  <a:lnTo>
                    <a:pt x="-9167" y="4622"/>
                  </a:lnTo>
                  <a:lnTo>
                    <a:pt x="-9167" y="-8205"/>
                  </a:lnTo>
                </a:path>
              </a:pathLst>
            </a:custGeom>
            <a:grpFill/>
            <a:ln w="548" cap="flat">
              <a:noFill/>
              <a:prstDash val="solid"/>
              <a:miter/>
            </a:ln>
          </p:spPr>
          <p:txBody>
            <a:bodyPr/>
            <a:lstStyle/>
            <a:p>
              <a:endParaRPr lang="en-US"/>
            </a:p>
          </p:txBody>
        </p:sp>
        <p:sp>
          <p:nvSpPr>
            <p:cNvPr id="410" name="Freeform: Shape 409">
              <a:extLst>
                <a:ext uri="{FF2B5EF4-FFF2-40B4-BE49-F238E27FC236}">
                  <a16:creationId xmlns:a16="http://schemas.microsoft.com/office/drawing/2014/main" id="{4DDF0F3C-C5C6-0620-BE3C-D75063393CB1}"/>
                </a:ext>
              </a:extLst>
            </p:cNvPr>
            <p:cNvSpPr/>
            <p:nvPr/>
          </p:nvSpPr>
          <p:spPr>
            <a:xfrm flipV="1">
              <a:off x="24424482" y="3209072"/>
              <a:ext cx="12673" cy="12821"/>
            </a:xfrm>
            <a:custGeom>
              <a:avLst/>
              <a:gdLst>
                <a:gd name="csX0" fmla="*/ -9116 w 12673"/>
                <a:gd name="csY0" fmla="*/ -8099 h 12821"/>
                <a:gd name="csX1" fmla="*/ 3557 w 12673"/>
                <a:gd name="csY1" fmla="*/ -8099 h 12821"/>
                <a:gd name="csX2" fmla="*/ 3557 w 12673"/>
                <a:gd name="csY2" fmla="*/ 4723 h 12821"/>
                <a:gd name="csX3" fmla="*/ -9116 w 12673"/>
                <a:gd name="csY3" fmla="*/ 4723 h 12821"/>
                <a:gd name="csX4" fmla="*/ -9116 w 12673"/>
                <a:gd name="csY4" fmla="*/ -8099 h 12821"/>
              </a:gdLst>
              <a:ahLst/>
              <a:cxnLst>
                <a:cxn ang="0">
                  <a:pos x="csX0" y="csY0"/>
                </a:cxn>
                <a:cxn ang="0">
                  <a:pos x="csX1" y="csY1"/>
                </a:cxn>
                <a:cxn ang="0">
                  <a:pos x="csX2" y="csY2"/>
                </a:cxn>
                <a:cxn ang="0">
                  <a:pos x="csX3" y="csY3"/>
                </a:cxn>
                <a:cxn ang="0">
                  <a:pos x="csX4" y="csY4"/>
                </a:cxn>
              </a:cxnLst>
              <a:rect l="l" t="t" r="r" b="b"/>
              <a:pathLst>
                <a:path w="12673" h="12821">
                  <a:moveTo>
                    <a:pt x="-9116" y="-8099"/>
                  </a:moveTo>
                  <a:lnTo>
                    <a:pt x="3557" y="-8099"/>
                  </a:lnTo>
                  <a:lnTo>
                    <a:pt x="3557" y="4723"/>
                  </a:lnTo>
                  <a:lnTo>
                    <a:pt x="-9116" y="4723"/>
                  </a:lnTo>
                  <a:lnTo>
                    <a:pt x="-9116" y="-8099"/>
                  </a:lnTo>
                </a:path>
              </a:pathLst>
            </a:custGeom>
            <a:grpFill/>
            <a:ln w="548" cap="flat">
              <a:noFill/>
              <a:prstDash val="solid"/>
              <a:miter/>
            </a:ln>
          </p:spPr>
          <p:txBody>
            <a:bodyPr/>
            <a:lstStyle/>
            <a:p>
              <a:endParaRPr lang="en-US"/>
            </a:p>
          </p:txBody>
        </p:sp>
        <p:sp>
          <p:nvSpPr>
            <p:cNvPr id="411" name="Freeform: Shape 410">
              <a:extLst>
                <a:ext uri="{FF2B5EF4-FFF2-40B4-BE49-F238E27FC236}">
                  <a16:creationId xmlns:a16="http://schemas.microsoft.com/office/drawing/2014/main" id="{1E9A9390-FEE3-E7D1-52F8-9B1A2C95D5C2}"/>
                </a:ext>
              </a:extLst>
            </p:cNvPr>
            <p:cNvSpPr/>
            <p:nvPr/>
          </p:nvSpPr>
          <p:spPr>
            <a:xfrm flipV="1">
              <a:off x="24424482" y="3224297"/>
              <a:ext cx="12673" cy="12821"/>
            </a:xfrm>
            <a:custGeom>
              <a:avLst/>
              <a:gdLst>
                <a:gd name="csX0" fmla="*/ -9116 w 12673"/>
                <a:gd name="csY0" fmla="*/ -8063 h 12821"/>
                <a:gd name="csX1" fmla="*/ 3557 w 12673"/>
                <a:gd name="csY1" fmla="*/ -8063 h 12821"/>
                <a:gd name="csX2" fmla="*/ 3557 w 12673"/>
                <a:gd name="csY2" fmla="*/ 4759 h 12821"/>
                <a:gd name="csX3" fmla="*/ -9116 w 12673"/>
                <a:gd name="csY3" fmla="*/ 4759 h 12821"/>
                <a:gd name="csX4" fmla="*/ -9116 w 12673"/>
                <a:gd name="csY4" fmla="*/ -8063 h 12821"/>
              </a:gdLst>
              <a:ahLst/>
              <a:cxnLst>
                <a:cxn ang="0">
                  <a:pos x="csX0" y="csY0"/>
                </a:cxn>
                <a:cxn ang="0">
                  <a:pos x="csX1" y="csY1"/>
                </a:cxn>
                <a:cxn ang="0">
                  <a:pos x="csX2" y="csY2"/>
                </a:cxn>
                <a:cxn ang="0">
                  <a:pos x="csX3" y="csY3"/>
                </a:cxn>
                <a:cxn ang="0">
                  <a:pos x="csX4" y="csY4"/>
                </a:cxn>
              </a:cxnLst>
              <a:rect l="l" t="t" r="r" b="b"/>
              <a:pathLst>
                <a:path w="12673" h="12821">
                  <a:moveTo>
                    <a:pt x="-9116" y="-8063"/>
                  </a:moveTo>
                  <a:lnTo>
                    <a:pt x="3557" y="-8063"/>
                  </a:lnTo>
                  <a:lnTo>
                    <a:pt x="3557" y="4759"/>
                  </a:lnTo>
                  <a:lnTo>
                    <a:pt x="-9116" y="4759"/>
                  </a:lnTo>
                  <a:lnTo>
                    <a:pt x="-9116" y="-8063"/>
                  </a:lnTo>
                </a:path>
              </a:pathLst>
            </a:custGeom>
            <a:grpFill/>
            <a:ln w="548" cap="flat">
              <a:noFill/>
              <a:prstDash val="solid"/>
              <a:miter/>
            </a:ln>
          </p:spPr>
          <p:txBody>
            <a:bodyPr/>
            <a:lstStyle/>
            <a:p>
              <a:endParaRPr lang="en-US"/>
            </a:p>
          </p:txBody>
        </p:sp>
        <p:sp>
          <p:nvSpPr>
            <p:cNvPr id="412" name="Freeform: Shape 411">
              <a:extLst>
                <a:ext uri="{FF2B5EF4-FFF2-40B4-BE49-F238E27FC236}">
                  <a16:creationId xmlns:a16="http://schemas.microsoft.com/office/drawing/2014/main" id="{C1802BD8-A2B8-716D-0B1E-0CEB712C29F4}"/>
                </a:ext>
              </a:extLst>
            </p:cNvPr>
            <p:cNvSpPr/>
            <p:nvPr/>
          </p:nvSpPr>
          <p:spPr>
            <a:xfrm flipV="1">
              <a:off x="24465740" y="3209072"/>
              <a:ext cx="12728" cy="12821"/>
            </a:xfrm>
            <a:custGeom>
              <a:avLst/>
              <a:gdLst>
                <a:gd name="csX0" fmla="*/ -9167 w 12728"/>
                <a:gd name="csY0" fmla="*/ -8099 h 12821"/>
                <a:gd name="csX1" fmla="*/ 3561 w 12728"/>
                <a:gd name="csY1" fmla="*/ -8099 h 12821"/>
                <a:gd name="csX2" fmla="*/ 3561 w 12728"/>
                <a:gd name="csY2" fmla="*/ 4723 h 12821"/>
                <a:gd name="csX3" fmla="*/ -9167 w 12728"/>
                <a:gd name="csY3" fmla="*/ 4723 h 12821"/>
                <a:gd name="csX4" fmla="*/ -9167 w 12728"/>
                <a:gd name="csY4" fmla="*/ -8099 h 12821"/>
              </a:gdLst>
              <a:ahLst/>
              <a:cxnLst>
                <a:cxn ang="0">
                  <a:pos x="csX0" y="csY0"/>
                </a:cxn>
                <a:cxn ang="0">
                  <a:pos x="csX1" y="csY1"/>
                </a:cxn>
                <a:cxn ang="0">
                  <a:pos x="csX2" y="csY2"/>
                </a:cxn>
                <a:cxn ang="0">
                  <a:pos x="csX3" y="csY3"/>
                </a:cxn>
                <a:cxn ang="0">
                  <a:pos x="csX4" y="csY4"/>
                </a:cxn>
              </a:cxnLst>
              <a:rect l="l" t="t" r="r" b="b"/>
              <a:pathLst>
                <a:path w="12728" h="12821">
                  <a:moveTo>
                    <a:pt x="-9167" y="-8099"/>
                  </a:moveTo>
                  <a:lnTo>
                    <a:pt x="3561" y="-8099"/>
                  </a:lnTo>
                  <a:lnTo>
                    <a:pt x="3561" y="4723"/>
                  </a:lnTo>
                  <a:lnTo>
                    <a:pt x="-9167" y="4723"/>
                  </a:lnTo>
                  <a:lnTo>
                    <a:pt x="-9167" y="-8099"/>
                  </a:lnTo>
                </a:path>
              </a:pathLst>
            </a:custGeom>
            <a:grpFill/>
            <a:ln w="548" cap="flat">
              <a:noFill/>
              <a:prstDash val="solid"/>
              <a:miter/>
            </a:ln>
          </p:spPr>
          <p:txBody>
            <a:bodyPr/>
            <a:lstStyle/>
            <a:p>
              <a:endParaRPr lang="en-US"/>
            </a:p>
          </p:txBody>
        </p:sp>
        <p:sp>
          <p:nvSpPr>
            <p:cNvPr id="413" name="Freeform: Shape 412">
              <a:extLst>
                <a:ext uri="{FF2B5EF4-FFF2-40B4-BE49-F238E27FC236}">
                  <a16:creationId xmlns:a16="http://schemas.microsoft.com/office/drawing/2014/main" id="{CAE0CC9C-D595-F529-13B0-089D91E85418}"/>
                </a:ext>
              </a:extLst>
            </p:cNvPr>
            <p:cNvSpPr/>
            <p:nvPr/>
          </p:nvSpPr>
          <p:spPr>
            <a:xfrm flipV="1">
              <a:off x="24465740" y="3224297"/>
              <a:ext cx="12728" cy="12821"/>
            </a:xfrm>
            <a:custGeom>
              <a:avLst/>
              <a:gdLst>
                <a:gd name="csX0" fmla="*/ -9167 w 12728"/>
                <a:gd name="csY0" fmla="*/ -8063 h 12821"/>
                <a:gd name="csX1" fmla="*/ 3561 w 12728"/>
                <a:gd name="csY1" fmla="*/ -8063 h 12821"/>
                <a:gd name="csX2" fmla="*/ 3561 w 12728"/>
                <a:gd name="csY2" fmla="*/ 4759 h 12821"/>
                <a:gd name="csX3" fmla="*/ -9167 w 12728"/>
                <a:gd name="csY3" fmla="*/ 4759 h 12821"/>
                <a:gd name="csX4" fmla="*/ -9167 w 12728"/>
                <a:gd name="csY4" fmla="*/ -8063 h 12821"/>
              </a:gdLst>
              <a:ahLst/>
              <a:cxnLst>
                <a:cxn ang="0">
                  <a:pos x="csX0" y="csY0"/>
                </a:cxn>
                <a:cxn ang="0">
                  <a:pos x="csX1" y="csY1"/>
                </a:cxn>
                <a:cxn ang="0">
                  <a:pos x="csX2" y="csY2"/>
                </a:cxn>
                <a:cxn ang="0">
                  <a:pos x="csX3" y="csY3"/>
                </a:cxn>
                <a:cxn ang="0">
                  <a:pos x="csX4" y="csY4"/>
                </a:cxn>
              </a:cxnLst>
              <a:rect l="l" t="t" r="r" b="b"/>
              <a:pathLst>
                <a:path w="12728" h="12821">
                  <a:moveTo>
                    <a:pt x="-9167" y="-8063"/>
                  </a:moveTo>
                  <a:lnTo>
                    <a:pt x="3561" y="-8063"/>
                  </a:lnTo>
                  <a:lnTo>
                    <a:pt x="3561" y="4759"/>
                  </a:lnTo>
                  <a:lnTo>
                    <a:pt x="-9167" y="4759"/>
                  </a:lnTo>
                  <a:lnTo>
                    <a:pt x="-9167" y="-8063"/>
                  </a:lnTo>
                </a:path>
              </a:pathLst>
            </a:custGeom>
            <a:grpFill/>
            <a:ln w="548" cap="flat">
              <a:noFill/>
              <a:prstDash val="solid"/>
              <a:miter/>
            </a:ln>
          </p:spPr>
          <p:txBody>
            <a:bodyPr/>
            <a:lstStyle/>
            <a:p>
              <a:endParaRPr lang="en-US"/>
            </a:p>
          </p:txBody>
        </p:sp>
        <p:sp>
          <p:nvSpPr>
            <p:cNvPr id="414" name="Freeform: Shape 413">
              <a:extLst>
                <a:ext uri="{FF2B5EF4-FFF2-40B4-BE49-F238E27FC236}">
                  <a16:creationId xmlns:a16="http://schemas.microsoft.com/office/drawing/2014/main" id="{A01A6F3B-ADE7-9AC9-6265-5AB8157D0593}"/>
                </a:ext>
              </a:extLst>
            </p:cNvPr>
            <p:cNvSpPr/>
            <p:nvPr/>
          </p:nvSpPr>
          <p:spPr>
            <a:xfrm flipV="1">
              <a:off x="24424482" y="3268315"/>
              <a:ext cx="12673" cy="12821"/>
            </a:xfrm>
            <a:custGeom>
              <a:avLst/>
              <a:gdLst>
                <a:gd name="csX0" fmla="*/ -9116 w 12673"/>
                <a:gd name="csY0" fmla="*/ -7957 h 12821"/>
                <a:gd name="csX1" fmla="*/ 3557 w 12673"/>
                <a:gd name="csY1" fmla="*/ -7957 h 12821"/>
                <a:gd name="csX2" fmla="*/ 3557 w 12673"/>
                <a:gd name="csY2" fmla="*/ 4865 h 12821"/>
                <a:gd name="csX3" fmla="*/ -9116 w 12673"/>
                <a:gd name="csY3" fmla="*/ 4865 h 12821"/>
                <a:gd name="csX4" fmla="*/ -9116 w 12673"/>
                <a:gd name="csY4" fmla="*/ -7957 h 12821"/>
              </a:gdLst>
              <a:ahLst/>
              <a:cxnLst>
                <a:cxn ang="0">
                  <a:pos x="csX0" y="csY0"/>
                </a:cxn>
                <a:cxn ang="0">
                  <a:pos x="csX1" y="csY1"/>
                </a:cxn>
                <a:cxn ang="0">
                  <a:pos x="csX2" y="csY2"/>
                </a:cxn>
                <a:cxn ang="0">
                  <a:pos x="csX3" y="csY3"/>
                </a:cxn>
                <a:cxn ang="0">
                  <a:pos x="csX4" y="csY4"/>
                </a:cxn>
              </a:cxnLst>
              <a:rect l="l" t="t" r="r" b="b"/>
              <a:pathLst>
                <a:path w="12673" h="12821">
                  <a:moveTo>
                    <a:pt x="-9116" y="-7957"/>
                  </a:moveTo>
                  <a:lnTo>
                    <a:pt x="3557" y="-7957"/>
                  </a:lnTo>
                  <a:lnTo>
                    <a:pt x="3557" y="4865"/>
                  </a:lnTo>
                  <a:lnTo>
                    <a:pt x="-9116" y="4865"/>
                  </a:lnTo>
                  <a:lnTo>
                    <a:pt x="-9116" y="-7957"/>
                  </a:lnTo>
                </a:path>
              </a:pathLst>
            </a:custGeom>
            <a:grpFill/>
            <a:ln w="548" cap="flat">
              <a:noFill/>
              <a:prstDash val="solid"/>
              <a:miter/>
            </a:ln>
          </p:spPr>
          <p:txBody>
            <a:bodyPr/>
            <a:lstStyle/>
            <a:p>
              <a:endParaRPr lang="en-US"/>
            </a:p>
          </p:txBody>
        </p:sp>
        <p:sp>
          <p:nvSpPr>
            <p:cNvPr id="415" name="Freeform: Shape 414">
              <a:extLst>
                <a:ext uri="{FF2B5EF4-FFF2-40B4-BE49-F238E27FC236}">
                  <a16:creationId xmlns:a16="http://schemas.microsoft.com/office/drawing/2014/main" id="{376164AF-697E-B7F1-E663-F3231780146C}"/>
                </a:ext>
              </a:extLst>
            </p:cNvPr>
            <p:cNvSpPr/>
            <p:nvPr/>
          </p:nvSpPr>
          <p:spPr>
            <a:xfrm flipV="1">
              <a:off x="24424482" y="3283539"/>
              <a:ext cx="12673" cy="12821"/>
            </a:xfrm>
            <a:custGeom>
              <a:avLst/>
              <a:gdLst>
                <a:gd name="csX0" fmla="*/ -9116 w 12673"/>
                <a:gd name="csY0" fmla="*/ -7920 h 12821"/>
                <a:gd name="csX1" fmla="*/ 3557 w 12673"/>
                <a:gd name="csY1" fmla="*/ -7920 h 12821"/>
                <a:gd name="csX2" fmla="*/ 3557 w 12673"/>
                <a:gd name="csY2" fmla="*/ 4902 h 12821"/>
                <a:gd name="csX3" fmla="*/ -9116 w 12673"/>
                <a:gd name="csY3" fmla="*/ 4902 h 12821"/>
                <a:gd name="csX4" fmla="*/ -9116 w 12673"/>
                <a:gd name="csY4" fmla="*/ -7920 h 12821"/>
              </a:gdLst>
              <a:ahLst/>
              <a:cxnLst>
                <a:cxn ang="0">
                  <a:pos x="csX0" y="csY0"/>
                </a:cxn>
                <a:cxn ang="0">
                  <a:pos x="csX1" y="csY1"/>
                </a:cxn>
                <a:cxn ang="0">
                  <a:pos x="csX2" y="csY2"/>
                </a:cxn>
                <a:cxn ang="0">
                  <a:pos x="csX3" y="csY3"/>
                </a:cxn>
                <a:cxn ang="0">
                  <a:pos x="csX4" y="csY4"/>
                </a:cxn>
              </a:cxnLst>
              <a:rect l="l" t="t" r="r" b="b"/>
              <a:pathLst>
                <a:path w="12673" h="12821">
                  <a:moveTo>
                    <a:pt x="-9116" y="-7920"/>
                  </a:moveTo>
                  <a:lnTo>
                    <a:pt x="3557" y="-7920"/>
                  </a:lnTo>
                  <a:lnTo>
                    <a:pt x="3557" y="4902"/>
                  </a:lnTo>
                  <a:lnTo>
                    <a:pt x="-9116" y="4902"/>
                  </a:lnTo>
                  <a:lnTo>
                    <a:pt x="-9116" y="-7920"/>
                  </a:lnTo>
                </a:path>
              </a:pathLst>
            </a:custGeom>
            <a:grpFill/>
            <a:ln w="548" cap="flat">
              <a:noFill/>
              <a:prstDash val="solid"/>
              <a:miter/>
            </a:ln>
          </p:spPr>
          <p:txBody>
            <a:bodyPr/>
            <a:lstStyle/>
            <a:p>
              <a:endParaRPr lang="en-US"/>
            </a:p>
          </p:txBody>
        </p:sp>
        <p:sp>
          <p:nvSpPr>
            <p:cNvPr id="416" name="Freeform: Shape 415">
              <a:extLst>
                <a:ext uri="{FF2B5EF4-FFF2-40B4-BE49-F238E27FC236}">
                  <a16:creationId xmlns:a16="http://schemas.microsoft.com/office/drawing/2014/main" id="{B70ECAFE-9EF6-CFA5-961E-C296C9103616}"/>
                </a:ext>
              </a:extLst>
            </p:cNvPr>
            <p:cNvSpPr/>
            <p:nvPr/>
          </p:nvSpPr>
          <p:spPr>
            <a:xfrm flipV="1">
              <a:off x="24465740" y="3268315"/>
              <a:ext cx="12728" cy="12821"/>
            </a:xfrm>
            <a:custGeom>
              <a:avLst/>
              <a:gdLst>
                <a:gd name="csX0" fmla="*/ -9167 w 12728"/>
                <a:gd name="csY0" fmla="*/ -7957 h 12821"/>
                <a:gd name="csX1" fmla="*/ 3561 w 12728"/>
                <a:gd name="csY1" fmla="*/ -7957 h 12821"/>
                <a:gd name="csX2" fmla="*/ 3561 w 12728"/>
                <a:gd name="csY2" fmla="*/ 4865 h 12821"/>
                <a:gd name="csX3" fmla="*/ -9167 w 12728"/>
                <a:gd name="csY3" fmla="*/ 4865 h 12821"/>
                <a:gd name="csX4" fmla="*/ -9167 w 12728"/>
                <a:gd name="csY4" fmla="*/ -7957 h 12821"/>
              </a:gdLst>
              <a:ahLst/>
              <a:cxnLst>
                <a:cxn ang="0">
                  <a:pos x="csX0" y="csY0"/>
                </a:cxn>
                <a:cxn ang="0">
                  <a:pos x="csX1" y="csY1"/>
                </a:cxn>
                <a:cxn ang="0">
                  <a:pos x="csX2" y="csY2"/>
                </a:cxn>
                <a:cxn ang="0">
                  <a:pos x="csX3" y="csY3"/>
                </a:cxn>
                <a:cxn ang="0">
                  <a:pos x="csX4" y="csY4"/>
                </a:cxn>
              </a:cxnLst>
              <a:rect l="l" t="t" r="r" b="b"/>
              <a:pathLst>
                <a:path w="12728" h="12821">
                  <a:moveTo>
                    <a:pt x="-9167" y="-7957"/>
                  </a:moveTo>
                  <a:lnTo>
                    <a:pt x="3561" y="-7957"/>
                  </a:lnTo>
                  <a:lnTo>
                    <a:pt x="3561" y="4865"/>
                  </a:lnTo>
                  <a:lnTo>
                    <a:pt x="-9167" y="4865"/>
                  </a:lnTo>
                  <a:lnTo>
                    <a:pt x="-9167" y="-7957"/>
                  </a:lnTo>
                </a:path>
              </a:pathLst>
            </a:custGeom>
            <a:grpFill/>
            <a:ln w="548" cap="flat">
              <a:noFill/>
              <a:prstDash val="solid"/>
              <a:miter/>
            </a:ln>
          </p:spPr>
          <p:txBody>
            <a:bodyPr/>
            <a:lstStyle/>
            <a:p>
              <a:endParaRPr lang="en-US"/>
            </a:p>
          </p:txBody>
        </p:sp>
        <p:sp>
          <p:nvSpPr>
            <p:cNvPr id="417" name="Freeform: Shape 416">
              <a:extLst>
                <a:ext uri="{FF2B5EF4-FFF2-40B4-BE49-F238E27FC236}">
                  <a16:creationId xmlns:a16="http://schemas.microsoft.com/office/drawing/2014/main" id="{06F9F083-65E9-2F66-7169-571F99B2F9D8}"/>
                </a:ext>
              </a:extLst>
            </p:cNvPr>
            <p:cNvSpPr/>
            <p:nvPr/>
          </p:nvSpPr>
          <p:spPr>
            <a:xfrm flipV="1">
              <a:off x="24465740" y="3283539"/>
              <a:ext cx="12728" cy="12821"/>
            </a:xfrm>
            <a:custGeom>
              <a:avLst/>
              <a:gdLst>
                <a:gd name="csX0" fmla="*/ -9167 w 12728"/>
                <a:gd name="csY0" fmla="*/ -7920 h 12821"/>
                <a:gd name="csX1" fmla="*/ 3561 w 12728"/>
                <a:gd name="csY1" fmla="*/ -7920 h 12821"/>
                <a:gd name="csX2" fmla="*/ 3561 w 12728"/>
                <a:gd name="csY2" fmla="*/ 4902 h 12821"/>
                <a:gd name="csX3" fmla="*/ -9167 w 12728"/>
                <a:gd name="csY3" fmla="*/ 4902 h 12821"/>
                <a:gd name="csX4" fmla="*/ -9167 w 12728"/>
                <a:gd name="csY4" fmla="*/ -7920 h 12821"/>
              </a:gdLst>
              <a:ahLst/>
              <a:cxnLst>
                <a:cxn ang="0">
                  <a:pos x="csX0" y="csY0"/>
                </a:cxn>
                <a:cxn ang="0">
                  <a:pos x="csX1" y="csY1"/>
                </a:cxn>
                <a:cxn ang="0">
                  <a:pos x="csX2" y="csY2"/>
                </a:cxn>
                <a:cxn ang="0">
                  <a:pos x="csX3" y="csY3"/>
                </a:cxn>
                <a:cxn ang="0">
                  <a:pos x="csX4" y="csY4"/>
                </a:cxn>
              </a:cxnLst>
              <a:rect l="l" t="t" r="r" b="b"/>
              <a:pathLst>
                <a:path w="12728" h="12821">
                  <a:moveTo>
                    <a:pt x="-9167" y="-7920"/>
                  </a:moveTo>
                  <a:lnTo>
                    <a:pt x="3561" y="-7920"/>
                  </a:lnTo>
                  <a:lnTo>
                    <a:pt x="3561" y="4902"/>
                  </a:lnTo>
                  <a:lnTo>
                    <a:pt x="-9167" y="4902"/>
                  </a:lnTo>
                  <a:lnTo>
                    <a:pt x="-9167" y="-7920"/>
                  </a:lnTo>
                </a:path>
              </a:pathLst>
            </a:custGeom>
            <a:grpFill/>
            <a:ln w="548" cap="flat">
              <a:noFill/>
              <a:prstDash val="solid"/>
              <a:miter/>
            </a:ln>
          </p:spPr>
          <p:txBody>
            <a:bodyPr/>
            <a:lstStyle/>
            <a:p>
              <a:endParaRPr lang="en-US"/>
            </a:p>
          </p:txBody>
        </p:sp>
        <p:sp>
          <p:nvSpPr>
            <p:cNvPr id="418" name="Freeform: Shape 417">
              <a:extLst>
                <a:ext uri="{FF2B5EF4-FFF2-40B4-BE49-F238E27FC236}">
                  <a16:creationId xmlns:a16="http://schemas.microsoft.com/office/drawing/2014/main" id="{7F477183-124D-9083-1D66-7DAED8C012D0}"/>
                </a:ext>
              </a:extLst>
            </p:cNvPr>
            <p:cNvSpPr/>
            <p:nvPr/>
          </p:nvSpPr>
          <p:spPr>
            <a:xfrm flipV="1">
              <a:off x="24424482" y="3327551"/>
              <a:ext cx="12673" cy="12827"/>
            </a:xfrm>
            <a:custGeom>
              <a:avLst/>
              <a:gdLst>
                <a:gd name="csX0" fmla="*/ -9116 w 12673"/>
                <a:gd name="csY0" fmla="*/ -7814 h 12827"/>
                <a:gd name="csX1" fmla="*/ 3557 w 12673"/>
                <a:gd name="csY1" fmla="*/ -7814 h 12827"/>
                <a:gd name="csX2" fmla="*/ 3557 w 12673"/>
                <a:gd name="csY2" fmla="*/ 5013 h 12827"/>
                <a:gd name="csX3" fmla="*/ -9116 w 12673"/>
                <a:gd name="csY3" fmla="*/ 5013 h 12827"/>
                <a:gd name="csX4" fmla="*/ -9116 w 12673"/>
                <a:gd name="csY4" fmla="*/ -7814 h 12827"/>
              </a:gdLst>
              <a:ahLst/>
              <a:cxnLst>
                <a:cxn ang="0">
                  <a:pos x="csX0" y="csY0"/>
                </a:cxn>
                <a:cxn ang="0">
                  <a:pos x="csX1" y="csY1"/>
                </a:cxn>
                <a:cxn ang="0">
                  <a:pos x="csX2" y="csY2"/>
                </a:cxn>
                <a:cxn ang="0">
                  <a:pos x="csX3" y="csY3"/>
                </a:cxn>
                <a:cxn ang="0">
                  <a:pos x="csX4" y="csY4"/>
                </a:cxn>
              </a:cxnLst>
              <a:rect l="l" t="t" r="r" b="b"/>
              <a:pathLst>
                <a:path w="12673" h="12827">
                  <a:moveTo>
                    <a:pt x="-9116" y="-7814"/>
                  </a:moveTo>
                  <a:lnTo>
                    <a:pt x="3557" y="-7814"/>
                  </a:lnTo>
                  <a:lnTo>
                    <a:pt x="3557" y="5013"/>
                  </a:lnTo>
                  <a:lnTo>
                    <a:pt x="-9116" y="5013"/>
                  </a:lnTo>
                  <a:lnTo>
                    <a:pt x="-9116" y="-7814"/>
                  </a:lnTo>
                </a:path>
              </a:pathLst>
            </a:custGeom>
            <a:grpFill/>
            <a:ln w="548" cap="flat">
              <a:noFill/>
              <a:prstDash val="solid"/>
              <a:miter/>
            </a:ln>
          </p:spPr>
          <p:txBody>
            <a:bodyPr/>
            <a:lstStyle/>
            <a:p>
              <a:endParaRPr lang="en-US"/>
            </a:p>
          </p:txBody>
        </p:sp>
        <p:sp>
          <p:nvSpPr>
            <p:cNvPr id="419" name="Freeform: Shape 418">
              <a:extLst>
                <a:ext uri="{FF2B5EF4-FFF2-40B4-BE49-F238E27FC236}">
                  <a16:creationId xmlns:a16="http://schemas.microsoft.com/office/drawing/2014/main" id="{A578ABAF-C3F4-578F-B9E7-4369DA087AD8}"/>
                </a:ext>
              </a:extLst>
            </p:cNvPr>
            <p:cNvSpPr/>
            <p:nvPr/>
          </p:nvSpPr>
          <p:spPr>
            <a:xfrm flipV="1">
              <a:off x="24424482" y="3342776"/>
              <a:ext cx="12673" cy="12827"/>
            </a:xfrm>
            <a:custGeom>
              <a:avLst/>
              <a:gdLst>
                <a:gd name="csX0" fmla="*/ -9116 w 12673"/>
                <a:gd name="csY0" fmla="*/ -7778 h 12827"/>
                <a:gd name="csX1" fmla="*/ 3557 w 12673"/>
                <a:gd name="csY1" fmla="*/ -7778 h 12827"/>
                <a:gd name="csX2" fmla="*/ 3557 w 12673"/>
                <a:gd name="csY2" fmla="*/ 5050 h 12827"/>
                <a:gd name="csX3" fmla="*/ -9116 w 12673"/>
                <a:gd name="csY3" fmla="*/ 5050 h 12827"/>
                <a:gd name="csX4" fmla="*/ -9116 w 12673"/>
                <a:gd name="csY4" fmla="*/ -7778 h 12827"/>
              </a:gdLst>
              <a:ahLst/>
              <a:cxnLst>
                <a:cxn ang="0">
                  <a:pos x="csX0" y="csY0"/>
                </a:cxn>
                <a:cxn ang="0">
                  <a:pos x="csX1" y="csY1"/>
                </a:cxn>
                <a:cxn ang="0">
                  <a:pos x="csX2" y="csY2"/>
                </a:cxn>
                <a:cxn ang="0">
                  <a:pos x="csX3" y="csY3"/>
                </a:cxn>
                <a:cxn ang="0">
                  <a:pos x="csX4" y="csY4"/>
                </a:cxn>
              </a:cxnLst>
              <a:rect l="l" t="t" r="r" b="b"/>
              <a:pathLst>
                <a:path w="12673" h="12827">
                  <a:moveTo>
                    <a:pt x="-9116" y="-7778"/>
                  </a:moveTo>
                  <a:lnTo>
                    <a:pt x="3557" y="-7778"/>
                  </a:lnTo>
                  <a:lnTo>
                    <a:pt x="3557" y="5050"/>
                  </a:lnTo>
                  <a:lnTo>
                    <a:pt x="-9116" y="5050"/>
                  </a:lnTo>
                  <a:lnTo>
                    <a:pt x="-9116" y="-7778"/>
                  </a:lnTo>
                </a:path>
              </a:pathLst>
            </a:custGeom>
            <a:grpFill/>
            <a:ln w="548" cap="flat">
              <a:noFill/>
              <a:prstDash val="solid"/>
              <a:miter/>
            </a:ln>
          </p:spPr>
          <p:txBody>
            <a:bodyPr/>
            <a:lstStyle/>
            <a:p>
              <a:endParaRPr lang="en-US"/>
            </a:p>
          </p:txBody>
        </p:sp>
        <p:sp>
          <p:nvSpPr>
            <p:cNvPr id="420" name="Freeform: Shape 419">
              <a:extLst>
                <a:ext uri="{FF2B5EF4-FFF2-40B4-BE49-F238E27FC236}">
                  <a16:creationId xmlns:a16="http://schemas.microsoft.com/office/drawing/2014/main" id="{836E2561-2841-1D04-4B44-F426202877FF}"/>
                </a:ext>
              </a:extLst>
            </p:cNvPr>
            <p:cNvSpPr/>
            <p:nvPr/>
          </p:nvSpPr>
          <p:spPr>
            <a:xfrm flipV="1">
              <a:off x="24465740" y="3342776"/>
              <a:ext cx="12728" cy="12827"/>
            </a:xfrm>
            <a:custGeom>
              <a:avLst/>
              <a:gdLst>
                <a:gd name="csX0" fmla="*/ -9167 w 12728"/>
                <a:gd name="csY0" fmla="*/ -7778 h 12827"/>
                <a:gd name="csX1" fmla="*/ 3561 w 12728"/>
                <a:gd name="csY1" fmla="*/ -7778 h 12827"/>
                <a:gd name="csX2" fmla="*/ 3561 w 12728"/>
                <a:gd name="csY2" fmla="*/ 5050 h 12827"/>
                <a:gd name="csX3" fmla="*/ -9167 w 12728"/>
                <a:gd name="csY3" fmla="*/ 5050 h 12827"/>
                <a:gd name="csX4" fmla="*/ -9167 w 12728"/>
                <a:gd name="csY4" fmla="*/ -7778 h 12827"/>
              </a:gdLst>
              <a:ahLst/>
              <a:cxnLst>
                <a:cxn ang="0">
                  <a:pos x="csX0" y="csY0"/>
                </a:cxn>
                <a:cxn ang="0">
                  <a:pos x="csX1" y="csY1"/>
                </a:cxn>
                <a:cxn ang="0">
                  <a:pos x="csX2" y="csY2"/>
                </a:cxn>
                <a:cxn ang="0">
                  <a:pos x="csX3" y="csY3"/>
                </a:cxn>
                <a:cxn ang="0">
                  <a:pos x="csX4" y="csY4"/>
                </a:cxn>
              </a:cxnLst>
              <a:rect l="l" t="t" r="r" b="b"/>
              <a:pathLst>
                <a:path w="12728" h="12827">
                  <a:moveTo>
                    <a:pt x="-9167" y="-7778"/>
                  </a:moveTo>
                  <a:lnTo>
                    <a:pt x="3561" y="-7778"/>
                  </a:lnTo>
                  <a:lnTo>
                    <a:pt x="3561" y="5050"/>
                  </a:lnTo>
                  <a:lnTo>
                    <a:pt x="-9167" y="5050"/>
                  </a:lnTo>
                  <a:lnTo>
                    <a:pt x="-9167" y="-7778"/>
                  </a:lnTo>
                </a:path>
              </a:pathLst>
            </a:custGeom>
            <a:grpFill/>
            <a:ln w="548" cap="flat">
              <a:noFill/>
              <a:prstDash val="solid"/>
              <a:miter/>
            </a:ln>
          </p:spPr>
          <p:txBody>
            <a:bodyPr/>
            <a:lstStyle/>
            <a:p>
              <a:endParaRPr lang="en-US"/>
            </a:p>
          </p:txBody>
        </p:sp>
        <p:sp>
          <p:nvSpPr>
            <p:cNvPr id="421" name="Freeform: Shape 420">
              <a:extLst>
                <a:ext uri="{FF2B5EF4-FFF2-40B4-BE49-F238E27FC236}">
                  <a16:creationId xmlns:a16="http://schemas.microsoft.com/office/drawing/2014/main" id="{598EDE15-2638-7157-2BE3-95CF296A4B81}"/>
                </a:ext>
              </a:extLst>
            </p:cNvPr>
            <p:cNvSpPr/>
            <p:nvPr/>
          </p:nvSpPr>
          <p:spPr>
            <a:xfrm flipV="1">
              <a:off x="24465740" y="3327551"/>
              <a:ext cx="12728" cy="12827"/>
            </a:xfrm>
            <a:custGeom>
              <a:avLst/>
              <a:gdLst>
                <a:gd name="csX0" fmla="*/ -9167 w 12728"/>
                <a:gd name="csY0" fmla="*/ -7814 h 12827"/>
                <a:gd name="csX1" fmla="*/ 3561 w 12728"/>
                <a:gd name="csY1" fmla="*/ -7814 h 12827"/>
                <a:gd name="csX2" fmla="*/ 3561 w 12728"/>
                <a:gd name="csY2" fmla="*/ 5013 h 12827"/>
                <a:gd name="csX3" fmla="*/ -9167 w 12728"/>
                <a:gd name="csY3" fmla="*/ 5013 h 12827"/>
                <a:gd name="csX4" fmla="*/ -9167 w 12728"/>
                <a:gd name="csY4" fmla="*/ -7814 h 12827"/>
              </a:gdLst>
              <a:ahLst/>
              <a:cxnLst>
                <a:cxn ang="0">
                  <a:pos x="csX0" y="csY0"/>
                </a:cxn>
                <a:cxn ang="0">
                  <a:pos x="csX1" y="csY1"/>
                </a:cxn>
                <a:cxn ang="0">
                  <a:pos x="csX2" y="csY2"/>
                </a:cxn>
                <a:cxn ang="0">
                  <a:pos x="csX3" y="csY3"/>
                </a:cxn>
                <a:cxn ang="0">
                  <a:pos x="csX4" y="csY4"/>
                </a:cxn>
              </a:cxnLst>
              <a:rect l="l" t="t" r="r" b="b"/>
              <a:pathLst>
                <a:path w="12728" h="12827">
                  <a:moveTo>
                    <a:pt x="-9167" y="-7814"/>
                  </a:moveTo>
                  <a:lnTo>
                    <a:pt x="3561" y="-7814"/>
                  </a:lnTo>
                  <a:lnTo>
                    <a:pt x="3561" y="5013"/>
                  </a:lnTo>
                  <a:lnTo>
                    <a:pt x="-9167" y="5013"/>
                  </a:lnTo>
                  <a:lnTo>
                    <a:pt x="-9167" y="-7814"/>
                  </a:lnTo>
                </a:path>
              </a:pathLst>
            </a:custGeom>
            <a:grpFill/>
            <a:ln w="548" cap="flat">
              <a:noFill/>
              <a:prstDash val="solid"/>
              <a:miter/>
            </a:ln>
          </p:spPr>
          <p:txBody>
            <a:bodyPr/>
            <a:lstStyle/>
            <a:p>
              <a:endParaRPr lang="en-US"/>
            </a:p>
          </p:txBody>
        </p:sp>
        <p:sp>
          <p:nvSpPr>
            <p:cNvPr id="422" name="Freeform: Shape 421">
              <a:extLst>
                <a:ext uri="{FF2B5EF4-FFF2-40B4-BE49-F238E27FC236}">
                  <a16:creationId xmlns:a16="http://schemas.microsoft.com/office/drawing/2014/main" id="{A556391C-A337-46AE-2230-A93BF4AED817}"/>
                </a:ext>
              </a:extLst>
            </p:cNvPr>
            <p:cNvSpPr/>
            <p:nvPr/>
          </p:nvSpPr>
          <p:spPr>
            <a:xfrm flipV="1">
              <a:off x="24424482" y="3386793"/>
              <a:ext cx="12673" cy="12821"/>
            </a:xfrm>
            <a:custGeom>
              <a:avLst/>
              <a:gdLst>
                <a:gd name="csX0" fmla="*/ -9116 w 12673"/>
                <a:gd name="csY0" fmla="*/ -7672 h 12821"/>
                <a:gd name="csX1" fmla="*/ 3557 w 12673"/>
                <a:gd name="csY1" fmla="*/ -7672 h 12821"/>
                <a:gd name="csX2" fmla="*/ 3557 w 12673"/>
                <a:gd name="csY2" fmla="*/ 5150 h 12821"/>
                <a:gd name="csX3" fmla="*/ -9116 w 12673"/>
                <a:gd name="csY3" fmla="*/ 5150 h 12821"/>
                <a:gd name="csX4" fmla="*/ -9116 w 12673"/>
                <a:gd name="csY4" fmla="*/ -7672 h 12821"/>
              </a:gdLst>
              <a:ahLst/>
              <a:cxnLst>
                <a:cxn ang="0">
                  <a:pos x="csX0" y="csY0"/>
                </a:cxn>
                <a:cxn ang="0">
                  <a:pos x="csX1" y="csY1"/>
                </a:cxn>
                <a:cxn ang="0">
                  <a:pos x="csX2" y="csY2"/>
                </a:cxn>
                <a:cxn ang="0">
                  <a:pos x="csX3" y="csY3"/>
                </a:cxn>
                <a:cxn ang="0">
                  <a:pos x="csX4" y="csY4"/>
                </a:cxn>
              </a:cxnLst>
              <a:rect l="l" t="t" r="r" b="b"/>
              <a:pathLst>
                <a:path w="12673" h="12821">
                  <a:moveTo>
                    <a:pt x="-9116" y="-7672"/>
                  </a:moveTo>
                  <a:lnTo>
                    <a:pt x="3557" y="-7672"/>
                  </a:lnTo>
                  <a:lnTo>
                    <a:pt x="3557" y="5150"/>
                  </a:lnTo>
                  <a:lnTo>
                    <a:pt x="-9116" y="5150"/>
                  </a:lnTo>
                  <a:lnTo>
                    <a:pt x="-9116" y="-7672"/>
                  </a:lnTo>
                </a:path>
              </a:pathLst>
            </a:custGeom>
            <a:grpFill/>
            <a:ln w="548" cap="flat">
              <a:noFill/>
              <a:prstDash val="solid"/>
              <a:miter/>
            </a:ln>
          </p:spPr>
          <p:txBody>
            <a:bodyPr/>
            <a:lstStyle/>
            <a:p>
              <a:endParaRPr lang="en-US"/>
            </a:p>
          </p:txBody>
        </p:sp>
        <p:sp>
          <p:nvSpPr>
            <p:cNvPr id="423" name="Freeform: Shape 422">
              <a:extLst>
                <a:ext uri="{FF2B5EF4-FFF2-40B4-BE49-F238E27FC236}">
                  <a16:creationId xmlns:a16="http://schemas.microsoft.com/office/drawing/2014/main" id="{C10A2CA5-91A1-0185-E405-9228BB5D873A}"/>
                </a:ext>
              </a:extLst>
            </p:cNvPr>
            <p:cNvSpPr/>
            <p:nvPr/>
          </p:nvSpPr>
          <p:spPr>
            <a:xfrm flipV="1">
              <a:off x="24424482" y="3402018"/>
              <a:ext cx="12673" cy="12821"/>
            </a:xfrm>
            <a:custGeom>
              <a:avLst/>
              <a:gdLst>
                <a:gd name="csX0" fmla="*/ -9116 w 12673"/>
                <a:gd name="csY0" fmla="*/ -7635 h 12821"/>
                <a:gd name="csX1" fmla="*/ 3557 w 12673"/>
                <a:gd name="csY1" fmla="*/ -7635 h 12821"/>
                <a:gd name="csX2" fmla="*/ 3557 w 12673"/>
                <a:gd name="csY2" fmla="*/ 5186 h 12821"/>
                <a:gd name="csX3" fmla="*/ -9116 w 12673"/>
                <a:gd name="csY3" fmla="*/ 5186 h 12821"/>
                <a:gd name="csX4" fmla="*/ -9116 w 12673"/>
                <a:gd name="csY4" fmla="*/ -7635 h 12821"/>
              </a:gdLst>
              <a:ahLst/>
              <a:cxnLst>
                <a:cxn ang="0">
                  <a:pos x="csX0" y="csY0"/>
                </a:cxn>
                <a:cxn ang="0">
                  <a:pos x="csX1" y="csY1"/>
                </a:cxn>
                <a:cxn ang="0">
                  <a:pos x="csX2" y="csY2"/>
                </a:cxn>
                <a:cxn ang="0">
                  <a:pos x="csX3" y="csY3"/>
                </a:cxn>
                <a:cxn ang="0">
                  <a:pos x="csX4" y="csY4"/>
                </a:cxn>
              </a:cxnLst>
              <a:rect l="l" t="t" r="r" b="b"/>
              <a:pathLst>
                <a:path w="12673" h="12821">
                  <a:moveTo>
                    <a:pt x="-9116" y="-7635"/>
                  </a:moveTo>
                  <a:lnTo>
                    <a:pt x="3557" y="-7635"/>
                  </a:lnTo>
                  <a:lnTo>
                    <a:pt x="3557" y="5186"/>
                  </a:lnTo>
                  <a:lnTo>
                    <a:pt x="-9116" y="5186"/>
                  </a:lnTo>
                  <a:lnTo>
                    <a:pt x="-9116" y="-7635"/>
                  </a:lnTo>
                </a:path>
              </a:pathLst>
            </a:custGeom>
            <a:grpFill/>
            <a:ln w="548" cap="flat">
              <a:noFill/>
              <a:prstDash val="solid"/>
              <a:miter/>
            </a:ln>
          </p:spPr>
          <p:txBody>
            <a:bodyPr/>
            <a:lstStyle/>
            <a:p>
              <a:endParaRPr lang="en-US"/>
            </a:p>
          </p:txBody>
        </p:sp>
        <p:sp>
          <p:nvSpPr>
            <p:cNvPr id="424" name="Freeform: Shape 423">
              <a:extLst>
                <a:ext uri="{FF2B5EF4-FFF2-40B4-BE49-F238E27FC236}">
                  <a16:creationId xmlns:a16="http://schemas.microsoft.com/office/drawing/2014/main" id="{DC98C7BF-7434-117F-B344-0A2D36297D70}"/>
                </a:ext>
              </a:extLst>
            </p:cNvPr>
            <p:cNvSpPr/>
            <p:nvPr/>
          </p:nvSpPr>
          <p:spPr>
            <a:xfrm flipV="1">
              <a:off x="24465740" y="3402018"/>
              <a:ext cx="12728" cy="12821"/>
            </a:xfrm>
            <a:custGeom>
              <a:avLst/>
              <a:gdLst>
                <a:gd name="csX0" fmla="*/ -9167 w 12728"/>
                <a:gd name="csY0" fmla="*/ -7635 h 12821"/>
                <a:gd name="csX1" fmla="*/ 3561 w 12728"/>
                <a:gd name="csY1" fmla="*/ -7635 h 12821"/>
                <a:gd name="csX2" fmla="*/ 3561 w 12728"/>
                <a:gd name="csY2" fmla="*/ 5186 h 12821"/>
                <a:gd name="csX3" fmla="*/ -9167 w 12728"/>
                <a:gd name="csY3" fmla="*/ 5186 h 12821"/>
                <a:gd name="csX4" fmla="*/ -9167 w 12728"/>
                <a:gd name="csY4" fmla="*/ -7635 h 12821"/>
              </a:gdLst>
              <a:ahLst/>
              <a:cxnLst>
                <a:cxn ang="0">
                  <a:pos x="csX0" y="csY0"/>
                </a:cxn>
                <a:cxn ang="0">
                  <a:pos x="csX1" y="csY1"/>
                </a:cxn>
                <a:cxn ang="0">
                  <a:pos x="csX2" y="csY2"/>
                </a:cxn>
                <a:cxn ang="0">
                  <a:pos x="csX3" y="csY3"/>
                </a:cxn>
                <a:cxn ang="0">
                  <a:pos x="csX4" y="csY4"/>
                </a:cxn>
              </a:cxnLst>
              <a:rect l="l" t="t" r="r" b="b"/>
              <a:pathLst>
                <a:path w="12728" h="12821">
                  <a:moveTo>
                    <a:pt x="-9167" y="-7635"/>
                  </a:moveTo>
                  <a:lnTo>
                    <a:pt x="3561" y="-7635"/>
                  </a:lnTo>
                  <a:lnTo>
                    <a:pt x="3561" y="5186"/>
                  </a:lnTo>
                  <a:lnTo>
                    <a:pt x="-9167" y="5186"/>
                  </a:lnTo>
                  <a:lnTo>
                    <a:pt x="-9167" y="-7635"/>
                  </a:lnTo>
                </a:path>
              </a:pathLst>
            </a:custGeom>
            <a:grpFill/>
            <a:ln w="548" cap="flat">
              <a:noFill/>
              <a:prstDash val="solid"/>
              <a:miter/>
            </a:ln>
          </p:spPr>
          <p:txBody>
            <a:bodyPr/>
            <a:lstStyle/>
            <a:p>
              <a:endParaRPr lang="en-US"/>
            </a:p>
          </p:txBody>
        </p:sp>
        <p:sp>
          <p:nvSpPr>
            <p:cNvPr id="425" name="Freeform: Shape 424">
              <a:extLst>
                <a:ext uri="{FF2B5EF4-FFF2-40B4-BE49-F238E27FC236}">
                  <a16:creationId xmlns:a16="http://schemas.microsoft.com/office/drawing/2014/main" id="{902DF270-25BF-F7F2-A526-07A5EB46A831}"/>
                </a:ext>
              </a:extLst>
            </p:cNvPr>
            <p:cNvSpPr/>
            <p:nvPr/>
          </p:nvSpPr>
          <p:spPr>
            <a:xfrm flipV="1">
              <a:off x="24465740" y="3386793"/>
              <a:ext cx="12728" cy="12821"/>
            </a:xfrm>
            <a:custGeom>
              <a:avLst/>
              <a:gdLst>
                <a:gd name="csX0" fmla="*/ -9167 w 12728"/>
                <a:gd name="csY0" fmla="*/ -7672 h 12821"/>
                <a:gd name="csX1" fmla="*/ 3561 w 12728"/>
                <a:gd name="csY1" fmla="*/ -7672 h 12821"/>
                <a:gd name="csX2" fmla="*/ 3561 w 12728"/>
                <a:gd name="csY2" fmla="*/ 5150 h 12821"/>
                <a:gd name="csX3" fmla="*/ -9167 w 12728"/>
                <a:gd name="csY3" fmla="*/ 5150 h 12821"/>
                <a:gd name="csX4" fmla="*/ -9167 w 12728"/>
                <a:gd name="csY4" fmla="*/ -7672 h 12821"/>
              </a:gdLst>
              <a:ahLst/>
              <a:cxnLst>
                <a:cxn ang="0">
                  <a:pos x="csX0" y="csY0"/>
                </a:cxn>
                <a:cxn ang="0">
                  <a:pos x="csX1" y="csY1"/>
                </a:cxn>
                <a:cxn ang="0">
                  <a:pos x="csX2" y="csY2"/>
                </a:cxn>
                <a:cxn ang="0">
                  <a:pos x="csX3" y="csY3"/>
                </a:cxn>
                <a:cxn ang="0">
                  <a:pos x="csX4" y="csY4"/>
                </a:cxn>
              </a:cxnLst>
              <a:rect l="l" t="t" r="r" b="b"/>
              <a:pathLst>
                <a:path w="12728" h="12821">
                  <a:moveTo>
                    <a:pt x="-9167" y="-7672"/>
                  </a:moveTo>
                  <a:lnTo>
                    <a:pt x="3561" y="-7672"/>
                  </a:lnTo>
                  <a:lnTo>
                    <a:pt x="3561" y="5150"/>
                  </a:lnTo>
                  <a:lnTo>
                    <a:pt x="-9167" y="5150"/>
                  </a:lnTo>
                  <a:lnTo>
                    <a:pt x="-9167" y="-7672"/>
                  </a:lnTo>
                </a:path>
              </a:pathLst>
            </a:custGeom>
            <a:grpFill/>
            <a:ln w="548" cap="flat">
              <a:noFill/>
              <a:prstDash val="solid"/>
              <a:miter/>
            </a:ln>
          </p:spPr>
          <p:txBody>
            <a:bodyPr/>
            <a:lstStyle/>
            <a:p>
              <a:endParaRPr lang="en-US"/>
            </a:p>
          </p:txBody>
        </p:sp>
        <p:sp>
          <p:nvSpPr>
            <p:cNvPr id="426" name="Freeform: Shape 425">
              <a:extLst>
                <a:ext uri="{FF2B5EF4-FFF2-40B4-BE49-F238E27FC236}">
                  <a16:creationId xmlns:a16="http://schemas.microsoft.com/office/drawing/2014/main" id="{EFB7754E-8C1A-26BC-7A81-ACC5516EA612}"/>
                </a:ext>
              </a:extLst>
            </p:cNvPr>
            <p:cNvSpPr/>
            <p:nvPr/>
          </p:nvSpPr>
          <p:spPr>
            <a:xfrm flipV="1">
              <a:off x="24424482" y="3446030"/>
              <a:ext cx="12673" cy="12827"/>
            </a:xfrm>
            <a:custGeom>
              <a:avLst/>
              <a:gdLst>
                <a:gd name="csX0" fmla="*/ -9116 w 12673"/>
                <a:gd name="csY0" fmla="*/ -7529 h 12827"/>
                <a:gd name="csX1" fmla="*/ 3557 w 12673"/>
                <a:gd name="csY1" fmla="*/ -7529 h 12827"/>
                <a:gd name="csX2" fmla="*/ 3557 w 12673"/>
                <a:gd name="csY2" fmla="*/ 5298 h 12827"/>
                <a:gd name="csX3" fmla="*/ -9116 w 12673"/>
                <a:gd name="csY3" fmla="*/ 5298 h 12827"/>
                <a:gd name="csX4" fmla="*/ -9116 w 12673"/>
                <a:gd name="csY4" fmla="*/ -7529 h 12827"/>
              </a:gdLst>
              <a:ahLst/>
              <a:cxnLst>
                <a:cxn ang="0">
                  <a:pos x="csX0" y="csY0"/>
                </a:cxn>
                <a:cxn ang="0">
                  <a:pos x="csX1" y="csY1"/>
                </a:cxn>
                <a:cxn ang="0">
                  <a:pos x="csX2" y="csY2"/>
                </a:cxn>
                <a:cxn ang="0">
                  <a:pos x="csX3" y="csY3"/>
                </a:cxn>
                <a:cxn ang="0">
                  <a:pos x="csX4" y="csY4"/>
                </a:cxn>
              </a:cxnLst>
              <a:rect l="l" t="t" r="r" b="b"/>
              <a:pathLst>
                <a:path w="12673" h="12827">
                  <a:moveTo>
                    <a:pt x="-9116" y="-7529"/>
                  </a:moveTo>
                  <a:lnTo>
                    <a:pt x="3557" y="-7529"/>
                  </a:lnTo>
                  <a:lnTo>
                    <a:pt x="3557" y="5298"/>
                  </a:lnTo>
                  <a:lnTo>
                    <a:pt x="-9116" y="5298"/>
                  </a:lnTo>
                  <a:lnTo>
                    <a:pt x="-9116" y="-7529"/>
                  </a:lnTo>
                </a:path>
              </a:pathLst>
            </a:custGeom>
            <a:grpFill/>
            <a:ln w="548" cap="flat">
              <a:noFill/>
              <a:prstDash val="solid"/>
              <a:miter/>
            </a:ln>
          </p:spPr>
          <p:txBody>
            <a:bodyPr/>
            <a:lstStyle/>
            <a:p>
              <a:endParaRPr lang="en-US"/>
            </a:p>
          </p:txBody>
        </p:sp>
        <p:sp>
          <p:nvSpPr>
            <p:cNvPr id="427" name="Freeform: Shape 426">
              <a:extLst>
                <a:ext uri="{FF2B5EF4-FFF2-40B4-BE49-F238E27FC236}">
                  <a16:creationId xmlns:a16="http://schemas.microsoft.com/office/drawing/2014/main" id="{A615F72B-230B-0D89-2F1B-7A7350CB1BC6}"/>
                </a:ext>
              </a:extLst>
            </p:cNvPr>
            <p:cNvSpPr/>
            <p:nvPr/>
          </p:nvSpPr>
          <p:spPr>
            <a:xfrm flipV="1">
              <a:off x="24424482" y="3461260"/>
              <a:ext cx="12673" cy="12821"/>
            </a:xfrm>
            <a:custGeom>
              <a:avLst/>
              <a:gdLst>
                <a:gd name="csX0" fmla="*/ -9116 w 12673"/>
                <a:gd name="csY0" fmla="*/ -7492 h 12821"/>
                <a:gd name="csX1" fmla="*/ 3557 w 12673"/>
                <a:gd name="csY1" fmla="*/ -7492 h 12821"/>
                <a:gd name="csX2" fmla="*/ 3557 w 12673"/>
                <a:gd name="csY2" fmla="*/ 5329 h 12821"/>
                <a:gd name="csX3" fmla="*/ -9116 w 12673"/>
                <a:gd name="csY3" fmla="*/ 5329 h 12821"/>
                <a:gd name="csX4" fmla="*/ -9116 w 12673"/>
                <a:gd name="csY4" fmla="*/ -7492 h 12821"/>
              </a:gdLst>
              <a:ahLst/>
              <a:cxnLst>
                <a:cxn ang="0">
                  <a:pos x="csX0" y="csY0"/>
                </a:cxn>
                <a:cxn ang="0">
                  <a:pos x="csX1" y="csY1"/>
                </a:cxn>
                <a:cxn ang="0">
                  <a:pos x="csX2" y="csY2"/>
                </a:cxn>
                <a:cxn ang="0">
                  <a:pos x="csX3" y="csY3"/>
                </a:cxn>
                <a:cxn ang="0">
                  <a:pos x="csX4" y="csY4"/>
                </a:cxn>
              </a:cxnLst>
              <a:rect l="l" t="t" r="r" b="b"/>
              <a:pathLst>
                <a:path w="12673" h="12821">
                  <a:moveTo>
                    <a:pt x="-9116" y="-7492"/>
                  </a:moveTo>
                  <a:lnTo>
                    <a:pt x="3557" y="-7492"/>
                  </a:lnTo>
                  <a:lnTo>
                    <a:pt x="3557" y="5329"/>
                  </a:lnTo>
                  <a:lnTo>
                    <a:pt x="-9116" y="5329"/>
                  </a:lnTo>
                  <a:lnTo>
                    <a:pt x="-9116" y="-7492"/>
                  </a:lnTo>
                </a:path>
              </a:pathLst>
            </a:custGeom>
            <a:grpFill/>
            <a:ln w="548" cap="flat">
              <a:noFill/>
              <a:prstDash val="solid"/>
              <a:miter/>
            </a:ln>
          </p:spPr>
          <p:txBody>
            <a:bodyPr/>
            <a:lstStyle/>
            <a:p>
              <a:endParaRPr lang="en-US"/>
            </a:p>
          </p:txBody>
        </p:sp>
        <p:sp>
          <p:nvSpPr>
            <p:cNvPr id="428" name="Freeform: Shape 427">
              <a:extLst>
                <a:ext uri="{FF2B5EF4-FFF2-40B4-BE49-F238E27FC236}">
                  <a16:creationId xmlns:a16="http://schemas.microsoft.com/office/drawing/2014/main" id="{01A78378-3E21-7461-4870-E8D7985D4824}"/>
                </a:ext>
              </a:extLst>
            </p:cNvPr>
            <p:cNvSpPr/>
            <p:nvPr/>
          </p:nvSpPr>
          <p:spPr>
            <a:xfrm flipV="1">
              <a:off x="24465740" y="3446030"/>
              <a:ext cx="12728" cy="12827"/>
            </a:xfrm>
            <a:custGeom>
              <a:avLst/>
              <a:gdLst>
                <a:gd name="csX0" fmla="*/ -9167 w 12728"/>
                <a:gd name="csY0" fmla="*/ -7529 h 12827"/>
                <a:gd name="csX1" fmla="*/ 3561 w 12728"/>
                <a:gd name="csY1" fmla="*/ -7529 h 12827"/>
                <a:gd name="csX2" fmla="*/ 3561 w 12728"/>
                <a:gd name="csY2" fmla="*/ 5298 h 12827"/>
                <a:gd name="csX3" fmla="*/ -9167 w 12728"/>
                <a:gd name="csY3" fmla="*/ 5298 h 12827"/>
                <a:gd name="csX4" fmla="*/ -9167 w 12728"/>
                <a:gd name="csY4" fmla="*/ -7529 h 12827"/>
              </a:gdLst>
              <a:ahLst/>
              <a:cxnLst>
                <a:cxn ang="0">
                  <a:pos x="csX0" y="csY0"/>
                </a:cxn>
                <a:cxn ang="0">
                  <a:pos x="csX1" y="csY1"/>
                </a:cxn>
                <a:cxn ang="0">
                  <a:pos x="csX2" y="csY2"/>
                </a:cxn>
                <a:cxn ang="0">
                  <a:pos x="csX3" y="csY3"/>
                </a:cxn>
                <a:cxn ang="0">
                  <a:pos x="csX4" y="csY4"/>
                </a:cxn>
              </a:cxnLst>
              <a:rect l="l" t="t" r="r" b="b"/>
              <a:pathLst>
                <a:path w="12728" h="12827">
                  <a:moveTo>
                    <a:pt x="-9167" y="-7529"/>
                  </a:moveTo>
                  <a:lnTo>
                    <a:pt x="3561" y="-7529"/>
                  </a:lnTo>
                  <a:lnTo>
                    <a:pt x="3561" y="5298"/>
                  </a:lnTo>
                  <a:lnTo>
                    <a:pt x="-9167" y="5298"/>
                  </a:lnTo>
                  <a:lnTo>
                    <a:pt x="-9167" y="-7529"/>
                  </a:lnTo>
                </a:path>
              </a:pathLst>
            </a:custGeom>
            <a:grpFill/>
            <a:ln w="548" cap="flat">
              <a:noFill/>
              <a:prstDash val="solid"/>
              <a:miter/>
            </a:ln>
          </p:spPr>
          <p:txBody>
            <a:bodyPr/>
            <a:lstStyle/>
            <a:p>
              <a:endParaRPr lang="en-US"/>
            </a:p>
          </p:txBody>
        </p:sp>
        <p:sp>
          <p:nvSpPr>
            <p:cNvPr id="429" name="Freeform: Shape 428">
              <a:extLst>
                <a:ext uri="{FF2B5EF4-FFF2-40B4-BE49-F238E27FC236}">
                  <a16:creationId xmlns:a16="http://schemas.microsoft.com/office/drawing/2014/main" id="{FA4FC3EF-D006-D0F0-4285-0C402A4D824A}"/>
                </a:ext>
              </a:extLst>
            </p:cNvPr>
            <p:cNvSpPr/>
            <p:nvPr/>
          </p:nvSpPr>
          <p:spPr>
            <a:xfrm flipV="1">
              <a:off x="24465740" y="3461260"/>
              <a:ext cx="12728" cy="12821"/>
            </a:xfrm>
            <a:custGeom>
              <a:avLst/>
              <a:gdLst>
                <a:gd name="csX0" fmla="*/ -9167 w 12728"/>
                <a:gd name="csY0" fmla="*/ -7492 h 12821"/>
                <a:gd name="csX1" fmla="*/ 3561 w 12728"/>
                <a:gd name="csY1" fmla="*/ -7492 h 12821"/>
                <a:gd name="csX2" fmla="*/ 3561 w 12728"/>
                <a:gd name="csY2" fmla="*/ 5329 h 12821"/>
                <a:gd name="csX3" fmla="*/ -9167 w 12728"/>
                <a:gd name="csY3" fmla="*/ 5329 h 12821"/>
                <a:gd name="csX4" fmla="*/ -9167 w 12728"/>
                <a:gd name="csY4" fmla="*/ -7492 h 12821"/>
              </a:gdLst>
              <a:ahLst/>
              <a:cxnLst>
                <a:cxn ang="0">
                  <a:pos x="csX0" y="csY0"/>
                </a:cxn>
                <a:cxn ang="0">
                  <a:pos x="csX1" y="csY1"/>
                </a:cxn>
                <a:cxn ang="0">
                  <a:pos x="csX2" y="csY2"/>
                </a:cxn>
                <a:cxn ang="0">
                  <a:pos x="csX3" y="csY3"/>
                </a:cxn>
                <a:cxn ang="0">
                  <a:pos x="csX4" y="csY4"/>
                </a:cxn>
              </a:cxnLst>
              <a:rect l="l" t="t" r="r" b="b"/>
              <a:pathLst>
                <a:path w="12728" h="12821">
                  <a:moveTo>
                    <a:pt x="-9167" y="-7492"/>
                  </a:moveTo>
                  <a:lnTo>
                    <a:pt x="3561" y="-7492"/>
                  </a:lnTo>
                  <a:lnTo>
                    <a:pt x="3561" y="5329"/>
                  </a:lnTo>
                  <a:lnTo>
                    <a:pt x="-9167" y="5329"/>
                  </a:lnTo>
                  <a:lnTo>
                    <a:pt x="-9167" y="-7492"/>
                  </a:lnTo>
                </a:path>
              </a:pathLst>
            </a:custGeom>
            <a:grpFill/>
            <a:ln w="548" cap="flat">
              <a:noFill/>
              <a:prstDash val="solid"/>
              <a:miter/>
            </a:ln>
          </p:spPr>
          <p:txBody>
            <a:bodyPr/>
            <a:lstStyle/>
            <a:p>
              <a:endParaRPr lang="en-US"/>
            </a:p>
          </p:txBody>
        </p:sp>
        <p:sp>
          <p:nvSpPr>
            <p:cNvPr id="430" name="Freeform: Shape 429">
              <a:extLst>
                <a:ext uri="{FF2B5EF4-FFF2-40B4-BE49-F238E27FC236}">
                  <a16:creationId xmlns:a16="http://schemas.microsoft.com/office/drawing/2014/main" id="{63D658A5-8A00-697D-7D04-BADEBA9599F0}"/>
                </a:ext>
              </a:extLst>
            </p:cNvPr>
            <p:cNvSpPr/>
            <p:nvPr/>
          </p:nvSpPr>
          <p:spPr>
            <a:xfrm flipV="1">
              <a:off x="24424482" y="3520497"/>
              <a:ext cx="12673" cy="12827"/>
            </a:xfrm>
            <a:custGeom>
              <a:avLst/>
              <a:gdLst>
                <a:gd name="csX0" fmla="*/ -9116 w 12673"/>
                <a:gd name="csY0" fmla="*/ -7350 h 12827"/>
                <a:gd name="csX1" fmla="*/ 3557 w 12673"/>
                <a:gd name="csY1" fmla="*/ -7350 h 12827"/>
                <a:gd name="csX2" fmla="*/ 3557 w 12673"/>
                <a:gd name="csY2" fmla="*/ 5477 h 12827"/>
                <a:gd name="csX3" fmla="*/ -9116 w 12673"/>
                <a:gd name="csY3" fmla="*/ 5477 h 12827"/>
                <a:gd name="csX4" fmla="*/ -9116 w 12673"/>
                <a:gd name="csY4" fmla="*/ -7350 h 12827"/>
              </a:gdLst>
              <a:ahLst/>
              <a:cxnLst>
                <a:cxn ang="0">
                  <a:pos x="csX0" y="csY0"/>
                </a:cxn>
                <a:cxn ang="0">
                  <a:pos x="csX1" y="csY1"/>
                </a:cxn>
                <a:cxn ang="0">
                  <a:pos x="csX2" y="csY2"/>
                </a:cxn>
                <a:cxn ang="0">
                  <a:pos x="csX3" y="csY3"/>
                </a:cxn>
                <a:cxn ang="0">
                  <a:pos x="csX4" y="csY4"/>
                </a:cxn>
              </a:cxnLst>
              <a:rect l="l" t="t" r="r" b="b"/>
              <a:pathLst>
                <a:path w="12673" h="12827">
                  <a:moveTo>
                    <a:pt x="-9116" y="-7350"/>
                  </a:moveTo>
                  <a:lnTo>
                    <a:pt x="3557" y="-7350"/>
                  </a:lnTo>
                  <a:lnTo>
                    <a:pt x="3557" y="5477"/>
                  </a:lnTo>
                  <a:lnTo>
                    <a:pt x="-9116" y="5477"/>
                  </a:lnTo>
                  <a:lnTo>
                    <a:pt x="-9116" y="-7350"/>
                  </a:lnTo>
                </a:path>
              </a:pathLst>
            </a:custGeom>
            <a:grpFill/>
            <a:ln w="548" cap="flat">
              <a:noFill/>
              <a:prstDash val="solid"/>
              <a:miter/>
            </a:ln>
          </p:spPr>
          <p:txBody>
            <a:bodyPr/>
            <a:lstStyle/>
            <a:p>
              <a:endParaRPr lang="en-US"/>
            </a:p>
          </p:txBody>
        </p:sp>
        <p:sp>
          <p:nvSpPr>
            <p:cNvPr id="431" name="Freeform: Shape 430">
              <a:extLst>
                <a:ext uri="{FF2B5EF4-FFF2-40B4-BE49-F238E27FC236}">
                  <a16:creationId xmlns:a16="http://schemas.microsoft.com/office/drawing/2014/main" id="{8456258B-A3B0-140F-3A0B-98CC7D14B958}"/>
                </a:ext>
              </a:extLst>
            </p:cNvPr>
            <p:cNvSpPr/>
            <p:nvPr/>
          </p:nvSpPr>
          <p:spPr>
            <a:xfrm flipV="1">
              <a:off x="24424482" y="3505272"/>
              <a:ext cx="12673" cy="12827"/>
            </a:xfrm>
            <a:custGeom>
              <a:avLst/>
              <a:gdLst>
                <a:gd name="csX0" fmla="*/ -9116 w 12673"/>
                <a:gd name="csY0" fmla="*/ -7387 h 12827"/>
                <a:gd name="csX1" fmla="*/ 3557 w 12673"/>
                <a:gd name="csY1" fmla="*/ -7387 h 12827"/>
                <a:gd name="csX2" fmla="*/ 3557 w 12673"/>
                <a:gd name="csY2" fmla="*/ 5441 h 12827"/>
                <a:gd name="csX3" fmla="*/ -9116 w 12673"/>
                <a:gd name="csY3" fmla="*/ 5441 h 12827"/>
                <a:gd name="csX4" fmla="*/ -9116 w 12673"/>
                <a:gd name="csY4" fmla="*/ -7387 h 12827"/>
              </a:gdLst>
              <a:ahLst/>
              <a:cxnLst>
                <a:cxn ang="0">
                  <a:pos x="csX0" y="csY0"/>
                </a:cxn>
                <a:cxn ang="0">
                  <a:pos x="csX1" y="csY1"/>
                </a:cxn>
                <a:cxn ang="0">
                  <a:pos x="csX2" y="csY2"/>
                </a:cxn>
                <a:cxn ang="0">
                  <a:pos x="csX3" y="csY3"/>
                </a:cxn>
                <a:cxn ang="0">
                  <a:pos x="csX4" y="csY4"/>
                </a:cxn>
              </a:cxnLst>
              <a:rect l="l" t="t" r="r" b="b"/>
              <a:pathLst>
                <a:path w="12673" h="12827">
                  <a:moveTo>
                    <a:pt x="-9116" y="-7387"/>
                  </a:moveTo>
                  <a:lnTo>
                    <a:pt x="3557" y="-7387"/>
                  </a:lnTo>
                  <a:lnTo>
                    <a:pt x="3557" y="5441"/>
                  </a:lnTo>
                  <a:lnTo>
                    <a:pt x="-9116" y="5441"/>
                  </a:lnTo>
                  <a:lnTo>
                    <a:pt x="-9116" y="-7387"/>
                  </a:lnTo>
                </a:path>
              </a:pathLst>
            </a:custGeom>
            <a:grpFill/>
            <a:ln w="548" cap="flat">
              <a:noFill/>
              <a:prstDash val="solid"/>
              <a:miter/>
            </a:ln>
          </p:spPr>
          <p:txBody>
            <a:bodyPr/>
            <a:lstStyle/>
            <a:p>
              <a:endParaRPr lang="en-US"/>
            </a:p>
          </p:txBody>
        </p:sp>
        <p:sp>
          <p:nvSpPr>
            <p:cNvPr id="432" name="Freeform: Shape 431">
              <a:extLst>
                <a:ext uri="{FF2B5EF4-FFF2-40B4-BE49-F238E27FC236}">
                  <a16:creationId xmlns:a16="http://schemas.microsoft.com/office/drawing/2014/main" id="{1C10E4B4-1513-AB5C-1DD3-B4063CD99294}"/>
                </a:ext>
              </a:extLst>
            </p:cNvPr>
            <p:cNvSpPr/>
            <p:nvPr/>
          </p:nvSpPr>
          <p:spPr>
            <a:xfrm flipV="1">
              <a:off x="24465740" y="3520497"/>
              <a:ext cx="12728" cy="12827"/>
            </a:xfrm>
            <a:custGeom>
              <a:avLst/>
              <a:gdLst>
                <a:gd name="csX0" fmla="*/ -9167 w 12728"/>
                <a:gd name="csY0" fmla="*/ -7350 h 12827"/>
                <a:gd name="csX1" fmla="*/ 3561 w 12728"/>
                <a:gd name="csY1" fmla="*/ -7350 h 12827"/>
                <a:gd name="csX2" fmla="*/ 3561 w 12728"/>
                <a:gd name="csY2" fmla="*/ 5477 h 12827"/>
                <a:gd name="csX3" fmla="*/ -9167 w 12728"/>
                <a:gd name="csY3" fmla="*/ 5477 h 12827"/>
                <a:gd name="csX4" fmla="*/ -9167 w 12728"/>
                <a:gd name="csY4" fmla="*/ -7350 h 12827"/>
              </a:gdLst>
              <a:ahLst/>
              <a:cxnLst>
                <a:cxn ang="0">
                  <a:pos x="csX0" y="csY0"/>
                </a:cxn>
                <a:cxn ang="0">
                  <a:pos x="csX1" y="csY1"/>
                </a:cxn>
                <a:cxn ang="0">
                  <a:pos x="csX2" y="csY2"/>
                </a:cxn>
                <a:cxn ang="0">
                  <a:pos x="csX3" y="csY3"/>
                </a:cxn>
                <a:cxn ang="0">
                  <a:pos x="csX4" y="csY4"/>
                </a:cxn>
              </a:cxnLst>
              <a:rect l="l" t="t" r="r" b="b"/>
              <a:pathLst>
                <a:path w="12728" h="12827">
                  <a:moveTo>
                    <a:pt x="-9167" y="-7350"/>
                  </a:moveTo>
                  <a:lnTo>
                    <a:pt x="3561" y="-7350"/>
                  </a:lnTo>
                  <a:lnTo>
                    <a:pt x="3561" y="5477"/>
                  </a:lnTo>
                  <a:lnTo>
                    <a:pt x="-9167" y="5477"/>
                  </a:lnTo>
                  <a:lnTo>
                    <a:pt x="-9167" y="-7350"/>
                  </a:lnTo>
                </a:path>
              </a:pathLst>
            </a:custGeom>
            <a:grpFill/>
            <a:ln w="548" cap="flat">
              <a:noFill/>
              <a:prstDash val="solid"/>
              <a:miter/>
            </a:ln>
          </p:spPr>
          <p:txBody>
            <a:bodyPr/>
            <a:lstStyle/>
            <a:p>
              <a:endParaRPr lang="en-US"/>
            </a:p>
          </p:txBody>
        </p:sp>
        <p:sp>
          <p:nvSpPr>
            <p:cNvPr id="433" name="Freeform: Shape 432">
              <a:extLst>
                <a:ext uri="{FF2B5EF4-FFF2-40B4-BE49-F238E27FC236}">
                  <a16:creationId xmlns:a16="http://schemas.microsoft.com/office/drawing/2014/main" id="{4306EEA7-8BE0-1EA2-54C8-22199DADEBF5}"/>
                </a:ext>
              </a:extLst>
            </p:cNvPr>
            <p:cNvSpPr/>
            <p:nvPr/>
          </p:nvSpPr>
          <p:spPr>
            <a:xfrm flipV="1">
              <a:off x="24465740" y="3505272"/>
              <a:ext cx="12728" cy="12827"/>
            </a:xfrm>
            <a:custGeom>
              <a:avLst/>
              <a:gdLst>
                <a:gd name="csX0" fmla="*/ -9167 w 12728"/>
                <a:gd name="csY0" fmla="*/ -7387 h 12827"/>
                <a:gd name="csX1" fmla="*/ 3561 w 12728"/>
                <a:gd name="csY1" fmla="*/ -7387 h 12827"/>
                <a:gd name="csX2" fmla="*/ 3561 w 12728"/>
                <a:gd name="csY2" fmla="*/ 5441 h 12827"/>
                <a:gd name="csX3" fmla="*/ -9167 w 12728"/>
                <a:gd name="csY3" fmla="*/ 5441 h 12827"/>
                <a:gd name="csX4" fmla="*/ -9167 w 12728"/>
                <a:gd name="csY4" fmla="*/ -7387 h 12827"/>
              </a:gdLst>
              <a:ahLst/>
              <a:cxnLst>
                <a:cxn ang="0">
                  <a:pos x="csX0" y="csY0"/>
                </a:cxn>
                <a:cxn ang="0">
                  <a:pos x="csX1" y="csY1"/>
                </a:cxn>
                <a:cxn ang="0">
                  <a:pos x="csX2" y="csY2"/>
                </a:cxn>
                <a:cxn ang="0">
                  <a:pos x="csX3" y="csY3"/>
                </a:cxn>
                <a:cxn ang="0">
                  <a:pos x="csX4" y="csY4"/>
                </a:cxn>
              </a:cxnLst>
              <a:rect l="l" t="t" r="r" b="b"/>
              <a:pathLst>
                <a:path w="12728" h="12827">
                  <a:moveTo>
                    <a:pt x="-9167" y="-7387"/>
                  </a:moveTo>
                  <a:lnTo>
                    <a:pt x="3561" y="-7387"/>
                  </a:lnTo>
                  <a:lnTo>
                    <a:pt x="3561" y="5441"/>
                  </a:lnTo>
                  <a:lnTo>
                    <a:pt x="-9167" y="5441"/>
                  </a:lnTo>
                  <a:lnTo>
                    <a:pt x="-9167" y="-7387"/>
                  </a:lnTo>
                </a:path>
              </a:pathLst>
            </a:custGeom>
            <a:grpFill/>
            <a:ln w="548" cap="flat">
              <a:noFill/>
              <a:prstDash val="solid"/>
              <a:miter/>
            </a:ln>
          </p:spPr>
          <p:txBody>
            <a:bodyPr/>
            <a:lstStyle/>
            <a:p>
              <a:endParaRPr lang="en-US"/>
            </a:p>
          </p:txBody>
        </p:sp>
        <p:sp>
          <p:nvSpPr>
            <p:cNvPr id="434" name="Freeform: Shape 433">
              <a:extLst>
                <a:ext uri="{FF2B5EF4-FFF2-40B4-BE49-F238E27FC236}">
                  <a16:creationId xmlns:a16="http://schemas.microsoft.com/office/drawing/2014/main" id="{08C9839B-260A-9CB9-8304-004866F6C47D}"/>
                </a:ext>
              </a:extLst>
            </p:cNvPr>
            <p:cNvSpPr/>
            <p:nvPr/>
          </p:nvSpPr>
          <p:spPr>
            <a:xfrm flipV="1">
              <a:off x="24396391" y="3559148"/>
              <a:ext cx="21671" cy="11834"/>
            </a:xfrm>
            <a:custGeom>
              <a:avLst/>
              <a:gdLst>
                <a:gd name="csX0" fmla="*/ 12585 w 21671"/>
                <a:gd name="csY0" fmla="*/ 4576 h 11834"/>
                <a:gd name="csX1" fmla="*/ -9087 w 21671"/>
                <a:gd name="csY1" fmla="*/ 4576 h 11834"/>
                <a:gd name="csX2" fmla="*/ -9087 w 21671"/>
                <a:gd name="csY2" fmla="*/ -7258 h 11834"/>
                <a:gd name="csX3" fmla="*/ 12585 w 21671"/>
                <a:gd name="csY3" fmla="*/ -7258 h 11834"/>
                <a:gd name="csX4" fmla="*/ 12585 w 21671"/>
                <a:gd name="csY4" fmla="*/ 4576 h 11834"/>
              </a:gdLst>
              <a:ahLst/>
              <a:cxnLst>
                <a:cxn ang="0">
                  <a:pos x="csX0" y="csY0"/>
                </a:cxn>
                <a:cxn ang="0">
                  <a:pos x="csX1" y="csY1"/>
                </a:cxn>
                <a:cxn ang="0">
                  <a:pos x="csX2" y="csY2"/>
                </a:cxn>
                <a:cxn ang="0">
                  <a:pos x="csX3" y="csY3"/>
                </a:cxn>
                <a:cxn ang="0">
                  <a:pos x="csX4" y="csY4"/>
                </a:cxn>
              </a:cxnLst>
              <a:rect l="l" t="t" r="r" b="b"/>
              <a:pathLst>
                <a:path w="21671" h="11834">
                  <a:moveTo>
                    <a:pt x="12585" y="4576"/>
                  </a:moveTo>
                  <a:lnTo>
                    <a:pt x="-9087" y="4576"/>
                  </a:lnTo>
                  <a:lnTo>
                    <a:pt x="-9087" y="-7258"/>
                  </a:lnTo>
                  <a:lnTo>
                    <a:pt x="12585" y="-7258"/>
                  </a:lnTo>
                  <a:lnTo>
                    <a:pt x="12585" y="4576"/>
                  </a:lnTo>
                </a:path>
              </a:pathLst>
            </a:custGeom>
            <a:grpFill/>
            <a:ln w="548" cap="flat">
              <a:noFill/>
              <a:prstDash val="solid"/>
              <a:miter/>
            </a:ln>
          </p:spPr>
          <p:txBody>
            <a:bodyPr/>
            <a:lstStyle/>
            <a:p>
              <a:endParaRPr lang="en-US"/>
            </a:p>
          </p:txBody>
        </p:sp>
        <p:sp>
          <p:nvSpPr>
            <p:cNvPr id="435" name="Freeform: Shape 434">
              <a:extLst>
                <a:ext uri="{FF2B5EF4-FFF2-40B4-BE49-F238E27FC236}">
                  <a16:creationId xmlns:a16="http://schemas.microsoft.com/office/drawing/2014/main" id="{AC7D5184-20D7-AA34-DFC4-06F6BF24571D}"/>
                </a:ext>
              </a:extLst>
            </p:cNvPr>
            <p:cNvSpPr/>
            <p:nvPr/>
          </p:nvSpPr>
          <p:spPr>
            <a:xfrm flipV="1">
              <a:off x="24396391" y="3573386"/>
              <a:ext cx="21671" cy="11828"/>
            </a:xfrm>
            <a:custGeom>
              <a:avLst/>
              <a:gdLst>
                <a:gd name="csX0" fmla="*/ -9087 w 21671"/>
                <a:gd name="csY0" fmla="*/ -7224 h 11828"/>
                <a:gd name="csX1" fmla="*/ 12585 w 21671"/>
                <a:gd name="csY1" fmla="*/ -7224 h 11828"/>
                <a:gd name="csX2" fmla="*/ 12585 w 21671"/>
                <a:gd name="csY2" fmla="*/ 4605 h 11828"/>
                <a:gd name="csX3" fmla="*/ -9087 w 21671"/>
                <a:gd name="csY3" fmla="*/ 4605 h 11828"/>
                <a:gd name="csX4" fmla="*/ -9087 w 21671"/>
                <a:gd name="csY4" fmla="*/ -7224 h 11828"/>
              </a:gdLst>
              <a:ahLst/>
              <a:cxnLst>
                <a:cxn ang="0">
                  <a:pos x="csX0" y="csY0"/>
                </a:cxn>
                <a:cxn ang="0">
                  <a:pos x="csX1" y="csY1"/>
                </a:cxn>
                <a:cxn ang="0">
                  <a:pos x="csX2" y="csY2"/>
                </a:cxn>
                <a:cxn ang="0">
                  <a:pos x="csX3" y="csY3"/>
                </a:cxn>
                <a:cxn ang="0">
                  <a:pos x="csX4" y="csY4"/>
                </a:cxn>
              </a:cxnLst>
              <a:rect l="l" t="t" r="r" b="b"/>
              <a:pathLst>
                <a:path w="21671" h="11828">
                  <a:moveTo>
                    <a:pt x="-9087" y="-7224"/>
                  </a:moveTo>
                  <a:lnTo>
                    <a:pt x="12585" y="-7224"/>
                  </a:lnTo>
                  <a:lnTo>
                    <a:pt x="12585" y="4605"/>
                  </a:lnTo>
                  <a:lnTo>
                    <a:pt x="-9087" y="4605"/>
                  </a:lnTo>
                  <a:lnTo>
                    <a:pt x="-9087" y="-7224"/>
                  </a:lnTo>
                </a:path>
              </a:pathLst>
            </a:custGeom>
            <a:grpFill/>
            <a:ln w="548" cap="flat">
              <a:noFill/>
              <a:prstDash val="solid"/>
              <a:miter/>
            </a:ln>
          </p:spPr>
          <p:txBody>
            <a:bodyPr/>
            <a:lstStyle/>
            <a:p>
              <a:endParaRPr lang="en-US"/>
            </a:p>
          </p:txBody>
        </p:sp>
        <p:sp>
          <p:nvSpPr>
            <p:cNvPr id="436" name="Freeform: Shape 435">
              <a:extLst>
                <a:ext uri="{FF2B5EF4-FFF2-40B4-BE49-F238E27FC236}">
                  <a16:creationId xmlns:a16="http://schemas.microsoft.com/office/drawing/2014/main" id="{3E814A0F-A904-0F6B-866E-0129FDCA7272}"/>
                </a:ext>
              </a:extLst>
            </p:cNvPr>
            <p:cNvSpPr/>
            <p:nvPr/>
          </p:nvSpPr>
          <p:spPr>
            <a:xfrm flipV="1">
              <a:off x="24453889" y="3559148"/>
              <a:ext cx="21671" cy="11834"/>
            </a:xfrm>
            <a:custGeom>
              <a:avLst/>
              <a:gdLst>
                <a:gd name="csX0" fmla="*/ 12513 w 21671"/>
                <a:gd name="csY0" fmla="*/ 4576 h 11834"/>
                <a:gd name="csX1" fmla="*/ -9158 w 21671"/>
                <a:gd name="csY1" fmla="*/ 4576 h 11834"/>
                <a:gd name="csX2" fmla="*/ -9158 w 21671"/>
                <a:gd name="csY2" fmla="*/ -7258 h 11834"/>
                <a:gd name="csX3" fmla="*/ 12513 w 21671"/>
                <a:gd name="csY3" fmla="*/ -7258 h 11834"/>
                <a:gd name="csX4" fmla="*/ 12513 w 21671"/>
                <a:gd name="csY4" fmla="*/ 4576 h 11834"/>
              </a:gdLst>
              <a:ahLst/>
              <a:cxnLst>
                <a:cxn ang="0">
                  <a:pos x="csX0" y="csY0"/>
                </a:cxn>
                <a:cxn ang="0">
                  <a:pos x="csX1" y="csY1"/>
                </a:cxn>
                <a:cxn ang="0">
                  <a:pos x="csX2" y="csY2"/>
                </a:cxn>
                <a:cxn ang="0">
                  <a:pos x="csX3" y="csY3"/>
                </a:cxn>
                <a:cxn ang="0">
                  <a:pos x="csX4" y="csY4"/>
                </a:cxn>
              </a:cxnLst>
              <a:rect l="l" t="t" r="r" b="b"/>
              <a:pathLst>
                <a:path w="21671" h="11834">
                  <a:moveTo>
                    <a:pt x="12513" y="4576"/>
                  </a:moveTo>
                  <a:lnTo>
                    <a:pt x="-9158" y="4576"/>
                  </a:lnTo>
                  <a:lnTo>
                    <a:pt x="-9158" y="-7258"/>
                  </a:lnTo>
                  <a:lnTo>
                    <a:pt x="12513" y="-7258"/>
                  </a:lnTo>
                  <a:lnTo>
                    <a:pt x="12513" y="4576"/>
                  </a:lnTo>
                </a:path>
              </a:pathLst>
            </a:custGeom>
            <a:grpFill/>
            <a:ln w="548" cap="flat">
              <a:noFill/>
              <a:prstDash val="solid"/>
              <a:miter/>
            </a:ln>
          </p:spPr>
          <p:txBody>
            <a:bodyPr/>
            <a:lstStyle/>
            <a:p>
              <a:endParaRPr lang="en-US"/>
            </a:p>
          </p:txBody>
        </p:sp>
        <p:sp>
          <p:nvSpPr>
            <p:cNvPr id="437" name="Freeform: Shape 436">
              <a:extLst>
                <a:ext uri="{FF2B5EF4-FFF2-40B4-BE49-F238E27FC236}">
                  <a16:creationId xmlns:a16="http://schemas.microsoft.com/office/drawing/2014/main" id="{8FD211C7-ECFA-ABF6-A3AD-41954C88A0AC}"/>
                </a:ext>
              </a:extLst>
            </p:cNvPr>
            <p:cNvSpPr/>
            <p:nvPr/>
          </p:nvSpPr>
          <p:spPr>
            <a:xfrm flipV="1">
              <a:off x="24453889" y="3573386"/>
              <a:ext cx="21671" cy="11828"/>
            </a:xfrm>
            <a:custGeom>
              <a:avLst/>
              <a:gdLst>
                <a:gd name="csX0" fmla="*/ -9158 w 21671"/>
                <a:gd name="csY0" fmla="*/ -7224 h 11828"/>
                <a:gd name="csX1" fmla="*/ 12513 w 21671"/>
                <a:gd name="csY1" fmla="*/ -7224 h 11828"/>
                <a:gd name="csX2" fmla="*/ 12513 w 21671"/>
                <a:gd name="csY2" fmla="*/ 4605 h 11828"/>
                <a:gd name="csX3" fmla="*/ -9158 w 21671"/>
                <a:gd name="csY3" fmla="*/ 4605 h 11828"/>
                <a:gd name="csX4" fmla="*/ -9158 w 21671"/>
                <a:gd name="csY4" fmla="*/ -7224 h 11828"/>
              </a:gdLst>
              <a:ahLst/>
              <a:cxnLst>
                <a:cxn ang="0">
                  <a:pos x="csX0" y="csY0"/>
                </a:cxn>
                <a:cxn ang="0">
                  <a:pos x="csX1" y="csY1"/>
                </a:cxn>
                <a:cxn ang="0">
                  <a:pos x="csX2" y="csY2"/>
                </a:cxn>
                <a:cxn ang="0">
                  <a:pos x="csX3" y="csY3"/>
                </a:cxn>
                <a:cxn ang="0">
                  <a:pos x="csX4" y="csY4"/>
                </a:cxn>
              </a:cxnLst>
              <a:rect l="l" t="t" r="r" b="b"/>
              <a:pathLst>
                <a:path w="21671" h="11828">
                  <a:moveTo>
                    <a:pt x="-9158" y="-7224"/>
                  </a:moveTo>
                  <a:lnTo>
                    <a:pt x="12513" y="-7224"/>
                  </a:lnTo>
                  <a:lnTo>
                    <a:pt x="12513" y="4605"/>
                  </a:lnTo>
                  <a:lnTo>
                    <a:pt x="-9158" y="4605"/>
                  </a:lnTo>
                  <a:lnTo>
                    <a:pt x="-9158" y="-7224"/>
                  </a:lnTo>
                </a:path>
              </a:pathLst>
            </a:custGeom>
            <a:grpFill/>
            <a:ln w="548" cap="flat">
              <a:noFill/>
              <a:prstDash val="solid"/>
              <a:miter/>
            </a:ln>
          </p:spPr>
          <p:txBody>
            <a:bodyPr/>
            <a:lstStyle/>
            <a:p>
              <a:endParaRPr lang="en-US"/>
            </a:p>
          </p:txBody>
        </p:sp>
        <p:sp>
          <p:nvSpPr>
            <p:cNvPr id="438" name="Freeform: Shape 437">
              <a:extLst>
                <a:ext uri="{FF2B5EF4-FFF2-40B4-BE49-F238E27FC236}">
                  <a16:creationId xmlns:a16="http://schemas.microsoft.com/office/drawing/2014/main" id="{ED600C8B-68FD-4B83-91E9-CEC05D84F406}"/>
                </a:ext>
              </a:extLst>
            </p:cNvPr>
            <p:cNvSpPr/>
            <p:nvPr/>
          </p:nvSpPr>
          <p:spPr>
            <a:xfrm flipV="1">
              <a:off x="24396391" y="3618670"/>
              <a:ext cx="21671" cy="11828"/>
            </a:xfrm>
            <a:custGeom>
              <a:avLst/>
              <a:gdLst>
                <a:gd name="csX0" fmla="*/ -9087 w 21671"/>
                <a:gd name="csY0" fmla="*/ -7115 h 11828"/>
                <a:gd name="csX1" fmla="*/ 12585 w 21671"/>
                <a:gd name="csY1" fmla="*/ -7115 h 11828"/>
                <a:gd name="csX2" fmla="*/ 12585 w 21671"/>
                <a:gd name="csY2" fmla="*/ 4714 h 11828"/>
                <a:gd name="csX3" fmla="*/ -9087 w 21671"/>
                <a:gd name="csY3" fmla="*/ 4714 h 11828"/>
                <a:gd name="csX4" fmla="*/ -9087 w 21671"/>
                <a:gd name="csY4" fmla="*/ -7115 h 11828"/>
              </a:gdLst>
              <a:ahLst/>
              <a:cxnLst>
                <a:cxn ang="0">
                  <a:pos x="csX0" y="csY0"/>
                </a:cxn>
                <a:cxn ang="0">
                  <a:pos x="csX1" y="csY1"/>
                </a:cxn>
                <a:cxn ang="0">
                  <a:pos x="csX2" y="csY2"/>
                </a:cxn>
                <a:cxn ang="0">
                  <a:pos x="csX3" y="csY3"/>
                </a:cxn>
                <a:cxn ang="0">
                  <a:pos x="csX4" y="csY4"/>
                </a:cxn>
              </a:cxnLst>
              <a:rect l="l" t="t" r="r" b="b"/>
              <a:pathLst>
                <a:path w="21671" h="11828">
                  <a:moveTo>
                    <a:pt x="-9087" y="-7115"/>
                  </a:moveTo>
                  <a:lnTo>
                    <a:pt x="12585" y="-7115"/>
                  </a:lnTo>
                  <a:lnTo>
                    <a:pt x="12585" y="4714"/>
                  </a:lnTo>
                  <a:lnTo>
                    <a:pt x="-9087" y="4714"/>
                  </a:lnTo>
                  <a:lnTo>
                    <a:pt x="-9087" y="-7115"/>
                  </a:lnTo>
                </a:path>
              </a:pathLst>
            </a:custGeom>
            <a:grpFill/>
            <a:ln w="548" cap="flat">
              <a:noFill/>
              <a:prstDash val="solid"/>
              <a:miter/>
            </a:ln>
          </p:spPr>
          <p:txBody>
            <a:bodyPr/>
            <a:lstStyle/>
            <a:p>
              <a:endParaRPr lang="en-US"/>
            </a:p>
          </p:txBody>
        </p:sp>
        <p:sp>
          <p:nvSpPr>
            <p:cNvPr id="439" name="Freeform: Shape 438">
              <a:extLst>
                <a:ext uri="{FF2B5EF4-FFF2-40B4-BE49-F238E27FC236}">
                  <a16:creationId xmlns:a16="http://schemas.microsoft.com/office/drawing/2014/main" id="{191E5B55-8342-4BD1-316C-FD81A7608CF9}"/>
                </a:ext>
              </a:extLst>
            </p:cNvPr>
            <p:cNvSpPr/>
            <p:nvPr/>
          </p:nvSpPr>
          <p:spPr>
            <a:xfrm flipV="1">
              <a:off x="24396391" y="3632902"/>
              <a:ext cx="21671" cy="11828"/>
            </a:xfrm>
            <a:custGeom>
              <a:avLst/>
              <a:gdLst>
                <a:gd name="csX0" fmla="*/ -9087 w 21671"/>
                <a:gd name="csY0" fmla="*/ -7081 h 11828"/>
                <a:gd name="csX1" fmla="*/ 12585 w 21671"/>
                <a:gd name="csY1" fmla="*/ -7081 h 11828"/>
                <a:gd name="csX2" fmla="*/ 12585 w 21671"/>
                <a:gd name="csY2" fmla="*/ 4748 h 11828"/>
                <a:gd name="csX3" fmla="*/ -9087 w 21671"/>
                <a:gd name="csY3" fmla="*/ 4748 h 11828"/>
                <a:gd name="csX4" fmla="*/ -9087 w 21671"/>
                <a:gd name="csY4" fmla="*/ -7081 h 11828"/>
              </a:gdLst>
              <a:ahLst/>
              <a:cxnLst>
                <a:cxn ang="0">
                  <a:pos x="csX0" y="csY0"/>
                </a:cxn>
                <a:cxn ang="0">
                  <a:pos x="csX1" y="csY1"/>
                </a:cxn>
                <a:cxn ang="0">
                  <a:pos x="csX2" y="csY2"/>
                </a:cxn>
                <a:cxn ang="0">
                  <a:pos x="csX3" y="csY3"/>
                </a:cxn>
                <a:cxn ang="0">
                  <a:pos x="csX4" y="csY4"/>
                </a:cxn>
              </a:cxnLst>
              <a:rect l="l" t="t" r="r" b="b"/>
              <a:pathLst>
                <a:path w="21671" h="11828">
                  <a:moveTo>
                    <a:pt x="-9087" y="-7081"/>
                  </a:moveTo>
                  <a:lnTo>
                    <a:pt x="12585" y="-7081"/>
                  </a:lnTo>
                  <a:lnTo>
                    <a:pt x="12585" y="4748"/>
                  </a:lnTo>
                  <a:lnTo>
                    <a:pt x="-9087" y="4748"/>
                  </a:lnTo>
                  <a:lnTo>
                    <a:pt x="-9087" y="-7081"/>
                  </a:lnTo>
                </a:path>
              </a:pathLst>
            </a:custGeom>
            <a:grpFill/>
            <a:ln w="548" cap="flat">
              <a:noFill/>
              <a:prstDash val="solid"/>
              <a:miter/>
            </a:ln>
          </p:spPr>
          <p:txBody>
            <a:bodyPr/>
            <a:lstStyle/>
            <a:p>
              <a:endParaRPr lang="en-US"/>
            </a:p>
          </p:txBody>
        </p:sp>
        <p:sp>
          <p:nvSpPr>
            <p:cNvPr id="440" name="Freeform: Shape 439">
              <a:extLst>
                <a:ext uri="{FF2B5EF4-FFF2-40B4-BE49-F238E27FC236}">
                  <a16:creationId xmlns:a16="http://schemas.microsoft.com/office/drawing/2014/main" id="{96DA000A-06EF-CF77-E736-32A95BF3D198}"/>
                </a:ext>
              </a:extLst>
            </p:cNvPr>
            <p:cNvSpPr/>
            <p:nvPr/>
          </p:nvSpPr>
          <p:spPr>
            <a:xfrm flipV="1">
              <a:off x="24453889" y="3618670"/>
              <a:ext cx="21671" cy="11828"/>
            </a:xfrm>
            <a:custGeom>
              <a:avLst/>
              <a:gdLst>
                <a:gd name="csX0" fmla="*/ -9158 w 21671"/>
                <a:gd name="csY0" fmla="*/ -7115 h 11828"/>
                <a:gd name="csX1" fmla="*/ 12513 w 21671"/>
                <a:gd name="csY1" fmla="*/ -7115 h 11828"/>
                <a:gd name="csX2" fmla="*/ 12513 w 21671"/>
                <a:gd name="csY2" fmla="*/ 4714 h 11828"/>
                <a:gd name="csX3" fmla="*/ -9158 w 21671"/>
                <a:gd name="csY3" fmla="*/ 4714 h 11828"/>
                <a:gd name="csX4" fmla="*/ -9158 w 21671"/>
                <a:gd name="csY4" fmla="*/ -7115 h 11828"/>
              </a:gdLst>
              <a:ahLst/>
              <a:cxnLst>
                <a:cxn ang="0">
                  <a:pos x="csX0" y="csY0"/>
                </a:cxn>
                <a:cxn ang="0">
                  <a:pos x="csX1" y="csY1"/>
                </a:cxn>
                <a:cxn ang="0">
                  <a:pos x="csX2" y="csY2"/>
                </a:cxn>
                <a:cxn ang="0">
                  <a:pos x="csX3" y="csY3"/>
                </a:cxn>
                <a:cxn ang="0">
                  <a:pos x="csX4" y="csY4"/>
                </a:cxn>
              </a:cxnLst>
              <a:rect l="l" t="t" r="r" b="b"/>
              <a:pathLst>
                <a:path w="21671" h="11828">
                  <a:moveTo>
                    <a:pt x="-9158" y="-7115"/>
                  </a:moveTo>
                  <a:lnTo>
                    <a:pt x="12513" y="-7115"/>
                  </a:lnTo>
                  <a:lnTo>
                    <a:pt x="12513" y="4714"/>
                  </a:lnTo>
                  <a:lnTo>
                    <a:pt x="-9158" y="4714"/>
                  </a:lnTo>
                  <a:lnTo>
                    <a:pt x="-9158" y="-7115"/>
                  </a:lnTo>
                </a:path>
              </a:pathLst>
            </a:custGeom>
            <a:grpFill/>
            <a:ln w="548" cap="flat">
              <a:noFill/>
              <a:prstDash val="solid"/>
              <a:miter/>
            </a:ln>
          </p:spPr>
          <p:txBody>
            <a:bodyPr/>
            <a:lstStyle/>
            <a:p>
              <a:endParaRPr lang="en-US"/>
            </a:p>
          </p:txBody>
        </p:sp>
        <p:sp>
          <p:nvSpPr>
            <p:cNvPr id="441" name="Freeform: Shape 440">
              <a:extLst>
                <a:ext uri="{FF2B5EF4-FFF2-40B4-BE49-F238E27FC236}">
                  <a16:creationId xmlns:a16="http://schemas.microsoft.com/office/drawing/2014/main" id="{F2B8C31F-CD02-0B5A-3911-85001473312A}"/>
                </a:ext>
              </a:extLst>
            </p:cNvPr>
            <p:cNvSpPr/>
            <p:nvPr/>
          </p:nvSpPr>
          <p:spPr>
            <a:xfrm flipV="1">
              <a:off x="24453889" y="3632902"/>
              <a:ext cx="21671" cy="11828"/>
            </a:xfrm>
            <a:custGeom>
              <a:avLst/>
              <a:gdLst>
                <a:gd name="csX0" fmla="*/ -9158 w 21671"/>
                <a:gd name="csY0" fmla="*/ -7081 h 11828"/>
                <a:gd name="csX1" fmla="*/ 12513 w 21671"/>
                <a:gd name="csY1" fmla="*/ -7081 h 11828"/>
                <a:gd name="csX2" fmla="*/ 12513 w 21671"/>
                <a:gd name="csY2" fmla="*/ 4748 h 11828"/>
                <a:gd name="csX3" fmla="*/ -9158 w 21671"/>
                <a:gd name="csY3" fmla="*/ 4748 h 11828"/>
                <a:gd name="csX4" fmla="*/ -9158 w 21671"/>
                <a:gd name="csY4" fmla="*/ -7081 h 11828"/>
              </a:gdLst>
              <a:ahLst/>
              <a:cxnLst>
                <a:cxn ang="0">
                  <a:pos x="csX0" y="csY0"/>
                </a:cxn>
                <a:cxn ang="0">
                  <a:pos x="csX1" y="csY1"/>
                </a:cxn>
                <a:cxn ang="0">
                  <a:pos x="csX2" y="csY2"/>
                </a:cxn>
                <a:cxn ang="0">
                  <a:pos x="csX3" y="csY3"/>
                </a:cxn>
                <a:cxn ang="0">
                  <a:pos x="csX4" y="csY4"/>
                </a:cxn>
              </a:cxnLst>
              <a:rect l="l" t="t" r="r" b="b"/>
              <a:pathLst>
                <a:path w="21671" h="11828">
                  <a:moveTo>
                    <a:pt x="-9158" y="-7081"/>
                  </a:moveTo>
                  <a:lnTo>
                    <a:pt x="12513" y="-7081"/>
                  </a:lnTo>
                  <a:lnTo>
                    <a:pt x="12513" y="4748"/>
                  </a:lnTo>
                  <a:lnTo>
                    <a:pt x="-9158" y="4748"/>
                  </a:lnTo>
                  <a:lnTo>
                    <a:pt x="-9158" y="-7081"/>
                  </a:lnTo>
                </a:path>
              </a:pathLst>
            </a:custGeom>
            <a:grpFill/>
            <a:ln w="548" cap="flat">
              <a:noFill/>
              <a:prstDash val="solid"/>
              <a:miter/>
            </a:ln>
          </p:spPr>
          <p:txBody>
            <a:bodyPr/>
            <a:lstStyle/>
            <a:p>
              <a:endParaRPr lang="en-US"/>
            </a:p>
          </p:txBody>
        </p:sp>
        <p:sp>
          <p:nvSpPr>
            <p:cNvPr id="442" name="Freeform: Shape 441">
              <a:extLst>
                <a:ext uri="{FF2B5EF4-FFF2-40B4-BE49-F238E27FC236}">
                  <a16:creationId xmlns:a16="http://schemas.microsoft.com/office/drawing/2014/main" id="{25213101-E8FB-02AC-A9A6-7CB1E4D21533}"/>
                </a:ext>
              </a:extLst>
            </p:cNvPr>
            <p:cNvSpPr/>
            <p:nvPr/>
          </p:nvSpPr>
          <p:spPr>
            <a:xfrm flipV="1">
              <a:off x="24396391" y="3678187"/>
              <a:ext cx="21671" cy="11828"/>
            </a:xfrm>
            <a:custGeom>
              <a:avLst/>
              <a:gdLst>
                <a:gd name="csX0" fmla="*/ -9087 w 21671"/>
                <a:gd name="csY0" fmla="*/ -6972 h 11828"/>
                <a:gd name="csX1" fmla="*/ 12585 w 21671"/>
                <a:gd name="csY1" fmla="*/ -6972 h 11828"/>
                <a:gd name="csX2" fmla="*/ 12585 w 21671"/>
                <a:gd name="csY2" fmla="*/ 4857 h 11828"/>
                <a:gd name="csX3" fmla="*/ -9087 w 21671"/>
                <a:gd name="csY3" fmla="*/ 4857 h 11828"/>
                <a:gd name="csX4" fmla="*/ -9087 w 21671"/>
                <a:gd name="csY4" fmla="*/ -6972 h 11828"/>
              </a:gdLst>
              <a:ahLst/>
              <a:cxnLst>
                <a:cxn ang="0">
                  <a:pos x="csX0" y="csY0"/>
                </a:cxn>
                <a:cxn ang="0">
                  <a:pos x="csX1" y="csY1"/>
                </a:cxn>
                <a:cxn ang="0">
                  <a:pos x="csX2" y="csY2"/>
                </a:cxn>
                <a:cxn ang="0">
                  <a:pos x="csX3" y="csY3"/>
                </a:cxn>
                <a:cxn ang="0">
                  <a:pos x="csX4" y="csY4"/>
                </a:cxn>
              </a:cxnLst>
              <a:rect l="l" t="t" r="r" b="b"/>
              <a:pathLst>
                <a:path w="21671" h="11828">
                  <a:moveTo>
                    <a:pt x="-9087" y="-6972"/>
                  </a:moveTo>
                  <a:lnTo>
                    <a:pt x="12585" y="-6972"/>
                  </a:lnTo>
                  <a:lnTo>
                    <a:pt x="12585" y="4857"/>
                  </a:lnTo>
                  <a:lnTo>
                    <a:pt x="-9087" y="4857"/>
                  </a:lnTo>
                  <a:lnTo>
                    <a:pt x="-9087" y="-6972"/>
                  </a:lnTo>
                </a:path>
              </a:pathLst>
            </a:custGeom>
            <a:grpFill/>
            <a:ln w="548" cap="flat">
              <a:noFill/>
              <a:prstDash val="solid"/>
              <a:miter/>
            </a:ln>
          </p:spPr>
          <p:txBody>
            <a:bodyPr/>
            <a:lstStyle/>
            <a:p>
              <a:endParaRPr lang="en-US"/>
            </a:p>
          </p:txBody>
        </p:sp>
        <p:sp>
          <p:nvSpPr>
            <p:cNvPr id="443" name="Freeform: Shape 442">
              <a:extLst>
                <a:ext uri="{FF2B5EF4-FFF2-40B4-BE49-F238E27FC236}">
                  <a16:creationId xmlns:a16="http://schemas.microsoft.com/office/drawing/2014/main" id="{A5B2C9E6-6560-F1E3-EC62-E7DC4D348DE9}"/>
                </a:ext>
              </a:extLst>
            </p:cNvPr>
            <p:cNvSpPr/>
            <p:nvPr/>
          </p:nvSpPr>
          <p:spPr>
            <a:xfrm flipV="1">
              <a:off x="24396391" y="3692419"/>
              <a:ext cx="21671" cy="11828"/>
            </a:xfrm>
            <a:custGeom>
              <a:avLst/>
              <a:gdLst>
                <a:gd name="csX0" fmla="*/ -9087 w 21671"/>
                <a:gd name="csY0" fmla="*/ -6937 h 11828"/>
                <a:gd name="csX1" fmla="*/ 12585 w 21671"/>
                <a:gd name="csY1" fmla="*/ -6937 h 11828"/>
                <a:gd name="csX2" fmla="*/ 12585 w 21671"/>
                <a:gd name="csY2" fmla="*/ 4891 h 11828"/>
                <a:gd name="csX3" fmla="*/ -9087 w 21671"/>
                <a:gd name="csY3" fmla="*/ 4891 h 11828"/>
                <a:gd name="csX4" fmla="*/ -9087 w 21671"/>
                <a:gd name="csY4" fmla="*/ -6937 h 11828"/>
              </a:gdLst>
              <a:ahLst/>
              <a:cxnLst>
                <a:cxn ang="0">
                  <a:pos x="csX0" y="csY0"/>
                </a:cxn>
                <a:cxn ang="0">
                  <a:pos x="csX1" y="csY1"/>
                </a:cxn>
                <a:cxn ang="0">
                  <a:pos x="csX2" y="csY2"/>
                </a:cxn>
                <a:cxn ang="0">
                  <a:pos x="csX3" y="csY3"/>
                </a:cxn>
                <a:cxn ang="0">
                  <a:pos x="csX4" y="csY4"/>
                </a:cxn>
              </a:cxnLst>
              <a:rect l="l" t="t" r="r" b="b"/>
              <a:pathLst>
                <a:path w="21671" h="11828">
                  <a:moveTo>
                    <a:pt x="-9087" y="-6937"/>
                  </a:moveTo>
                  <a:lnTo>
                    <a:pt x="12585" y="-6937"/>
                  </a:lnTo>
                  <a:lnTo>
                    <a:pt x="12585" y="4891"/>
                  </a:lnTo>
                  <a:lnTo>
                    <a:pt x="-9087" y="4891"/>
                  </a:lnTo>
                  <a:lnTo>
                    <a:pt x="-9087" y="-6937"/>
                  </a:lnTo>
                </a:path>
              </a:pathLst>
            </a:custGeom>
            <a:grpFill/>
            <a:ln w="548" cap="flat">
              <a:noFill/>
              <a:prstDash val="solid"/>
              <a:miter/>
            </a:ln>
          </p:spPr>
          <p:txBody>
            <a:bodyPr/>
            <a:lstStyle/>
            <a:p>
              <a:endParaRPr lang="en-US"/>
            </a:p>
          </p:txBody>
        </p:sp>
        <p:sp>
          <p:nvSpPr>
            <p:cNvPr id="444" name="Freeform: Shape 443">
              <a:extLst>
                <a:ext uri="{FF2B5EF4-FFF2-40B4-BE49-F238E27FC236}">
                  <a16:creationId xmlns:a16="http://schemas.microsoft.com/office/drawing/2014/main" id="{A85BEFC8-AFC9-C7E4-6739-0C8CD2747D36}"/>
                </a:ext>
              </a:extLst>
            </p:cNvPr>
            <p:cNvSpPr/>
            <p:nvPr/>
          </p:nvSpPr>
          <p:spPr>
            <a:xfrm flipV="1">
              <a:off x="24453889" y="3678187"/>
              <a:ext cx="21671" cy="11828"/>
            </a:xfrm>
            <a:custGeom>
              <a:avLst/>
              <a:gdLst>
                <a:gd name="csX0" fmla="*/ -9158 w 21671"/>
                <a:gd name="csY0" fmla="*/ -6972 h 11828"/>
                <a:gd name="csX1" fmla="*/ 12513 w 21671"/>
                <a:gd name="csY1" fmla="*/ -6972 h 11828"/>
                <a:gd name="csX2" fmla="*/ 12513 w 21671"/>
                <a:gd name="csY2" fmla="*/ 4857 h 11828"/>
                <a:gd name="csX3" fmla="*/ -9158 w 21671"/>
                <a:gd name="csY3" fmla="*/ 4857 h 11828"/>
                <a:gd name="csX4" fmla="*/ -9158 w 21671"/>
                <a:gd name="csY4" fmla="*/ -6972 h 11828"/>
              </a:gdLst>
              <a:ahLst/>
              <a:cxnLst>
                <a:cxn ang="0">
                  <a:pos x="csX0" y="csY0"/>
                </a:cxn>
                <a:cxn ang="0">
                  <a:pos x="csX1" y="csY1"/>
                </a:cxn>
                <a:cxn ang="0">
                  <a:pos x="csX2" y="csY2"/>
                </a:cxn>
                <a:cxn ang="0">
                  <a:pos x="csX3" y="csY3"/>
                </a:cxn>
                <a:cxn ang="0">
                  <a:pos x="csX4" y="csY4"/>
                </a:cxn>
              </a:cxnLst>
              <a:rect l="l" t="t" r="r" b="b"/>
              <a:pathLst>
                <a:path w="21671" h="11828">
                  <a:moveTo>
                    <a:pt x="-9158" y="-6972"/>
                  </a:moveTo>
                  <a:lnTo>
                    <a:pt x="12513" y="-6972"/>
                  </a:lnTo>
                  <a:lnTo>
                    <a:pt x="12513" y="4857"/>
                  </a:lnTo>
                  <a:lnTo>
                    <a:pt x="-9158" y="4857"/>
                  </a:lnTo>
                  <a:lnTo>
                    <a:pt x="-9158" y="-6972"/>
                  </a:lnTo>
                </a:path>
              </a:pathLst>
            </a:custGeom>
            <a:grpFill/>
            <a:ln w="548" cap="flat">
              <a:noFill/>
              <a:prstDash val="solid"/>
              <a:miter/>
            </a:ln>
          </p:spPr>
          <p:txBody>
            <a:bodyPr/>
            <a:lstStyle/>
            <a:p>
              <a:endParaRPr lang="en-US"/>
            </a:p>
          </p:txBody>
        </p:sp>
        <p:sp>
          <p:nvSpPr>
            <p:cNvPr id="445" name="Freeform: Shape 444">
              <a:extLst>
                <a:ext uri="{FF2B5EF4-FFF2-40B4-BE49-F238E27FC236}">
                  <a16:creationId xmlns:a16="http://schemas.microsoft.com/office/drawing/2014/main" id="{91F14B11-237E-BCF1-4C07-63D6EEF92FEF}"/>
                </a:ext>
              </a:extLst>
            </p:cNvPr>
            <p:cNvSpPr/>
            <p:nvPr/>
          </p:nvSpPr>
          <p:spPr>
            <a:xfrm flipV="1">
              <a:off x="24453889" y="3692419"/>
              <a:ext cx="21671" cy="11828"/>
            </a:xfrm>
            <a:custGeom>
              <a:avLst/>
              <a:gdLst>
                <a:gd name="csX0" fmla="*/ -9158 w 21671"/>
                <a:gd name="csY0" fmla="*/ -6937 h 11828"/>
                <a:gd name="csX1" fmla="*/ 12513 w 21671"/>
                <a:gd name="csY1" fmla="*/ -6937 h 11828"/>
                <a:gd name="csX2" fmla="*/ 12513 w 21671"/>
                <a:gd name="csY2" fmla="*/ 4891 h 11828"/>
                <a:gd name="csX3" fmla="*/ -9158 w 21671"/>
                <a:gd name="csY3" fmla="*/ 4891 h 11828"/>
                <a:gd name="csX4" fmla="*/ -9158 w 21671"/>
                <a:gd name="csY4" fmla="*/ -6937 h 11828"/>
              </a:gdLst>
              <a:ahLst/>
              <a:cxnLst>
                <a:cxn ang="0">
                  <a:pos x="csX0" y="csY0"/>
                </a:cxn>
                <a:cxn ang="0">
                  <a:pos x="csX1" y="csY1"/>
                </a:cxn>
                <a:cxn ang="0">
                  <a:pos x="csX2" y="csY2"/>
                </a:cxn>
                <a:cxn ang="0">
                  <a:pos x="csX3" y="csY3"/>
                </a:cxn>
                <a:cxn ang="0">
                  <a:pos x="csX4" y="csY4"/>
                </a:cxn>
              </a:cxnLst>
              <a:rect l="l" t="t" r="r" b="b"/>
              <a:pathLst>
                <a:path w="21671" h="11828">
                  <a:moveTo>
                    <a:pt x="-9158" y="-6937"/>
                  </a:moveTo>
                  <a:lnTo>
                    <a:pt x="12513" y="-6937"/>
                  </a:lnTo>
                  <a:lnTo>
                    <a:pt x="12513" y="4891"/>
                  </a:lnTo>
                  <a:lnTo>
                    <a:pt x="-9158" y="4891"/>
                  </a:lnTo>
                  <a:lnTo>
                    <a:pt x="-9158" y="-6937"/>
                  </a:lnTo>
                </a:path>
              </a:pathLst>
            </a:custGeom>
            <a:grpFill/>
            <a:ln w="548" cap="flat">
              <a:noFill/>
              <a:prstDash val="solid"/>
              <a:miter/>
            </a:ln>
          </p:spPr>
          <p:txBody>
            <a:bodyPr/>
            <a:lstStyle/>
            <a:p>
              <a:endParaRPr lang="en-US"/>
            </a:p>
          </p:txBody>
        </p:sp>
        <p:sp>
          <p:nvSpPr>
            <p:cNvPr id="446" name="Freeform: Shape 445">
              <a:extLst>
                <a:ext uri="{FF2B5EF4-FFF2-40B4-BE49-F238E27FC236}">
                  <a16:creationId xmlns:a16="http://schemas.microsoft.com/office/drawing/2014/main" id="{37B61166-A68A-51BB-5B80-785B47C2156D}"/>
                </a:ext>
              </a:extLst>
            </p:cNvPr>
            <p:cNvSpPr/>
            <p:nvPr/>
          </p:nvSpPr>
          <p:spPr>
            <a:xfrm flipV="1">
              <a:off x="24396391" y="3737698"/>
              <a:ext cx="21671" cy="11828"/>
            </a:xfrm>
            <a:custGeom>
              <a:avLst/>
              <a:gdLst>
                <a:gd name="csX0" fmla="*/ -9087 w 21671"/>
                <a:gd name="csY0" fmla="*/ -6829 h 11828"/>
                <a:gd name="csX1" fmla="*/ 12585 w 21671"/>
                <a:gd name="csY1" fmla="*/ -6829 h 11828"/>
                <a:gd name="csX2" fmla="*/ 12585 w 21671"/>
                <a:gd name="csY2" fmla="*/ 5000 h 11828"/>
                <a:gd name="csX3" fmla="*/ -9087 w 21671"/>
                <a:gd name="csY3" fmla="*/ 5000 h 11828"/>
                <a:gd name="csX4" fmla="*/ -9087 w 21671"/>
                <a:gd name="csY4" fmla="*/ -6829 h 11828"/>
              </a:gdLst>
              <a:ahLst/>
              <a:cxnLst>
                <a:cxn ang="0">
                  <a:pos x="csX0" y="csY0"/>
                </a:cxn>
                <a:cxn ang="0">
                  <a:pos x="csX1" y="csY1"/>
                </a:cxn>
                <a:cxn ang="0">
                  <a:pos x="csX2" y="csY2"/>
                </a:cxn>
                <a:cxn ang="0">
                  <a:pos x="csX3" y="csY3"/>
                </a:cxn>
                <a:cxn ang="0">
                  <a:pos x="csX4" y="csY4"/>
                </a:cxn>
              </a:cxnLst>
              <a:rect l="l" t="t" r="r" b="b"/>
              <a:pathLst>
                <a:path w="21671" h="11828">
                  <a:moveTo>
                    <a:pt x="-9087" y="-6829"/>
                  </a:moveTo>
                  <a:lnTo>
                    <a:pt x="12585" y="-6829"/>
                  </a:lnTo>
                  <a:lnTo>
                    <a:pt x="12585" y="5000"/>
                  </a:lnTo>
                  <a:lnTo>
                    <a:pt x="-9087" y="5000"/>
                  </a:lnTo>
                  <a:lnTo>
                    <a:pt x="-9087" y="-6829"/>
                  </a:lnTo>
                </a:path>
              </a:pathLst>
            </a:custGeom>
            <a:grpFill/>
            <a:ln w="548" cap="flat">
              <a:noFill/>
              <a:prstDash val="solid"/>
              <a:miter/>
            </a:ln>
          </p:spPr>
          <p:txBody>
            <a:bodyPr/>
            <a:lstStyle/>
            <a:p>
              <a:endParaRPr lang="en-US"/>
            </a:p>
          </p:txBody>
        </p:sp>
        <p:sp>
          <p:nvSpPr>
            <p:cNvPr id="447" name="Freeform: Shape 446">
              <a:extLst>
                <a:ext uri="{FF2B5EF4-FFF2-40B4-BE49-F238E27FC236}">
                  <a16:creationId xmlns:a16="http://schemas.microsoft.com/office/drawing/2014/main" id="{0D637395-93E1-6DA5-5B8E-F315F15FFE8E}"/>
                </a:ext>
              </a:extLst>
            </p:cNvPr>
            <p:cNvSpPr/>
            <p:nvPr/>
          </p:nvSpPr>
          <p:spPr>
            <a:xfrm flipV="1">
              <a:off x="24396391" y="3751935"/>
              <a:ext cx="21671" cy="11828"/>
            </a:xfrm>
            <a:custGeom>
              <a:avLst/>
              <a:gdLst>
                <a:gd name="csX0" fmla="*/ -9087 w 21671"/>
                <a:gd name="csY0" fmla="*/ -6794 h 11828"/>
                <a:gd name="csX1" fmla="*/ 12585 w 21671"/>
                <a:gd name="csY1" fmla="*/ -6794 h 11828"/>
                <a:gd name="csX2" fmla="*/ 12585 w 21671"/>
                <a:gd name="csY2" fmla="*/ 5034 h 11828"/>
                <a:gd name="csX3" fmla="*/ -9087 w 21671"/>
                <a:gd name="csY3" fmla="*/ 5034 h 11828"/>
                <a:gd name="csX4" fmla="*/ -9087 w 21671"/>
                <a:gd name="csY4" fmla="*/ -6794 h 11828"/>
              </a:gdLst>
              <a:ahLst/>
              <a:cxnLst>
                <a:cxn ang="0">
                  <a:pos x="csX0" y="csY0"/>
                </a:cxn>
                <a:cxn ang="0">
                  <a:pos x="csX1" y="csY1"/>
                </a:cxn>
                <a:cxn ang="0">
                  <a:pos x="csX2" y="csY2"/>
                </a:cxn>
                <a:cxn ang="0">
                  <a:pos x="csX3" y="csY3"/>
                </a:cxn>
                <a:cxn ang="0">
                  <a:pos x="csX4" y="csY4"/>
                </a:cxn>
              </a:cxnLst>
              <a:rect l="l" t="t" r="r" b="b"/>
              <a:pathLst>
                <a:path w="21671" h="11828">
                  <a:moveTo>
                    <a:pt x="-9087" y="-6794"/>
                  </a:moveTo>
                  <a:lnTo>
                    <a:pt x="12585" y="-6794"/>
                  </a:lnTo>
                  <a:lnTo>
                    <a:pt x="12585" y="5034"/>
                  </a:lnTo>
                  <a:lnTo>
                    <a:pt x="-9087" y="5034"/>
                  </a:lnTo>
                  <a:lnTo>
                    <a:pt x="-9087" y="-6794"/>
                  </a:lnTo>
                </a:path>
              </a:pathLst>
            </a:custGeom>
            <a:grpFill/>
            <a:ln w="548" cap="flat">
              <a:noFill/>
              <a:prstDash val="solid"/>
              <a:miter/>
            </a:ln>
          </p:spPr>
          <p:txBody>
            <a:bodyPr/>
            <a:lstStyle/>
            <a:p>
              <a:endParaRPr lang="en-US"/>
            </a:p>
          </p:txBody>
        </p:sp>
        <p:sp>
          <p:nvSpPr>
            <p:cNvPr id="448" name="Freeform: Shape 447">
              <a:extLst>
                <a:ext uri="{FF2B5EF4-FFF2-40B4-BE49-F238E27FC236}">
                  <a16:creationId xmlns:a16="http://schemas.microsoft.com/office/drawing/2014/main" id="{FCE5CAC2-076F-5E84-968A-D952BABD1B23}"/>
                </a:ext>
              </a:extLst>
            </p:cNvPr>
            <p:cNvSpPr/>
            <p:nvPr/>
          </p:nvSpPr>
          <p:spPr>
            <a:xfrm flipV="1">
              <a:off x="24453889" y="3737698"/>
              <a:ext cx="21671" cy="11828"/>
            </a:xfrm>
            <a:custGeom>
              <a:avLst/>
              <a:gdLst>
                <a:gd name="csX0" fmla="*/ -9158 w 21671"/>
                <a:gd name="csY0" fmla="*/ -6829 h 11828"/>
                <a:gd name="csX1" fmla="*/ 12513 w 21671"/>
                <a:gd name="csY1" fmla="*/ -6829 h 11828"/>
                <a:gd name="csX2" fmla="*/ 12513 w 21671"/>
                <a:gd name="csY2" fmla="*/ 5000 h 11828"/>
                <a:gd name="csX3" fmla="*/ -9158 w 21671"/>
                <a:gd name="csY3" fmla="*/ 5000 h 11828"/>
                <a:gd name="csX4" fmla="*/ -9158 w 21671"/>
                <a:gd name="csY4" fmla="*/ -6829 h 11828"/>
              </a:gdLst>
              <a:ahLst/>
              <a:cxnLst>
                <a:cxn ang="0">
                  <a:pos x="csX0" y="csY0"/>
                </a:cxn>
                <a:cxn ang="0">
                  <a:pos x="csX1" y="csY1"/>
                </a:cxn>
                <a:cxn ang="0">
                  <a:pos x="csX2" y="csY2"/>
                </a:cxn>
                <a:cxn ang="0">
                  <a:pos x="csX3" y="csY3"/>
                </a:cxn>
                <a:cxn ang="0">
                  <a:pos x="csX4" y="csY4"/>
                </a:cxn>
              </a:cxnLst>
              <a:rect l="l" t="t" r="r" b="b"/>
              <a:pathLst>
                <a:path w="21671" h="11828">
                  <a:moveTo>
                    <a:pt x="-9158" y="-6829"/>
                  </a:moveTo>
                  <a:lnTo>
                    <a:pt x="12513" y="-6829"/>
                  </a:lnTo>
                  <a:lnTo>
                    <a:pt x="12513" y="5000"/>
                  </a:lnTo>
                  <a:lnTo>
                    <a:pt x="-9158" y="5000"/>
                  </a:lnTo>
                  <a:lnTo>
                    <a:pt x="-9158" y="-6829"/>
                  </a:lnTo>
                </a:path>
              </a:pathLst>
            </a:custGeom>
            <a:grpFill/>
            <a:ln w="548" cap="flat">
              <a:noFill/>
              <a:prstDash val="solid"/>
              <a:miter/>
            </a:ln>
          </p:spPr>
          <p:txBody>
            <a:bodyPr/>
            <a:lstStyle/>
            <a:p>
              <a:endParaRPr lang="en-US"/>
            </a:p>
          </p:txBody>
        </p:sp>
        <p:sp>
          <p:nvSpPr>
            <p:cNvPr id="449" name="Freeform: Shape 448">
              <a:extLst>
                <a:ext uri="{FF2B5EF4-FFF2-40B4-BE49-F238E27FC236}">
                  <a16:creationId xmlns:a16="http://schemas.microsoft.com/office/drawing/2014/main" id="{41BD36DF-5450-FA78-2F23-B787971EA722}"/>
                </a:ext>
              </a:extLst>
            </p:cNvPr>
            <p:cNvSpPr/>
            <p:nvPr/>
          </p:nvSpPr>
          <p:spPr>
            <a:xfrm flipV="1">
              <a:off x="24453889" y="3751935"/>
              <a:ext cx="21671" cy="11828"/>
            </a:xfrm>
            <a:custGeom>
              <a:avLst/>
              <a:gdLst>
                <a:gd name="csX0" fmla="*/ -9158 w 21671"/>
                <a:gd name="csY0" fmla="*/ -6794 h 11828"/>
                <a:gd name="csX1" fmla="*/ 12513 w 21671"/>
                <a:gd name="csY1" fmla="*/ -6794 h 11828"/>
                <a:gd name="csX2" fmla="*/ 12513 w 21671"/>
                <a:gd name="csY2" fmla="*/ 5034 h 11828"/>
                <a:gd name="csX3" fmla="*/ -9158 w 21671"/>
                <a:gd name="csY3" fmla="*/ 5034 h 11828"/>
                <a:gd name="csX4" fmla="*/ -9158 w 21671"/>
                <a:gd name="csY4" fmla="*/ -6794 h 11828"/>
              </a:gdLst>
              <a:ahLst/>
              <a:cxnLst>
                <a:cxn ang="0">
                  <a:pos x="csX0" y="csY0"/>
                </a:cxn>
                <a:cxn ang="0">
                  <a:pos x="csX1" y="csY1"/>
                </a:cxn>
                <a:cxn ang="0">
                  <a:pos x="csX2" y="csY2"/>
                </a:cxn>
                <a:cxn ang="0">
                  <a:pos x="csX3" y="csY3"/>
                </a:cxn>
                <a:cxn ang="0">
                  <a:pos x="csX4" y="csY4"/>
                </a:cxn>
              </a:cxnLst>
              <a:rect l="l" t="t" r="r" b="b"/>
              <a:pathLst>
                <a:path w="21671" h="11828">
                  <a:moveTo>
                    <a:pt x="-9158" y="-6794"/>
                  </a:moveTo>
                  <a:lnTo>
                    <a:pt x="12513" y="-6794"/>
                  </a:lnTo>
                  <a:lnTo>
                    <a:pt x="12513" y="5034"/>
                  </a:lnTo>
                  <a:lnTo>
                    <a:pt x="-9158" y="5034"/>
                  </a:lnTo>
                  <a:lnTo>
                    <a:pt x="-9158" y="-6794"/>
                  </a:lnTo>
                </a:path>
              </a:pathLst>
            </a:custGeom>
            <a:grpFill/>
            <a:ln w="548" cap="flat">
              <a:noFill/>
              <a:prstDash val="solid"/>
              <a:miter/>
            </a:ln>
          </p:spPr>
          <p:txBody>
            <a:bodyPr/>
            <a:lstStyle/>
            <a:p>
              <a:endParaRPr lang="en-US"/>
            </a:p>
          </p:txBody>
        </p:sp>
        <p:sp>
          <p:nvSpPr>
            <p:cNvPr id="450" name="Freeform: Shape 449">
              <a:extLst>
                <a:ext uri="{FF2B5EF4-FFF2-40B4-BE49-F238E27FC236}">
                  <a16:creationId xmlns:a16="http://schemas.microsoft.com/office/drawing/2014/main" id="{904A9BD1-4F64-5595-86E9-24259D239D0A}"/>
                </a:ext>
              </a:extLst>
            </p:cNvPr>
            <p:cNvSpPr/>
            <p:nvPr/>
          </p:nvSpPr>
          <p:spPr>
            <a:xfrm flipV="1">
              <a:off x="24396391" y="3797220"/>
              <a:ext cx="21671" cy="11823"/>
            </a:xfrm>
            <a:custGeom>
              <a:avLst/>
              <a:gdLst>
                <a:gd name="csX0" fmla="*/ -9087 w 21671"/>
                <a:gd name="csY0" fmla="*/ -6685 h 11823"/>
                <a:gd name="csX1" fmla="*/ 12585 w 21671"/>
                <a:gd name="csY1" fmla="*/ -6685 h 11823"/>
                <a:gd name="csX2" fmla="*/ 12585 w 21671"/>
                <a:gd name="csY2" fmla="*/ 5138 h 11823"/>
                <a:gd name="csX3" fmla="*/ -9087 w 21671"/>
                <a:gd name="csY3" fmla="*/ 5138 h 11823"/>
                <a:gd name="csX4" fmla="*/ -9087 w 21671"/>
                <a:gd name="csY4" fmla="*/ -6685 h 11823"/>
              </a:gdLst>
              <a:ahLst/>
              <a:cxnLst>
                <a:cxn ang="0">
                  <a:pos x="csX0" y="csY0"/>
                </a:cxn>
                <a:cxn ang="0">
                  <a:pos x="csX1" y="csY1"/>
                </a:cxn>
                <a:cxn ang="0">
                  <a:pos x="csX2" y="csY2"/>
                </a:cxn>
                <a:cxn ang="0">
                  <a:pos x="csX3" y="csY3"/>
                </a:cxn>
                <a:cxn ang="0">
                  <a:pos x="csX4" y="csY4"/>
                </a:cxn>
              </a:cxnLst>
              <a:rect l="l" t="t" r="r" b="b"/>
              <a:pathLst>
                <a:path w="21671" h="11823">
                  <a:moveTo>
                    <a:pt x="-9087" y="-6685"/>
                  </a:moveTo>
                  <a:lnTo>
                    <a:pt x="12585" y="-6685"/>
                  </a:lnTo>
                  <a:lnTo>
                    <a:pt x="12585" y="5138"/>
                  </a:lnTo>
                  <a:lnTo>
                    <a:pt x="-9087" y="5138"/>
                  </a:lnTo>
                  <a:lnTo>
                    <a:pt x="-9087" y="-6685"/>
                  </a:lnTo>
                </a:path>
              </a:pathLst>
            </a:custGeom>
            <a:grpFill/>
            <a:ln w="548" cap="flat">
              <a:noFill/>
              <a:prstDash val="solid"/>
              <a:miter/>
            </a:ln>
          </p:spPr>
          <p:txBody>
            <a:bodyPr/>
            <a:lstStyle/>
            <a:p>
              <a:endParaRPr lang="en-US"/>
            </a:p>
          </p:txBody>
        </p:sp>
        <p:sp>
          <p:nvSpPr>
            <p:cNvPr id="451" name="Freeform: Shape 450">
              <a:extLst>
                <a:ext uri="{FF2B5EF4-FFF2-40B4-BE49-F238E27FC236}">
                  <a16:creationId xmlns:a16="http://schemas.microsoft.com/office/drawing/2014/main" id="{63B6591B-2D6F-0351-A820-9FED143A6F2A}"/>
                </a:ext>
              </a:extLst>
            </p:cNvPr>
            <p:cNvSpPr/>
            <p:nvPr/>
          </p:nvSpPr>
          <p:spPr>
            <a:xfrm flipV="1">
              <a:off x="24396391" y="3811451"/>
              <a:ext cx="21671" cy="11828"/>
            </a:xfrm>
            <a:custGeom>
              <a:avLst/>
              <a:gdLst>
                <a:gd name="csX0" fmla="*/ -9087 w 21671"/>
                <a:gd name="csY0" fmla="*/ -6651 h 11828"/>
                <a:gd name="csX1" fmla="*/ 12585 w 21671"/>
                <a:gd name="csY1" fmla="*/ -6651 h 11828"/>
                <a:gd name="csX2" fmla="*/ 12585 w 21671"/>
                <a:gd name="csY2" fmla="*/ 5178 h 11828"/>
                <a:gd name="csX3" fmla="*/ -9087 w 21671"/>
                <a:gd name="csY3" fmla="*/ 5178 h 11828"/>
                <a:gd name="csX4" fmla="*/ -9087 w 21671"/>
                <a:gd name="csY4" fmla="*/ -6651 h 11828"/>
              </a:gdLst>
              <a:ahLst/>
              <a:cxnLst>
                <a:cxn ang="0">
                  <a:pos x="csX0" y="csY0"/>
                </a:cxn>
                <a:cxn ang="0">
                  <a:pos x="csX1" y="csY1"/>
                </a:cxn>
                <a:cxn ang="0">
                  <a:pos x="csX2" y="csY2"/>
                </a:cxn>
                <a:cxn ang="0">
                  <a:pos x="csX3" y="csY3"/>
                </a:cxn>
                <a:cxn ang="0">
                  <a:pos x="csX4" y="csY4"/>
                </a:cxn>
              </a:cxnLst>
              <a:rect l="l" t="t" r="r" b="b"/>
              <a:pathLst>
                <a:path w="21671" h="11828">
                  <a:moveTo>
                    <a:pt x="-9087" y="-6651"/>
                  </a:moveTo>
                  <a:lnTo>
                    <a:pt x="12585" y="-6651"/>
                  </a:lnTo>
                  <a:lnTo>
                    <a:pt x="12585" y="5178"/>
                  </a:lnTo>
                  <a:lnTo>
                    <a:pt x="-9087" y="5178"/>
                  </a:lnTo>
                  <a:lnTo>
                    <a:pt x="-9087" y="-6651"/>
                  </a:lnTo>
                </a:path>
              </a:pathLst>
            </a:custGeom>
            <a:grpFill/>
            <a:ln w="548" cap="flat">
              <a:noFill/>
              <a:prstDash val="solid"/>
              <a:miter/>
            </a:ln>
          </p:spPr>
          <p:txBody>
            <a:bodyPr/>
            <a:lstStyle/>
            <a:p>
              <a:endParaRPr lang="en-US"/>
            </a:p>
          </p:txBody>
        </p:sp>
        <p:sp>
          <p:nvSpPr>
            <p:cNvPr id="452" name="Freeform: Shape 451">
              <a:extLst>
                <a:ext uri="{FF2B5EF4-FFF2-40B4-BE49-F238E27FC236}">
                  <a16:creationId xmlns:a16="http://schemas.microsoft.com/office/drawing/2014/main" id="{B76F2149-D224-87BA-D972-951A20FA4350}"/>
                </a:ext>
              </a:extLst>
            </p:cNvPr>
            <p:cNvSpPr/>
            <p:nvPr/>
          </p:nvSpPr>
          <p:spPr>
            <a:xfrm flipV="1">
              <a:off x="24453889" y="3797220"/>
              <a:ext cx="21671" cy="11823"/>
            </a:xfrm>
            <a:custGeom>
              <a:avLst/>
              <a:gdLst>
                <a:gd name="csX0" fmla="*/ -9158 w 21671"/>
                <a:gd name="csY0" fmla="*/ -6685 h 11823"/>
                <a:gd name="csX1" fmla="*/ 12513 w 21671"/>
                <a:gd name="csY1" fmla="*/ -6685 h 11823"/>
                <a:gd name="csX2" fmla="*/ 12513 w 21671"/>
                <a:gd name="csY2" fmla="*/ 5138 h 11823"/>
                <a:gd name="csX3" fmla="*/ -9158 w 21671"/>
                <a:gd name="csY3" fmla="*/ 5138 h 11823"/>
                <a:gd name="csX4" fmla="*/ -9158 w 21671"/>
                <a:gd name="csY4" fmla="*/ -6685 h 11823"/>
              </a:gdLst>
              <a:ahLst/>
              <a:cxnLst>
                <a:cxn ang="0">
                  <a:pos x="csX0" y="csY0"/>
                </a:cxn>
                <a:cxn ang="0">
                  <a:pos x="csX1" y="csY1"/>
                </a:cxn>
                <a:cxn ang="0">
                  <a:pos x="csX2" y="csY2"/>
                </a:cxn>
                <a:cxn ang="0">
                  <a:pos x="csX3" y="csY3"/>
                </a:cxn>
                <a:cxn ang="0">
                  <a:pos x="csX4" y="csY4"/>
                </a:cxn>
              </a:cxnLst>
              <a:rect l="l" t="t" r="r" b="b"/>
              <a:pathLst>
                <a:path w="21671" h="11823">
                  <a:moveTo>
                    <a:pt x="-9158" y="-6685"/>
                  </a:moveTo>
                  <a:lnTo>
                    <a:pt x="12513" y="-6685"/>
                  </a:lnTo>
                  <a:lnTo>
                    <a:pt x="12513" y="5138"/>
                  </a:lnTo>
                  <a:lnTo>
                    <a:pt x="-9158" y="5138"/>
                  </a:lnTo>
                  <a:lnTo>
                    <a:pt x="-9158" y="-6685"/>
                  </a:lnTo>
                </a:path>
              </a:pathLst>
            </a:custGeom>
            <a:grpFill/>
            <a:ln w="548" cap="flat">
              <a:noFill/>
              <a:prstDash val="solid"/>
              <a:miter/>
            </a:ln>
          </p:spPr>
          <p:txBody>
            <a:bodyPr/>
            <a:lstStyle/>
            <a:p>
              <a:endParaRPr lang="en-US"/>
            </a:p>
          </p:txBody>
        </p:sp>
        <p:sp>
          <p:nvSpPr>
            <p:cNvPr id="453" name="Freeform: Shape 452">
              <a:extLst>
                <a:ext uri="{FF2B5EF4-FFF2-40B4-BE49-F238E27FC236}">
                  <a16:creationId xmlns:a16="http://schemas.microsoft.com/office/drawing/2014/main" id="{B22CA58F-D9DB-F968-69F7-72B2318A6B93}"/>
                </a:ext>
              </a:extLst>
            </p:cNvPr>
            <p:cNvSpPr/>
            <p:nvPr/>
          </p:nvSpPr>
          <p:spPr>
            <a:xfrm flipV="1">
              <a:off x="24453889" y="3811451"/>
              <a:ext cx="21671" cy="11828"/>
            </a:xfrm>
            <a:custGeom>
              <a:avLst/>
              <a:gdLst>
                <a:gd name="csX0" fmla="*/ -9158 w 21671"/>
                <a:gd name="csY0" fmla="*/ -6651 h 11828"/>
                <a:gd name="csX1" fmla="*/ 12513 w 21671"/>
                <a:gd name="csY1" fmla="*/ -6651 h 11828"/>
                <a:gd name="csX2" fmla="*/ 12513 w 21671"/>
                <a:gd name="csY2" fmla="*/ 5178 h 11828"/>
                <a:gd name="csX3" fmla="*/ -9158 w 21671"/>
                <a:gd name="csY3" fmla="*/ 5178 h 11828"/>
                <a:gd name="csX4" fmla="*/ -9158 w 21671"/>
                <a:gd name="csY4" fmla="*/ -6651 h 11828"/>
              </a:gdLst>
              <a:ahLst/>
              <a:cxnLst>
                <a:cxn ang="0">
                  <a:pos x="csX0" y="csY0"/>
                </a:cxn>
                <a:cxn ang="0">
                  <a:pos x="csX1" y="csY1"/>
                </a:cxn>
                <a:cxn ang="0">
                  <a:pos x="csX2" y="csY2"/>
                </a:cxn>
                <a:cxn ang="0">
                  <a:pos x="csX3" y="csY3"/>
                </a:cxn>
                <a:cxn ang="0">
                  <a:pos x="csX4" y="csY4"/>
                </a:cxn>
              </a:cxnLst>
              <a:rect l="l" t="t" r="r" b="b"/>
              <a:pathLst>
                <a:path w="21671" h="11828">
                  <a:moveTo>
                    <a:pt x="-9158" y="-6651"/>
                  </a:moveTo>
                  <a:lnTo>
                    <a:pt x="12513" y="-6651"/>
                  </a:lnTo>
                  <a:lnTo>
                    <a:pt x="12513" y="5178"/>
                  </a:lnTo>
                  <a:lnTo>
                    <a:pt x="-9158" y="5178"/>
                  </a:lnTo>
                  <a:lnTo>
                    <a:pt x="-9158" y="-6651"/>
                  </a:lnTo>
                </a:path>
              </a:pathLst>
            </a:custGeom>
            <a:grpFill/>
            <a:ln w="548" cap="flat">
              <a:noFill/>
              <a:prstDash val="solid"/>
              <a:miter/>
            </a:ln>
          </p:spPr>
          <p:txBody>
            <a:bodyPr/>
            <a:lstStyle/>
            <a:p>
              <a:endParaRPr lang="en-US"/>
            </a:p>
          </p:txBody>
        </p:sp>
        <p:sp>
          <p:nvSpPr>
            <p:cNvPr id="454" name="Freeform: Shape 453">
              <a:extLst>
                <a:ext uri="{FF2B5EF4-FFF2-40B4-BE49-F238E27FC236}">
                  <a16:creationId xmlns:a16="http://schemas.microsoft.com/office/drawing/2014/main" id="{05C84319-03E8-2286-9FF7-DEB19B8636C1}"/>
                </a:ext>
              </a:extLst>
            </p:cNvPr>
            <p:cNvSpPr/>
            <p:nvPr/>
          </p:nvSpPr>
          <p:spPr>
            <a:xfrm flipV="1">
              <a:off x="24396391" y="3856736"/>
              <a:ext cx="21671" cy="11828"/>
            </a:xfrm>
            <a:custGeom>
              <a:avLst/>
              <a:gdLst>
                <a:gd name="csX0" fmla="*/ -9087 w 21671"/>
                <a:gd name="csY0" fmla="*/ -6542 h 11828"/>
                <a:gd name="csX1" fmla="*/ 12585 w 21671"/>
                <a:gd name="csY1" fmla="*/ -6542 h 11828"/>
                <a:gd name="csX2" fmla="*/ 12585 w 21671"/>
                <a:gd name="csY2" fmla="*/ 5287 h 11828"/>
                <a:gd name="csX3" fmla="*/ -9087 w 21671"/>
                <a:gd name="csY3" fmla="*/ 5287 h 11828"/>
                <a:gd name="csX4" fmla="*/ -9087 w 21671"/>
                <a:gd name="csY4" fmla="*/ -6542 h 11828"/>
              </a:gdLst>
              <a:ahLst/>
              <a:cxnLst>
                <a:cxn ang="0">
                  <a:pos x="csX0" y="csY0"/>
                </a:cxn>
                <a:cxn ang="0">
                  <a:pos x="csX1" y="csY1"/>
                </a:cxn>
                <a:cxn ang="0">
                  <a:pos x="csX2" y="csY2"/>
                </a:cxn>
                <a:cxn ang="0">
                  <a:pos x="csX3" y="csY3"/>
                </a:cxn>
                <a:cxn ang="0">
                  <a:pos x="csX4" y="csY4"/>
                </a:cxn>
              </a:cxnLst>
              <a:rect l="l" t="t" r="r" b="b"/>
              <a:pathLst>
                <a:path w="21671" h="11828">
                  <a:moveTo>
                    <a:pt x="-9087" y="-6542"/>
                  </a:moveTo>
                  <a:lnTo>
                    <a:pt x="12585" y="-6542"/>
                  </a:lnTo>
                  <a:lnTo>
                    <a:pt x="12585" y="5287"/>
                  </a:lnTo>
                  <a:lnTo>
                    <a:pt x="-9087" y="5287"/>
                  </a:lnTo>
                  <a:lnTo>
                    <a:pt x="-9087" y="-6542"/>
                  </a:lnTo>
                </a:path>
              </a:pathLst>
            </a:custGeom>
            <a:grpFill/>
            <a:ln w="548" cap="flat">
              <a:noFill/>
              <a:prstDash val="solid"/>
              <a:miter/>
            </a:ln>
          </p:spPr>
          <p:txBody>
            <a:bodyPr/>
            <a:lstStyle/>
            <a:p>
              <a:endParaRPr lang="en-US"/>
            </a:p>
          </p:txBody>
        </p:sp>
        <p:sp>
          <p:nvSpPr>
            <p:cNvPr id="455" name="Freeform: Shape 454">
              <a:extLst>
                <a:ext uri="{FF2B5EF4-FFF2-40B4-BE49-F238E27FC236}">
                  <a16:creationId xmlns:a16="http://schemas.microsoft.com/office/drawing/2014/main" id="{59DF03C8-E44A-03A2-69C2-2C49FE9A98C9}"/>
                </a:ext>
              </a:extLst>
            </p:cNvPr>
            <p:cNvSpPr/>
            <p:nvPr/>
          </p:nvSpPr>
          <p:spPr>
            <a:xfrm flipV="1">
              <a:off x="24396391" y="3870968"/>
              <a:ext cx="21671" cy="11828"/>
            </a:xfrm>
            <a:custGeom>
              <a:avLst/>
              <a:gdLst>
                <a:gd name="csX0" fmla="*/ -9087 w 21671"/>
                <a:gd name="csY0" fmla="*/ -6508 h 11828"/>
                <a:gd name="csX1" fmla="*/ 12585 w 21671"/>
                <a:gd name="csY1" fmla="*/ -6508 h 11828"/>
                <a:gd name="csX2" fmla="*/ 12585 w 21671"/>
                <a:gd name="csY2" fmla="*/ 5321 h 11828"/>
                <a:gd name="csX3" fmla="*/ -9087 w 21671"/>
                <a:gd name="csY3" fmla="*/ 5321 h 11828"/>
                <a:gd name="csX4" fmla="*/ -9087 w 21671"/>
                <a:gd name="csY4" fmla="*/ -6508 h 11828"/>
              </a:gdLst>
              <a:ahLst/>
              <a:cxnLst>
                <a:cxn ang="0">
                  <a:pos x="csX0" y="csY0"/>
                </a:cxn>
                <a:cxn ang="0">
                  <a:pos x="csX1" y="csY1"/>
                </a:cxn>
                <a:cxn ang="0">
                  <a:pos x="csX2" y="csY2"/>
                </a:cxn>
                <a:cxn ang="0">
                  <a:pos x="csX3" y="csY3"/>
                </a:cxn>
                <a:cxn ang="0">
                  <a:pos x="csX4" y="csY4"/>
                </a:cxn>
              </a:cxnLst>
              <a:rect l="l" t="t" r="r" b="b"/>
              <a:pathLst>
                <a:path w="21671" h="11828">
                  <a:moveTo>
                    <a:pt x="-9087" y="-6508"/>
                  </a:moveTo>
                  <a:lnTo>
                    <a:pt x="12585" y="-6508"/>
                  </a:lnTo>
                  <a:lnTo>
                    <a:pt x="12585" y="5321"/>
                  </a:lnTo>
                  <a:lnTo>
                    <a:pt x="-9087" y="5321"/>
                  </a:lnTo>
                  <a:lnTo>
                    <a:pt x="-9087" y="-6508"/>
                  </a:lnTo>
                </a:path>
              </a:pathLst>
            </a:custGeom>
            <a:grpFill/>
            <a:ln w="548" cap="flat">
              <a:noFill/>
              <a:prstDash val="solid"/>
              <a:miter/>
            </a:ln>
          </p:spPr>
          <p:txBody>
            <a:bodyPr/>
            <a:lstStyle/>
            <a:p>
              <a:endParaRPr lang="en-US"/>
            </a:p>
          </p:txBody>
        </p:sp>
        <p:sp>
          <p:nvSpPr>
            <p:cNvPr id="456" name="Freeform: Shape 455">
              <a:extLst>
                <a:ext uri="{FF2B5EF4-FFF2-40B4-BE49-F238E27FC236}">
                  <a16:creationId xmlns:a16="http://schemas.microsoft.com/office/drawing/2014/main" id="{12162698-FAD3-B7D4-9B2A-4DA9AB4BB44C}"/>
                </a:ext>
              </a:extLst>
            </p:cNvPr>
            <p:cNvSpPr/>
            <p:nvPr/>
          </p:nvSpPr>
          <p:spPr>
            <a:xfrm flipV="1">
              <a:off x="24453889" y="3856736"/>
              <a:ext cx="21671" cy="11828"/>
            </a:xfrm>
            <a:custGeom>
              <a:avLst/>
              <a:gdLst>
                <a:gd name="csX0" fmla="*/ -9158 w 21671"/>
                <a:gd name="csY0" fmla="*/ -6542 h 11828"/>
                <a:gd name="csX1" fmla="*/ 12513 w 21671"/>
                <a:gd name="csY1" fmla="*/ -6542 h 11828"/>
                <a:gd name="csX2" fmla="*/ 12513 w 21671"/>
                <a:gd name="csY2" fmla="*/ 5287 h 11828"/>
                <a:gd name="csX3" fmla="*/ -9158 w 21671"/>
                <a:gd name="csY3" fmla="*/ 5287 h 11828"/>
                <a:gd name="csX4" fmla="*/ -9158 w 21671"/>
                <a:gd name="csY4" fmla="*/ -6542 h 11828"/>
              </a:gdLst>
              <a:ahLst/>
              <a:cxnLst>
                <a:cxn ang="0">
                  <a:pos x="csX0" y="csY0"/>
                </a:cxn>
                <a:cxn ang="0">
                  <a:pos x="csX1" y="csY1"/>
                </a:cxn>
                <a:cxn ang="0">
                  <a:pos x="csX2" y="csY2"/>
                </a:cxn>
                <a:cxn ang="0">
                  <a:pos x="csX3" y="csY3"/>
                </a:cxn>
                <a:cxn ang="0">
                  <a:pos x="csX4" y="csY4"/>
                </a:cxn>
              </a:cxnLst>
              <a:rect l="l" t="t" r="r" b="b"/>
              <a:pathLst>
                <a:path w="21671" h="11828">
                  <a:moveTo>
                    <a:pt x="-9158" y="-6542"/>
                  </a:moveTo>
                  <a:lnTo>
                    <a:pt x="12513" y="-6542"/>
                  </a:lnTo>
                  <a:lnTo>
                    <a:pt x="12513" y="5287"/>
                  </a:lnTo>
                  <a:lnTo>
                    <a:pt x="-9158" y="5287"/>
                  </a:lnTo>
                  <a:lnTo>
                    <a:pt x="-9158" y="-6542"/>
                  </a:lnTo>
                </a:path>
              </a:pathLst>
            </a:custGeom>
            <a:grpFill/>
            <a:ln w="548" cap="flat">
              <a:noFill/>
              <a:prstDash val="solid"/>
              <a:miter/>
            </a:ln>
          </p:spPr>
          <p:txBody>
            <a:bodyPr/>
            <a:lstStyle/>
            <a:p>
              <a:endParaRPr lang="en-US"/>
            </a:p>
          </p:txBody>
        </p:sp>
        <p:sp>
          <p:nvSpPr>
            <p:cNvPr id="457" name="Freeform: Shape 456">
              <a:extLst>
                <a:ext uri="{FF2B5EF4-FFF2-40B4-BE49-F238E27FC236}">
                  <a16:creationId xmlns:a16="http://schemas.microsoft.com/office/drawing/2014/main" id="{C57FF985-C6F0-748E-D72F-4F9888036429}"/>
                </a:ext>
              </a:extLst>
            </p:cNvPr>
            <p:cNvSpPr/>
            <p:nvPr/>
          </p:nvSpPr>
          <p:spPr>
            <a:xfrm flipV="1">
              <a:off x="24453889" y="3870968"/>
              <a:ext cx="21671" cy="11828"/>
            </a:xfrm>
            <a:custGeom>
              <a:avLst/>
              <a:gdLst>
                <a:gd name="csX0" fmla="*/ -9158 w 21671"/>
                <a:gd name="csY0" fmla="*/ -6508 h 11828"/>
                <a:gd name="csX1" fmla="*/ 12513 w 21671"/>
                <a:gd name="csY1" fmla="*/ -6508 h 11828"/>
                <a:gd name="csX2" fmla="*/ 12513 w 21671"/>
                <a:gd name="csY2" fmla="*/ 5321 h 11828"/>
                <a:gd name="csX3" fmla="*/ -9158 w 21671"/>
                <a:gd name="csY3" fmla="*/ 5321 h 11828"/>
                <a:gd name="csX4" fmla="*/ -9158 w 21671"/>
                <a:gd name="csY4" fmla="*/ -6508 h 11828"/>
              </a:gdLst>
              <a:ahLst/>
              <a:cxnLst>
                <a:cxn ang="0">
                  <a:pos x="csX0" y="csY0"/>
                </a:cxn>
                <a:cxn ang="0">
                  <a:pos x="csX1" y="csY1"/>
                </a:cxn>
                <a:cxn ang="0">
                  <a:pos x="csX2" y="csY2"/>
                </a:cxn>
                <a:cxn ang="0">
                  <a:pos x="csX3" y="csY3"/>
                </a:cxn>
                <a:cxn ang="0">
                  <a:pos x="csX4" y="csY4"/>
                </a:cxn>
              </a:cxnLst>
              <a:rect l="l" t="t" r="r" b="b"/>
              <a:pathLst>
                <a:path w="21671" h="11828">
                  <a:moveTo>
                    <a:pt x="-9158" y="-6508"/>
                  </a:moveTo>
                  <a:lnTo>
                    <a:pt x="12513" y="-6508"/>
                  </a:lnTo>
                  <a:lnTo>
                    <a:pt x="12513" y="5321"/>
                  </a:lnTo>
                  <a:lnTo>
                    <a:pt x="-9158" y="5321"/>
                  </a:lnTo>
                  <a:lnTo>
                    <a:pt x="-9158" y="-6508"/>
                  </a:lnTo>
                </a:path>
              </a:pathLst>
            </a:custGeom>
            <a:grpFill/>
            <a:ln w="548" cap="flat">
              <a:noFill/>
              <a:prstDash val="solid"/>
              <a:miter/>
            </a:ln>
          </p:spPr>
          <p:txBody>
            <a:bodyPr/>
            <a:lstStyle/>
            <a:p>
              <a:endParaRPr lang="en-US"/>
            </a:p>
          </p:txBody>
        </p:sp>
        <p:sp>
          <p:nvSpPr>
            <p:cNvPr id="458" name="Freeform: Shape 457">
              <a:extLst>
                <a:ext uri="{FF2B5EF4-FFF2-40B4-BE49-F238E27FC236}">
                  <a16:creationId xmlns:a16="http://schemas.microsoft.com/office/drawing/2014/main" id="{B0715011-7932-40CF-F49F-670D4FA55F0E}"/>
                </a:ext>
              </a:extLst>
            </p:cNvPr>
            <p:cNvSpPr/>
            <p:nvPr/>
          </p:nvSpPr>
          <p:spPr>
            <a:xfrm flipV="1">
              <a:off x="24396391" y="3916253"/>
              <a:ext cx="21671" cy="11828"/>
            </a:xfrm>
            <a:custGeom>
              <a:avLst/>
              <a:gdLst>
                <a:gd name="csX0" fmla="*/ -9087 w 21671"/>
                <a:gd name="csY0" fmla="*/ -6399 h 11828"/>
                <a:gd name="csX1" fmla="*/ 12585 w 21671"/>
                <a:gd name="csY1" fmla="*/ -6399 h 11828"/>
                <a:gd name="csX2" fmla="*/ 12585 w 21671"/>
                <a:gd name="csY2" fmla="*/ 5430 h 11828"/>
                <a:gd name="csX3" fmla="*/ -9087 w 21671"/>
                <a:gd name="csY3" fmla="*/ 5430 h 11828"/>
                <a:gd name="csX4" fmla="*/ -9087 w 21671"/>
                <a:gd name="csY4" fmla="*/ -6399 h 11828"/>
              </a:gdLst>
              <a:ahLst/>
              <a:cxnLst>
                <a:cxn ang="0">
                  <a:pos x="csX0" y="csY0"/>
                </a:cxn>
                <a:cxn ang="0">
                  <a:pos x="csX1" y="csY1"/>
                </a:cxn>
                <a:cxn ang="0">
                  <a:pos x="csX2" y="csY2"/>
                </a:cxn>
                <a:cxn ang="0">
                  <a:pos x="csX3" y="csY3"/>
                </a:cxn>
                <a:cxn ang="0">
                  <a:pos x="csX4" y="csY4"/>
                </a:cxn>
              </a:cxnLst>
              <a:rect l="l" t="t" r="r" b="b"/>
              <a:pathLst>
                <a:path w="21671" h="11828">
                  <a:moveTo>
                    <a:pt x="-9087" y="-6399"/>
                  </a:moveTo>
                  <a:lnTo>
                    <a:pt x="12585" y="-6399"/>
                  </a:lnTo>
                  <a:lnTo>
                    <a:pt x="12585" y="5430"/>
                  </a:lnTo>
                  <a:lnTo>
                    <a:pt x="-9087" y="5430"/>
                  </a:lnTo>
                  <a:lnTo>
                    <a:pt x="-9087" y="-6399"/>
                  </a:lnTo>
                </a:path>
              </a:pathLst>
            </a:custGeom>
            <a:grpFill/>
            <a:ln w="548" cap="flat">
              <a:noFill/>
              <a:prstDash val="solid"/>
              <a:miter/>
            </a:ln>
          </p:spPr>
          <p:txBody>
            <a:bodyPr/>
            <a:lstStyle/>
            <a:p>
              <a:endParaRPr lang="en-US"/>
            </a:p>
          </p:txBody>
        </p:sp>
        <p:sp>
          <p:nvSpPr>
            <p:cNvPr id="459" name="Freeform: Shape 458">
              <a:extLst>
                <a:ext uri="{FF2B5EF4-FFF2-40B4-BE49-F238E27FC236}">
                  <a16:creationId xmlns:a16="http://schemas.microsoft.com/office/drawing/2014/main" id="{94A9B877-03D4-BDA4-A680-E9280CFD0889}"/>
                </a:ext>
              </a:extLst>
            </p:cNvPr>
            <p:cNvSpPr/>
            <p:nvPr/>
          </p:nvSpPr>
          <p:spPr>
            <a:xfrm flipV="1">
              <a:off x="24396391" y="3930484"/>
              <a:ext cx="21671" cy="11828"/>
            </a:xfrm>
            <a:custGeom>
              <a:avLst/>
              <a:gdLst>
                <a:gd name="csX0" fmla="*/ -9087 w 21671"/>
                <a:gd name="csY0" fmla="*/ -6365 h 11828"/>
                <a:gd name="csX1" fmla="*/ 12585 w 21671"/>
                <a:gd name="csY1" fmla="*/ -6365 h 11828"/>
                <a:gd name="csX2" fmla="*/ 12585 w 21671"/>
                <a:gd name="csY2" fmla="*/ 5464 h 11828"/>
                <a:gd name="csX3" fmla="*/ -9087 w 21671"/>
                <a:gd name="csY3" fmla="*/ 5464 h 11828"/>
                <a:gd name="csX4" fmla="*/ -9087 w 21671"/>
                <a:gd name="csY4" fmla="*/ -6365 h 11828"/>
              </a:gdLst>
              <a:ahLst/>
              <a:cxnLst>
                <a:cxn ang="0">
                  <a:pos x="csX0" y="csY0"/>
                </a:cxn>
                <a:cxn ang="0">
                  <a:pos x="csX1" y="csY1"/>
                </a:cxn>
                <a:cxn ang="0">
                  <a:pos x="csX2" y="csY2"/>
                </a:cxn>
                <a:cxn ang="0">
                  <a:pos x="csX3" y="csY3"/>
                </a:cxn>
                <a:cxn ang="0">
                  <a:pos x="csX4" y="csY4"/>
                </a:cxn>
              </a:cxnLst>
              <a:rect l="l" t="t" r="r" b="b"/>
              <a:pathLst>
                <a:path w="21671" h="11828">
                  <a:moveTo>
                    <a:pt x="-9087" y="-6365"/>
                  </a:moveTo>
                  <a:lnTo>
                    <a:pt x="12585" y="-6365"/>
                  </a:lnTo>
                  <a:lnTo>
                    <a:pt x="12585" y="5464"/>
                  </a:lnTo>
                  <a:lnTo>
                    <a:pt x="-9087" y="5464"/>
                  </a:lnTo>
                  <a:lnTo>
                    <a:pt x="-9087" y="-6365"/>
                  </a:lnTo>
                </a:path>
              </a:pathLst>
            </a:custGeom>
            <a:grpFill/>
            <a:ln w="548" cap="flat">
              <a:noFill/>
              <a:prstDash val="solid"/>
              <a:miter/>
            </a:ln>
          </p:spPr>
          <p:txBody>
            <a:bodyPr/>
            <a:lstStyle/>
            <a:p>
              <a:endParaRPr lang="en-US"/>
            </a:p>
          </p:txBody>
        </p:sp>
        <p:sp>
          <p:nvSpPr>
            <p:cNvPr id="460" name="Freeform: Shape 459">
              <a:extLst>
                <a:ext uri="{FF2B5EF4-FFF2-40B4-BE49-F238E27FC236}">
                  <a16:creationId xmlns:a16="http://schemas.microsoft.com/office/drawing/2014/main" id="{5FCE7C0D-1EC5-9E84-C335-4180A1A70244}"/>
                </a:ext>
              </a:extLst>
            </p:cNvPr>
            <p:cNvSpPr/>
            <p:nvPr/>
          </p:nvSpPr>
          <p:spPr>
            <a:xfrm flipV="1">
              <a:off x="24453889" y="3916253"/>
              <a:ext cx="21671" cy="11828"/>
            </a:xfrm>
            <a:custGeom>
              <a:avLst/>
              <a:gdLst>
                <a:gd name="csX0" fmla="*/ -9158 w 21671"/>
                <a:gd name="csY0" fmla="*/ -6399 h 11828"/>
                <a:gd name="csX1" fmla="*/ 12513 w 21671"/>
                <a:gd name="csY1" fmla="*/ -6399 h 11828"/>
                <a:gd name="csX2" fmla="*/ 12513 w 21671"/>
                <a:gd name="csY2" fmla="*/ 5430 h 11828"/>
                <a:gd name="csX3" fmla="*/ -9158 w 21671"/>
                <a:gd name="csY3" fmla="*/ 5430 h 11828"/>
                <a:gd name="csX4" fmla="*/ -9158 w 21671"/>
                <a:gd name="csY4" fmla="*/ -6399 h 11828"/>
              </a:gdLst>
              <a:ahLst/>
              <a:cxnLst>
                <a:cxn ang="0">
                  <a:pos x="csX0" y="csY0"/>
                </a:cxn>
                <a:cxn ang="0">
                  <a:pos x="csX1" y="csY1"/>
                </a:cxn>
                <a:cxn ang="0">
                  <a:pos x="csX2" y="csY2"/>
                </a:cxn>
                <a:cxn ang="0">
                  <a:pos x="csX3" y="csY3"/>
                </a:cxn>
                <a:cxn ang="0">
                  <a:pos x="csX4" y="csY4"/>
                </a:cxn>
              </a:cxnLst>
              <a:rect l="l" t="t" r="r" b="b"/>
              <a:pathLst>
                <a:path w="21671" h="11828">
                  <a:moveTo>
                    <a:pt x="-9158" y="-6399"/>
                  </a:moveTo>
                  <a:lnTo>
                    <a:pt x="12513" y="-6399"/>
                  </a:lnTo>
                  <a:lnTo>
                    <a:pt x="12513" y="5430"/>
                  </a:lnTo>
                  <a:lnTo>
                    <a:pt x="-9158" y="5430"/>
                  </a:lnTo>
                  <a:lnTo>
                    <a:pt x="-9158" y="-6399"/>
                  </a:lnTo>
                </a:path>
              </a:pathLst>
            </a:custGeom>
            <a:grpFill/>
            <a:ln w="548" cap="flat">
              <a:noFill/>
              <a:prstDash val="solid"/>
              <a:miter/>
            </a:ln>
          </p:spPr>
          <p:txBody>
            <a:bodyPr/>
            <a:lstStyle/>
            <a:p>
              <a:endParaRPr lang="en-US"/>
            </a:p>
          </p:txBody>
        </p:sp>
        <p:sp>
          <p:nvSpPr>
            <p:cNvPr id="461" name="Freeform: Shape 460">
              <a:extLst>
                <a:ext uri="{FF2B5EF4-FFF2-40B4-BE49-F238E27FC236}">
                  <a16:creationId xmlns:a16="http://schemas.microsoft.com/office/drawing/2014/main" id="{8131C54A-B419-DBD1-B503-BC9B78D63DD1}"/>
                </a:ext>
              </a:extLst>
            </p:cNvPr>
            <p:cNvSpPr/>
            <p:nvPr/>
          </p:nvSpPr>
          <p:spPr>
            <a:xfrm flipV="1">
              <a:off x="24453889" y="3930484"/>
              <a:ext cx="21671" cy="11828"/>
            </a:xfrm>
            <a:custGeom>
              <a:avLst/>
              <a:gdLst>
                <a:gd name="csX0" fmla="*/ -9158 w 21671"/>
                <a:gd name="csY0" fmla="*/ -6365 h 11828"/>
                <a:gd name="csX1" fmla="*/ 12513 w 21671"/>
                <a:gd name="csY1" fmla="*/ -6365 h 11828"/>
                <a:gd name="csX2" fmla="*/ 12513 w 21671"/>
                <a:gd name="csY2" fmla="*/ 5464 h 11828"/>
                <a:gd name="csX3" fmla="*/ -9158 w 21671"/>
                <a:gd name="csY3" fmla="*/ 5464 h 11828"/>
                <a:gd name="csX4" fmla="*/ -9158 w 21671"/>
                <a:gd name="csY4" fmla="*/ -6365 h 11828"/>
              </a:gdLst>
              <a:ahLst/>
              <a:cxnLst>
                <a:cxn ang="0">
                  <a:pos x="csX0" y="csY0"/>
                </a:cxn>
                <a:cxn ang="0">
                  <a:pos x="csX1" y="csY1"/>
                </a:cxn>
                <a:cxn ang="0">
                  <a:pos x="csX2" y="csY2"/>
                </a:cxn>
                <a:cxn ang="0">
                  <a:pos x="csX3" y="csY3"/>
                </a:cxn>
                <a:cxn ang="0">
                  <a:pos x="csX4" y="csY4"/>
                </a:cxn>
              </a:cxnLst>
              <a:rect l="l" t="t" r="r" b="b"/>
              <a:pathLst>
                <a:path w="21671" h="11828">
                  <a:moveTo>
                    <a:pt x="-9158" y="-6365"/>
                  </a:moveTo>
                  <a:lnTo>
                    <a:pt x="12513" y="-6365"/>
                  </a:lnTo>
                  <a:lnTo>
                    <a:pt x="12513" y="5464"/>
                  </a:lnTo>
                  <a:lnTo>
                    <a:pt x="-9158" y="5464"/>
                  </a:lnTo>
                  <a:lnTo>
                    <a:pt x="-9158" y="-6365"/>
                  </a:lnTo>
                </a:path>
              </a:pathLst>
            </a:custGeom>
            <a:grpFill/>
            <a:ln w="548" cap="flat">
              <a:noFill/>
              <a:prstDash val="solid"/>
              <a:miter/>
            </a:ln>
          </p:spPr>
          <p:txBody>
            <a:bodyPr/>
            <a:lstStyle/>
            <a:p>
              <a:endParaRPr lang="en-US"/>
            </a:p>
          </p:txBody>
        </p:sp>
        <p:sp>
          <p:nvSpPr>
            <p:cNvPr id="462" name="Freeform: Shape 461">
              <a:extLst>
                <a:ext uri="{FF2B5EF4-FFF2-40B4-BE49-F238E27FC236}">
                  <a16:creationId xmlns:a16="http://schemas.microsoft.com/office/drawing/2014/main" id="{EF5D6374-0ECD-4015-1E78-E2DDD353F1B0}"/>
                </a:ext>
              </a:extLst>
            </p:cNvPr>
            <p:cNvSpPr/>
            <p:nvPr/>
          </p:nvSpPr>
          <p:spPr>
            <a:xfrm flipV="1">
              <a:off x="24396391" y="3975769"/>
              <a:ext cx="21671" cy="11828"/>
            </a:xfrm>
            <a:custGeom>
              <a:avLst/>
              <a:gdLst>
                <a:gd name="csX0" fmla="*/ -9087 w 21671"/>
                <a:gd name="csY0" fmla="*/ -6256 h 11828"/>
                <a:gd name="csX1" fmla="*/ 12585 w 21671"/>
                <a:gd name="csY1" fmla="*/ -6256 h 11828"/>
                <a:gd name="csX2" fmla="*/ 12585 w 21671"/>
                <a:gd name="csY2" fmla="*/ 5573 h 11828"/>
                <a:gd name="csX3" fmla="*/ -9087 w 21671"/>
                <a:gd name="csY3" fmla="*/ 5573 h 11828"/>
                <a:gd name="csX4" fmla="*/ -9087 w 21671"/>
                <a:gd name="csY4" fmla="*/ -6256 h 11828"/>
              </a:gdLst>
              <a:ahLst/>
              <a:cxnLst>
                <a:cxn ang="0">
                  <a:pos x="csX0" y="csY0"/>
                </a:cxn>
                <a:cxn ang="0">
                  <a:pos x="csX1" y="csY1"/>
                </a:cxn>
                <a:cxn ang="0">
                  <a:pos x="csX2" y="csY2"/>
                </a:cxn>
                <a:cxn ang="0">
                  <a:pos x="csX3" y="csY3"/>
                </a:cxn>
                <a:cxn ang="0">
                  <a:pos x="csX4" y="csY4"/>
                </a:cxn>
              </a:cxnLst>
              <a:rect l="l" t="t" r="r" b="b"/>
              <a:pathLst>
                <a:path w="21671" h="11828">
                  <a:moveTo>
                    <a:pt x="-9087" y="-6256"/>
                  </a:moveTo>
                  <a:lnTo>
                    <a:pt x="12585" y="-6256"/>
                  </a:lnTo>
                  <a:lnTo>
                    <a:pt x="12585" y="5573"/>
                  </a:lnTo>
                  <a:lnTo>
                    <a:pt x="-9087" y="5573"/>
                  </a:lnTo>
                  <a:lnTo>
                    <a:pt x="-9087" y="-6256"/>
                  </a:lnTo>
                </a:path>
              </a:pathLst>
            </a:custGeom>
            <a:grpFill/>
            <a:ln w="548" cap="flat">
              <a:noFill/>
              <a:prstDash val="solid"/>
              <a:miter/>
            </a:ln>
          </p:spPr>
          <p:txBody>
            <a:bodyPr/>
            <a:lstStyle/>
            <a:p>
              <a:endParaRPr lang="en-US"/>
            </a:p>
          </p:txBody>
        </p:sp>
        <p:sp>
          <p:nvSpPr>
            <p:cNvPr id="463" name="Freeform: Shape 462">
              <a:extLst>
                <a:ext uri="{FF2B5EF4-FFF2-40B4-BE49-F238E27FC236}">
                  <a16:creationId xmlns:a16="http://schemas.microsoft.com/office/drawing/2014/main" id="{E14B6530-09FA-9516-1AA0-BCF62ABA48CA}"/>
                </a:ext>
              </a:extLst>
            </p:cNvPr>
            <p:cNvSpPr/>
            <p:nvPr/>
          </p:nvSpPr>
          <p:spPr>
            <a:xfrm flipV="1">
              <a:off x="24396391" y="3990001"/>
              <a:ext cx="21671" cy="11828"/>
            </a:xfrm>
            <a:custGeom>
              <a:avLst/>
              <a:gdLst>
                <a:gd name="csX0" fmla="*/ -9087 w 21671"/>
                <a:gd name="csY0" fmla="*/ -6222 h 11828"/>
                <a:gd name="csX1" fmla="*/ 12585 w 21671"/>
                <a:gd name="csY1" fmla="*/ -6222 h 11828"/>
                <a:gd name="csX2" fmla="*/ 12585 w 21671"/>
                <a:gd name="csY2" fmla="*/ 5607 h 11828"/>
                <a:gd name="csX3" fmla="*/ -9087 w 21671"/>
                <a:gd name="csY3" fmla="*/ 5607 h 11828"/>
                <a:gd name="csX4" fmla="*/ -9087 w 21671"/>
                <a:gd name="csY4" fmla="*/ -6222 h 11828"/>
              </a:gdLst>
              <a:ahLst/>
              <a:cxnLst>
                <a:cxn ang="0">
                  <a:pos x="csX0" y="csY0"/>
                </a:cxn>
                <a:cxn ang="0">
                  <a:pos x="csX1" y="csY1"/>
                </a:cxn>
                <a:cxn ang="0">
                  <a:pos x="csX2" y="csY2"/>
                </a:cxn>
                <a:cxn ang="0">
                  <a:pos x="csX3" y="csY3"/>
                </a:cxn>
                <a:cxn ang="0">
                  <a:pos x="csX4" y="csY4"/>
                </a:cxn>
              </a:cxnLst>
              <a:rect l="l" t="t" r="r" b="b"/>
              <a:pathLst>
                <a:path w="21671" h="11828">
                  <a:moveTo>
                    <a:pt x="-9087" y="-6222"/>
                  </a:moveTo>
                  <a:lnTo>
                    <a:pt x="12585" y="-6222"/>
                  </a:lnTo>
                  <a:lnTo>
                    <a:pt x="12585" y="5607"/>
                  </a:lnTo>
                  <a:lnTo>
                    <a:pt x="-9087" y="5607"/>
                  </a:lnTo>
                  <a:lnTo>
                    <a:pt x="-9087" y="-6222"/>
                  </a:lnTo>
                </a:path>
              </a:pathLst>
            </a:custGeom>
            <a:grpFill/>
            <a:ln w="548" cap="flat">
              <a:noFill/>
              <a:prstDash val="solid"/>
              <a:miter/>
            </a:ln>
          </p:spPr>
          <p:txBody>
            <a:bodyPr/>
            <a:lstStyle/>
            <a:p>
              <a:endParaRPr lang="en-US"/>
            </a:p>
          </p:txBody>
        </p:sp>
        <p:sp>
          <p:nvSpPr>
            <p:cNvPr id="464" name="Freeform: Shape 463">
              <a:extLst>
                <a:ext uri="{FF2B5EF4-FFF2-40B4-BE49-F238E27FC236}">
                  <a16:creationId xmlns:a16="http://schemas.microsoft.com/office/drawing/2014/main" id="{EF554B3F-15B3-2EB6-2254-89F55B1417E9}"/>
                </a:ext>
              </a:extLst>
            </p:cNvPr>
            <p:cNvSpPr/>
            <p:nvPr/>
          </p:nvSpPr>
          <p:spPr>
            <a:xfrm flipV="1">
              <a:off x="24453889" y="3975769"/>
              <a:ext cx="21671" cy="11828"/>
            </a:xfrm>
            <a:custGeom>
              <a:avLst/>
              <a:gdLst>
                <a:gd name="csX0" fmla="*/ -9158 w 21671"/>
                <a:gd name="csY0" fmla="*/ -6256 h 11828"/>
                <a:gd name="csX1" fmla="*/ 12513 w 21671"/>
                <a:gd name="csY1" fmla="*/ -6256 h 11828"/>
                <a:gd name="csX2" fmla="*/ 12513 w 21671"/>
                <a:gd name="csY2" fmla="*/ 5573 h 11828"/>
                <a:gd name="csX3" fmla="*/ -9158 w 21671"/>
                <a:gd name="csY3" fmla="*/ 5573 h 11828"/>
                <a:gd name="csX4" fmla="*/ -9158 w 21671"/>
                <a:gd name="csY4" fmla="*/ -6256 h 11828"/>
              </a:gdLst>
              <a:ahLst/>
              <a:cxnLst>
                <a:cxn ang="0">
                  <a:pos x="csX0" y="csY0"/>
                </a:cxn>
                <a:cxn ang="0">
                  <a:pos x="csX1" y="csY1"/>
                </a:cxn>
                <a:cxn ang="0">
                  <a:pos x="csX2" y="csY2"/>
                </a:cxn>
                <a:cxn ang="0">
                  <a:pos x="csX3" y="csY3"/>
                </a:cxn>
                <a:cxn ang="0">
                  <a:pos x="csX4" y="csY4"/>
                </a:cxn>
              </a:cxnLst>
              <a:rect l="l" t="t" r="r" b="b"/>
              <a:pathLst>
                <a:path w="21671" h="11828">
                  <a:moveTo>
                    <a:pt x="-9158" y="-6256"/>
                  </a:moveTo>
                  <a:lnTo>
                    <a:pt x="12513" y="-6256"/>
                  </a:lnTo>
                  <a:lnTo>
                    <a:pt x="12513" y="5573"/>
                  </a:lnTo>
                  <a:lnTo>
                    <a:pt x="-9158" y="5573"/>
                  </a:lnTo>
                  <a:lnTo>
                    <a:pt x="-9158" y="-6256"/>
                  </a:lnTo>
                </a:path>
              </a:pathLst>
            </a:custGeom>
            <a:grpFill/>
            <a:ln w="548" cap="flat">
              <a:noFill/>
              <a:prstDash val="solid"/>
              <a:miter/>
            </a:ln>
          </p:spPr>
          <p:txBody>
            <a:bodyPr/>
            <a:lstStyle/>
            <a:p>
              <a:endParaRPr lang="en-US"/>
            </a:p>
          </p:txBody>
        </p:sp>
        <p:sp>
          <p:nvSpPr>
            <p:cNvPr id="465" name="Freeform: Shape 464">
              <a:extLst>
                <a:ext uri="{FF2B5EF4-FFF2-40B4-BE49-F238E27FC236}">
                  <a16:creationId xmlns:a16="http://schemas.microsoft.com/office/drawing/2014/main" id="{97BAFAA0-8926-1E59-92BD-29A835D435C1}"/>
                </a:ext>
              </a:extLst>
            </p:cNvPr>
            <p:cNvSpPr/>
            <p:nvPr/>
          </p:nvSpPr>
          <p:spPr>
            <a:xfrm flipV="1">
              <a:off x="24453889" y="3990001"/>
              <a:ext cx="21671" cy="11828"/>
            </a:xfrm>
            <a:custGeom>
              <a:avLst/>
              <a:gdLst>
                <a:gd name="csX0" fmla="*/ -9158 w 21671"/>
                <a:gd name="csY0" fmla="*/ -6222 h 11828"/>
                <a:gd name="csX1" fmla="*/ 12513 w 21671"/>
                <a:gd name="csY1" fmla="*/ -6222 h 11828"/>
                <a:gd name="csX2" fmla="*/ 12513 w 21671"/>
                <a:gd name="csY2" fmla="*/ 5607 h 11828"/>
                <a:gd name="csX3" fmla="*/ -9158 w 21671"/>
                <a:gd name="csY3" fmla="*/ 5607 h 11828"/>
                <a:gd name="csX4" fmla="*/ -9158 w 21671"/>
                <a:gd name="csY4" fmla="*/ -6222 h 11828"/>
              </a:gdLst>
              <a:ahLst/>
              <a:cxnLst>
                <a:cxn ang="0">
                  <a:pos x="csX0" y="csY0"/>
                </a:cxn>
                <a:cxn ang="0">
                  <a:pos x="csX1" y="csY1"/>
                </a:cxn>
                <a:cxn ang="0">
                  <a:pos x="csX2" y="csY2"/>
                </a:cxn>
                <a:cxn ang="0">
                  <a:pos x="csX3" y="csY3"/>
                </a:cxn>
                <a:cxn ang="0">
                  <a:pos x="csX4" y="csY4"/>
                </a:cxn>
              </a:cxnLst>
              <a:rect l="l" t="t" r="r" b="b"/>
              <a:pathLst>
                <a:path w="21671" h="11828">
                  <a:moveTo>
                    <a:pt x="-9158" y="-6222"/>
                  </a:moveTo>
                  <a:lnTo>
                    <a:pt x="12513" y="-6222"/>
                  </a:lnTo>
                  <a:lnTo>
                    <a:pt x="12513" y="5607"/>
                  </a:lnTo>
                  <a:lnTo>
                    <a:pt x="-9158" y="5607"/>
                  </a:lnTo>
                  <a:lnTo>
                    <a:pt x="-9158" y="-6222"/>
                  </a:lnTo>
                </a:path>
              </a:pathLst>
            </a:custGeom>
            <a:grpFill/>
            <a:ln w="548" cap="flat">
              <a:noFill/>
              <a:prstDash val="solid"/>
              <a:miter/>
            </a:ln>
          </p:spPr>
          <p:txBody>
            <a:bodyPr/>
            <a:lstStyle/>
            <a:p>
              <a:endParaRPr lang="en-US"/>
            </a:p>
          </p:txBody>
        </p:sp>
        <p:sp>
          <p:nvSpPr>
            <p:cNvPr id="466" name="Freeform: Shape 465">
              <a:extLst>
                <a:ext uri="{FF2B5EF4-FFF2-40B4-BE49-F238E27FC236}">
                  <a16:creationId xmlns:a16="http://schemas.microsoft.com/office/drawing/2014/main" id="{570DF06D-10D6-1EFB-0DB5-49A425C95D2F}"/>
                </a:ext>
              </a:extLst>
            </p:cNvPr>
            <p:cNvSpPr/>
            <p:nvPr/>
          </p:nvSpPr>
          <p:spPr>
            <a:xfrm flipV="1">
              <a:off x="24396391" y="4049512"/>
              <a:ext cx="21671" cy="11834"/>
            </a:xfrm>
            <a:custGeom>
              <a:avLst/>
              <a:gdLst>
                <a:gd name="csX0" fmla="*/ -9087 w 21671"/>
                <a:gd name="csY0" fmla="*/ -6078 h 11834"/>
                <a:gd name="csX1" fmla="*/ 12585 w 21671"/>
                <a:gd name="csY1" fmla="*/ -6078 h 11834"/>
                <a:gd name="csX2" fmla="*/ 12585 w 21671"/>
                <a:gd name="csY2" fmla="*/ 5756 h 11834"/>
                <a:gd name="csX3" fmla="*/ -9087 w 21671"/>
                <a:gd name="csY3" fmla="*/ 5756 h 11834"/>
                <a:gd name="csX4" fmla="*/ -9087 w 21671"/>
                <a:gd name="csY4" fmla="*/ -6078 h 11834"/>
              </a:gdLst>
              <a:ahLst/>
              <a:cxnLst>
                <a:cxn ang="0">
                  <a:pos x="csX0" y="csY0"/>
                </a:cxn>
                <a:cxn ang="0">
                  <a:pos x="csX1" y="csY1"/>
                </a:cxn>
                <a:cxn ang="0">
                  <a:pos x="csX2" y="csY2"/>
                </a:cxn>
                <a:cxn ang="0">
                  <a:pos x="csX3" y="csY3"/>
                </a:cxn>
                <a:cxn ang="0">
                  <a:pos x="csX4" y="csY4"/>
                </a:cxn>
              </a:cxnLst>
              <a:rect l="l" t="t" r="r" b="b"/>
              <a:pathLst>
                <a:path w="21671" h="11834">
                  <a:moveTo>
                    <a:pt x="-9087" y="-6078"/>
                  </a:moveTo>
                  <a:lnTo>
                    <a:pt x="12585" y="-6078"/>
                  </a:lnTo>
                  <a:lnTo>
                    <a:pt x="12585" y="5756"/>
                  </a:lnTo>
                  <a:lnTo>
                    <a:pt x="-9087" y="5756"/>
                  </a:lnTo>
                  <a:lnTo>
                    <a:pt x="-9087" y="-6078"/>
                  </a:lnTo>
                </a:path>
              </a:pathLst>
            </a:custGeom>
            <a:grpFill/>
            <a:ln w="548" cap="flat">
              <a:noFill/>
              <a:prstDash val="solid"/>
              <a:miter/>
            </a:ln>
          </p:spPr>
          <p:txBody>
            <a:bodyPr/>
            <a:lstStyle/>
            <a:p>
              <a:endParaRPr lang="en-US"/>
            </a:p>
          </p:txBody>
        </p:sp>
        <p:sp>
          <p:nvSpPr>
            <p:cNvPr id="467" name="Freeform: Shape 466">
              <a:extLst>
                <a:ext uri="{FF2B5EF4-FFF2-40B4-BE49-F238E27FC236}">
                  <a16:creationId xmlns:a16="http://schemas.microsoft.com/office/drawing/2014/main" id="{C21729EA-D54E-E788-60E2-90BCFD94E590}"/>
                </a:ext>
              </a:extLst>
            </p:cNvPr>
            <p:cNvSpPr/>
            <p:nvPr/>
          </p:nvSpPr>
          <p:spPr>
            <a:xfrm flipV="1">
              <a:off x="24396391" y="4035286"/>
              <a:ext cx="21671" cy="11828"/>
            </a:xfrm>
            <a:custGeom>
              <a:avLst/>
              <a:gdLst>
                <a:gd name="csX0" fmla="*/ -9087 w 21671"/>
                <a:gd name="csY0" fmla="*/ -6113 h 11828"/>
                <a:gd name="csX1" fmla="*/ 12585 w 21671"/>
                <a:gd name="csY1" fmla="*/ -6113 h 11828"/>
                <a:gd name="csX2" fmla="*/ 12585 w 21671"/>
                <a:gd name="csY2" fmla="*/ 5716 h 11828"/>
                <a:gd name="csX3" fmla="*/ -9087 w 21671"/>
                <a:gd name="csY3" fmla="*/ 5716 h 11828"/>
                <a:gd name="csX4" fmla="*/ -9087 w 21671"/>
                <a:gd name="csY4" fmla="*/ -6113 h 11828"/>
              </a:gdLst>
              <a:ahLst/>
              <a:cxnLst>
                <a:cxn ang="0">
                  <a:pos x="csX0" y="csY0"/>
                </a:cxn>
                <a:cxn ang="0">
                  <a:pos x="csX1" y="csY1"/>
                </a:cxn>
                <a:cxn ang="0">
                  <a:pos x="csX2" y="csY2"/>
                </a:cxn>
                <a:cxn ang="0">
                  <a:pos x="csX3" y="csY3"/>
                </a:cxn>
                <a:cxn ang="0">
                  <a:pos x="csX4" y="csY4"/>
                </a:cxn>
              </a:cxnLst>
              <a:rect l="l" t="t" r="r" b="b"/>
              <a:pathLst>
                <a:path w="21671" h="11828">
                  <a:moveTo>
                    <a:pt x="-9087" y="-6113"/>
                  </a:moveTo>
                  <a:lnTo>
                    <a:pt x="12585" y="-6113"/>
                  </a:lnTo>
                  <a:lnTo>
                    <a:pt x="12585" y="5716"/>
                  </a:lnTo>
                  <a:lnTo>
                    <a:pt x="-9087" y="5716"/>
                  </a:lnTo>
                  <a:lnTo>
                    <a:pt x="-9087" y="-6113"/>
                  </a:lnTo>
                </a:path>
              </a:pathLst>
            </a:custGeom>
            <a:grpFill/>
            <a:ln w="548" cap="flat">
              <a:noFill/>
              <a:prstDash val="solid"/>
              <a:miter/>
            </a:ln>
          </p:spPr>
          <p:txBody>
            <a:bodyPr/>
            <a:lstStyle/>
            <a:p>
              <a:endParaRPr lang="en-US"/>
            </a:p>
          </p:txBody>
        </p:sp>
        <p:sp>
          <p:nvSpPr>
            <p:cNvPr id="468" name="Freeform: Shape 467">
              <a:extLst>
                <a:ext uri="{FF2B5EF4-FFF2-40B4-BE49-F238E27FC236}">
                  <a16:creationId xmlns:a16="http://schemas.microsoft.com/office/drawing/2014/main" id="{F193378C-3EA1-791E-A2D7-24C186EA3F26}"/>
                </a:ext>
              </a:extLst>
            </p:cNvPr>
            <p:cNvSpPr/>
            <p:nvPr/>
          </p:nvSpPr>
          <p:spPr>
            <a:xfrm flipV="1">
              <a:off x="24453889" y="4049512"/>
              <a:ext cx="21671" cy="11834"/>
            </a:xfrm>
            <a:custGeom>
              <a:avLst/>
              <a:gdLst>
                <a:gd name="csX0" fmla="*/ -9158 w 21671"/>
                <a:gd name="csY0" fmla="*/ -6078 h 11834"/>
                <a:gd name="csX1" fmla="*/ 12513 w 21671"/>
                <a:gd name="csY1" fmla="*/ -6078 h 11834"/>
                <a:gd name="csX2" fmla="*/ 12513 w 21671"/>
                <a:gd name="csY2" fmla="*/ 5756 h 11834"/>
                <a:gd name="csX3" fmla="*/ -9158 w 21671"/>
                <a:gd name="csY3" fmla="*/ 5756 h 11834"/>
                <a:gd name="csX4" fmla="*/ -9158 w 21671"/>
                <a:gd name="csY4" fmla="*/ -6078 h 11834"/>
              </a:gdLst>
              <a:ahLst/>
              <a:cxnLst>
                <a:cxn ang="0">
                  <a:pos x="csX0" y="csY0"/>
                </a:cxn>
                <a:cxn ang="0">
                  <a:pos x="csX1" y="csY1"/>
                </a:cxn>
                <a:cxn ang="0">
                  <a:pos x="csX2" y="csY2"/>
                </a:cxn>
                <a:cxn ang="0">
                  <a:pos x="csX3" y="csY3"/>
                </a:cxn>
                <a:cxn ang="0">
                  <a:pos x="csX4" y="csY4"/>
                </a:cxn>
              </a:cxnLst>
              <a:rect l="l" t="t" r="r" b="b"/>
              <a:pathLst>
                <a:path w="21671" h="11834">
                  <a:moveTo>
                    <a:pt x="-9158" y="-6078"/>
                  </a:moveTo>
                  <a:lnTo>
                    <a:pt x="12513" y="-6078"/>
                  </a:lnTo>
                  <a:lnTo>
                    <a:pt x="12513" y="5756"/>
                  </a:lnTo>
                  <a:lnTo>
                    <a:pt x="-9158" y="5756"/>
                  </a:lnTo>
                  <a:lnTo>
                    <a:pt x="-9158" y="-6078"/>
                  </a:lnTo>
                </a:path>
              </a:pathLst>
            </a:custGeom>
            <a:grpFill/>
            <a:ln w="548" cap="flat">
              <a:noFill/>
              <a:prstDash val="solid"/>
              <a:miter/>
            </a:ln>
          </p:spPr>
          <p:txBody>
            <a:bodyPr/>
            <a:lstStyle/>
            <a:p>
              <a:endParaRPr lang="en-US"/>
            </a:p>
          </p:txBody>
        </p:sp>
        <p:sp>
          <p:nvSpPr>
            <p:cNvPr id="469" name="Freeform: Shape 468">
              <a:extLst>
                <a:ext uri="{FF2B5EF4-FFF2-40B4-BE49-F238E27FC236}">
                  <a16:creationId xmlns:a16="http://schemas.microsoft.com/office/drawing/2014/main" id="{07B853CC-77D5-ADC8-47A8-C8710FF36B71}"/>
                </a:ext>
              </a:extLst>
            </p:cNvPr>
            <p:cNvSpPr/>
            <p:nvPr/>
          </p:nvSpPr>
          <p:spPr>
            <a:xfrm flipV="1">
              <a:off x="24453889" y="4035286"/>
              <a:ext cx="21671" cy="11828"/>
            </a:xfrm>
            <a:custGeom>
              <a:avLst/>
              <a:gdLst>
                <a:gd name="csX0" fmla="*/ -9158 w 21671"/>
                <a:gd name="csY0" fmla="*/ -6113 h 11828"/>
                <a:gd name="csX1" fmla="*/ 12513 w 21671"/>
                <a:gd name="csY1" fmla="*/ -6113 h 11828"/>
                <a:gd name="csX2" fmla="*/ 12513 w 21671"/>
                <a:gd name="csY2" fmla="*/ 5716 h 11828"/>
                <a:gd name="csX3" fmla="*/ -9158 w 21671"/>
                <a:gd name="csY3" fmla="*/ 5716 h 11828"/>
                <a:gd name="csX4" fmla="*/ -9158 w 21671"/>
                <a:gd name="csY4" fmla="*/ -6113 h 11828"/>
              </a:gdLst>
              <a:ahLst/>
              <a:cxnLst>
                <a:cxn ang="0">
                  <a:pos x="csX0" y="csY0"/>
                </a:cxn>
                <a:cxn ang="0">
                  <a:pos x="csX1" y="csY1"/>
                </a:cxn>
                <a:cxn ang="0">
                  <a:pos x="csX2" y="csY2"/>
                </a:cxn>
                <a:cxn ang="0">
                  <a:pos x="csX3" y="csY3"/>
                </a:cxn>
                <a:cxn ang="0">
                  <a:pos x="csX4" y="csY4"/>
                </a:cxn>
              </a:cxnLst>
              <a:rect l="l" t="t" r="r" b="b"/>
              <a:pathLst>
                <a:path w="21671" h="11828">
                  <a:moveTo>
                    <a:pt x="-9158" y="-6113"/>
                  </a:moveTo>
                  <a:lnTo>
                    <a:pt x="12513" y="-6113"/>
                  </a:lnTo>
                  <a:lnTo>
                    <a:pt x="12513" y="5716"/>
                  </a:lnTo>
                  <a:lnTo>
                    <a:pt x="-9158" y="5716"/>
                  </a:lnTo>
                  <a:lnTo>
                    <a:pt x="-9158" y="-6113"/>
                  </a:lnTo>
                </a:path>
              </a:pathLst>
            </a:custGeom>
            <a:grpFill/>
            <a:ln w="548" cap="flat">
              <a:noFill/>
              <a:prstDash val="solid"/>
              <a:miter/>
            </a:ln>
          </p:spPr>
          <p:txBody>
            <a:bodyPr/>
            <a:lstStyle/>
            <a:p>
              <a:endParaRPr lang="en-US"/>
            </a:p>
          </p:txBody>
        </p:sp>
        <p:sp>
          <p:nvSpPr>
            <p:cNvPr id="470" name="Freeform: Shape 469">
              <a:extLst>
                <a:ext uri="{FF2B5EF4-FFF2-40B4-BE49-F238E27FC236}">
                  <a16:creationId xmlns:a16="http://schemas.microsoft.com/office/drawing/2014/main" id="{40BDD895-021D-ECA6-E9DB-532E772C4DAC}"/>
                </a:ext>
              </a:extLst>
            </p:cNvPr>
            <p:cNvSpPr/>
            <p:nvPr/>
          </p:nvSpPr>
          <p:spPr>
            <a:xfrm flipV="1">
              <a:off x="24396391" y="4094802"/>
              <a:ext cx="21671" cy="11823"/>
            </a:xfrm>
            <a:custGeom>
              <a:avLst/>
              <a:gdLst>
                <a:gd name="csX0" fmla="*/ -9087 w 21671"/>
                <a:gd name="csY0" fmla="*/ -5969 h 11823"/>
                <a:gd name="csX1" fmla="*/ 12585 w 21671"/>
                <a:gd name="csY1" fmla="*/ -5969 h 11823"/>
                <a:gd name="csX2" fmla="*/ 12585 w 21671"/>
                <a:gd name="csY2" fmla="*/ 5854 h 11823"/>
                <a:gd name="csX3" fmla="*/ -9087 w 21671"/>
                <a:gd name="csY3" fmla="*/ 5854 h 11823"/>
                <a:gd name="csX4" fmla="*/ -9087 w 21671"/>
                <a:gd name="csY4" fmla="*/ -5969 h 11823"/>
              </a:gdLst>
              <a:ahLst/>
              <a:cxnLst>
                <a:cxn ang="0">
                  <a:pos x="csX0" y="csY0"/>
                </a:cxn>
                <a:cxn ang="0">
                  <a:pos x="csX1" y="csY1"/>
                </a:cxn>
                <a:cxn ang="0">
                  <a:pos x="csX2" y="csY2"/>
                </a:cxn>
                <a:cxn ang="0">
                  <a:pos x="csX3" y="csY3"/>
                </a:cxn>
                <a:cxn ang="0">
                  <a:pos x="csX4" y="csY4"/>
                </a:cxn>
              </a:cxnLst>
              <a:rect l="l" t="t" r="r" b="b"/>
              <a:pathLst>
                <a:path w="21671" h="11823">
                  <a:moveTo>
                    <a:pt x="-9087" y="-5969"/>
                  </a:moveTo>
                  <a:lnTo>
                    <a:pt x="12585" y="-5969"/>
                  </a:lnTo>
                  <a:lnTo>
                    <a:pt x="12585" y="5854"/>
                  </a:lnTo>
                  <a:lnTo>
                    <a:pt x="-9087" y="5854"/>
                  </a:lnTo>
                  <a:lnTo>
                    <a:pt x="-9087" y="-5969"/>
                  </a:lnTo>
                </a:path>
              </a:pathLst>
            </a:custGeom>
            <a:grpFill/>
            <a:ln w="548" cap="flat">
              <a:noFill/>
              <a:prstDash val="solid"/>
              <a:miter/>
            </a:ln>
          </p:spPr>
          <p:txBody>
            <a:bodyPr/>
            <a:lstStyle/>
            <a:p>
              <a:endParaRPr lang="en-US"/>
            </a:p>
          </p:txBody>
        </p:sp>
        <p:sp>
          <p:nvSpPr>
            <p:cNvPr id="471" name="Freeform: Shape 470">
              <a:extLst>
                <a:ext uri="{FF2B5EF4-FFF2-40B4-BE49-F238E27FC236}">
                  <a16:creationId xmlns:a16="http://schemas.microsoft.com/office/drawing/2014/main" id="{9965EF63-7332-BEBE-27CF-D2ADFCDCE9F9}"/>
                </a:ext>
              </a:extLst>
            </p:cNvPr>
            <p:cNvSpPr/>
            <p:nvPr/>
          </p:nvSpPr>
          <p:spPr>
            <a:xfrm flipV="1">
              <a:off x="24396391" y="4109034"/>
              <a:ext cx="21671" cy="11828"/>
            </a:xfrm>
            <a:custGeom>
              <a:avLst/>
              <a:gdLst>
                <a:gd name="csX0" fmla="*/ -9087 w 21671"/>
                <a:gd name="csY0" fmla="*/ -5935 h 11828"/>
                <a:gd name="csX1" fmla="*/ 12585 w 21671"/>
                <a:gd name="csY1" fmla="*/ -5935 h 11828"/>
                <a:gd name="csX2" fmla="*/ 12585 w 21671"/>
                <a:gd name="csY2" fmla="*/ 5894 h 11828"/>
                <a:gd name="csX3" fmla="*/ -9087 w 21671"/>
                <a:gd name="csY3" fmla="*/ 5894 h 11828"/>
                <a:gd name="csX4" fmla="*/ -9087 w 21671"/>
                <a:gd name="csY4" fmla="*/ -5935 h 11828"/>
              </a:gdLst>
              <a:ahLst/>
              <a:cxnLst>
                <a:cxn ang="0">
                  <a:pos x="csX0" y="csY0"/>
                </a:cxn>
                <a:cxn ang="0">
                  <a:pos x="csX1" y="csY1"/>
                </a:cxn>
                <a:cxn ang="0">
                  <a:pos x="csX2" y="csY2"/>
                </a:cxn>
                <a:cxn ang="0">
                  <a:pos x="csX3" y="csY3"/>
                </a:cxn>
                <a:cxn ang="0">
                  <a:pos x="csX4" y="csY4"/>
                </a:cxn>
              </a:cxnLst>
              <a:rect l="l" t="t" r="r" b="b"/>
              <a:pathLst>
                <a:path w="21671" h="11828">
                  <a:moveTo>
                    <a:pt x="-9087" y="-5935"/>
                  </a:moveTo>
                  <a:lnTo>
                    <a:pt x="12585" y="-5935"/>
                  </a:lnTo>
                  <a:lnTo>
                    <a:pt x="12585" y="5894"/>
                  </a:lnTo>
                  <a:lnTo>
                    <a:pt x="-9087" y="5894"/>
                  </a:lnTo>
                  <a:lnTo>
                    <a:pt x="-9087" y="-5935"/>
                  </a:lnTo>
                </a:path>
              </a:pathLst>
            </a:custGeom>
            <a:grpFill/>
            <a:ln w="548" cap="flat">
              <a:noFill/>
              <a:prstDash val="solid"/>
              <a:miter/>
            </a:ln>
          </p:spPr>
          <p:txBody>
            <a:bodyPr/>
            <a:lstStyle/>
            <a:p>
              <a:endParaRPr lang="en-US"/>
            </a:p>
          </p:txBody>
        </p:sp>
        <p:sp>
          <p:nvSpPr>
            <p:cNvPr id="472" name="Freeform: Shape 471">
              <a:extLst>
                <a:ext uri="{FF2B5EF4-FFF2-40B4-BE49-F238E27FC236}">
                  <a16:creationId xmlns:a16="http://schemas.microsoft.com/office/drawing/2014/main" id="{B0989E68-18B7-2F34-2DDA-D5C08774AC2F}"/>
                </a:ext>
              </a:extLst>
            </p:cNvPr>
            <p:cNvSpPr/>
            <p:nvPr/>
          </p:nvSpPr>
          <p:spPr>
            <a:xfrm flipV="1">
              <a:off x="24453889" y="4094802"/>
              <a:ext cx="21671" cy="11823"/>
            </a:xfrm>
            <a:custGeom>
              <a:avLst/>
              <a:gdLst>
                <a:gd name="csX0" fmla="*/ -9158 w 21671"/>
                <a:gd name="csY0" fmla="*/ -5969 h 11823"/>
                <a:gd name="csX1" fmla="*/ 12513 w 21671"/>
                <a:gd name="csY1" fmla="*/ -5969 h 11823"/>
                <a:gd name="csX2" fmla="*/ 12513 w 21671"/>
                <a:gd name="csY2" fmla="*/ 5854 h 11823"/>
                <a:gd name="csX3" fmla="*/ -9158 w 21671"/>
                <a:gd name="csY3" fmla="*/ 5854 h 11823"/>
                <a:gd name="csX4" fmla="*/ -9158 w 21671"/>
                <a:gd name="csY4" fmla="*/ -5969 h 11823"/>
              </a:gdLst>
              <a:ahLst/>
              <a:cxnLst>
                <a:cxn ang="0">
                  <a:pos x="csX0" y="csY0"/>
                </a:cxn>
                <a:cxn ang="0">
                  <a:pos x="csX1" y="csY1"/>
                </a:cxn>
                <a:cxn ang="0">
                  <a:pos x="csX2" y="csY2"/>
                </a:cxn>
                <a:cxn ang="0">
                  <a:pos x="csX3" y="csY3"/>
                </a:cxn>
                <a:cxn ang="0">
                  <a:pos x="csX4" y="csY4"/>
                </a:cxn>
              </a:cxnLst>
              <a:rect l="l" t="t" r="r" b="b"/>
              <a:pathLst>
                <a:path w="21671" h="11823">
                  <a:moveTo>
                    <a:pt x="-9158" y="-5969"/>
                  </a:moveTo>
                  <a:lnTo>
                    <a:pt x="12513" y="-5969"/>
                  </a:lnTo>
                  <a:lnTo>
                    <a:pt x="12513" y="5854"/>
                  </a:lnTo>
                  <a:lnTo>
                    <a:pt x="-9158" y="5854"/>
                  </a:lnTo>
                  <a:lnTo>
                    <a:pt x="-9158" y="-5969"/>
                  </a:lnTo>
                </a:path>
              </a:pathLst>
            </a:custGeom>
            <a:grpFill/>
            <a:ln w="548" cap="flat">
              <a:noFill/>
              <a:prstDash val="solid"/>
              <a:miter/>
            </a:ln>
          </p:spPr>
          <p:txBody>
            <a:bodyPr/>
            <a:lstStyle/>
            <a:p>
              <a:endParaRPr lang="en-US"/>
            </a:p>
          </p:txBody>
        </p:sp>
        <p:sp>
          <p:nvSpPr>
            <p:cNvPr id="473" name="Freeform: Shape 472">
              <a:extLst>
                <a:ext uri="{FF2B5EF4-FFF2-40B4-BE49-F238E27FC236}">
                  <a16:creationId xmlns:a16="http://schemas.microsoft.com/office/drawing/2014/main" id="{AC9156A4-A1AB-D0DE-3E79-C06DEEFBA551}"/>
                </a:ext>
              </a:extLst>
            </p:cNvPr>
            <p:cNvSpPr/>
            <p:nvPr/>
          </p:nvSpPr>
          <p:spPr>
            <a:xfrm flipV="1">
              <a:off x="24453889" y="4109034"/>
              <a:ext cx="21671" cy="11828"/>
            </a:xfrm>
            <a:custGeom>
              <a:avLst/>
              <a:gdLst>
                <a:gd name="csX0" fmla="*/ -9158 w 21671"/>
                <a:gd name="csY0" fmla="*/ -5935 h 11828"/>
                <a:gd name="csX1" fmla="*/ 12513 w 21671"/>
                <a:gd name="csY1" fmla="*/ -5935 h 11828"/>
                <a:gd name="csX2" fmla="*/ 12513 w 21671"/>
                <a:gd name="csY2" fmla="*/ 5894 h 11828"/>
                <a:gd name="csX3" fmla="*/ -9158 w 21671"/>
                <a:gd name="csY3" fmla="*/ 5894 h 11828"/>
                <a:gd name="csX4" fmla="*/ -9158 w 21671"/>
                <a:gd name="csY4" fmla="*/ -5935 h 11828"/>
              </a:gdLst>
              <a:ahLst/>
              <a:cxnLst>
                <a:cxn ang="0">
                  <a:pos x="csX0" y="csY0"/>
                </a:cxn>
                <a:cxn ang="0">
                  <a:pos x="csX1" y="csY1"/>
                </a:cxn>
                <a:cxn ang="0">
                  <a:pos x="csX2" y="csY2"/>
                </a:cxn>
                <a:cxn ang="0">
                  <a:pos x="csX3" y="csY3"/>
                </a:cxn>
                <a:cxn ang="0">
                  <a:pos x="csX4" y="csY4"/>
                </a:cxn>
              </a:cxnLst>
              <a:rect l="l" t="t" r="r" b="b"/>
              <a:pathLst>
                <a:path w="21671" h="11828">
                  <a:moveTo>
                    <a:pt x="-9158" y="-5935"/>
                  </a:moveTo>
                  <a:lnTo>
                    <a:pt x="12513" y="-5935"/>
                  </a:lnTo>
                  <a:lnTo>
                    <a:pt x="12513" y="5894"/>
                  </a:lnTo>
                  <a:lnTo>
                    <a:pt x="-9158" y="5894"/>
                  </a:lnTo>
                  <a:lnTo>
                    <a:pt x="-9158" y="-5935"/>
                  </a:lnTo>
                </a:path>
              </a:pathLst>
            </a:custGeom>
            <a:grpFill/>
            <a:ln w="548" cap="flat">
              <a:noFill/>
              <a:prstDash val="solid"/>
              <a:miter/>
            </a:ln>
          </p:spPr>
          <p:txBody>
            <a:bodyPr/>
            <a:lstStyle/>
            <a:p>
              <a:endParaRPr lang="en-US"/>
            </a:p>
          </p:txBody>
        </p:sp>
        <p:sp>
          <p:nvSpPr>
            <p:cNvPr id="474" name="Freeform: Shape 473">
              <a:extLst>
                <a:ext uri="{FF2B5EF4-FFF2-40B4-BE49-F238E27FC236}">
                  <a16:creationId xmlns:a16="http://schemas.microsoft.com/office/drawing/2014/main" id="{BC72A7D1-6CBC-95B4-E054-C331F51730BB}"/>
                </a:ext>
              </a:extLst>
            </p:cNvPr>
            <p:cNvSpPr/>
            <p:nvPr/>
          </p:nvSpPr>
          <p:spPr>
            <a:xfrm flipV="1">
              <a:off x="24396391" y="4154313"/>
              <a:ext cx="21671" cy="11834"/>
            </a:xfrm>
            <a:custGeom>
              <a:avLst/>
              <a:gdLst>
                <a:gd name="csX0" fmla="*/ -9087 w 21671"/>
                <a:gd name="csY0" fmla="*/ -5826 h 11834"/>
                <a:gd name="csX1" fmla="*/ 12585 w 21671"/>
                <a:gd name="csY1" fmla="*/ -5826 h 11834"/>
                <a:gd name="csX2" fmla="*/ 12585 w 21671"/>
                <a:gd name="csY2" fmla="*/ 6008 h 11834"/>
                <a:gd name="csX3" fmla="*/ -9087 w 21671"/>
                <a:gd name="csY3" fmla="*/ 6008 h 11834"/>
                <a:gd name="csX4" fmla="*/ -9087 w 21671"/>
                <a:gd name="csY4" fmla="*/ -5826 h 11834"/>
              </a:gdLst>
              <a:ahLst/>
              <a:cxnLst>
                <a:cxn ang="0">
                  <a:pos x="csX0" y="csY0"/>
                </a:cxn>
                <a:cxn ang="0">
                  <a:pos x="csX1" y="csY1"/>
                </a:cxn>
                <a:cxn ang="0">
                  <a:pos x="csX2" y="csY2"/>
                </a:cxn>
                <a:cxn ang="0">
                  <a:pos x="csX3" y="csY3"/>
                </a:cxn>
                <a:cxn ang="0">
                  <a:pos x="csX4" y="csY4"/>
                </a:cxn>
              </a:cxnLst>
              <a:rect l="l" t="t" r="r" b="b"/>
              <a:pathLst>
                <a:path w="21671" h="11834">
                  <a:moveTo>
                    <a:pt x="-9087" y="-5826"/>
                  </a:moveTo>
                  <a:lnTo>
                    <a:pt x="12585" y="-5826"/>
                  </a:lnTo>
                  <a:lnTo>
                    <a:pt x="12585" y="6008"/>
                  </a:lnTo>
                  <a:lnTo>
                    <a:pt x="-9087" y="6008"/>
                  </a:lnTo>
                  <a:lnTo>
                    <a:pt x="-9087" y="-5826"/>
                  </a:lnTo>
                </a:path>
              </a:pathLst>
            </a:custGeom>
            <a:grpFill/>
            <a:ln w="548" cap="flat">
              <a:noFill/>
              <a:prstDash val="solid"/>
              <a:miter/>
            </a:ln>
          </p:spPr>
          <p:txBody>
            <a:bodyPr/>
            <a:lstStyle/>
            <a:p>
              <a:endParaRPr lang="en-US"/>
            </a:p>
          </p:txBody>
        </p:sp>
        <p:sp>
          <p:nvSpPr>
            <p:cNvPr id="475" name="Freeform: Shape 474">
              <a:extLst>
                <a:ext uri="{FF2B5EF4-FFF2-40B4-BE49-F238E27FC236}">
                  <a16:creationId xmlns:a16="http://schemas.microsoft.com/office/drawing/2014/main" id="{9A1C6C87-850B-FA4A-754B-0DBF02F29BDA}"/>
                </a:ext>
              </a:extLst>
            </p:cNvPr>
            <p:cNvSpPr/>
            <p:nvPr/>
          </p:nvSpPr>
          <p:spPr>
            <a:xfrm flipV="1">
              <a:off x="24396391" y="4168550"/>
              <a:ext cx="21671" cy="11828"/>
            </a:xfrm>
            <a:custGeom>
              <a:avLst/>
              <a:gdLst>
                <a:gd name="csX0" fmla="*/ -9087 w 21671"/>
                <a:gd name="csY0" fmla="*/ -5792 h 11828"/>
                <a:gd name="csX1" fmla="*/ 12585 w 21671"/>
                <a:gd name="csY1" fmla="*/ -5792 h 11828"/>
                <a:gd name="csX2" fmla="*/ 12585 w 21671"/>
                <a:gd name="csY2" fmla="*/ 6037 h 11828"/>
                <a:gd name="csX3" fmla="*/ -9087 w 21671"/>
                <a:gd name="csY3" fmla="*/ 6037 h 11828"/>
                <a:gd name="csX4" fmla="*/ -9087 w 21671"/>
                <a:gd name="csY4" fmla="*/ -5792 h 11828"/>
              </a:gdLst>
              <a:ahLst/>
              <a:cxnLst>
                <a:cxn ang="0">
                  <a:pos x="csX0" y="csY0"/>
                </a:cxn>
                <a:cxn ang="0">
                  <a:pos x="csX1" y="csY1"/>
                </a:cxn>
                <a:cxn ang="0">
                  <a:pos x="csX2" y="csY2"/>
                </a:cxn>
                <a:cxn ang="0">
                  <a:pos x="csX3" y="csY3"/>
                </a:cxn>
                <a:cxn ang="0">
                  <a:pos x="csX4" y="csY4"/>
                </a:cxn>
              </a:cxnLst>
              <a:rect l="l" t="t" r="r" b="b"/>
              <a:pathLst>
                <a:path w="21671" h="11828">
                  <a:moveTo>
                    <a:pt x="-9087" y="-5792"/>
                  </a:moveTo>
                  <a:lnTo>
                    <a:pt x="12585" y="-5792"/>
                  </a:lnTo>
                  <a:lnTo>
                    <a:pt x="12585" y="6037"/>
                  </a:lnTo>
                  <a:lnTo>
                    <a:pt x="-9087" y="6037"/>
                  </a:lnTo>
                  <a:lnTo>
                    <a:pt x="-9087" y="-5792"/>
                  </a:lnTo>
                </a:path>
              </a:pathLst>
            </a:custGeom>
            <a:grpFill/>
            <a:ln w="548" cap="flat">
              <a:noFill/>
              <a:prstDash val="solid"/>
              <a:miter/>
            </a:ln>
          </p:spPr>
          <p:txBody>
            <a:bodyPr/>
            <a:lstStyle/>
            <a:p>
              <a:endParaRPr lang="en-US"/>
            </a:p>
          </p:txBody>
        </p:sp>
        <p:sp>
          <p:nvSpPr>
            <p:cNvPr id="476" name="Freeform: Shape 475">
              <a:extLst>
                <a:ext uri="{FF2B5EF4-FFF2-40B4-BE49-F238E27FC236}">
                  <a16:creationId xmlns:a16="http://schemas.microsoft.com/office/drawing/2014/main" id="{2FD70CCC-D2E8-24C9-F296-ABAF2EA53424}"/>
                </a:ext>
              </a:extLst>
            </p:cNvPr>
            <p:cNvSpPr/>
            <p:nvPr/>
          </p:nvSpPr>
          <p:spPr>
            <a:xfrm flipV="1">
              <a:off x="24453889" y="4154313"/>
              <a:ext cx="21671" cy="11834"/>
            </a:xfrm>
            <a:custGeom>
              <a:avLst/>
              <a:gdLst>
                <a:gd name="csX0" fmla="*/ -9158 w 21671"/>
                <a:gd name="csY0" fmla="*/ -5826 h 11834"/>
                <a:gd name="csX1" fmla="*/ 12513 w 21671"/>
                <a:gd name="csY1" fmla="*/ -5826 h 11834"/>
                <a:gd name="csX2" fmla="*/ 12513 w 21671"/>
                <a:gd name="csY2" fmla="*/ 6008 h 11834"/>
                <a:gd name="csX3" fmla="*/ -9158 w 21671"/>
                <a:gd name="csY3" fmla="*/ 6008 h 11834"/>
                <a:gd name="csX4" fmla="*/ -9158 w 21671"/>
                <a:gd name="csY4" fmla="*/ -5826 h 11834"/>
              </a:gdLst>
              <a:ahLst/>
              <a:cxnLst>
                <a:cxn ang="0">
                  <a:pos x="csX0" y="csY0"/>
                </a:cxn>
                <a:cxn ang="0">
                  <a:pos x="csX1" y="csY1"/>
                </a:cxn>
                <a:cxn ang="0">
                  <a:pos x="csX2" y="csY2"/>
                </a:cxn>
                <a:cxn ang="0">
                  <a:pos x="csX3" y="csY3"/>
                </a:cxn>
                <a:cxn ang="0">
                  <a:pos x="csX4" y="csY4"/>
                </a:cxn>
              </a:cxnLst>
              <a:rect l="l" t="t" r="r" b="b"/>
              <a:pathLst>
                <a:path w="21671" h="11834">
                  <a:moveTo>
                    <a:pt x="-9158" y="-5826"/>
                  </a:moveTo>
                  <a:lnTo>
                    <a:pt x="12513" y="-5826"/>
                  </a:lnTo>
                  <a:lnTo>
                    <a:pt x="12513" y="6008"/>
                  </a:lnTo>
                  <a:lnTo>
                    <a:pt x="-9158" y="6008"/>
                  </a:lnTo>
                  <a:lnTo>
                    <a:pt x="-9158" y="-5826"/>
                  </a:lnTo>
                </a:path>
              </a:pathLst>
            </a:custGeom>
            <a:grpFill/>
            <a:ln w="548" cap="flat">
              <a:noFill/>
              <a:prstDash val="solid"/>
              <a:miter/>
            </a:ln>
          </p:spPr>
          <p:txBody>
            <a:bodyPr/>
            <a:lstStyle/>
            <a:p>
              <a:endParaRPr lang="en-US"/>
            </a:p>
          </p:txBody>
        </p:sp>
        <p:sp>
          <p:nvSpPr>
            <p:cNvPr id="477" name="Freeform: Shape 476">
              <a:extLst>
                <a:ext uri="{FF2B5EF4-FFF2-40B4-BE49-F238E27FC236}">
                  <a16:creationId xmlns:a16="http://schemas.microsoft.com/office/drawing/2014/main" id="{BA4F3887-DF46-EAE2-A999-C9EB16C5F294}"/>
                </a:ext>
              </a:extLst>
            </p:cNvPr>
            <p:cNvSpPr/>
            <p:nvPr/>
          </p:nvSpPr>
          <p:spPr>
            <a:xfrm flipV="1">
              <a:off x="24453889" y="4168550"/>
              <a:ext cx="21671" cy="11828"/>
            </a:xfrm>
            <a:custGeom>
              <a:avLst/>
              <a:gdLst>
                <a:gd name="csX0" fmla="*/ -9158 w 21671"/>
                <a:gd name="csY0" fmla="*/ -5792 h 11828"/>
                <a:gd name="csX1" fmla="*/ 12513 w 21671"/>
                <a:gd name="csY1" fmla="*/ -5792 h 11828"/>
                <a:gd name="csX2" fmla="*/ 12513 w 21671"/>
                <a:gd name="csY2" fmla="*/ 6037 h 11828"/>
                <a:gd name="csX3" fmla="*/ -9158 w 21671"/>
                <a:gd name="csY3" fmla="*/ 6037 h 11828"/>
                <a:gd name="csX4" fmla="*/ -9158 w 21671"/>
                <a:gd name="csY4" fmla="*/ -5792 h 11828"/>
              </a:gdLst>
              <a:ahLst/>
              <a:cxnLst>
                <a:cxn ang="0">
                  <a:pos x="csX0" y="csY0"/>
                </a:cxn>
                <a:cxn ang="0">
                  <a:pos x="csX1" y="csY1"/>
                </a:cxn>
                <a:cxn ang="0">
                  <a:pos x="csX2" y="csY2"/>
                </a:cxn>
                <a:cxn ang="0">
                  <a:pos x="csX3" y="csY3"/>
                </a:cxn>
                <a:cxn ang="0">
                  <a:pos x="csX4" y="csY4"/>
                </a:cxn>
              </a:cxnLst>
              <a:rect l="l" t="t" r="r" b="b"/>
              <a:pathLst>
                <a:path w="21671" h="11828">
                  <a:moveTo>
                    <a:pt x="-9158" y="-5792"/>
                  </a:moveTo>
                  <a:lnTo>
                    <a:pt x="12513" y="-5792"/>
                  </a:lnTo>
                  <a:lnTo>
                    <a:pt x="12513" y="6037"/>
                  </a:lnTo>
                  <a:lnTo>
                    <a:pt x="-9158" y="6037"/>
                  </a:lnTo>
                  <a:lnTo>
                    <a:pt x="-9158" y="-5792"/>
                  </a:lnTo>
                </a:path>
              </a:pathLst>
            </a:custGeom>
            <a:grpFill/>
            <a:ln w="548" cap="flat">
              <a:noFill/>
              <a:prstDash val="solid"/>
              <a:miter/>
            </a:ln>
          </p:spPr>
          <p:txBody>
            <a:bodyPr/>
            <a:lstStyle/>
            <a:p>
              <a:endParaRPr lang="en-US"/>
            </a:p>
          </p:txBody>
        </p:sp>
        <p:sp>
          <p:nvSpPr>
            <p:cNvPr id="478" name="Freeform: Shape 477">
              <a:extLst>
                <a:ext uri="{FF2B5EF4-FFF2-40B4-BE49-F238E27FC236}">
                  <a16:creationId xmlns:a16="http://schemas.microsoft.com/office/drawing/2014/main" id="{570A5E2A-0E70-F4F5-2A6D-577C6A64175B}"/>
                </a:ext>
              </a:extLst>
            </p:cNvPr>
            <p:cNvSpPr/>
            <p:nvPr/>
          </p:nvSpPr>
          <p:spPr>
            <a:xfrm flipV="1">
              <a:off x="24396391" y="4213830"/>
              <a:ext cx="21671" cy="11828"/>
            </a:xfrm>
            <a:custGeom>
              <a:avLst/>
              <a:gdLst>
                <a:gd name="csX0" fmla="*/ -9087 w 21671"/>
                <a:gd name="csY0" fmla="*/ -5683 h 11828"/>
                <a:gd name="csX1" fmla="*/ 12585 w 21671"/>
                <a:gd name="csY1" fmla="*/ -5683 h 11828"/>
                <a:gd name="csX2" fmla="*/ 12585 w 21671"/>
                <a:gd name="csY2" fmla="*/ 6146 h 11828"/>
                <a:gd name="csX3" fmla="*/ -9087 w 21671"/>
                <a:gd name="csY3" fmla="*/ 6146 h 11828"/>
                <a:gd name="csX4" fmla="*/ -9087 w 21671"/>
                <a:gd name="csY4" fmla="*/ -5683 h 11828"/>
              </a:gdLst>
              <a:ahLst/>
              <a:cxnLst>
                <a:cxn ang="0">
                  <a:pos x="csX0" y="csY0"/>
                </a:cxn>
                <a:cxn ang="0">
                  <a:pos x="csX1" y="csY1"/>
                </a:cxn>
                <a:cxn ang="0">
                  <a:pos x="csX2" y="csY2"/>
                </a:cxn>
                <a:cxn ang="0">
                  <a:pos x="csX3" y="csY3"/>
                </a:cxn>
                <a:cxn ang="0">
                  <a:pos x="csX4" y="csY4"/>
                </a:cxn>
              </a:cxnLst>
              <a:rect l="l" t="t" r="r" b="b"/>
              <a:pathLst>
                <a:path w="21671" h="11828">
                  <a:moveTo>
                    <a:pt x="-9087" y="-5683"/>
                  </a:moveTo>
                  <a:lnTo>
                    <a:pt x="12585" y="-5683"/>
                  </a:lnTo>
                  <a:lnTo>
                    <a:pt x="12585" y="6146"/>
                  </a:lnTo>
                  <a:lnTo>
                    <a:pt x="-9087" y="6146"/>
                  </a:lnTo>
                  <a:lnTo>
                    <a:pt x="-9087" y="-5683"/>
                  </a:lnTo>
                </a:path>
              </a:pathLst>
            </a:custGeom>
            <a:grpFill/>
            <a:ln w="548" cap="flat">
              <a:noFill/>
              <a:prstDash val="solid"/>
              <a:miter/>
            </a:ln>
          </p:spPr>
          <p:txBody>
            <a:bodyPr/>
            <a:lstStyle/>
            <a:p>
              <a:endParaRPr lang="en-US"/>
            </a:p>
          </p:txBody>
        </p:sp>
        <p:sp>
          <p:nvSpPr>
            <p:cNvPr id="479" name="Freeform: Shape 478">
              <a:extLst>
                <a:ext uri="{FF2B5EF4-FFF2-40B4-BE49-F238E27FC236}">
                  <a16:creationId xmlns:a16="http://schemas.microsoft.com/office/drawing/2014/main" id="{0BEFC128-717F-05D8-B832-1B2D4BC85BD1}"/>
                </a:ext>
              </a:extLst>
            </p:cNvPr>
            <p:cNvSpPr/>
            <p:nvPr/>
          </p:nvSpPr>
          <p:spPr>
            <a:xfrm flipV="1">
              <a:off x="24396391" y="4228061"/>
              <a:ext cx="21671" cy="11828"/>
            </a:xfrm>
            <a:custGeom>
              <a:avLst/>
              <a:gdLst>
                <a:gd name="csX0" fmla="*/ -9087 w 21671"/>
                <a:gd name="csY0" fmla="*/ -5649 h 11828"/>
                <a:gd name="csX1" fmla="*/ 12585 w 21671"/>
                <a:gd name="csY1" fmla="*/ -5649 h 11828"/>
                <a:gd name="csX2" fmla="*/ 12585 w 21671"/>
                <a:gd name="csY2" fmla="*/ 6180 h 11828"/>
                <a:gd name="csX3" fmla="*/ -9087 w 21671"/>
                <a:gd name="csY3" fmla="*/ 6180 h 11828"/>
                <a:gd name="csX4" fmla="*/ -9087 w 21671"/>
                <a:gd name="csY4" fmla="*/ -5649 h 11828"/>
              </a:gdLst>
              <a:ahLst/>
              <a:cxnLst>
                <a:cxn ang="0">
                  <a:pos x="csX0" y="csY0"/>
                </a:cxn>
                <a:cxn ang="0">
                  <a:pos x="csX1" y="csY1"/>
                </a:cxn>
                <a:cxn ang="0">
                  <a:pos x="csX2" y="csY2"/>
                </a:cxn>
                <a:cxn ang="0">
                  <a:pos x="csX3" y="csY3"/>
                </a:cxn>
                <a:cxn ang="0">
                  <a:pos x="csX4" y="csY4"/>
                </a:cxn>
              </a:cxnLst>
              <a:rect l="l" t="t" r="r" b="b"/>
              <a:pathLst>
                <a:path w="21671" h="11828">
                  <a:moveTo>
                    <a:pt x="-9087" y="-5649"/>
                  </a:moveTo>
                  <a:lnTo>
                    <a:pt x="12585" y="-5649"/>
                  </a:lnTo>
                  <a:lnTo>
                    <a:pt x="12585" y="6180"/>
                  </a:lnTo>
                  <a:lnTo>
                    <a:pt x="-9087" y="6180"/>
                  </a:lnTo>
                  <a:lnTo>
                    <a:pt x="-9087" y="-5649"/>
                  </a:lnTo>
                </a:path>
              </a:pathLst>
            </a:custGeom>
            <a:grpFill/>
            <a:ln w="548" cap="flat">
              <a:noFill/>
              <a:prstDash val="solid"/>
              <a:miter/>
            </a:ln>
          </p:spPr>
          <p:txBody>
            <a:bodyPr/>
            <a:lstStyle/>
            <a:p>
              <a:endParaRPr lang="en-US"/>
            </a:p>
          </p:txBody>
        </p:sp>
        <p:sp>
          <p:nvSpPr>
            <p:cNvPr id="480" name="Freeform: Shape 479">
              <a:extLst>
                <a:ext uri="{FF2B5EF4-FFF2-40B4-BE49-F238E27FC236}">
                  <a16:creationId xmlns:a16="http://schemas.microsoft.com/office/drawing/2014/main" id="{FC24E69B-B91C-346E-9B5F-8A125D929C4C}"/>
                </a:ext>
              </a:extLst>
            </p:cNvPr>
            <p:cNvSpPr/>
            <p:nvPr/>
          </p:nvSpPr>
          <p:spPr>
            <a:xfrm flipV="1">
              <a:off x="24453889" y="4213830"/>
              <a:ext cx="21671" cy="11828"/>
            </a:xfrm>
            <a:custGeom>
              <a:avLst/>
              <a:gdLst>
                <a:gd name="csX0" fmla="*/ -9158 w 21671"/>
                <a:gd name="csY0" fmla="*/ -5683 h 11828"/>
                <a:gd name="csX1" fmla="*/ 12513 w 21671"/>
                <a:gd name="csY1" fmla="*/ -5683 h 11828"/>
                <a:gd name="csX2" fmla="*/ 12513 w 21671"/>
                <a:gd name="csY2" fmla="*/ 6146 h 11828"/>
                <a:gd name="csX3" fmla="*/ -9158 w 21671"/>
                <a:gd name="csY3" fmla="*/ 6146 h 11828"/>
                <a:gd name="csX4" fmla="*/ -9158 w 21671"/>
                <a:gd name="csY4" fmla="*/ -5683 h 11828"/>
              </a:gdLst>
              <a:ahLst/>
              <a:cxnLst>
                <a:cxn ang="0">
                  <a:pos x="csX0" y="csY0"/>
                </a:cxn>
                <a:cxn ang="0">
                  <a:pos x="csX1" y="csY1"/>
                </a:cxn>
                <a:cxn ang="0">
                  <a:pos x="csX2" y="csY2"/>
                </a:cxn>
                <a:cxn ang="0">
                  <a:pos x="csX3" y="csY3"/>
                </a:cxn>
                <a:cxn ang="0">
                  <a:pos x="csX4" y="csY4"/>
                </a:cxn>
              </a:cxnLst>
              <a:rect l="l" t="t" r="r" b="b"/>
              <a:pathLst>
                <a:path w="21671" h="11828">
                  <a:moveTo>
                    <a:pt x="-9158" y="-5683"/>
                  </a:moveTo>
                  <a:lnTo>
                    <a:pt x="12513" y="-5683"/>
                  </a:lnTo>
                  <a:lnTo>
                    <a:pt x="12513" y="6146"/>
                  </a:lnTo>
                  <a:lnTo>
                    <a:pt x="-9158" y="6146"/>
                  </a:lnTo>
                  <a:lnTo>
                    <a:pt x="-9158" y="-5683"/>
                  </a:lnTo>
                </a:path>
              </a:pathLst>
            </a:custGeom>
            <a:grpFill/>
            <a:ln w="548" cap="flat">
              <a:noFill/>
              <a:prstDash val="solid"/>
              <a:miter/>
            </a:ln>
          </p:spPr>
          <p:txBody>
            <a:bodyPr/>
            <a:lstStyle/>
            <a:p>
              <a:endParaRPr lang="en-US"/>
            </a:p>
          </p:txBody>
        </p:sp>
        <p:sp>
          <p:nvSpPr>
            <p:cNvPr id="481" name="Freeform: Shape 480">
              <a:extLst>
                <a:ext uri="{FF2B5EF4-FFF2-40B4-BE49-F238E27FC236}">
                  <a16:creationId xmlns:a16="http://schemas.microsoft.com/office/drawing/2014/main" id="{E7C5DC12-E89E-07CC-6AC7-C32E4343E072}"/>
                </a:ext>
              </a:extLst>
            </p:cNvPr>
            <p:cNvSpPr/>
            <p:nvPr/>
          </p:nvSpPr>
          <p:spPr>
            <a:xfrm flipV="1">
              <a:off x="24453889" y="4228061"/>
              <a:ext cx="21671" cy="11828"/>
            </a:xfrm>
            <a:custGeom>
              <a:avLst/>
              <a:gdLst>
                <a:gd name="csX0" fmla="*/ -9158 w 21671"/>
                <a:gd name="csY0" fmla="*/ -5649 h 11828"/>
                <a:gd name="csX1" fmla="*/ 12513 w 21671"/>
                <a:gd name="csY1" fmla="*/ -5649 h 11828"/>
                <a:gd name="csX2" fmla="*/ 12513 w 21671"/>
                <a:gd name="csY2" fmla="*/ 6180 h 11828"/>
                <a:gd name="csX3" fmla="*/ -9158 w 21671"/>
                <a:gd name="csY3" fmla="*/ 6180 h 11828"/>
                <a:gd name="csX4" fmla="*/ -9158 w 21671"/>
                <a:gd name="csY4" fmla="*/ -5649 h 11828"/>
              </a:gdLst>
              <a:ahLst/>
              <a:cxnLst>
                <a:cxn ang="0">
                  <a:pos x="csX0" y="csY0"/>
                </a:cxn>
                <a:cxn ang="0">
                  <a:pos x="csX1" y="csY1"/>
                </a:cxn>
                <a:cxn ang="0">
                  <a:pos x="csX2" y="csY2"/>
                </a:cxn>
                <a:cxn ang="0">
                  <a:pos x="csX3" y="csY3"/>
                </a:cxn>
                <a:cxn ang="0">
                  <a:pos x="csX4" y="csY4"/>
                </a:cxn>
              </a:cxnLst>
              <a:rect l="l" t="t" r="r" b="b"/>
              <a:pathLst>
                <a:path w="21671" h="11828">
                  <a:moveTo>
                    <a:pt x="-9158" y="-5649"/>
                  </a:moveTo>
                  <a:lnTo>
                    <a:pt x="12513" y="-5649"/>
                  </a:lnTo>
                  <a:lnTo>
                    <a:pt x="12513" y="6180"/>
                  </a:lnTo>
                  <a:lnTo>
                    <a:pt x="-9158" y="6180"/>
                  </a:lnTo>
                  <a:lnTo>
                    <a:pt x="-9158" y="-5649"/>
                  </a:lnTo>
                </a:path>
              </a:pathLst>
            </a:custGeom>
            <a:grpFill/>
            <a:ln w="548" cap="flat">
              <a:noFill/>
              <a:prstDash val="solid"/>
              <a:miter/>
            </a:ln>
          </p:spPr>
          <p:txBody>
            <a:bodyPr/>
            <a:lstStyle/>
            <a:p>
              <a:endParaRPr lang="en-US"/>
            </a:p>
          </p:txBody>
        </p:sp>
        <p:sp>
          <p:nvSpPr>
            <p:cNvPr id="482" name="Freeform: Shape 481">
              <a:extLst>
                <a:ext uri="{FF2B5EF4-FFF2-40B4-BE49-F238E27FC236}">
                  <a16:creationId xmlns:a16="http://schemas.microsoft.com/office/drawing/2014/main" id="{45CF99CA-7D62-3759-CA3F-00B0BFCCD3D5}"/>
                </a:ext>
              </a:extLst>
            </p:cNvPr>
            <p:cNvSpPr/>
            <p:nvPr/>
          </p:nvSpPr>
          <p:spPr>
            <a:xfrm flipV="1">
              <a:off x="24396391" y="4273346"/>
              <a:ext cx="21671" cy="11828"/>
            </a:xfrm>
            <a:custGeom>
              <a:avLst/>
              <a:gdLst>
                <a:gd name="csX0" fmla="*/ -9087 w 21671"/>
                <a:gd name="csY0" fmla="*/ -5540 h 11828"/>
                <a:gd name="csX1" fmla="*/ 12585 w 21671"/>
                <a:gd name="csY1" fmla="*/ -5540 h 11828"/>
                <a:gd name="csX2" fmla="*/ 12585 w 21671"/>
                <a:gd name="csY2" fmla="*/ 6289 h 11828"/>
                <a:gd name="csX3" fmla="*/ -9087 w 21671"/>
                <a:gd name="csY3" fmla="*/ 6289 h 11828"/>
                <a:gd name="csX4" fmla="*/ -9087 w 21671"/>
                <a:gd name="csY4" fmla="*/ -5540 h 11828"/>
              </a:gdLst>
              <a:ahLst/>
              <a:cxnLst>
                <a:cxn ang="0">
                  <a:pos x="csX0" y="csY0"/>
                </a:cxn>
                <a:cxn ang="0">
                  <a:pos x="csX1" y="csY1"/>
                </a:cxn>
                <a:cxn ang="0">
                  <a:pos x="csX2" y="csY2"/>
                </a:cxn>
                <a:cxn ang="0">
                  <a:pos x="csX3" y="csY3"/>
                </a:cxn>
                <a:cxn ang="0">
                  <a:pos x="csX4" y="csY4"/>
                </a:cxn>
              </a:cxnLst>
              <a:rect l="l" t="t" r="r" b="b"/>
              <a:pathLst>
                <a:path w="21671" h="11828">
                  <a:moveTo>
                    <a:pt x="-9087" y="-5540"/>
                  </a:moveTo>
                  <a:lnTo>
                    <a:pt x="12585" y="-5540"/>
                  </a:lnTo>
                  <a:lnTo>
                    <a:pt x="12585" y="6289"/>
                  </a:lnTo>
                  <a:lnTo>
                    <a:pt x="-9087" y="6289"/>
                  </a:lnTo>
                  <a:lnTo>
                    <a:pt x="-9087" y="-5540"/>
                  </a:lnTo>
                </a:path>
              </a:pathLst>
            </a:custGeom>
            <a:grpFill/>
            <a:ln w="548" cap="flat">
              <a:noFill/>
              <a:prstDash val="solid"/>
              <a:miter/>
            </a:ln>
          </p:spPr>
          <p:txBody>
            <a:bodyPr/>
            <a:lstStyle/>
            <a:p>
              <a:endParaRPr lang="en-US"/>
            </a:p>
          </p:txBody>
        </p:sp>
        <p:sp>
          <p:nvSpPr>
            <p:cNvPr id="483" name="Freeform: Shape 482">
              <a:extLst>
                <a:ext uri="{FF2B5EF4-FFF2-40B4-BE49-F238E27FC236}">
                  <a16:creationId xmlns:a16="http://schemas.microsoft.com/office/drawing/2014/main" id="{03337347-721E-EF94-D5DF-2E2A2F7B4549}"/>
                </a:ext>
              </a:extLst>
            </p:cNvPr>
            <p:cNvSpPr/>
            <p:nvPr/>
          </p:nvSpPr>
          <p:spPr>
            <a:xfrm flipV="1">
              <a:off x="24396391" y="4287583"/>
              <a:ext cx="21671" cy="11828"/>
            </a:xfrm>
            <a:custGeom>
              <a:avLst/>
              <a:gdLst>
                <a:gd name="csX0" fmla="*/ -9087 w 21671"/>
                <a:gd name="csY0" fmla="*/ -5506 h 11828"/>
                <a:gd name="csX1" fmla="*/ 12585 w 21671"/>
                <a:gd name="csY1" fmla="*/ -5506 h 11828"/>
                <a:gd name="csX2" fmla="*/ 12585 w 21671"/>
                <a:gd name="csY2" fmla="*/ 6323 h 11828"/>
                <a:gd name="csX3" fmla="*/ -9087 w 21671"/>
                <a:gd name="csY3" fmla="*/ 6323 h 11828"/>
                <a:gd name="csX4" fmla="*/ -9087 w 21671"/>
                <a:gd name="csY4" fmla="*/ -5506 h 11828"/>
              </a:gdLst>
              <a:ahLst/>
              <a:cxnLst>
                <a:cxn ang="0">
                  <a:pos x="csX0" y="csY0"/>
                </a:cxn>
                <a:cxn ang="0">
                  <a:pos x="csX1" y="csY1"/>
                </a:cxn>
                <a:cxn ang="0">
                  <a:pos x="csX2" y="csY2"/>
                </a:cxn>
                <a:cxn ang="0">
                  <a:pos x="csX3" y="csY3"/>
                </a:cxn>
                <a:cxn ang="0">
                  <a:pos x="csX4" y="csY4"/>
                </a:cxn>
              </a:cxnLst>
              <a:rect l="l" t="t" r="r" b="b"/>
              <a:pathLst>
                <a:path w="21671" h="11828">
                  <a:moveTo>
                    <a:pt x="-9087" y="-5506"/>
                  </a:moveTo>
                  <a:lnTo>
                    <a:pt x="12585" y="-5506"/>
                  </a:lnTo>
                  <a:lnTo>
                    <a:pt x="12585" y="6323"/>
                  </a:lnTo>
                  <a:lnTo>
                    <a:pt x="-9087" y="6323"/>
                  </a:lnTo>
                  <a:lnTo>
                    <a:pt x="-9087" y="-5506"/>
                  </a:lnTo>
                </a:path>
              </a:pathLst>
            </a:custGeom>
            <a:grpFill/>
            <a:ln w="548" cap="flat">
              <a:noFill/>
              <a:prstDash val="solid"/>
              <a:miter/>
            </a:ln>
          </p:spPr>
          <p:txBody>
            <a:bodyPr/>
            <a:lstStyle/>
            <a:p>
              <a:endParaRPr lang="en-US"/>
            </a:p>
          </p:txBody>
        </p:sp>
        <p:sp>
          <p:nvSpPr>
            <p:cNvPr id="484" name="Freeform: Shape 483">
              <a:extLst>
                <a:ext uri="{FF2B5EF4-FFF2-40B4-BE49-F238E27FC236}">
                  <a16:creationId xmlns:a16="http://schemas.microsoft.com/office/drawing/2014/main" id="{550EE39D-5F9F-FAB7-00FE-6F9EFBDECB47}"/>
                </a:ext>
              </a:extLst>
            </p:cNvPr>
            <p:cNvSpPr/>
            <p:nvPr/>
          </p:nvSpPr>
          <p:spPr>
            <a:xfrm flipV="1">
              <a:off x="24453889" y="4273346"/>
              <a:ext cx="21671" cy="11828"/>
            </a:xfrm>
            <a:custGeom>
              <a:avLst/>
              <a:gdLst>
                <a:gd name="csX0" fmla="*/ -9158 w 21671"/>
                <a:gd name="csY0" fmla="*/ -5540 h 11828"/>
                <a:gd name="csX1" fmla="*/ 12513 w 21671"/>
                <a:gd name="csY1" fmla="*/ -5540 h 11828"/>
                <a:gd name="csX2" fmla="*/ 12513 w 21671"/>
                <a:gd name="csY2" fmla="*/ 6289 h 11828"/>
                <a:gd name="csX3" fmla="*/ -9158 w 21671"/>
                <a:gd name="csY3" fmla="*/ 6289 h 11828"/>
                <a:gd name="csX4" fmla="*/ -9158 w 21671"/>
                <a:gd name="csY4" fmla="*/ -5540 h 11828"/>
              </a:gdLst>
              <a:ahLst/>
              <a:cxnLst>
                <a:cxn ang="0">
                  <a:pos x="csX0" y="csY0"/>
                </a:cxn>
                <a:cxn ang="0">
                  <a:pos x="csX1" y="csY1"/>
                </a:cxn>
                <a:cxn ang="0">
                  <a:pos x="csX2" y="csY2"/>
                </a:cxn>
                <a:cxn ang="0">
                  <a:pos x="csX3" y="csY3"/>
                </a:cxn>
                <a:cxn ang="0">
                  <a:pos x="csX4" y="csY4"/>
                </a:cxn>
              </a:cxnLst>
              <a:rect l="l" t="t" r="r" b="b"/>
              <a:pathLst>
                <a:path w="21671" h="11828">
                  <a:moveTo>
                    <a:pt x="-9158" y="-5540"/>
                  </a:moveTo>
                  <a:lnTo>
                    <a:pt x="12513" y="-5540"/>
                  </a:lnTo>
                  <a:lnTo>
                    <a:pt x="12513" y="6289"/>
                  </a:lnTo>
                  <a:lnTo>
                    <a:pt x="-9158" y="6289"/>
                  </a:lnTo>
                  <a:lnTo>
                    <a:pt x="-9158" y="-5540"/>
                  </a:lnTo>
                </a:path>
              </a:pathLst>
            </a:custGeom>
            <a:grpFill/>
            <a:ln w="548" cap="flat">
              <a:noFill/>
              <a:prstDash val="solid"/>
              <a:miter/>
            </a:ln>
          </p:spPr>
          <p:txBody>
            <a:bodyPr/>
            <a:lstStyle/>
            <a:p>
              <a:endParaRPr lang="en-US"/>
            </a:p>
          </p:txBody>
        </p:sp>
        <p:sp>
          <p:nvSpPr>
            <p:cNvPr id="485" name="Freeform: Shape 484">
              <a:extLst>
                <a:ext uri="{FF2B5EF4-FFF2-40B4-BE49-F238E27FC236}">
                  <a16:creationId xmlns:a16="http://schemas.microsoft.com/office/drawing/2014/main" id="{18E5CC5A-3E2D-6C02-4917-18424FF54487}"/>
                </a:ext>
              </a:extLst>
            </p:cNvPr>
            <p:cNvSpPr/>
            <p:nvPr/>
          </p:nvSpPr>
          <p:spPr>
            <a:xfrm flipV="1">
              <a:off x="24453889" y="4287583"/>
              <a:ext cx="21671" cy="11828"/>
            </a:xfrm>
            <a:custGeom>
              <a:avLst/>
              <a:gdLst>
                <a:gd name="csX0" fmla="*/ -9158 w 21671"/>
                <a:gd name="csY0" fmla="*/ -5506 h 11828"/>
                <a:gd name="csX1" fmla="*/ 12513 w 21671"/>
                <a:gd name="csY1" fmla="*/ -5506 h 11828"/>
                <a:gd name="csX2" fmla="*/ 12513 w 21671"/>
                <a:gd name="csY2" fmla="*/ 6323 h 11828"/>
                <a:gd name="csX3" fmla="*/ -9158 w 21671"/>
                <a:gd name="csY3" fmla="*/ 6323 h 11828"/>
                <a:gd name="csX4" fmla="*/ -9158 w 21671"/>
                <a:gd name="csY4" fmla="*/ -5506 h 11828"/>
              </a:gdLst>
              <a:ahLst/>
              <a:cxnLst>
                <a:cxn ang="0">
                  <a:pos x="csX0" y="csY0"/>
                </a:cxn>
                <a:cxn ang="0">
                  <a:pos x="csX1" y="csY1"/>
                </a:cxn>
                <a:cxn ang="0">
                  <a:pos x="csX2" y="csY2"/>
                </a:cxn>
                <a:cxn ang="0">
                  <a:pos x="csX3" y="csY3"/>
                </a:cxn>
                <a:cxn ang="0">
                  <a:pos x="csX4" y="csY4"/>
                </a:cxn>
              </a:cxnLst>
              <a:rect l="l" t="t" r="r" b="b"/>
              <a:pathLst>
                <a:path w="21671" h="11828">
                  <a:moveTo>
                    <a:pt x="-9158" y="-5506"/>
                  </a:moveTo>
                  <a:lnTo>
                    <a:pt x="12513" y="-5506"/>
                  </a:lnTo>
                  <a:lnTo>
                    <a:pt x="12513" y="6323"/>
                  </a:lnTo>
                  <a:lnTo>
                    <a:pt x="-9158" y="6323"/>
                  </a:lnTo>
                  <a:lnTo>
                    <a:pt x="-9158" y="-5506"/>
                  </a:lnTo>
                </a:path>
              </a:pathLst>
            </a:custGeom>
            <a:grpFill/>
            <a:ln w="548" cap="flat">
              <a:noFill/>
              <a:prstDash val="solid"/>
              <a:miter/>
            </a:ln>
          </p:spPr>
          <p:txBody>
            <a:bodyPr/>
            <a:lstStyle/>
            <a:p>
              <a:endParaRPr lang="en-US"/>
            </a:p>
          </p:txBody>
        </p:sp>
        <p:sp>
          <p:nvSpPr>
            <p:cNvPr id="486" name="Freeform: Shape 485">
              <a:extLst>
                <a:ext uri="{FF2B5EF4-FFF2-40B4-BE49-F238E27FC236}">
                  <a16:creationId xmlns:a16="http://schemas.microsoft.com/office/drawing/2014/main" id="{CD77B655-1659-EAB5-7C66-FE05BA3D1E33}"/>
                </a:ext>
              </a:extLst>
            </p:cNvPr>
            <p:cNvSpPr/>
            <p:nvPr/>
          </p:nvSpPr>
          <p:spPr>
            <a:xfrm flipV="1">
              <a:off x="24396391" y="4332868"/>
              <a:ext cx="21671" cy="11823"/>
            </a:xfrm>
            <a:custGeom>
              <a:avLst/>
              <a:gdLst>
                <a:gd name="csX0" fmla="*/ -9087 w 21671"/>
                <a:gd name="csY0" fmla="*/ -5397 h 11823"/>
                <a:gd name="csX1" fmla="*/ 12585 w 21671"/>
                <a:gd name="csY1" fmla="*/ -5397 h 11823"/>
                <a:gd name="csX2" fmla="*/ 12585 w 21671"/>
                <a:gd name="csY2" fmla="*/ 6427 h 11823"/>
                <a:gd name="csX3" fmla="*/ -9087 w 21671"/>
                <a:gd name="csY3" fmla="*/ 6427 h 11823"/>
                <a:gd name="csX4" fmla="*/ -9087 w 21671"/>
                <a:gd name="csY4" fmla="*/ -5397 h 11823"/>
              </a:gdLst>
              <a:ahLst/>
              <a:cxnLst>
                <a:cxn ang="0">
                  <a:pos x="csX0" y="csY0"/>
                </a:cxn>
                <a:cxn ang="0">
                  <a:pos x="csX1" y="csY1"/>
                </a:cxn>
                <a:cxn ang="0">
                  <a:pos x="csX2" y="csY2"/>
                </a:cxn>
                <a:cxn ang="0">
                  <a:pos x="csX3" y="csY3"/>
                </a:cxn>
                <a:cxn ang="0">
                  <a:pos x="csX4" y="csY4"/>
                </a:cxn>
              </a:cxnLst>
              <a:rect l="l" t="t" r="r" b="b"/>
              <a:pathLst>
                <a:path w="21671" h="11823">
                  <a:moveTo>
                    <a:pt x="-9087" y="-5397"/>
                  </a:moveTo>
                  <a:lnTo>
                    <a:pt x="12585" y="-5397"/>
                  </a:lnTo>
                  <a:lnTo>
                    <a:pt x="12585" y="6427"/>
                  </a:lnTo>
                  <a:lnTo>
                    <a:pt x="-9087" y="6427"/>
                  </a:lnTo>
                  <a:lnTo>
                    <a:pt x="-9087" y="-5397"/>
                  </a:lnTo>
                </a:path>
              </a:pathLst>
            </a:custGeom>
            <a:grpFill/>
            <a:ln w="548" cap="flat">
              <a:noFill/>
              <a:prstDash val="solid"/>
              <a:miter/>
            </a:ln>
          </p:spPr>
          <p:txBody>
            <a:bodyPr/>
            <a:lstStyle/>
            <a:p>
              <a:endParaRPr lang="en-US"/>
            </a:p>
          </p:txBody>
        </p:sp>
        <p:sp>
          <p:nvSpPr>
            <p:cNvPr id="487" name="Freeform: Shape 486">
              <a:extLst>
                <a:ext uri="{FF2B5EF4-FFF2-40B4-BE49-F238E27FC236}">
                  <a16:creationId xmlns:a16="http://schemas.microsoft.com/office/drawing/2014/main" id="{1BA471DA-AB0F-E6C2-B65E-77DE800C3B02}"/>
                </a:ext>
              </a:extLst>
            </p:cNvPr>
            <p:cNvSpPr/>
            <p:nvPr/>
          </p:nvSpPr>
          <p:spPr>
            <a:xfrm flipV="1">
              <a:off x="24396391" y="4347100"/>
              <a:ext cx="21671" cy="11828"/>
            </a:xfrm>
            <a:custGeom>
              <a:avLst/>
              <a:gdLst>
                <a:gd name="csX0" fmla="*/ -9087 w 21671"/>
                <a:gd name="csY0" fmla="*/ -5362 h 11828"/>
                <a:gd name="csX1" fmla="*/ 12585 w 21671"/>
                <a:gd name="csY1" fmla="*/ -5362 h 11828"/>
                <a:gd name="csX2" fmla="*/ 12585 w 21671"/>
                <a:gd name="csY2" fmla="*/ 6466 h 11828"/>
                <a:gd name="csX3" fmla="*/ -9087 w 21671"/>
                <a:gd name="csY3" fmla="*/ 6466 h 11828"/>
                <a:gd name="csX4" fmla="*/ -9087 w 21671"/>
                <a:gd name="csY4" fmla="*/ -5362 h 11828"/>
              </a:gdLst>
              <a:ahLst/>
              <a:cxnLst>
                <a:cxn ang="0">
                  <a:pos x="csX0" y="csY0"/>
                </a:cxn>
                <a:cxn ang="0">
                  <a:pos x="csX1" y="csY1"/>
                </a:cxn>
                <a:cxn ang="0">
                  <a:pos x="csX2" y="csY2"/>
                </a:cxn>
                <a:cxn ang="0">
                  <a:pos x="csX3" y="csY3"/>
                </a:cxn>
                <a:cxn ang="0">
                  <a:pos x="csX4" y="csY4"/>
                </a:cxn>
              </a:cxnLst>
              <a:rect l="l" t="t" r="r" b="b"/>
              <a:pathLst>
                <a:path w="21671" h="11828">
                  <a:moveTo>
                    <a:pt x="-9087" y="-5362"/>
                  </a:moveTo>
                  <a:lnTo>
                    <a:pt x="12585" y="-5362"/>
                  </a:lnTo>
                  <a:lnTo>
                    <a:pt x="12585" y="6466"/>
                  </a:lnTo>
                  <a:lnTo>
                    <a:pt x="-9087" y="6466"/>
                  </a:lnTo>
                  <a:lnTo>
                    <a:pt x="-9087" y="-5362"/>
                  </a:lnTo>
                </a:path>
              </a:pathLst>
            </a:custGeom>
            <a:grpFill/>
            <a:ln w="548" cap="flat">
              <a:noFill/>
              <a:prstDash val="solid"/>
              <a:miter/>
            </a:ln>
          </p:spPr>
          <p:txBody>
            <a:bodyPr/>
            <a:lstStyle/>
            <a:p>
              <a:endParaRPr lang="en-US"/>
            </a:p>
          </p:txBody>
        </p:sp>
        <p:sp>
          <p:nvSpPr>
            <p:cNvPr id="488" name="Freeform: Shape 487">
              <a:extLst>
                <a:ext uri="{FF2B5EF4-FFF2-40B4-BE49-F238E27FC236}">
                  <a16:creationId xmlns:a16="http://schemas.microsoft.com/office/drawing/2014/main" id="{4DBB0677-4461-7EF9-6304-B56661F616B6}"/>
                </a:ext>
              </a:extLst>
            </p:cNvPr>
            <p:cNvSpPr/>
            <p:nvPr/>
          </p:nvSpPr>
          <p:spPr>
            <a:xfrm flipV="1">
              <a:off x="24453889" y="4332868"/>
              <a:ext cx="21671" cy="11823"/>
            </a:xfrm>
            <a:custGeom>
              <a:avLst/>
              <a:gdLst>
                <a:gd name="csX0" fmla="*/ -9158 w 21671"/>
                <a:gd name="csY0" fmla="*/ -5397 h 11823"/>
                <a:gd name="csX1" fmla="*/ 12513 w 21671"/>
                <a:gd name="csY1" fmla="*/ -5397 h 11823"/>
                <a:gd name="csX2" fmla="*/ 12513 w 21671"/>
                <a:gd name="csY2" fmla="*/ 6427 h 11823"/>
                <a:gd name="csX3" fmla="*/ -9158 w 21671"/>
                <a:gd name="csY3" fmla="*/ 6427 h 11823"/>
                <a:gd name="csX4" fmla="*/ -9158 w 21671"/>
                <a:gd name="csY4" fmla="*/ -5397 h 11823"/>
              </a:gdLst>
              <a:ahLst/>
              <a:cxnLst>
                <a:cxn ang="0">
                  <a:pos x="csX0" y="csY0"/>
                </a:cxn>
                <a:cxn ang="0">
                  <a:pos x="csX1" y="csY1"/>
                </a:cxn>
                <a:cxn ang="0">
                  <a:pos x="csX2" y="csY2"/>
                </a:cxn>
                <a:cxn ang="0">
                  <a:pos x="csX3" y="csY3"/>
                </a:cxn>
                <a:cxn ang="0">
                  <a:pos x="csX4" y="csY4"/>
                </a:cxn>
              </a:cxnLst>
              <a:rect l="l" t="t" r="r" b="b"/>
              <a:pathLst>
                <a:path w="21671" h="11823">
                  <a:moveTo>
                    <a:pt x="-9158" y="-5397"/>
                  </a:moveTo>
                  <a:lnTo>
                    <a:pt x="12513" y="-5397"/>
                  </a:lnTo>
                  <a:lnTo>
                    <a:pt x="12513" y="6427"/>
                  </a:lnTo>
                  <a:lnTo>
                    <a:pt x="-9158" y="6427"/>
                  </a:lnTo>
                  <a:lnTo>
                    <a:pt x="-9158" y="-5397"/>
                  </a:lnTo>
                </a:path>
              </a:pathLst>
            </a:custGeom>
            <a:grpFill/>
            <a:ln w="548" cap="flat">
              <a:noFill/>
              <a:prstDash val="solid"/>
              <a:miter/>
            </a:ln>
          </p:spPr>
          <p:txBody>
            <a:bodyPr/>
            <a:lstStyle/>
            <a:p>
              <a:endParaRPr lang="en-US"/>
            </a:p>
          </p:txBody>
        </p:sp>
        <p:sp>
          <p:nvSpPr>
            <p:cNvPr id="489" name="Freeform: Shape 488">
              <a:extLst>
                <a:ext uri="{FF2B5EF4-FFF2-40B4-BE49-F238E27FC236}">
                  <a16:creationId xmlns:a16="http://schemas.microsoft.com/office/drawing/2014/main" id="{C3B61CA0-54BA-3FC7-1953-077EA902EA5C}"/>
                </a:ext>
              </a:extLst>
            </p:cNvPr>
            <p:cNvSpPr/>
            <p:nvPr/>
          </p:nvSpPr>
          <p:spPr>
            <a:xfrm flipV="1">
              <a:off x="24453889" y="4347100"/>
              <a:ext cx="21671" cy="11828"/>
            </a:xfrm>
            <a:custGeom>
              <a:avLst/>
              <a:gdLst>
                <a:gd name="csX0" fmla="*/ -9158 w 21671"/>
                <a:gd name="csY0" fmla="*/ -5362 h 11828"/>
                <a:gd name="csX1" fmla="*/ 12513 w 21671"/>
                <a:gd name="csY1" fmla="*/ -5362 h 11828"/>
                <a:gd name="csX2" fmla="*/ 12513 w 21671"/>
                <a:gd name="csY2" fmla="*/ 6466 h 11828"/>
                <a:gd name="csX3" fmla="*/ -9158 w 21671"/>
                <a:gd name="csY3" fmla="*/ 6466 h 11828"/>
                <a:gd name="csX4" fmla="*/ -9158 w 21671"/>
                <a:gd name="csY4" fmla="*/ -5362 h 11828"/>
              </a:gdLst>
              <a:ahLst/>
              <a:cxnLst>
                <a:cxn ang="0">
                  <a:pos x="csX0" y="csY0"/>
                </a:cxn>
                <a:cxn ang="0">
                  <a:pos x="csX1" y="csY1"/>
                </a:cxn>
                <a:cxn ang="0">
                  <a:pos x="csX2" y="csY2"/>
                </a:cxn>
                <a:cxn ang="0">
                  <a:pos x="csX3" y="csY3"/>
                </a:cxn>
                <a:cxn ang="0">
                  <a:pos x="csX4" y="csY4"/>
                </a:cxn>
              </a:cxnLst>
              <a:rect l="l" t="t" r="r" b="b"/>
              <a:pathLst>
                <a:path w="21671" h="11828">
                  <a:moveTo>
                    <a:pt x="-9158" y="-5362"/>
                  </a:moveTo>
                  <a:lnTo>
                    <a:pt x="12513" y="-5362"/>
                  </a:lnTo>
                  <a:lnTo>
                    <a:pt x="12513" y="6466"/>
                  </a:lnTo>
                  <a:lnTo>
                    <a:pt x="-9158" y="6466"/>
                  </a:lnTo>
                  <a:lnTo>
                    <a:pt x="-9158" y="-5362"/>
                  </a:lnTo>
                </a:path>
              </a:pathLst>
            </a:custGeom>
            <a:grpFill/>
            <a:ln w="548" cap="flat">
              <a:noFill/>
              <a:prstDash val="solid"/>
              <a:miter/>
            </a:ln>
          </p:spPr>
          <p:txBody>
            <a:bodyPr/>
            <a:lstStyle/>
            <a:p>
              <a:endParaRPr lang="en-US"/>
            </a:p>
          </p:txBody>
        </p:sp>
        <p:sp>
          <p:nvSpPr>
            <p:cNvPr id="490" name="Freeform: Shape 489">
              <a:extLst>
                <a:ext uri="{FF2B5EF4-FFF2-40B4-BE49-F238E27FC236}">
                  <a16:creationId xmlns:a16="http://schemas.microsoft.com/office/drawing/2014/main" id="{175447D7-6340-CF30-6679-7E3CE42EE4A3}"/>
                </a:ext>
              </a:extLst>
            </p:cNvPr>
            <p:cNvSpPr/>
            <p:nvPr/>
          </p:nvSpPr>
          <p:spPr>
            <a:xfrm flipV="1">
              <a:off x="22477084" y="4573370"/>
              <a:ext cx="13249" cy="32594"/>
            </a:xfrm>
            <a:custGeom>
              <a:avLst/>
              <a:gdLst>
                <a:gd name="csX0" fmla="*/ -6703 w 13249"/>
                <a:gd name="csY0" fmla="*/ 27752 h 32594"/>
                <a:gd name="csX1" fmla="*/ -6703 w 13249"/>
                <a:gd name="csY1" fmla="*/ -4793 h 32594"/>
                <a:gd name="csX2" fmla="*/ 6547 w 13249"/>
                <a:gd name="csY2" fmla="*/ -4793 h 32594"/>
                <a:gd name="csX3" fmla="*/ 6547 w 13249"/>
                <a:gd name="csY3" fmla="*/ 27802 h 32594"/>
                <a:gd name="csX4" fmla="*/ 6306 w 13249"/>
                <a:gd name="csY4" fmla="*/ 27752 h 32594"/>
                <a:gd name="csX5" fmla="*/ -6703 w 13249"/>
                <a:gd name="csY5" fmla="*/ 27752 h 32594"/>
              </a:gdLst>
              <a:ahLst/>
              <a:cxnLst>
                <a:cxn ang="0">
                  <a:pos x="csX0" y="csY0"/>
                </a:cxn>
                <a:cxn ang="0">
                  <a:pos x="csX1" y="csY1"/>
                </a:cxn>
                <a:cxn ang="0">
                  <a:pos x="csX2" y="csY2"/>
                </a:cxn>
                <a:cxn ang="0">
                  <a:pos x="csX3" y="csY3"/>
                </a:cxn>
                <a:cxn ang="0">
                  <a:pos x="csX4" y="csY4"/>
                </a:cxn>
                <a:cxn ang="0">
                  <a:pos x="csX5" y="csY5"/>
                </a:cxn>
              </a:cxnLst>
              <a:rect l="l" t="t" r="r" b="b"/>
              <a:pathLst>
                <a:path w="13249" h="32594">
                  <a:moveTo>
                    <a:pt x="-6703" y="27752"/>
                  </a:moveTo>
                  <a:lnTo>
                    <a:pt x="-6703" y="-4793"/>
                  </a:lnTo>
                  <a:lnTo>
                    <a:pt x="6547" y="-4793"/>
                  </a:lnTo>
                  <a:lnTo>
                    <a:pt x="6547" y="27802"/>
                  </a:lnTo>
                  <a:cubicBezTo>
                    <a:pt x="6465" y="27785"/>
                    <a:pt x="6393" y="27752"/>
                    <a:pt x="6306" y="27752"/>
                  </a:cubicBezTo>
                  <a:lnTo>
                    <a:pt x="-6703" y="27752"/>
                  </a:lnTo>
                </a:path>
              </a:pathLst>
            </a:custGeom>
            <a:grpFill/>
            <a:ln w="548" cap="flat">
              <a:noFill/>
              <a:prstDash val="solid"/>
              <a:miter/>
            </a:ln>
          </p:spPr>
          <p:txBody>
            <a:bodyPr/>
            <a:lstStyle/>
            <a:p>
              <a:endParaRPr lang="en-US"/>
            </a:p>
          </p:txBody>
        </p:sp>
        <p:sp>
          <p:nvSpPr>
            <p:cNvPr id="491" name="Freeform: Shape 490">
              <a:extLst>
                <a:ext uri="{FF2B5EF4-FFF2-40B4-BE49-F238E27FC236}">
                  <a16:creationId xmlns:a16="http://schemas.microsoft.com/office/drawing/2014/main" id="{84D77367-37BB-C1C2-009D-8BFBC6266497}"/>
                </a:ext>
              </a:extLst>
            </p:cNvPr>
            <p:cNvSpPr/>
            <p:nvPr/>
          </p:nvSpPr>
          <p:spPr>
            <a:xfrm flipV="1">
              <a:off x="22477035" y="4554113"/>
              <a:ext cx="13298" cy="17068"/>
            </a:xfrm>
            <a:custGeom>
              <a:avLst/>
              <a:gdLst>
                <a:gd name="csX0" fmla="*/ -6653 w 13298"/>
                <a:gd name="csY0" fmla="*/ -4809 h 17068"/>
                <a:gd name="csX1" fmla="*/ 6355 w 13298"/>
                <a:gd name="csY1" fmla="*/ -4809 h 17068"/>
                <a:gd name="csX2" fmla="*/ 6596 w 13298"/>
                <a:gd name="csY2" fmla="*/ -4858 h 17068"/>
                <a:gd name="csX3" fmla="*/ 6596 w 13298"/>
                <a:gd name="csY3" fmla="*/ 12210 h 17068"/>
                <a:gd name="csX4" fmla="*/ -6703 w 13298"/>
                <a:gd name="csY4" fmla="*/ 12210 h 17068"/>
                <a:gd name="csX5" fmla="*/ -6653 w 13298"/>
                <a:gd name="csY5" fmla="*/ 11969 h 17068"/>
                <a:gd name="csX6" fmla="*/ -6653 w 13298"/>
                <a:gd name="csY6" fmla="*/ -4809 h 17068"/>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13298" h="17068">
                  <a:moveTo>
                    <a:pt x="-6653" y="-4809"/>
                  </a:moveTo>
                  <a:lnTo>
                    <a:pt x="6355" y="-4809"/>
                  </a:lnTo>
                  <a:cubicBezTo>
                    <a:pt x="6443" y="-4809"/>
                    <a:pt x="6514" y="-4842"/>
                    <a:pt x="6596" y="-4858"/>
                  </a:cubicBezTo>
                  <a:lnTo>
                    <a:pt x="6596" y="12210"/>
                  </a:lnTo>
                  <a:lnTo>
                    <a:pt x="-6703" y="12210"/>
                  </a:lnTo>
                  <a:cubicBezTo>
                    <a:pt x="-6687" y="12128"/>
                    <a:pt x="-6653" y="12057"/>
                    <a:pt x="-6653" y="11969"/>
                  </a:cubicBezTo>
                  <a:lnTo>
                    <a:pt x="-6653" y="-4809"/>
                  </a:lnTo>
                </a:path>
              </a:pathLst>
            </a:custGeom>
            <a:grpFill/>
            <a:ln w="548" cap="flat">
              <a:noFill/>
              <a:prstDash val="solid"/>
              <a:miter/>
            </a:ln>
          </p:spPr>
          <p:txBody>
            <a:bodyPr/>
            <a:lstStyle/>
            <a:p>
              <a:endParaRPr lang="en-US"/>
            </a:p>
          </p:txBody>
        </p:sp>
        <p:sp>
          <p:nvSpPr>
            <p:cNvPr id="492" name="Freeform: Shape 491">
              <a:extLst>
                <a:ext uri="{FF2B5EF4-FFF2-40B4-BE49-F238E27FC236}">
                  <a16:creationId xmlns:a16="http://schemas.microsoft.com/office/drawing/2014/main" id="{E4C1E4F9-8D47-DDF2-E46A-1CFD4047F19C}"/>
                </a:ext>
              </a:extLst>
            </p:cNvPr>
            <p:cNvSpPr/>
            <p:nvPr/>
          </p:nvSpPr>
          <p:spPr>
            <a:xfrm flipV="1">
              <a:off x="22477084" y="4608252"/>
              <a:ext cx="13249" cy="17035"/>
            </a:xfrm>
            <a:custGeom>
              <a:avLst/>
              <a:gdLst>
                <a:gd name="csX0" fmla="*/ 6547 w 13249"/>
                <a:gd name="csY0" fmla="*/ 12308 h 17035"/>
                <a:gd name="csX1" fmla="*/ -6703 w 13249"/>
                <a:gd name="csY1" fmla="*/ 12308 h 17035"/>
                <a:gd name="csX2" fmla="*/ -6703 w 13249"/>
                <a:gd name="csY2" fmla="*/ -4728 h 17035"/>
                <a:gd name="csX3" fmla="*/ 6547 w 13249"/>
                <a:gd name="csY3" fmla="*/ -4728 h 17035"/>
                <a:gd name="csX4" fmla="*/ 6547 w 13249"/>
                <a:gd name="csY4" fmla="*/ 12308 h 17035"/>
              </a:gdLst>
              <a:ahLst/>
              <a:cxnLst>
                <a:cxn ang="0">
                  <a:pos x="csX0" y="csY0"/>
                </a:cxn>
                <a:cxn ang="0">
                  <a:pos x="csX1" y="csY1"/>
                </a:cxn>
                <a:cxn ang="0">
                  <a:pos x="csX2" y="csY2"/>
                </a:cxn>
                <a:cxn ang="0">
                  <a:pos x="csX3" y="csY3"/>
                </a:cxn>
                <a:cxn ang="0">
                  <a:pos x="csX4" y="csY4"/>
                </a:cxn>
              </a:cxnLst>
              <a:rect l="l" t="t" r="r" b="b"/>
              <a:pathLst>
                <a:path w="13249" h="17035">
                  <a:moveTo>
                    <a:pt x="6547" y="12308"/>
                  </a:moveTo>
                  <a:lnTo>
                    <a:pt x="-6703" y="12308"/>
                  </a:lnTo>
                  <a:lnTo>
                    <a:pt x="-6703" y="-4728"/>
                  </a:lnTo>
                  <a:lnTo>
                    <a:pt x="6547" y="-4728"/>
                  </a:lnTo>
                  <a:lnTo>
                    <a:pt x="6547" y="12308"/>
                  </a:lnTo>
                </a:path>
              </a:pathLst>
            </a:custGeom>
            <a:grpFill/>
            <a:ln w="548" cap="flat">
              <a:noFill/>
              <a:prstDash val="solid"/>
              <a:miter/>
            </a:ln>
          </p:spPr>
          <p:txBody>
            <a:bodyPr/>
            <a:lstStyle/>
            <a:p>
              <a:endParaRPr lang="en-US"/>
            </a:p>
          </p:txBody>
        </p:sp>
        <p:sp>
          <p:nvSpPr>
            <p:cNvPr id="493" name="Freeform: Shape 492">
              <a:extLst>
                <a:ext uri="{FF2B5EF4-FFF2-40B4-BE49-F238E27FC236}">
                  <a16:creationId xmlns:a16="http://schemas.microsoft.com/office/drawing/2014/main" id="{2FE90CF3-3BFE-823D-B1C1-F3D69F9C346F}"/>
                </a:ext>
              </a:extLst>
            </p:cNvPr>
            <p:cNvSpPr/>
            <p:nvPr/>
          </p:nvSpPr>
          <p:spPr>
            <a:xfrm flipV="1">
              <a:off x="22462024" y="4573419"/>
              <a:ext cx="12772" cy="32545"/>
            </a:xfrm>
            <a:custGeom>
              <a:avLst/>
              <a:gdLst>
                <a:gd name="csX0" fmla="*/ -6684 w 12772"/>
                <a:gd name="csY0" fmla="*/ -4793 h 32545"/>
                <a:gd name="csX1" fmla="*/ 6089 w 12772"/>
                <a:gd name="csY1" fmla="*/ -4793 h 32545"/>
                <a:gd name="csX2" fmla="*/ 6089 w 12772"/>
                <a:gd name="csY2" fmla="*/ 27752 h 32545"/>
                <a:gd name="csX3" fmla="*/ -6684 w 12772"/>
                <a:gd name="csY3" fmla="*/ 27752 h 32545"/>
                <a:gd name="csX4" fmla="*/ -6684 w 12772"/>
                <a:gd name="csY4" fmla="*/ -4793 h 32545"/>
              </a:gdLst>
              <a:ahLst/>
              <a:cxnLst>
                <a:cxn ang="0">
                  <a:pos x="csX0" y="csY0"/>
                </a:cxn>
                <a:cxn ang="0">
                  <a:pos x="csX1" y="csY1"/>
                </a:cxn>
                <a:cxn ang="0">
                  <a:pos x="csX2" y="csY2"/>
                </a:cxn>
                <a:cxn ang="0">
                  <a:pos x="csX3" y="csY3"/>
                </a:cxn>
                <a:cxn ang="0">
                  <a:pos x="csX4" y="csY4"/>
                </a:cxn>
              </a:cxnLst>
              <a:rect l="l" t="t" r="r" b="b"/>
              <a:pathLst>
                <a:path w="12772" h="32545">
                  <a:moveTo>
                    <a:pt x="-6684" y="-4793"/>
                  </a:moveTo>
                  <a:lnTo>
                    <a:pt x="6089" y="-4793"/>
                  </a:lnTo>
                  <a:lnTo>
                    <a:pt x="6089" y="27752"/>
                  </a:lnTo>
                  <a:lnTo>
                    <a:pt x="-6684" y="27752"/>
                  </a:lnTo>
                  <a:lnTo>
                    <a:pt x="-6684" y="-4793"/>
                  </a:lnTo>
                </a:path>
              </a:pathLst>
            </a:custGeom>
            <a:grpFill/>
            <a:ln w="548" cap="flat">
              <a:noFill/>
              <a:prstDash val="solid"/>
              <a:miter/>
            </a:ln>
          </p:spPr>
          <p:txBody>
            <a:bodyPr/>
            <a:lstStyle/>
            <a:p>
              <a:endParaRPr lang="en-US"/>
            </a:p>
          </p:txBody>
        </p:sp>
        <p:sp>
          <p:nvSpPr>
            <p:cNvPr id="494" name="Freeform: Shape 493">
              <a:extLst>
                <a:ext uri="{FF2B5EF4-FFF2-40B4-BE49-F238E27FC236}">
                  <a16:creationId xmlns:a16="http://schemas.microsoft.com/office/drawing/2014/main" id="{8DB152EB-D71E-F430-5FFB-BF8CFAC5A8A6}"/>
                </a:ext>
              </a:extLst>
            </p:cNvPr>
            <p:cNvSpPr/>
            <p:nvPr/>
          </p:nvSpPr>
          <p:spPr>
            <a:xfrm flipV="1">
              <a:off x="22462024" y="4608252"/>
              <a:ext cx="12772" cy="17035"/>
            </a:xfrm>
            <a:custGeom>
              <a:avLst/>
              <a:gdLst>
                <a:gd name="csX0" fmla="*/ -6684 w 12772"/>
                <a:gd name="csY0" fmla="*/ -4728 h 17035"/>
                <a:gd name="csX1" fmla="*/ 6089 w 12772"/>
                <a:gd name="csY1" fmla="*/ -4728 h 17035"/>
                <a:gd name="csX2" fmla="*/ 6089 w 12772"/>
                <a:gd name="csY2" fmla="*/ 12308 h 17035"/>
                <a:gd name="csX3" fmla="*/ -6684 w 12772"/>
                <a:gd name="csY3" fmla="*/ 12308 h 17035"/>
                <a:gd name="csX4" fmla="*/ -6684 w 12772"/>
                <a:gd name="csY4" fmla="*/ -4728 h 17035"/>
              </a:gdLst>
              <a:ahLst/>
              <a:cxnLst>
                <a:cxn ang="0">
                  <a:pos x="csX0" y="csY0"/>
                </a:cxn>
                <a:cxn ang="0">
                  <a:pos x="csX1" y="csY1"/>
                </a:cxn>
                <a:cxn ang="0">
                  <a:pos x="csX2" y="csY2"/>
                </a:cxn>
                <a:cxn ang="0">
                  <a:pos x="csX3" y="csY3"/>
                </a:cxn>
                <a:cxn ang="0">
                  <a:pos x="csX4" y="csY4"/>
                </a:cxn>
              </a:cxnLst>
              <a:rect l="l" t="t" r="r" b="b"/>
              <a:pathLst>
                <a:path w="12772" h="17035">
                  <a:moveTo>
                    <a:pt x="-6684" y="-4728"/>
                  </a:moveTo>
                  <a:lnTo>
                    <a:pt x="6089" y="-4728"/>
                  </a:lnTo>
                  <a:lnTo>
                    <a:pt x="6089" y="12308"/>
                  </a:lnTo>
                  <a:lnTo>
                    <a:pt x="-6684" y="12308"/>
                  </a:lnTo>
                  <a:lnTo>
                    <a:pt x="-6684" y="-4728"/>
                  </a:lnTo>
                </a:path>
              </a:pathLst>
            </a:custGeom>
            <a:grpFill/>
            <a:ln w="548" cap="flat">
              <a:noFill/>
              <a:prstDash val="solid"/>
              <a:miter/>
            </a:ln>
          </p:spPr>
          <p:txBody>
            <a:bodyPr/>
            <a:lstStyle/>
            <a:p>
              <a:endParaRPr lang="en-US"/>
            </a:p>
          </p:txBody>
        </p:sp>
        <p:sp>
          <p:nvSpPr>
            <p:cNvPr id="495" name="Freeform: Shape 494">
              <a:extLst>
                <a:ext uri="{FF2B5EF4-FFF2-40B4-BE49-F238E27FC236}">
                  <a16:creationId xmlns:a16="http://schemas.microsoft.com/office/drawing/2014/main" id="{D62E8053-F3C6-222C-17A4-58AB1BB26FAD}"/>
                </a:ext>
              </a:extLst>
            </p:cNvPr>
            <p:cNvSpPr/>
            <p:nvPr/>
          </p:nvSpPr>
          <p:spPr>
            <a:xfrm flipV="1">
              <a:off x="22462024" y="4554113"/>
              <a:ext cx="12821" cy="17018"/>
            </a:xfrm>
            <a:custGeom>
              <a:avLst/>
              <a:gdLst>
                <a:gd name="csX0" fmla="*/ -6684 w 12821"/>
                <a:gd name="csY0" fmla="*/ -4858 h 17018"/>
                <a:gd name="csX1" fmla="*/ 6089 w 12821"/>
                <a:gd name="csY1" fmla="*/ -4858 h 17018"/>
                <a:gd name="csX2" fmla="*/ 6089 w 12821"/>
                <a:gd name="csY2" fmla="*/ 11919 h 17018"/>
                <a:gd name="csX3" fmla="*/ 6138 w 12821"/>
                <a:gd name="csY3" fmla="*/ 12161 h 17018"/>
                <a:gd name="csX4" fmla="*/ -6684 w 12821"/>
                <a:gd name="csY4" fmla="*/ 12161 h 17018"/>
                <a:gd name="csX5" fmla="*/ -6684 w 12821"/>
                <a:gd name="csY5" fmla="*/ -4858 h 17018"/>
              </a:gdLst>
              <a:ahLst/>
              <a:cxnLst>
                <a:cxn ang="0">
                  <a:pos x="csX0" y="csY0"/>
                </a:cxn>
                <a:cxn ang="0">
                  <a:pos x="csX1" y="csY1"/>
                </a:cxn>
                <a:cxn ang="0">
                  <a:pos x="csX2" y="csY2"/>
                </a:cxn>
                <a:cxn ang="0">
                  <a:pos x="csX3" y="csY3"/>
                </a:cxn>
                <a:cxn ang="0">
                  <a:pos x="csX4" y="csY4"/>
                </a:cxn>
                <a:cxn ang="0">
                  <a:pos x="csX5" y="csY5"/>
                </a:cxn>
              </a:cxnLst>
              <a:rect l="l" t="t" r="r" b="b"/>
              <a:pathLst>
                <a:path w="12821" h="17018">
                  <a:moveTo>
                    <a:pt x="-6684" y="-4858"/>
                  </a:moveTo>
                  <a:lnTo>
                    <a:pt x="6089" y="-4858"/>
                  </a:lnTo>
                  <a:lnTo>
                    <a:pt x="6089" y="11919"/>
                  </a:lnTo>
                  <a:cubicBezTo>
                    <a:pt x="6089" y="12007"/>
                    <a:pt x="6121" y="12079"/>
                    <a:pt x="6138" y="12161"/>
                  </a:cubicBezTo>
                  <a:lnTo>
                    <a:pt x="-6684" y="12161"/>
                  </a:lnTo>
                  <a:lnTo>
                    <a:pt x="-6684" y="-4858"/>
                  </a:lnTo>
                </a:path>
              </a:pathLst>
            </a:custGeom>
            <a:grpFill/>
            <a:ln w="548" cap="flat">
              <a:noFill/>
              <a:prstDash val="solid"/>
              <a:miter/>
            </a:ln>
          </p:spPr>
          <p:txBody>
            <a:bodyPr/>
            <a:lstStyle/>
            <a:p>
              <a:endParaRPr lang="en-US"/>
            </a:p>
          </p:txBody>
        </p:sp>
        <p:sp>
          <p:nvSpPr>
            <p:cNvPr id="496" name="Freeform: Shape 495">
              <a:extLst>
                <a:ext uri="{FF2B5EF4-FFF2-40B4-BE49-F238E27FC236}">
                  <a16:creationId xmlns:a16="http://schemas.microsoft.com/office/drawing/2014/main" id="{0905000E-E0EA-0A3D-11C2-4F5F6E4D70D9}"/>
                </a:ext>
              </a:extLst>
            </p:cNvPr>
            <p:cNvSpPr/>
            <p:nvPr/>
          </p:nvSpPr>
          <p:spPr>
            <a:xfrm flipV="1">
              <a:off x="22791839" y="4573178"/>
              <a:ext cx="13002" cy="32786"/>
            </a:xfrm>
            <a:custGeom>
              <a:avLst/>
              <a:gdLst>
                <a:gd name="csX0" fmla="*/ 5910 w 13002"/>
                <a:gd name="csY0" fmla="*/ 27993 h 32786"/>
                <a:gd name="csX1" fmla="*/ -7093 w 13002"/>
                <a:gd name="csY1" fmla="*/ 27993 h 32786"/>
                <a:gd name="csX2" fmla="*/ -7093 w 13002"/>
                <a:gd name="csY2" fmla="*/ -4793 h 32786"/>
                <a:gd name="csX3" fmla="*/ 5910 w 13002"/>
                <a:gd name="csY3" fmla="*/ -4793 h 32786"/>
                <a:gd name="csX4" fmla="*/ 5910 w 13002"/>
                <a:gd name="csY4" fmla="*/ 27993 h 32786"/>
              </a:gdLst>
              <a:ahLst/>
              <a:cxnLst>
                <a:cxn ang="0">
                  <a:pos x="csX0" y="csY0"/>
                </a:cxn>
                <a:cxn ang="0">
                  <a:pos x="csX1" y="csY1"/>
                </a:cxn>
                <a:cxn ang="0">
                  <a:pos x="csX2" y="csY2"/>
                </a:cxn>
                <a:cxn ang="0">
                  <a:pos x="csX3" y="csY3"/>
                </a:cxn>
                <a:cxn ang="0">
                  <a:pos x="csX4" y="csY4"/>
                </a:cxn>
              </a:cxnLst>
              <a:rect l="l" t="t" r="r" b="b"/>
              <a:pathLst>
                <a:path w="13002" h="32786">
                  <a:moveTo>
                    <a:pt x="5910" y="27993"/>
                  </a:moveTo>
                  <a:lnTo>
                    <a:pt x="-7093" y="27993"/>
                  </a:lnTo>
                  <a:lnTo>
                    <a:pt x="-7093" y="-4793"/>
                  </a:lnTo>
                  <a:lnTo>
                    <a:pt x="5910" y="-4793"/>
                  </a:lnTo>
                  <a:lnTo>
                    <a:pt x="5910" y="27993"/>
                  </a:lnTo>
                </a:path>
              </a:pathLst>
            </a:custGeom>
            <a:grpFill/>
            <a:ln w="548" cap="flat">
              <a:noFill/>
              <a:prstDash val="solid"/>
              <a:miter/>
            </a:ln>
          </p:spPr>
          <p:txBody>
            <a:bodyPr/>
            <a:lstStyle/>
            <a:p>
              <a:endParaRPr lang="en-US"/>
            </a:p>
          </p:txBody>
        </p:sp>
        <p:sp>
          <p:nvSpPr>
            <p:cNvPr id="497" name="Freeform: Shape 496">
              <a:extLst>
                <a:ext uri="{FF2B5EF4-FFF2-40B4-BE49-F238E27FC236}">
                  <a16:creationId xmlns:a16="http://schemas.microsoft.com/office/drawing/2014/main" id="{06F96A15-B303-2D8B-7C49-DCC343C6757C}"/>
                </a:ext>
              </a:extLst>
            </p:cNvPr>
            <p:cNvSpPr/>
            <p:nvPr/>
          </p:nvSpPr>
          <p:spPr>
            <a:xfrm flipV="1">
              <a:off x="22776586" y="4573178"/>
              <a:ext cx="13002" cy="32786"/>
            </a:xfrm>
            <a:custGeom>
              <a:avLst/>
              <a:gdLst>
                <a:gd name="csX0" fmla="*/ -7074 w 13002"/>
                <a:gd name="csY0" fmla="*/ -4793 h 32786"/>
                <a:gd name="csX1" fmla="*/ 5929 w 13002"/>
                <a:gd name="csY1" fmla="*/ -4793 h 32786"/>
                <a:gd name="csX2" fmla="*/ 5929 w 13002"/>
                <a:gd name="csY2" fmla="*/ 27993 h 32786"/>
                <a:gd name="csX3" fmla="*/ -7074 w 13002"/>
                <a:gd name="csY3" fmla="*/ 27993 h 32786"/>
                <a:gd name="csX4" fmla="*/ -7074 w 13002"/>
                <a:gd name="csY4" fmla="*/ -4793 h 32786"/>
              </a:gdLst>
              <a:ahLst/>
              <a:cxnLst>
                <a:cxn ang="0">
                  <a:pos x="csX0" y="csY0"/>
                </a:cxn>
                <a:cxn ang="0">
                  <a:pos x="csX1" y="csY1"/>
                </a:cxn>
                <a:cxn ang="0">
                  <a:pos x="csX2" y="csY2"/>
                </a:cxn>
                <a:cxn ang="0">
                  <a:pos x="csX3" y="csY3"/>
                </a:cxn>
                <a:cxn ang="0">
                  <a:pos x="csX4" y="csY4"/>
                </a:cxn>
              </a:cxnLst>
              <a:rect l="l" t="t" r="r" b="b"/>
              <a:pathLst>
                <a:path w="13002" h="32786">
                  <a:moveTo>
                    <a:pt x="-7074" y="-4793"/>
                  </a:moveTo>
                  <a:lnTo>
                    <a:pt x="5929" y="-4793"/>
                  </a:lnTo>
                  <a:lnTo>
                    <a:pt x="5929" y="27993"/>
                  </a:lnTo>
                  <a:lnTo>
                    <a:pt x="-7074" y="27993"/>
                  </a:lnTo>
                  <a:lnTo>
                    <a:pt x="-7074" y="-4793"/>
                  </a:lnTo>
                </a:path>
              </a:pathLst>
            </a:custGeom>
            <a:grpFill/>
            <a:ln w="548" cap="flat">
              <a:noFill/>
              <a:prstDash val="solid"/>
              <a:miter/>
            </a:ln>
          </p:spPr>
          <p:txBody>
            <a:bodyPr/>
            <a:lstStyle/>
            <a:p>
              <a:endParaRPr lang="en-US"/>
            </a:p>
          </p:txBody>
        </p:sp>
        <p:sp>
          <p:nvSpPr>
            <p:cNvPr id="498" name="Freeform: Shape 497">
              <a:extLst>
                <a:ext uri="{FF2B5EF4-FFF2-40B4-BE49-F238E27FC236}">
                  <a16:creationId xmlns:a16="http://schemas.microsoft.com/office/drawing/2014/main" id="{601CF44C-4725-425C-0761-A24B65A23DF6}"/>
                </a:ext>
              </a:extLst>
            </p:cNvPr>
            <p:cNvSpPr/>
            <p:nvPr/>
          </p:nvSpPr>
          <p:spPr>
            <a:xfrm flipV="1">
              <a:off x="22791839" y="4554113"/>
              <a:ext cx="13002" cy="16777"/>
            </a:xfrm>
            <a:custGeom>
              <a:avLst/>
              <a:gdLst>
                <a:gd name="csX0" fmla="*/ 5910 w 13002"/>
                <a:gd name="csY0" fmla="*/ 11919 h 16777"/>
                <a:gd name="csX1" fmla="*/ -7093 w 13002"/>
                <a:gd name="csY1" fmla="*/ 11919 h 16777"/>
                <a:gd name="csX2" fmla="*/ -7093 w 13002"/>
                <a:gd name="csY2" fmla="*/ -4858 h 16777"/>
                <a:gd name="csX3" fmla="*/ 5910 w 13002"/>
                <a:gd name="csY3" fmla="*/ -4858 h 16777"/>
                <a:gd name="csX4" fmla="*/ 5910 w 13002"/>
                <a:gd name="csY4" fmla="*/ 11919 h 16777"/>
              </a:gdLst>
              <a:ahLst/>
              <a:cxnLst>
                <a:cxn ang="0">
                  <a:pos x="csX0" y="csY0"/>
                </a:cxn>
                <a:cxn ang="0">
                  <a:pos x="csX1" y="csY1"/>
                </a:cxn>
                <a:cxn ang="0">
                  <a:pos x="csX2" y="csY2"/>
                </a:cxn>
                <a:cxn ang="0">
                  <a:pos x="csX3" y="csY3"/>
                </a:cxn>
                <a:cxn ang="0">
                  <a:pos x="csX4" y="csY4"/>
                </a:cxn>
              </a:cxnLst>
              <a:rect l="l" t="t" r="r" b="b"/>
              <a:pathLst>
                <a:path w="13002" h="16777">
                  <a:moveTo>
                    <a:pt x="5910" y="11919"/>
                  </a:moveTo>
                  <a:lnTo>
                    <a:pt x="-7093" y="11919"/>
                  </a:lnTo>
                  <a:lnTo>
                    <a:pt x="-7093" y="-4858"/>
                  </a:lnTo>
                  <a:lnTo>
                    <a:pt x="5910" y="-4858"/>
                  </a:lnTo>
                  <a:lnTo>
                    <a:pt x="5910" y="11919"/>
                  </a:lnTo>
                </a:path>
              </a:pathLst>
            </a:custGeom>
            <a:grpFill/>
            <a:ln w="548" cap="flat">
              <a:noFill/>
              <a:prstDash val="solid"/>
              <a:miter/>
            </a:ln>
          </p:spPr>
          <p:txBody>
            <a:bodyPr/>
            <a:lstStyle/>
            <a:p>
              <a:endParaRPr lang="en-US"/>
            </a:p>
          </p:txBody>
        </p:sp>
        <p:sp>
          <p:nvSpPr>
            <p:cNvPr id="499" name="Freeform: Shape 498">
              <a:extLst>
                <a:ext uri="{FF2B5EF4-FFF2-40B4-BE49-F238E27FC236}">
                  <a16:creationId xmlns:a16="http://schemas.microsoft.com/office/drawing/2014/main" id="{64ADA80C-6D06-6B4C-FE84-6A405FEF9138}"/>
                </a:ext>
              </a:extLst>
            </p:cNvPr>
            <p:cNvSpPr/>
            <p:nvPr/>
          </p:nvSpPr>
          <p:spPr>
            <a:xfrm flipV="1">
              <a:off x="22791839" y="4608252"/>
              <a:ext cx="13002" cy="17035"/>
            </a:xfrm>
            <a:custGeom>
              <a:avLst/>
              <a:gdLst>
                <a:gd name="csX0" fmla="*/ 5910 w 13002"/>
                <a:gd name="csY0" fmla="*/ 12308 h 17035"/>
                <a:gd name="csX1" fmla="*/ -7093 w 13002"/>
                <a:gd name="csY1" fmla="*/ 12308 h 17035"/>
                <a:gd name="csX2" fmla="*/ -7093 w 13002"/>
                <a:gd name="csY2" fmla="*/ -4728 h 17035"/>
                <a:gd name="csX3" fmla="*/ 5910 w 13002"/>
                <a:gd name="csY3" fmla="*/ -4728 h 17035"/>
                <a:gd name="csX4" fmla="*/ 5910 w 13002"/>
                <a:gd name="csY4" fmla="*/ 12308 h 17035"/>
              </a:gdLst>
              <a:ahLst/>
              <a:cxnLst>
                <a:cxn ang="0">
                  <a:pos x="csX0" y="csY0"/>
                </a:cxn>
                <a:cxn ang="0">
                  <a:pos x="csX1" y="csY1"/>
                </a:cxn>
                <a:cxn ang="0">
                  <a:pos x="csX2" y="csY2"/>
                </a:cxn>
                <a:cxn ang="0">
                  <a:pos x="csX3" y="csY3"/>
                </a:cxn>
                <a:cxn ang="0">
                  <a:pos x="csX4" y="csY4"/>
                </a:cxn>
              </a:cxnLst>
              <a:rect l="l" t="t" r="r" b="b"/>
              <a:pathLst>
                <a:path w="13002" h="17035">
                  <a:moveTo>
                    <a:pt x="5910" y="12308"/>
                  </a:moveTo>
                  <a:lnTo>
                    <a:pt x="-7093" y="12308"/>
                  </a:lnTo>
                  <a:lnTo>
                    <a:pt x="-7093" y="-4728"/>
                  </a:lnTo>
                  <a:lnTo>
                    <a:pt x="5910" y="-4728"/>
                  </a:lnTo>
                  <a:lnTo>
                    <a:pt x="5910" y="12308"/>
                  </a:lnTo>
                </a:path>
              </a:pathLst>
            </a:custGeom>
            <a:grpFill/>
            <a:ln w="548" cap="flat">
              <a:noFill/>
              <a:prstDash val="solid"/>
              <a:miter/>
            </a:ln>
          </p:spPr>
          <p:txBody>
            <a:bodyPr/>
            <a:lstStyle/>
            <a:p>
              <a:endParaRPr lang="en-US"/>
            </a:p>
          </p:txBody>
        </p:sp>
        <p:sp>
          <p:nvSpPr>
            <p:cNvPr id="500" name="Freeform: Shape 499">
              <a:extLst>
                <a:ext uri="{FF2B5EF4-FFF2-40B4-BE49-F238E27FC236}">
                  <a16:creationId xmlns:a16="http://schemas.microsoft.com/office/drawing/2014/main" id="{A232DF78-A9C7-0E0B-A0CF-04F95B758ED5}"/>
                </a:ext>
              </a:extLst>
            </p:cNvPr>
            <p:cNvSpPr/>
            <p:nvPr/>
          </p:nvSpPr>
          <p:spPr>
            <a:xfrm flipV="1">
              <a:off x="22776586" y="4554113"/>
              <a:ext cx="13002" cy="16777"/>
            </a:xfrm>
            <a:custGeom>
              <a:avLst/>
              <a:gdLst>
                <a:gd name="csX0" fmla="*/ -7074 w 13002"/>
                <a:gd name="csY0" fmla="*/ -4858 h 16777"/>
                <a:gd name="csX1" fmla="*/ 5929 w 13002"/>
                <a:gd name="csY1" fmla="*/ -4858 h 16777"/>
                <a:gd name="csX2" fmla="*/ 5929 w 13002"/>
                <a:gd name="csY2" fmla="*/ 11919 h 16777"/>
                <a:gd name="csX3" fmla="*/ -7074 w 13002"/>
                <a:gd name="csY3" fmla="*/ 11919 h 16777"/>
                <a:gd name="csX4" fmla="*/ -7074 w 13002"/>
                <a:gd name="csY4" fmla="*/ -4858 h 16777"/>
              </a:gdLst>
              <a:ahLst/>
              <a:cxnLst>
                <a:cxn ang="0">
                  <a:pos x="csX0" y="csY0"/>
                </a:cxn>
                <a:cxn ang="0">
                  <a:pos x="csX1" y="csY1"/>
                </a:cxn>
                <a:cxn ang="0">
                  <a:pos x="csX2" y="csY2"/>
                </a:cxn>
                <a:cxn ang="0">
                  <a:pos x="csX3" y="csY3"/>
                </a:cxn>
                <a:cxn ang="0">
                  <a:pos x="csX4" y="csY4"/>
                </a:cxn>
              </a:cxnLst>
              <a:rect l="l" t="t" r="r" b="b"/>
              <a:pathLst>
                <a:path w="13002" h="16777">
                  <a:moveTo>
                    <a:pt x="-7074" y="-4858"/>
                  </a:moveTo>
                  <a:lnTo>
                    <a:pt x="5929" y="-4858"/>
                  </a:lnTo>
                  <a:lnTo>
                    <a:pt x="5929" y="11919"/>
                  </a:lnTo>
                  <a:lnTo>
                    <a:pt x="-7074" y="11919"/>
                  </a:lnTo>
                  <a:lnTo>
                    <a:pt x="-7074" y="-4858"/>
                  </a:lnTo>
                </a:path>
              </a:pathLst>
            </a:custGeom>
            <a:grpFill/>
            <a:ln w="548" cap="flat">
              <a:noFill/>
              <a:prstDash val="solid"/>
              <a:miter/>
            </a:ln>
          </p:spPr>
          <p:txBody>
            <a:bodyPr/>
            <a:lstStyle/>
            <a:p>
              <a:endParaRPr lang="en-US"/>
            </a:p>
          </p:txBody>
        </p:sp>
        <p:sp>
          <p:nvSpPr>
            <p:cNvPr id="501" name="Freeform: Shape 500">
              <a:extLst>
                <a:ext uri="{FF2B5EF4-FFF2-40B4-BE49-F238E27FC236}">
                  <a16:creationId xmlns:a16="http://schemas.microsoft.com/office/drawing/2014/main" id="{F6472448-47FA-789E-B384-AA6FEACDF134}"/>
                </a:ext>
              </a:extLst>
            </p:cNvPr>
            <p:cNvSpPr/>
            <p:nvPr/>
          </p:nvSpPr>
          <p:spPr>
            <a:xfrm flipV="1">
              <a:off x="22776586" y="4608252"/>
              <a:ext cx="13002" cy="17035"/>
            </a:xfrm>
            <a:custGeom>
              <a:avLst/>
              <a:gdLst>
                <a:gd name="csX0" fmla="*/ -7074 w 13002"/>
                <a:gd name="csY0" fmla="*/ -4728 h 17035"/>
                <a:gd name="csX1" fmla="*/ 5929 w 13002"/>
                <a:gd name="csY1" fmla="*/ -4728 h 17035"/>
                <a:gd name="csX2" fmla="*/ 5929 w 13002"/>
                <a:gd name="csY2" fmla="*/ 12308 h 17035"/>
                <a:gd name="csX3" fmla="*/ -7074 w 13002"/>
                <a:gd name="csY3" fmla="*/ 12308 h 17035"/>
                <a:gd name="csX4" fmla="*/ -7074 w 13002"/>
                <a:gd name="csY4" fmla="*/ -4728 h 17035"/>
              </a:gdLst>
              <a:ahLst/>
              <a:cxnLst>
                <a:cxn ang="0">
                  <a:pos x="csX0" y="csY0"/>
                </a:cxn>
                <a:cxn ang="0">
                  <a:pos x="csX1" y="csY1"/>
                </a:cxn>
                <a:cxn ang="0">
                  <a:pos x="csX2" y="csY2"/>
                </a:cxn>
                <a:cxn ang="0">
                  <a:pos x="csX3" y="csY3"/>
                </a:cxn>
                <a:cxn ang="0">
                  <a:pos x="csX4" y="csY4"/>
                </a:cxn>
              </a:cxnLst>
              <a:rect l="l" t="t" r="r" b="b"/>
              <a:pathLst>
                <a:path w="13002" h="17035">
                  <a:moveTo>
                    <a:pt x="-7074" y="-4728"/>
                  </a:moveTo>
                  <a:lnTo>
                    <a:pt x="5929" y="-4728"/>
                  </a:lnTo>
                  <a:lnTo>
                    <a:pt x="5929" y="12308"/>
                  </a:lnTo>
                  <a:lnTo>
                    <a:pt x="-7074" y="12308"/>
                  </a:lnTo>
                  <a:lnTo>
                    <a:pt x="-7074" y="-4728"/>
                  </a:lnTo>
                </a:path>
              </a:pathLst>
            </a:custGeom>
            <a:grpFill/>
            <a:ln w="548" cap="flat">
              <a:noFill/>
              <a:prstDash val="solid"/>
              <a:miter/>
            </a:ln>
          </p:spPr>
          <p:txBody>
            <a:bodyPr/>
            <a:lstStyle/>
            <a:p>
              <a:endParaRPr lang="en-US"/>
            </a:p>
          </p:txBody>
        </p:sp>
        <p:sp>
          <p:nvSpPr>
            <p:cNvPr id="502" name="Freeform: Shape 501">
              <a:extLst>
                <a:ext uri="{FF2B5EF4-FFF2-40B4-BE49-F238E27FC236}">
                  <a16:creationId xmlns:a16="http://schemas.microsoft.com/office/drawing/2014/main" id="{0C00CAE3-BDD4-BD5B-C345-0319A1725BCB}"/>
                </a:ext>
              </a:extLst>
            </p:cNvPr>
            <p:cNvSpPr/>
            <p:nvPr/>
          </p:nvSpPr>
          <p:spPr>
            <a:xfrm flipV="1">
              <a:off x="21441800" y="4428496"/>
              <a:ext cx="1475293" cy="495114"/>
            </a:xfrm>
            <a:custGeom>
              <a:avLst/>
              <a:gdLst>
                <a:gd name="csX0" fmla="*/ 902250 w 1475293"/>
                <a:gd name="csY0" fmla="*/ 490530 h 495114"/>
                <a:gd name="csX1" fmla="*/ 902250 w 1475293"/>
                <a:gd name="csY1" fmla="*/ 460524 h 495114"/>
                <a:gd name="csX2" fmla="*/ 914040 w 1475293"/>
                <a:gd name="csY2" fmla="*/ 460524 h 495114"/>
                <a:gd name="csX3" fmla="*/ 914040 w 1475293"/>
                <a:gd name="csY3" fmla="*/ 435397 h 495114"/>
                <a:gd name="csX4" fmla="*/ 919280 w 1475293"/>
                <a:gd name="csY4" fmla="*/ 435397 h 495114"/>
                <a:gd name="csX5" fmla="*/ 919280 w 1475293"/>
                <a:gd name="csY5" fmla="*/ 85644 h 495114"/>
                <a:gd name="csX6" fmla="*/ 910117 w 1475293"/>
                <a:gd name="csY6" fmla="*/ 85644 h 495114"/>
                <a:gd name="csX7" fmla="*/ 910117 w 1475293"/>
                <a:gd name="csY7" fmla="*/ 49099 h 495114"/>
                <a:gd name="csX8" fmla="*/ 902250 w 1475293"/>
                <a:gd name="csY8" fmla="*/ 49099 h 495114"/>
                <a:gd name="csX9" fmla="*/ 902250 w 1475293"/>
                <a:gd name="csY9" fmla="*/ 384867 h 495114"/>
                <a:gd name="csX10" fmla="*/ -6325 w 1475293"/>
                <a:gd name="csY10" fmla="*/ 384867 h 495114"/>
                <a:gd name="csX11" fmla="*/ -6325 w 1475293"/>
                <a:gd name="csY11" fmla="*/ -4585 h 495114"/>
                <a:gd name="csX12" fmla="*/ 902250 w 1475293"/>
                <a:gd name="csY12" fmla="*/ -4585 h 495114"/>
                <a:gd name="csX13" fmla="*/ 1085249 w 1475293"/>
                <a:gd name="csY13" fmla="*/ -4585 h 495114"/>
                <a:gd name="csX14" fmla="*/ 1100221 w 1475293"/>
                <a:gd name="csY14" fmla="*/ -4585 h 495114"/>
                <a:gd name="csX15" fmla="*/ 1115314 w 1475293"/>
                <a:gd name="csY15" fmla="*/ -4585 h 495114"/>
                <a:gd name="csX16" fmla="*/ 1144996 w 1475293"/>
                <a:gd name="csY16" fmla="*/ -4585 h 495114"/>
                <a:gd name="csX17" fmla="*/ 1226249 w 1475293"/>
                <a:gd name="csY17" fmla="*/ -4585 h 495114"/>
                <a:gd name="csX18" fmla="*/ 1255327 w 1475293"/>
                <a:gd name="csY18" fmla="*/ -4585 h 495114"/>
                <a:gd name="csX19" fmla="*/ 1270415 w 1475293"/>
                <a:gd name="csY19" fmla="*/ -4585 h 495114"/>
                <a:gd name="csX20" fmla="*/ 1329119 w 1475293"/>
                <a:gd name="csY20" fmla="*/ -4585 h 495114"/>
                <a:gd name="csX21" fmla="*/ 1468364 w 1475293"/>
                <a:gd name="csY21" fmla="*/ -4585 h 495114"/>
                <a:gd name="csX22" fmla="*/ 1468364 w 1475293"/>
                <a:gd name="csY22" fmla="*/ 49099 h 495114"/>
                <a:gd name="csX23" fmla="*/ 1460518 w 1475293"/>
                <a:gd name="csY23" fmla="*/ 49099 h 495114"/>
                <a:gd name="csX24" fmla="*/ 1460518 w 1475293"/>
                <a:gd name="csY24" fmla="*/ 85644 h 495114"/>
                <a:gd name="csX25" fmla="*/ 1451356 w 1475293"/>
                <a:gd name="csY25" fmla="*/ 85644 h 495114"/>
                <a:gd name="csX26" fmla="*/ 1451356 w 1475293"/>
                <a:gd name="csY26" fmla="*/ 435397 h 495114"/>
                <a:gd name="csX27" fmla="*/ 1456623 w 1475293"/>
                <a:gd name="csY27" fmla="*/ 435397 h 495114"/>
                <a:gd name="csX28" fmla="*/ 1456623 w 1475293"/>
                <a:gd name="csY28" fmla="*/ 460524 h 495114"/>
                <a:gd name="csX29" fmla="*/ 1468968 w 1475293"/>
                <a:gd name="csY29" fmla="*/ 460524 h 495114"/>
                <a:gd name="csX30" fmla="*/ 1468968 w 1475293"/>
                <a:gd name="csY30" fmla="*/ 490530 h 495114"/>
                <a:gd name="csX31" fmla="*/ 806073 w 1475293"/>
                <a:gd name="csY31" fmla="*/ 310482 h 495114"/>
                <a:gd name="csX32" fmla="*/ 830839 w 1475293"/>
                <a:gd name="csY32" fmla="*/ 310482 h 495114"/>
                <a:gd name="csX33" fmla="*/ 830839 w 1475293"/>
                <a:gd name="csY33" fmla="*/ 276258 h 495114"/>
                <a:gd name="csX34" fmla="*/ 806073 w 1475293"/>
                <a:gd name="csY34" fmla="*/ 276258 h 495114"/>
                <a:gd name="csX35" fmla="*/ 833121 w 1475293"/>
                <a:gd name="csY35" fmla="*/ 310482 h 495114"/>
                <a:gd name="csX36" fmla="*/ 857887 w 1475293"/>
                <a:gd name="csY36" fmla="*/ 310482 h 495114"/>
                <a:gd name="csX37" fmla="*/ 857887 w 1475293"/>
                <a:gd name="csY37" fmla="*/ 276258 h 495114"/>
                <a:gd name="csX38" fmla="*/ 833121 w 1475293"/>
                <a:gd name="csY38" fmla="*/ 276258 h 495114"/>
                <a:gd name="csX39" fmla="*/ 857887 w 1475293"/>
                <a:gd name="csY39" fmla="*/ 346989 h 495114"/>
                <a:gd name="csX40" fmla="*/ 857887 w 1475293"/>
                <a:gd name="csY40" fmla="*/ 312765 h 495114"/>
                <a:gd name="csX41" fmla="*/ 833121 w 1475293"/>
                <a:gd name="csY41" fmla="*/ 312765 h 495114"/>
                <a:gd name="csX42" fmla="*/ 833121 w 1475293"/>
                <a:gd name="csY42" fmla="*/ 346989 h 495114"/>
                <a:gd name="csX43" fmla="*/ 806073 w 1475293"/>
                <a:gd name="csY43" fmla="*/ 346989 h 495114"/>
                <a:gd name="csX44" fmla="*/ 830839 w 1475293"/>
                <a:gd name="csY44" fmla="*/ 346989 h 495114"/>
                <a:gd name="csX45" fmla="*/ 830839 w 1475293"/>
                <a:gd name="csY45" fmla="*/ 312765 h 495114"/>
                <a:gd name="csX46" fmla="*/ 806073 w 1475293"/>
                <a:gd name="csY46" fmla="*/ 312765 h 495114"/>
                <a:gd name="csX47" fmla="*/ 803456 w 1475293"/>
                <a:gd name="csY47" fmla="*/ 154691 h 495114"/>
                <a:gd name="csX48" fmla="*/ 831980 w 1475293"/>
                <a:gd name="csY48" fmla="*/ 183209 h 495114"/>
                <a:gd name="csX49" fmla="*/ 860498 w 1475293"/>
                <a:gd name="csY49" fmla="*/ 154691 h 495114"/>
                <a:gd name="csX50" fmla="*/ 860498 w 1475293"/>
                <a:gd name="csY50" fmla="*/ 147459 h 495114"/>
                <a:gd name="csX51" fmla="*/ 803456 w 1475293"/>
                <a:gd name="csY51" fmla="*/ 147459 h 495114"/>
                <a:gd name="csX52" fmla="*/ 614055 w 1475293"/>
                <a:gd name="csY52" fmla="*/ 310482 h 495114"/>
                <a:gd name="csX53" fmla="*/ 638820 w 1475293"/>
                <a:gd name="csY53" fmla="*/ 310482 h 495114"/>
                <a:gd name="csX54" fmla="*/ 638820 w 1475293"/>
                <a:gd name="csY54" fmla="*/ 276258 h 495114"/>
                <a:gd name="csX55" fmla="*/ 614055 w 1475293"/>
                <a:gd name="csY55" fmla="*/ 276258 h 495114"/>
                <a:gd name="csX56" fmla="*/ 641102 w 1475293"/>
                <a:gd name="csY56" fmla="*/ 310482 h 495114"/>
                <a:gd name="csX57" fmla="*/ 665868 w 1475293"/>
                <a:gd name="csY57" fmla="*/ 310482 h 495114"/>
                <a:gd name="csX58" fmla="*/ 665868 w 1475293"/>
                <a:gd name="csY58" fmla="*/ 276258 h 495114"/>
                <a:gd name="csX59" fmla="*/ 641102 w 1475293"/>
                <a:gd name="csY59" fmla="*/ 276258 h 495114"/>
                <a:gd name="csX60" fmla="*/ 665868 w 1475293"/>
                <a:gd name="csY60" fmla="*/ 346989 h 495114"/>
                <a:gd name="csX61" fmla="*/ 665868 w 1475293"/>
                <a:gd name="csY61" fmla="*/ 312765 h 495114"/>
                <a:gd name="csX62" fmla="*/ 641102 w 1475293"/>
                <a:gd name="csY62" fmla="*/ 312765 h 495114"/>
                <a:gd name="csX63" fmla="*/ 641102 w 1475293"/>
                <a:gd name="csY63" fmla="*/ 346989 h 495114"/>
                <a:gd name="csX64" fmla="*/ 614055 w 1475293"/>
                <a:gd name="csY64" fmla="*/ 346989 h 495114"/>
                <a:gd name="csX65" fmla="*/ 638820 w 1475293"/>
                <a:gd name="csY65" fmla="*/ 346989 h 495114"/>
                <a:gd name="csX66" fmla="*/ 638820 w 1475293"/>
                <a:gd name="csY66" fmla="*/ 312765 h 495114"/>
                <a:gd name="csX67" fmla="*/ 614055 w 1475293"/>
                <a:gd name="csY67" fmla="*/ 312765 h 495114"/>
                <a:gd name="csX68" fmla="*/ 611443 w 1475293"/>
                <a:gd name="csY68" fmla="*/ 154691 h 495114"/>
                <a:gd name="csX69" fmla="*/ 639961 w 1475293"/>
                <a:gd name="csY69" fmla="*/ 183209 h 495114"/>
                <a:gd name="csX70" fmla="*/ 668480 w 1475293"/>
                <a:gd name="csY70" fmla="*/ 154691 h 495114"/>
                <a:gd name="csX71" fmla="*/ 668480 w 1475293"/>
                <a:gd name="csY71" fmla="*/ 147459 h 495114"/>
                <a:gd name="csX72" fmla="*/ 611443 w 1475293"/>
                <a:gd name="csY72" fmla="*/ 147459 h 495114"/>
                <a:gd name="csX73" fmla="*/ 229941 w 1475293"/>
                <a:gd name="csY73" fmla="*/ 310482 h 495114"/>
                <a:gd name="csX74" fmla="*/ 254707 w 1475293"/>
                <a:gd name="csY74" fmla="*/ 310482 h 495114"/>
                <a:gd name="csX75" fmla="*/ 254707 w 1475293"/>
                <a:gd name="csY75" fmla="*/ 276258 h 495114"/>
                <a:gd name="csX76" fmla="*/ 229941 w 1475293"/>
                <a:gd name="csY76" fmla="*/ 276258 h 495114"/>
                <a:gd name="csX77" fmla="*/ 256994 w 1475293"/>
                <a:gd name="csY77" fmla="*/ 310482 h 495114"/>
                <a:gd name="csX78" fmla="*/ 281760 w 1475293"/>
                <a:gd name="csY78" fmla="*/ 310482 h 495114"/>
                <a:gd name="csX79" fmla="*/ 281760 w 1475293"/>
                <a:gd name="csY79" fmla="*/ 276258 h 495114"/>
                <a:gd name="csX80" fmla="*/ 256994 w 1475293"/>
                <a:gd name="csY80" fmla="*/ 276258 h 495114"/>
                <a:gd name="csX81" fmla="*/ 281760 w 1475293"/>
                <a:gd name="csY81" fmla="*/ 346989 h 495114"/>
                <a:gd name="csX82" fmla="*/ 281760 w 1475293"/>
                <a:gd name="csY82" fmla="*/ 312765 h 495114"/>
                <a:gd name="csX83" fmla="*/ 256994 w 1475293"/>
                <a:gd name="csY83" fmla="*/ 312765 h 495114"/>
                <a:gd name="csX84" fmla="*/ 256994 w 1475293"/>
                <a:gd name="csY84" fmla="*/ 346989 h 495114"/>
                <a:gd name="csX85" fmla="*/ 229941 w 1475293"/>
                <a:gd name="csY85" fmla="*/ 346989 h 495114"/>
                <a:gd name="csX86" fmla="*/ 254707 w 1475293"/>
                <a:gd name="csY86" fmla="*/ 346989 h 495114"/>
                <a:gd name="csX87" fmla="*/ 254707 w 1475293"/>
                <a:gd name="csY87" fmla="*/ 312765 h 495114"/>
                <a:gd name="csX88" fmla="*/ 229941 w 1475293"/>
                <a:gd name="csY88" fmla="*/ 312765 h 495114"/>
                <a:gd name="csX89" fmla="*/ 227406 w 1475293"/>
                <a:gd name="csY89" fmla="*/ 154691 h 495114"/>
                <a:gd name="csX90" fmla="*/ 255924 w 1475293"/>
                <a:gd name="csY90" fmla="*/ 183209 h 495114"/>
                <a:gd name="csX91" fmla="*/ 284442 w 1475293"/>
                <a:gd name="csY91" fmla="*/ 154691 h 495114"/>
                <a:gd name="csX92" fmla="*/ 284442 w 1475293"/>
                <a:gd name="csY92" fmla="*/ 147459 h 495114"/>
                <a:gd name="csX93" fmla="*/ 227406 w 1475293"/>
                <a:gd name="csY93" fmla="*/ 147459 h 495114"/>
                <a:gd name="csX94" fmla="*/ 66194 w 1475293"/>
                <a:gd name="csY94" fmla="*/ 310482 h 495114"/>
                <a:gd name="csX95" fmla="*/ 89741 w 1475293"/>
                <a:gd name="csY95" fmla="*/ 310482 h 495114"/>
                <a:gd name="csX96" fmla="*/ 89741 w 1475293"/>
                <a:gd name="csY96" fmla="*/ 276258 h 495114"/>
                <a:gd name="csX97" fmla="*/ 66194 w 1475293"/>
                <a:gd name="csY97" fmla="*/ 276258 h 495114"/>
                <a:gd name="csX98" fmla="*/ 89741 w 1475293"/>
                <a:gd name="csY98" fmla="*/ 346989 h 495114"/>
                <a:gd name="csX99" fmla="*/ 89741 w 1475293"/>
                <a:gd name="csY99" fmla="*/ 312765 h 495114"/>
                <a:gd name="csX100" fmla="*/ 66194 w 1475293"/>
                <a:gd name="csY100" fmla="*/ 312765 h 495114"/>
                <a:gd name="csX101" fmla="*/ 66194 w 1475293"/>
                <a:gd name="csY101" fmla="*/ 346989 h 495114"/>
                <a:gd name="csX102" fmla="*/ 37928 w 1475293"/>
                <a:gd name="csY102" fmla="*/ 346989 h 495114"/>
                <a:gd name="csX103" fmla="*/ 63906 w 1475293"/>
                <a:gd name="csY103" fmla="*/ 346989 h 495114"/>
                <a:gd name="csX104" fmla="*/ 63906 w 1475293"/>
                <a:gd name="csY104" fmla="*/ 312765 h 495114"/>
                <a:gd name="csX105" fmla="*/ 39140 w 1475293"/>
                <a:gd name="csY105" fmla="*/ 312765 h 495114"/>
                <a:gd name="csX106" fmla="*/ 37999 w 1475293"/>
                <a:gd name="csY106" fmla="*/ 311624 h 495114"/>
                <a:gd name="csX107" fmla="*/ 39140 w 1475293"/>
                <a:gd name="csY107" fmla="*/ 310482 h 495114"/>
                <a:gd name="csX108" fmla="*/ 63906 w 1475293"/>
                <a:gd name="csY108" fmla="*/ 310482 h 495114"/>
                <a:gd name="csX109" fmla="*/ 63906 w 1475293"/>
                <a:gd name="csY109" fmla="*/ 276258 h 495114"/>
                <a:gd name="csX110" fmla="*/ 37928 w 1475293"/>
                <a:gd name="csY110" fmla="*/ 276258 h 495114"/>
                <a:gd name="csX111" fmla="*/ 35387 w 1475293"/>
                <a:gd name="csY111" fmla="*/ 154691 h 495114"/>
                <a:gd name="csX112" fmla="*/ 63906 w 1475293"/>
                <a:gd name="csY112" fmla="*/ 183209 h 495114"/>
                <a:gd name="csX113" fmla="*/ 92430 w 1475293"/>
                <a:gd name="csY113" fmla="*/ 154691 h 495114"/>
                <a:gd name="csX114" fmla="*/ 92430 w 1475293"/>
                <a:gd name="csY114" fmla="*/ 147459 h 495114"/>
                <a:gd name="csX115" fmla="*/ 35387 w 1475293"/>
                <a:gd name="csY115" fmla="*/ 147459 h 495114"/>
                <a:gd name="csX116" fmla="*/ 33357 w 1475293"/>
                <a:gd name="csY116" fmla="*/ 276258 h 495114"/>
                <a:gd name="csX117" fmla="*/ 7445 w 1475293"/>
                <a:gd name="csY117" fmla="*/ 276258 h 495114"/>
                <a:gd name="csX118" fmla="*/ 7445 w 1475293"/>
                <a:gd name="csY118" fmla="*/ 346989 h 495114"/>
                <a:gd name="csX119" fmla="*/ 33357 w 1475293"/>
                <a:gd name="csY119" fmla="*/ 346989 h 495114"/>
                <a:gd name="csX120" fmla="*/ 35387 w 1475293"/>
                <a:gd name="csY120" fmla="*/ 73207 h 495114"/>
                <a:gd name="csX121" fmla="*/ 35387 w 1475293"/>
                <a:gd name="csY121" fmla="*/ 145177 h 495114"/>
                <a:gd name="csX122" fmla="*/ 62765 w 1475293"/>
                <a:gd name="csY122" fmla="*/ 145177 h 495114"/>
                <a:gd name="csX123" fmla="*/ 62765 w 1475293"/>
                <a:gd name="csY123" fmla="*/ 73207 h 495114"/>
                <a:gd name="csX124" fmla="*/ 92430 w 1475293"/>
                <a:gd name="csY124" fmla="*/ 73207 h 495114"/>
                <a:gd name="csX125" fmla="*/ 65052 w 1475293"/>
                <a:gd name="csY125" fmla="*/ 73207 h 495114"/>
                <a:gd name="csX126" fmla="*/ 65052 w 1475293"/>
                <a:gd name="csY126" fmla="*/ 145177 h 495114"/>
                <a:gd name="csX127" fmla="*/ 92430 w 1475293"/>
                <a:gd name="csY127" fmla="*/ 145177 h 495114"/>
                <a:gd name="csX128" fmla="*/ 120224 w 1475293"/>
                <a:gd name="csY128" fmla="*/ 276258 h 495114"/>
                <a:gd name="csX129" fmla="*/ 94311 w 1475293"/>
                <a:gd name="csY129" fmla="*/ 276258 h 495114"/>
                <a:gd name="csX130" fmla="*/ 94311 w 1475293"/>
                <a:gd name="csY130" fmla="*/ 346989 h 495114"/>
                <a:gd name="csX131" fmla="*/ 120224 w 1475293"/>
                <a:gd name="csY131" fmla="*/ 346989 h 495114"/>
                <a:gd name="csX132" fmla="*/ 225370 w 1475293"/>
                <a:gd name="csY132" fmla="*/ 276258 h 495114"/>
                <a:gd name="csX133" fmla="*/ 199464 w 1475293"/>
                <a:gd name="csY133" fmla="*/ 276258 h 495114"/>
                <a:gd name="csX134" fmla="*/ 199464 w 1475293"/>
                <a:gd name="csY134" fmla="*/ 346989 h 495114"/>
                <a:gd name="csX135" fmla="*/ 225370 w 1475293"/>
                <a:gd name="csY135" fmla="*/ 346989 h 495114"/>
                <a:gd name="csX136" fmla="*/ 227406 w 1475293"/>
                <a:gd name="csY136" fmla="*/ 73207 h 495114"/>
                <a:gd name="csX137" fmla="*/ 227406 w 1475293"/>
                <a:gd name="csY137" fmla="*/ 145177 h 495114"/>
                <a:gd name="csX138" fmla="*/ 254783 w 1475293"/>
                <a:gd name="csY138" fmla="*/ 145177 h 495114"/>
                <a:gd name="csX139" fmla="*/ 254783 w 1475293"/>
                <a:gd name="csY139" fmla="*/ 73207 h 495114"/>
                <a:gd name="csX140" fmla="*/ 284442 w 1475293"/>
                <a:gd name="csY140" fmla="*/ 73207 h 495114"/>
                <a:gd name="csX141" fmla="*/ 257071 w 1475293"/>
                <a:gd name="csY141" fmla="*/ 73207 h 495114"/>
                <a:gd name="csX142" fmla="*/ 257071 w 1475293"/>
                <a:gd name="csY142" fmla="*/ 145177 h 495114"/>
                <a:gd name="csX143" fmla="*/ 284442 w 1475293"/>
                <a:gd name="csY143" fmla="*/ 145177 h 495114"/>
                <a:gd name="csX144" fmla="*/ 312237 w 1475293"/>
                <a:gd name="csY144" fmla="*/ 276258 h 495114"/>
                <a:gd name="csX145" fmla="*/ 286335 w 1475293"/>
                <a:gd name="csY145" fmla="*/ 276258 h 495114"/>
                <a:gd name="csX146" fmla="*/ 286335 w 1475293"/>
                <a:gd name="csY146" fmla="*/ 346989 h 495114"/>
                <a:gd name="csX147" fmla="*/ 312237 w 1475293"/>
                <a:gd name="csY147" fmla="*/ 346989 h 495114"/>
                <a:gd name="csX148" fmla="*/ 476461 w 1475293"/>
                <a:gd name="csY148" fmla="*/ 147459 h 495114"/>
                <a:gd name="csX149" fmla="*/ 419425 w 1475293"/>
                <a:gd name="csY149" fmla="*/ 147459 h 495114"/>
                <a:gd name="csX150" fmla="*/ 419425 w 1475293"/>
                <a:gd name="csY150" fmla="*/ 154691 h 495114"/>
                <a:gd name="csX151" fmla="*/ 447943 w 1475293"/>
                <a:gd name="csY151" fmla="*/ 183209 h 495114"/>
                <a:gd name="csX152" fmla="*/ 476461 w 1475293"/>
                <a:gd name="csY152" fmla="*/ 154691 h 495114"/>
                <a:gd name="csX153" fmla="*/ 419425 w 1475293"/>
                <a:gd name="csY153" fmla="*/ 73207 h 495114"/>
                <a:gd name="csX154" fmla="*/ 419425 w 1475293"/>
                <a:gd name="csY154" fmla="*/ 145177 h 495114"/>
                <a:gd name="csX155" fmla="*/ 446802 w 1475293"/>
                <a:gd name="csY155" fmla="*/ 145177 h 495114"/>
                <a:gd name="csX156" fmla="*/ 446802 w 1475293"/>
                <a:gd name="csY156" fmla="*/ 73207 h 495114"/>
                <a:gd name="csX157" fmla="*/ 476461 w 1475293"/>
                <a:gd name="csY157" fmla="*/ 73207 h 495114"/>
                <a:gd name="csX158" fmla="*/ 449084 w 1475293"/>
                <a:gd name="csY158" fmla="*/ 73207 h 495114"/>
                <a:gd name="csX159" fmla="*/ 449084 w 1475293"/>
                <a:gd name="csY159" fmla="*/ 145177 h 495114"/>
                <a:gd name="csX160" fmla="*/ 476461 w 1475293"/>
                <a:gd name="csY160" fmla="*/ 145177 h 495114"/>
                <a:gd name="csX161" fmla="*/ 526080 w 1475293"/>
                <a:gd name="csY161" fmla="*/ 222804 h 495114"/>
                <a:gd name="csX162" fmla="*/ 369805 w 1475293"/>
                <a:gd name="csY162" fmla="*/ 222804 h 495114"/>
                <a:gd name="csX163" fmla="*/ 369805 w 1475293"/>
                <a:gd name="csY163" fmla="*/ 369110 h 495114"/>
                <a:gd name="csX164" fmla="*/ 526080 w 1475293"/>
                <a:gd name="csY164" fmla="*/ 369110 h 495114"/>
                <a:gd name="csX165" fmla="*/ 609484 w 1475293"/>
                <a:gd name="csY165" fmla="*/ 276258 h 495114"/>
                <a:gd name="csX166" fmla="*/ 583572 w 1475293"/>
                <a:gd name="csY166" fmla="*/ 276258 h 495114"/>
                <a:gd name="csX167" fmla="*/ 583572 w 1475293"/>
                <a:gd name="csY167" fmla="*/ 346989 h 495114"/>
                <a:gd name="csX168" fmla="*/ 609484 w 1475293"/>
                <a:gd name="csY168" fmla="*/ 346989 h 495114"/>
                <a:gd name="csX169" fmla="*/ 611443 w 1475293"/>
                <a:gd name="csY169" fmla="*/ 73207 h 495114"/>
                <a:gd name="csX170" fmla="*/ 611443 w 1475293"/>
                <a:gd name="csY170" fmla="*/ 145177 h 495114"/>
                <a:gd name="csX171" fmla="*/ 638820 w 1475293"/>
                <a:gd name="csY171" fmla="*/ 145177 h 495114"/>
                <a:gd name="csX172" fmla="*/ 638820 w 1475293"/>
                <a:gd name="csY172" fmla="*/ 73207 h 495114"/>
                <a:gd name="csX173" fmla="*/ 668480 w 1475293"/>
                <a:gd name="csY173" fmla="*/ 73207 h 495114"/>
                <a:gd name="csX174" fmla="*/ 641102 w 1475293"/>
                <a:gd name="csY174" fmla="*/ 73207 h 495114"/>
                <a:gd name="csX175" fmla="*/ 641102 w 1475293"/>
                <a:gd name="csY175" fmla="*/ 145177 h 495114"/>
                <a:gd name="csX176" fmla="*/ 668480 w 1475293"/>
                <a:gd name="csY176" fmla="*/ 145177 h 495114"/>
                <a:gd name="csX177" fmla="*/ 696345 w 1475293"/>
                <a:gd name="csY177" fmla="*/ 276258 h 495114"/>
                <a:gd name="csX178" fmla="*/ 670439 w 1475293"/>
                <a:gd name="csY178" fmla="*/ 276258 h 495114"/>
                <a:gd name="csX179" fmla="*/ 670439 w 1475293"/>
                <a:gd name="csY179" fmla="*/ 346989 h 495114"/>
                <a:gd name="csX180" fmla="*/ 696345 w 1475293"/>
                <a:gd name="csY180" fmla="*/ 346989 h 495114"/>
                <a:gd name="csX181" fmla="*/ 801498 w 1475293"/>
                <a:gd name="csY181" fmla="*/ 276258 h 495114"/>
                <a:gd name="csX182" fmla="*/ 775591 w 1475293"/>
                <a:gd name="csY182" fmla="*/ 276258 h 495114"/>
                <a:gd name="csX183" fmla="*/ 775591 w 1475293"/>
                <a:gd name="csY183" fmla="*/ 346989 h 495114"/>
                <a:gd name="csX184" fmla="*/ 801498 w 1475293"/>
                <a:gd name="csY184" fmla="*/ 346989 h 495114"/>
                <a:gd name="csX185" fmla="*/ 803456 w 1475293"/>
                <a:gd name="csY185" fmla="*/ 73207 h 495114"/>
                <a:gd name="csX186" fmla="*/ 803456 w 1475293"/>
                <a:gd name="csY186" fmla="*/ 145177 h 495114"/>
                <a:gd name="csX187" fmla="*/ 830839 w 1475293"/>
                <a:gd name="csY187" fmla="*/ 145177 h 495114"/>
                <a:gd name="csX188" fmla="*/ 830839 w 1475293"/>
                <a:gd name="csY188" fmla="*/ 73207 h 495114"/>
                <a:gd name="csX189" fmla="*/ 860498 w 1475293"/>
                <a:gd name="csY189" fmla="*/ 73207 h 495114"/>
                <a:gd name="csX190" fmla="*/ 833121 w 1475293"/>
                <a:gd name="csY190" fmla="*/ 73207 h 495114"/>
                <a:gd name="csX191" fmla="*/ 833121 w 1475293"/>
                <a:gd name="csY191" fmla="*/ 145177 h 495114"/>
                <a:gd name="csX192" fmla="*/ 860498 w 1475293"/>
                <a:gd name="csY192" fmla="*/ 145177 h 495114"/>
                <a:gd name="csX193" fmla="*/ 888369 w 1475293"/>
                <a:gd name="csY193" fmla="*/ 276258 h 495114"/>
                <a:gd name="csX194" fmla="*/ 862457 w 1475293"/>
                <a:gd name="csY194" fmla="*/ 276258 h 495114"/>
                <a:gd name="csX195" fmla="*/ 862457 w 1475293"/>
                <a:gd name="csY195" fmla="*/ 346989 h 495114"/>
                <a:gd name="csX196" fmla="*/ 888369 w 1475293"/>
                <a:gd name="csY196" fmla="*/ 346989 h 495114"/>
                <a:gd name="csX197" fmla="*/ 948599 w 1475293"/>
                <a:gd name="csY197" fmla="*/ 435397 h 495114"/>
                <a:gd name="csX198" fmla="*/ 953839 w 1475293"/>
                <a:gd name="csY198" fmla="*/ 435397 h 495114"/>
                <a:gd name="csX199" fmla="*/ 953839 w 1475293"/>
                <a:gd name="csY199" fmla="*/ 460524 h 495114"/>
                <a:gd name="csX200" fmla="*/ 971033 w 1475293"/>
                <a:gd name="csY200" fmla="*/ 460524 h 495114"/>
                <a:gd name="csX201" fmla="*/ 971033 w 1475293"/>
                <a:gd name="csY201" fmla="*/ 435397 h 495114"/>
                <a:gd name="csX202" fmla="*/ 976267 w 1475293"/>
                <a:gd name="csY202" fmla="*/ 435397 h 495114"/>
                <a:gd name="csX203" fmla="*/ 976267 w 1475293"/>
                <a:gd name="csY203" fmla="*/ 85644 h 495114"/>
                <a:gd name="csX204" fmla="*/ 948599 w 1475293"/>
                <a:gd name="csY204" fmla="*/ 85644 h 495114"/>
                <a:gd name="csX205" fmla="*/ 1014957 w 1475293"/>
                <a:gd name="csY205" fmla="*/ 49099 h 495114"/>
                <a:gd name="csX206" fmla="*/ 1014957 w 1475293"/>
                <a:gd name="csY206" fmla="*/ 85644 h 495114"/>
                <a:gd name="csX207" fmla="*/ 1005592 w 1475293"/>
                <a:gd name="csY207" fmla="*/ 85644 h 495114"/>
                <a:gd name="csX208" fmla="*/ 1005592 w 1475293"/>
                <a:gd name="csY208" fmla="*/ 435397 h 495114"/>
                <a:gd name="csX209" fmla="*/ 1010826 w 1475293"/>
                <a:gd name="csY209" fmla="*/ 435397 h 495114"/>
                <a:gd name="csX210" fmla="*/ 1010826 w 1475293"/>
                <a:gd name="csY210" fmla="*/ 460524 h 495114"/>
                <a:gd name="csX211" fmla="*/ 1045456 w 1475293"/>
                <a:gd name="csY211" fmla="*/ 460524 h 495114"/>
                <a:gd name="csX212" fmla="*/ 1045456 w 1475293"/>
                <a:gd name="csY212" fmla="*/ 435397 h 495114"/>
                <a:gd name="csX213" fmla="*/ 1050690 w 1475293"/>
                <a:gd name="csY213" fmla="*/ 435397 h 495114"/>
                <a:gd name="csX214" fmla="*/ 1050690 w 1475293"/>
                <a:gd name="csY214" fmla="*/ 85644 h 495114"/>
                <a:gd name="csX215" fmla="*/ 1041528 w 1475293"/>
                <a:gd name="csY215" fmla="*/ 85644 h 495114"/>
                <a:gd name="csX216" fmla="*/ 1041528 w 1475293"/>
                <a:gd name="csY216" fmla="*/ 49099 h 495114"/>
                <a:gd name="csX217" fmla="*/ 1100221 w 1475293"/>
                <a:gd name="csY217" fmla="*/ 8028 h 495114"/>
                <a:gd name="csX218" fmla="*/ 1100221 w 1475293"/>
                <a:gd name="csY218" fmla="*/ 49099 h 495114"/>
                <a:gd name="csX219" fmla="*/ 1089177 w 1475293"/>
                <a:gd name="csY219" fmla="*/ 49099 h 495114"/>
                <a:gd name="csX220" fmla="*/ 1089177 w 1475293"/>
                <a:gd name="csY220" fmla="*/ 85644 h 495114"/>
                <a:gd name="csX221" fmla="*/ 1080014 w 1475293"/>
                <a:gd name="csY221" fmla="*/ 85644 h 495114"/>
                <a:gd name="csX222" fmla="*/ 1080014 w 1475293"/>
                <a:gd name="csY222" fmla="*/ 435397 h 495114"/>
                <a:gd name="csX223" fmla="*/ 1085249 w 1475293"/>
                <a:gd name="csY223" fmla="*/ 435397 h 495114"/>
                <a:gd name="csX224" fmla="*/ 1085249 w 1475293"/>
                <a:gd name="csY224" fmla="*/ 460524 h 495114"/>
                <a:gd name="csX225" fmla="*/ 1115314 w 1475293"/>
                <a:gd name="csY225" fmla="*/ 460524 h 495114"/>
                <a:gd name="csX226" fmla="*/ 1115314 w 1475293"/>
                <a:gd name="csY226" fmla="*/ 8028 h 495114"/>
                <a:gd name="csX227" fmla="*/ 1141265 w 1475293"/>
                <a:gd name="csY227" fmla="*/ 228653 h 495114"/>
                <a:gd name="csX228" fmla="*/ 1141265 w 1475293"/>
                <a:gd name="csY228" fmla="*/ 243718 h 495114"/>
                <a:gd name="csX229" fmla="*/ 1229376 w 1475293"/>
                <a:gd name="csY229" fmla="*/ 243718 h 495114"/>
                <a:gd name="csX230" fmla="*/ 1229376 w 1475293"/>
                <a:gd name="csY230" fmla="*/ 228653 h 495114"/>
                <a:gd name="csX231" fmla="*/ 1223287 w 1475293"/>
                <a:gd name="csY231" fmla="*/ 224077 h 495114"/>
                <a:gd name="csX232" fmla="*/ 1223287 w 1475293"/>
                <a:gd name="csY232" fmla="*/ 213746 h 495114"/>
                <a:gd name="csX233" fmla="*/ 1215002 w 1475293"/>
                <a:gd name="csY233" fmla="*/ 213746 h 495114"/>
                <a:gd name="csX234" fmla="*/ 1215002 w 1475293"/>
                <a:gd name="csY234" fmla="*/ 224077 h 495114"/>
                <a:gd name="csX235" fmla="*/ 1155639 w 1475293"/>
                <a:gd name="csY235" fmla="*/ 224077 h 495114"/>
                <a:gd name="csX236" fmla="*/ 1155639 w 1475293"/>
                <a:gd name="csY236" fmla="*/ 213746 h 495114"/>
                <a:gd name="csX237" fmla="*/ 1147355 w 1475293"/>
                <a:gd name="csY237" fmla="*/ 213746 h 495114"/>
                <a:gd name="csX238" fmla="*/ 1147355 w 1475293"/>
                <a:gd name="csY238" fmla="*/ 224077 h 495114"/>
                <a:gd name="csX239" fmla="*/ 1229376 w 1475293"/>
                <a:gd name="csY239" fmla="*/ 248289 h 495114"/>
                <a:gd name="csX240" fmla="*/ 1141265 w 1475293"/>
                <a:gd name="csY240" fmla="*/ 248289 h 495114"/>
                <a:gd name="csX241" fmla="*/ 1141265 w 1475293"/>
                <a:gd name="csY241" fmla="*/ 285009 h 495114"/>
                <a:gd name="csX242" fmla="*/ 1229376 w 1475293"/>
                <a:gd name="csY242" fmla="*/ 285009 h 495114"/>
                <a:gd name="csX243" fmla="*/ 1154761 w 1475293"/>
                <a:gd name="csY243" fmla="*/ 293738 h 495114"/>
                <a:gd name="csX244" fmla="*/ 1154761 w 1475293"/>
                <a:gd name="csY244" fmla="*/ 351148 h 495114"/>
                <a:gd name="csX245" fmla="*/ 1185595 w 1475293"/>
                <a:gd name="csY245" fmla="*/ 381981 h 495114"/>
                <a:gd name="csX246" fmla="*/ 1216429 w 1475293"/>
                <a:gd name="csY246" fmla="*/ 351148 h 495114"/>
                <a:gd name="csX247" fmla="*/ 1216429 w 1475293"/>
                <a:gd name="csY247" fmla="*/ 293738 h 495114"/>
                <a:gd name="csX248" fmla="*/ 1144996 w 1475293"/>
                <a:gd name="csY248" fmla="*/ 8028 h 495114"/>
                <a:gd name="csX249" fmla="*/ 1144996 w 1475293"/>
                <a:gd name="csY249" fmla="*/ 164380 h 495114"/>
                <a:gd name="csX250" fmla="*/ 1185595 w 1475293"/>
                <a:gd name="csY250" fmla="*/ 205028 h 495114"/>
                <a:gd name="csX251" fmla="*/ 1226249 w 1475293"/>
                <a:gd name="csY251" fmla="*/ 164380 h 495114"/>
                <a:gd name="csX252" fmla="*/ 1226249 w 1475293"/>
                <a:gd name="csY252" fmla="*/ 8028 h 495114"/>
                <a:gd name="csX253" fmla="*/ 1255327 w 1475293"/>
                <a:gd name="csY253" fmla="*/ 8028 h 495114"/>
                <a:gd name="csX254" fmla="*/ 1255327 w 1475293"/>
                <a:gd name="csY254" fmla="*/ 460524 h 495114"/>
                <a:gd name="csX255" fmla="*/ 1285392 w 1475293"/>
                <a:gd name="csY255" fmla="*/ 460524 h 495114"/>
                <a:gd name="csX256" fmla="*/ 1285392 w 1475293"/>
                <a:gd name="csY256" fmla="*/ 435397 h 495114"/>
                <a:gd name="csX257" fmla="*/ 1290604 w 1475293"/>
                <a:gd name="csY257" fmla="*/ 435397 h 495114"/>
                <a:gd name="csX258" fmla="*/ 1290604 w 1475293"/>
                <a:gd name="csY258" fmla="*/ 85644 h 495114"/>
                <a:gd name="csX259" fmla="*/ 1281443 w 1475293"/>
                <a:gd name="csY259" fmla="*/ 85644 h 495114"/>
                <a:gd name="csX260" fmla="*/ 1281443 w 1475293"/>
                <a:gd name="csY260" fmla="*/ 49099 h 495114"/>
                <a:gd name="csX261" fmla="*/ 1270415 w 1475293"/>
                <a:gd name="csY261" fmla="*/ 49099 h 495114"/>
                <a:gd name="csX262" fmla="*/ 1270415 w 1475293"/>
                <a:gd name="csY262" fmla="*/ 8028 h 495114"/>
                <a:gd name="csX263" fmla="*/ 1329119 w 1475293"/>
                <a:gd name="csY263" fmla="*/ 49099 h 495114"/>
                <a:gd name="csX264" fmla="*/ 1329119 w 1475293"/>
                <a:gd name="csY264" fmla="*/ 85644 h 495114"/>
                <a:gd name="csX265" fmla="*/ 1319957 w 1475293"/>
                <a:gd name="csY265" fmla="*/ 85644 h 495114"/>
                <a:gd name="csX266" fmla="*/ 1319957 w 1475293"/>
                <a:gd name="csY266" fmla="*/ 435397 h 495114"/>
                <a:gd name="csX267" fmla="*/ 1325169 w 1475293"/>
                <a:gd name="csY267" fmla="*/ 435397 h 495114"/>
                <a:gd name="csX268" fmla="*/ 1325169 w 1475293"/>
                <a:gd name="csY268" fmla="*/ 460524 h 495114"/>
                <a:gd name="csX269" fmla="*/ 1359788 w 1475293"/>
                <a:gd name="csY269" fmla="*/ 460524 h 495114"/>
                <a:gd name="csX270" fmla="*/ 1359788 w 1475293"/>
                <a:gd name="csY270" fmla="*/ 435397 h 495114"/>
                <a:gd name="csX271" fmla="*/ 1365055 w 1475293"/>
                <a:gd name="csY271" fmla="*/ 435397 h 495114"/>
                <a:gd name="csX272" fmla="*/ 1365055 w 1475293"/>
                <a:gd name="csY272" fmla="*/ 85644 h 495114"/>
                <a:gd name="csX273" fmla="*/ 1355673 w 1475293"/>
                <a:gd name="csY273" fmla="*/ 85644 h 495114"/>
                <a:gd name="csX274" fmla="*/ 1355673 w 1475293"/>
                <a:gd name="csY274" fmla="*/ 49099 h 495114"/>
                <a:gd name="csX275" fmla="*/ 1422059 w 1475293"/>
                <a:gd name="csY275" fmla="*/ 435397 h 495114"/>
                <a:gd name="csX276" fmla="*/ 1422059 w 1475293"/>
                <a:gd name="csY276" fmla="*/ 85644 h 495114"/>
                <a:gd name="csX277" fmla="*/ 1394353 w 1475293"/>
                <a:gd name="csY277" fmla="*/ 85644 h 495114"/>
                <a:gd name="csX278" fmla="*/ 1394353 w 1475293"/>
                <a:gd name="csY278" fmla="*/ 435397 h 495114"/>
                <a:gd name="csX279" fmla="*/ 1399619 w 1475293"/>
                <a:gd name="csY279" fmla="*/ 435397 h 495114"/>
                <a:gd name="csX280" fmla="*/ 1399619 w 1475293"/>
                <a:gd name="csY280" fmla="*/ 460524 h 495114"/>
                <a:gd name="csX281" fmla="*/ 1416792 w 1475293"/>
                <a:gd name="csY281" fmla="*/ 460524 h 495114"/>
                <a:gd name="csX282" fmla="*/ 1416792 w 1475293"/>
                <a:gd name="csY282" fmla="*/ 435397 h 495114"/>
                <a:gd name="csX283" fmla="*/ 1422059 w 1475293"/>
                <a:gd name="csY283" fmla="*/ 435397 h 49511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 ang="0">
                  <a:pos x="csX97" y="csY97"/>
                </a:cxn>
                <a:cxn ang="0">
                  <a:pos x="csX98" y="csY98"/>
                </a:cxn>
                <a:cxn ang="0">
                  <a:pos x="csX99" y="csY99"/>
                </a:cxn>
                <a:cxn ang="0">
                  <a:pos x="csX100" y="csY100"/>
                </a:cxn>
                <a:cxn ang="0">
                  <a:pos x="csX101" y="csY101"/>
                </a:cxn>
                <a:cxn ang="0">
                  <a:pos x="csX102" y="csY102"/>
                </a:cxn>
                <a:cxn ang="0">
                  <a:pos x="csX103" y="csY103"/>
                </a:cxn>
                <a:cxn ang="0">
                  <a:pos x="csX104" y="csY104"/>
                </a:cxn>
                <a:cxn ang="0">
                  <a:pos x="csX105" y="csY105"/>
                </a:cxn>
                <a:cxn ang="0">
                  <a:pos x="csX106" y="csY106"/>
                </a:cxn>
                <a:cxn ang="0">
                  <a:pos x="csX107" y="csY107"/>
                </a:cxn>
                <a:cxn ang="0">
                  <a:pos x="csX108" y="csY108"/>
                </a:cxn>
                <a:cxn ang="0">
                  <a:pos x="csX109" y="csY109"/>
                </a:cxn>
                <a:cxn ang="0">
                  <a:pos x="csX110" y="csY110"/>
                </a:cxn>
                <a:cxn ang="0">
                  <a:pos x="csX111" y="csY111"/>
                </a:cxn>
                <a:cxn ang="0">
                  <a:pos x="csX112" y="csY112"/>
                </a:cxn>
                <a:cxn ang="0">
                  <a:pos x="csX113" y="csY113"/>
                </a:cxn>
                <a:cxn ang="0">
                  <a:pos x="csX114" y="csY114"/>
                </a:cxn>
                <a:cxn ang="0">
                  <a:pos x="csX115" y="csY115"/>
                </a:cxn>
                <a:cxn ang="0">
                  <a:pos x="csX116" y="csY116"/>
                </a:cxn>
                <a:cxn ang="0">
                  <a:pos x="csX117" y="csY117"/>
                </a:cxn>
                <a:cxn ang="0">
                  <a:pos x="csX118" y="csY118"/>
                </a:cxn>
                <a:cxn ang="0">
                  <a:pos x="csX119" y="csY119"/>
                </a:cxn>
                <a:cxn ang="0">
                  <a:pos x="csX120" y="csY120"/>
                </a:cxn>
                <a:cxn ang="0">
                  <a:pos x="csX121" y="csY121"/>
                </a:cxn>
                <a:cxn ang="0">
                  <a:pos x="csX122" y="csY122"/>
                </a:cxn>
                <a:cxn ang="0">
                  <a:pos x="csX123" y="csY123"/>
                </a:cxn>
                <a:cxn ang="0">
                  <a:pos x="csX124" y="csY124"/>
                </a:cxn>
                <a:cxn ang="0">
                  <a:pos x="csX125" y="csY125"/>
                </a:cxn>
                <a:cxn ang="0">
                  <a:pos x="csX126" y="csY126"/>
                </a:cxn>
                <a:cxn ang="0">
                  <a:pos x="csX127" y="csY127"/>
                </a:cxn>
                <a:cxn ang="0">
                  <a:pos x="csX128" y="csY128"/>
                </a:cxn>
                <a:cxn ang="0">
                  <a:pos x="csX129" y="csY129"/>
                </a:cxn>
                <a:cxn ang="0">
                  <a:pos x="csX130" y="csY130"/>
                </a:cxn>
                <a:cxn ang="0">
                  <a:pos x="csX131" y="csY131"/>
                </a:cxn>
                <a:cxn ang="0">
                  <a:pos x="csX132" y="csY132"/>
                </a:cxn>
                <a:cxn ang="0">
                  <a:pos x="csX133" y="csY133"/>
                </a:cxn>
                <a:cxn ang="0">
                  <a:pos x="csX134" y="csY134"/>
                </a:cxn>
                <a:cxn ang="0">
                  <a:pos x="csX135" y="csY135"/>
                </a:cxn>
                <a:cxn ang="0">
                  <a:pos x="csX136" y="csY136"/>
                </a:cxn>
                <a:cxn ang="0">
                  <a:pos x="csX137" y="csY137"/>
                </a:cxn>
                <a:cxn ang="0">
                  <a:pos x="csX138" y="csY138"/>
                </a:cxn>
                <a:cxn ang="0">
                  <a:pos x="csX139" y="csY139"/>
                </a:cxn>
                <a:cxn ang="0">
                  <a:pos x="csX140" y="csY140"/>
                </a:cxn>
                <a:cxn ang="0">
                  <a:pos x="csX141" y="csY141"/>
                </a:cxn>
                <a:cxn ang="0">
                  <a:pos x="csX142" y="csY142"/>
                </a:cxn>
                <a:cxn ang="0">
                  <a:pos x="csX143" y="csY143"/>
                </a:cxn>
                <a:cxn ang="0">
                  <a:pos x="csX144" y="csY144"/>
                </a:cxn>
                <a:cxn ang="0">
                  <a:pos x="csX145" y="csY145"/>
                </a:cxn>
                <a:cxn ang="0">
                  <a:pos x="csX146" y="csY146"/>
                </a:cxn>
                <a:cxn ang="0">
                  <a:pos x="csX147" y="csY147"/>
                </a:cxn>
                <a:cxn ang="0">
                  <a:pos x="csX148" y="csY148"/>
                </a:cxn>
                <a:cxn ang="0">
                  <a:pos x="csX149" y="csY149"/>
                </a:cxn>
                <a:cxn ang="0">
                  <a:pos x="csX150" y="csY150"/>
                </a:cxn>
                <a:cxn ang="0">
                  <a:pos x="csX151" y="csY151"/>
                </a:cxn>
                <a:cxn ang="0">
                  <a:pos x="csX152" y="csY152"/>
                </a:cxn>
                <a:cxn ang="0">
                  <a:pos x="csX153" y="csY153"/>
                </a:cxn>
                <a:cxn ang="0">
                  <a:pos x="csX154" y="csY154"/>
                </a:cxn>
                <a:cxn ang="0">
                  <a:pos x="csX155" y="csY155"/>
                </a:cxn>
                <a:cxn ang="0">
                  <a:pos x="csX156" y="csY156"/>
                </a:cxn>
                <a:cxn ang="0">
                  <a:pos x="csX157" y="csY157"/>
                </a:cxn>
                <a:cxn ang="0">
                  <a:pos x="csX158" y="csY158"/>
                </a:cxn>
                <a:cxn ang="0">
                  <a:pos x="csX159" y="csY159"/>
                </a:cxn>
                <a:cxn ang="0">
                  <a:pos x="csX160" y="csY160"/>
                </a:cxn>
                <a:cxn ang="0">
                  <a:pos x="csX161" y="csY161"/>
                </a:cxn>
                <a:cxn ang="0">
                  <a:pos x="csX162" y="csY162"/>
                </a:cxn>
                <a:cxn ang="0">
                  <a:pos x="csX163" y="csY163"/>
                </a:cxn>
                <a:cxn ang="0">
                  <a:pos x="csX164" y="csY164"/>
                </a:cxn>
                <a:cxn ang="0">
                  <a:pos x="csX165" y="csY165"/>
                </a:cxn>
                <a:cxn ang="0">
                  <a:pos x="csX166" y="csY166"/>
                </a:cxn>
                <a:cxn ang="0">
                  <a:pos x="csX167" y="csY167"/>
                </a:cxn>
                <a:cxn ang="0">
                  <a:pos x="csX168" y="csY168"/>
                </a:cxn>
                <a:cxn ang="0">
                  <a:pos x="csX169" y="csY169"/>
                </a:cxn>
                <a:cxn ang="0">
                  <a:pos x="csX170" y="csY170"/>
                </a:cxn>
                <a:cxn ang="0">
                  <a:pos x="csX171" y="csY171"/>
                </a:cxn>
                <a:cxn ang="0">
                  <a:pos x="csX172" y="csY172"/>
                </a:cxn>
                <a:cxn ang="0">
                  <a:pos x="csX173" y="csY173"/>
                </a:cxn>
                <a:cxn ang="0">
                  <a:pos x="csX174" y="csY174"/>
                </a:cxn>
                <a:cxn ang="0">
                  <a:pos x="csX175" y="csY175"/>
                </a:cxn>
                <a:cxn ang="0">
                  <a:pos x="csX176" y="csY176"/>
                </a:cxn>
                <a:cxn ang="0">
                  <a:pos x="csX177" y="csY177"/>
                </a:cxn>
                <a:cxn ang="0">
                  <a:pos x="csX178" y="csY178"/>
                </a:cxn>
                <a:cxn ang="0">
                  <a:pos x="csX179" y="csY179"/>
                </a:cxn>
                <a:cxn ang="0">
                  <a:pos x="csX180" y="csY180"/>
                </a:cxn>
                <a:cxn ang="0">
                  <a:pos x="csX181" y="csY181"/>
                </a:cxn>
                <a:cxn ang="0">
                  <a:pos x="csX182" y="csY182"/>
                </a:cxn>
                <a:cxn ang="0">
                  <a:pos x="csX183" y="csY183"/>
                </a:cxn>
                <a:cxn ang="0">
                  <a:pos x="csX184" y="csY184"/>
                </a:cxn>
                <a:cxn ang="0">
                  <a:pos x="csX185" y="csY185"/>
                </a:cxn>
                <a:cxn ang="0">
                  <a:pos x="csX186" y="csY186"/>
                </a:cxn>
                <a:cxn ang="0">
                  <a:pos x="csX187" y="csY187"/>
                </a:cxn>
                <a:cxn ang="0">
                  <a:pos x="csX188" y="csY188"/>
                </a:cxn>
                <a:cxn ang="0">
                  <a:pos x="csX189" y="csY189"/>
                </a:cxn>
                <a:cxn ang="0">
                  <a:pos x="csX190" y="csY190"/>
                </a:cxn>
                <a:cxn ang="0">
                  <a:pos x="csX191" y="csY191"/>
                </a:cxn>
                <a:cxn ang="0">
                  <a:pos x="csX192" y="csY192"/>
                </a:cxn>
                <a:cxn ang="0">
                  <a:pos x="csX193" y="csY193"/>
                </a:cxn>
                <a:cxn ang="0">
                  <a:pos x="csX194" y="csY194"/>
                </a:cxn>
                <a:cxn ang="0">
                  <a:pos x="csX195" y="csY195"/>
                </a:cxn>
                <a:cxn ang="0">
                  <a:pos x="csX196" y="csY196"/>
                </a:cxn>
                <a:cxn ang="0">
                  <a:pos x="csX197" y="csY197"/>
                </a:cxn>
                <a:cxn ang="0">
                  <a:pos x="csX198" y="csY198"/>
                </a:cxn>
                <a:cxn ang="0">
                  <a:pos x="csX199" y="csY199"/>
                </a:cxn>
                <a:cxn ang="0">
                  <a:pos x="csX200" y="csY200"/>
                </a:cxn>
                <a:cxn ang="0">
                  <a:pos x="csX201" y="csY201"/>
                </a:cxn>
                <a:cxn ang="0">
                  <a:pos x="csX202" y="csY202"/>
                </a:cxn>
                <a:cxn ang="0">
                  <a:pos x="csX203" y="csY203"/>
                </a:cxn>
                <a:cxn ang="0">
                  <a:pos x="csX204" y="csY204"/>
                </a:cxn>
                <a:cxn ang="0">
                  <a:pos x="csX205" y="csY205"/>
                </a:cxn>
                <a:cxn ang="0">
                  <a:pos x="csX206" y="csY206"/>
                </a:cxn>
                <a:cxn ang="0">
                  <a:pos x="csX207" y="csY207"/>
                </a:cxn>
                <a:cxn ang="0">
                  <a:pos x="csX208" y="csY208"/>
                </a:cxn>
                <a:cxn ang="0">
                  <a:pos x="csX209" y="csY209"/>
                </a:cxn>
                <a:cxn ang="0">
                  <a:pos x="csX210" y="csY210"/>
                </a:cxn>
                <a:cxn ang="0">
                  <a:pos x="csX211" y="csY211"/>
                </a:cxn>
                <a:cxn ang="0">
                  <a:pos x="csX212" y="csY212"/>
                </a:cxn>
                <a:cxn ang="0">
                  <a:pos x="csX213" y="csY213"/>
                </a:cxn>
                <a:cxn ang="0">
                  <a:pos x="csX214" y="csY214"/>
                </a:cxn>
                <a:cxn ang="0">
                  <a:pos x="csX215" y="csY215"/>
                </a:cxn>
                <a:cxn ang="0">
                  <a:pos x="csX216" y="csY216"/>
                </a:cxn>
                <a:cxn ang="0">
                  <a:pos x="csX217" y="csY217"/>
                </a:cxn>
                <a:cxn ang="0">
                  <a:pos x="csX218" y="csY218"/>
                </a:cxn>
                <a:cxn ang="0">
                  <a:pos x="csX219" y="csY219"/>
                </a:cxn>
                <a:cxn ang="0">
                  <a:pos x="csX220" y="csY220"/>
                </a:cxn>
                <a:cxn ang="0">
                  <a:pos x="csX221" y="csY221"/>
                </a:cxn>
                <a:cxn ang="0">
                  <a:pos x="csX222" y="csY222"/>
                </a:cxn>
                <a:cxn ang="0">
                  <a:pos x="csX223" y="csY223"/>
                </a:cxn>
                <a:cxn ang="0">
                  <a:pos x="csX224" y="csY224"/>
                </a:cxn>
                <a:cxn ang="0">
                  <a:pos x="csX225" y="csY225"/>
                </a:cxn>
                <a:cxn ang="0">
                  <a:pos x="csX226" y="csY226"/>
                </a:cxn>
                <a:cxn ang="0">
                  <a:pos x="csX227" y="csY227"/>
                </a:cxn>
                <a:cxn ang="0">
                  <a:pos x="csX228" y="csY228"/>
                </a:cxn>
                <a:cxn ang="0">
                  <a:pos x="csX229" y="csY229"/>
                </a:cxn>
                <a:cxn ang="0">
                  <a:pos x="csX230" y="csY230"/>
                </a:cxn>
                <a:cxn ang="0">
                  <a:pos x="csX231" y="csY231"/>
                </a:cxn>
                <a:cxn ang="0">
                  <a:pos x="csX232" y="csY232"/>
                </a:cxn>
                <a:cxn ang="0">
                  <a:pos x="csX233" y="csY233"/>
                </a:cxn>
                <a:cxn ang="0">
                  <a:pos x="csX234" y="csY234"/>
                </a:cxn>
                <a:cxn ang="0">
                  <a:pos x="csX235" y="csY235"/>
                </a:cxn>
                <a:cxn ang="0">
                  <a:pos x="csX236" y="csY236"/>
                </a:cxn>
                <a:cxn ang="0">
                  <a:pos x="csX237" y="csY237"/>
                </a:cxn>
                <a:cxn ang="0">
                  <a:pos x="csX238" y="csY238"/>
                </a:cxn>
                <a:cxn ang="0">
                  <a:pos x="csX239" y="csY239"/>
                </a:cxn>
                <a:cxn ang="0">
                  <a:pos x="csX240" y="csY240"/>
                </a:cxn>
                <a:cxn ang="0">
                  <a:pos x="csX241" y="csY241"/>
                </a:cxn>
                <a:cxn ang="0">
                  <a:pos x="csX242" y="csY242"/>
                </a:cxn>
                <a:cxn ang="0">
                  <a:pos x="csX243" y="csY243"/>
                </a:cxn>
                <a:cxn ang="0">
                  <a:pos x="csX244" y="csY244"/>
                </a:cxn>
                <a:cxn ang="0">
                  <a:pos x="csX245" y="csY245"/>
                </a:cxn>
                <a:cxn ang="0">
                  <a:pos x="csX246" y="csY246"/>
                </a:cxn>
                <a:cxn ang="0">
                  <a:pos x="csX247" y="csY247"/>
                </a:cxn>
                <a:cxn ang="0">
                  <a:pos x="csX248" y="csY248"/>
                </a:cxn>
                <a:cxn ang="0">
                  <a:pos x="csX249" y="csY249"/>
                </a:cxn>
                <a:cxn ang="0">
                  <a:pos x="csX250" y="csY250"/>
                </a:cxn>
                <a:cxn ang="0">
                  <a:pos x="csX251" y="csY251"/>
                </a:cxn>
                <a:cxn ang="0">
                  <a:pos x="csX252" y="csY252"/>
                </a:cxn>
                <a:cxn ang="0">
                  <a:pos x="csX253" y="csY253"/>
                </a:cxn>
                <a:cxn ang="0">
                  <a:pos x="csX254" y="csY254"/>
                </a:cxn>
                <a:cxn ang="0">
                  <a:pos x="csX255" y="csY255"/>
                </a:cxn>
                <a:cxn ang="0">
                  <a:pos x="csX256" y="csY256"/>
                </a:cxn>
                <a:cxn ang="0">
                  <a:pos x="csX257" y="csY257"/>
                </a:cxn>
                <a:cxn ang="0">
                  <a:pos x="csX258" y="csY258"/>
                </a:cxn>
                <a:cxn ang="0">
                  <a:pos x="csX259" y="csY259"/>
                </a:cxn>
                <a:cxn ang="0">
                  <a:pos x="csX260" y="csY260"/>
                </a:cxn>
                <a:cxn ang="0">
                  <a:pos x="csX261" y="csY261"/>
                </a:cxn>
                <a:cxn ang="0">
                  <a:pos x="csX262" y="csY262"/>
                </a:cxn>
                <a:cxn ang="0">
                  <a:pos x="csX263" y="csY263"/>
                </a:cxn>
                <a:cxn ang="0">
                  <a:pos x="csX264" y="csY264"/>
                </a:cxn>
                <a:cxn ang="0">
                  <a:pos x="csX265" y="csY265"/>
                </a:cxn>
                <a:cxn ang="0">
                  <a:pos x="csX266" y="csY266"/>
                </a:cxn>
                <a:cxn ang="0">
                  <a:pos x="csX267" y="csY267"/>
                </a:cxn>
                <a:cxn ang="0">
                  <a:pos x="csX268" y="csY268"/>
                </a:cxn>
                <a:cxn ang="0">
                  <a:pos x="csX269" y="csY269"/>
                </a:cxn>
                <a:cxn ang="0">
                  <a:pos x="csX270" y="csY270"/>
                </a:cxn>
                <a:cxn ang="0">
                  <a:pos x="csX271" y="csY271"/>
                </a:cxn>
                <a:cxn ang="0">
                  <a:pos x="csX272" y="csY272"/>
                </a:cxn>
                <a:cxn ang="0">
                  <a:pos x="csX273" y="csY273"/>
                </a:cxn>
                <a:cxn ang="0">
                  <a:pos x="csX274" y="csY274"/>
                </a:cxn>
                <a:cxn ang="0">
                  <a:pos x="csX275" y="csY275"/>
                </a:cxn>
                <a:cxn ang="0">
                  <a:pos x="csX276" y="csY276"/>
                </a:cxn>
                <a:cxn ang="0">
                  <a:pos x="csX277" y="csY277"/>
                </a:cxn>
                <a:cxn ang="0">
                  <a:pos x="csX278" y="csY278"/>
                </a:cxn>
                <a:cxn ang="0">
                  <a:pos x="csX279" y="csY279"/>
                </a:cxn>
                <a:cxn ang="0">
                  <a:pos x="csX280" y="csY280"/>
                </a:cxn>
                <a:cxn ang="0">
                  <a:pos x="csX281" y="csY281"/>
                </a:cxn>
                <a:cxn ang="0">
                  <a:pos x="csX282" y="csY282"/>
                </a:cxn>
                <a:cxn ang="0">
                  <a:pos x="csX283" y="csY283"/>
                </a:cxn>
              </a:cxnLst>
              <a:rect l="l" t="t" r="r" b="b"/>
              <a:pathLst>
                <a:path w="1475293" h="495114">
                  <a:moveTo>
                    <a:pt x="902250" y="490530"/>
                  </a:moveTo>
                  <a:lnTo>
                    <a:pt x="902250" y="460524"/>
                  </a:lnTo>
                  <a:lnTo>
                    <a:pt x="914040" y="460524"/>
                  </a:lnTo>
                  <a:lnTo>
                    <a:pt x="914040" y="435397"/>
                  </a:lnTo>
                  <a:lnTo>
                    <a:pt x="919280" y="435397"/>
                  </a:lnTo>
                  <a:lnTo>
                    <a:pt x="919280" y="85644"/>
                  </a:lnTo>
                  <a:lnTo>
                    <a:pt x="910117" y="85644"/>
                  </a:lnTo>
                  <a:lnTo>
                    <a:pt x="910117" y="49099"/>
                  </a:lnTo>
                  <a:lnTo>
                    <a:pt x="902250" y="49099"/>
                  </a:lnTo>
                  <a:lnTo>
                    <a:pt x="902250" y="384867"/>
                  </a:lnTo>
                  <a:lnTo>
                    <a:pt x="-6325" y="384867"/>
                  </a:lnTo>
                  <a:lnTo>
                    <a:pt x="-6325" y="-4585"/>
                  </a:lnTo>
                  <a:lnTo>
                    <a:pt x="902250" y="-4585"/>
                  </a:lnTo>
                  <a:lnTo>
                    <a:pt x="1085249" y="-4585"/>
                  </a:lnTo>
                  <a:lnTo>
                    <a:pt x="1100221" y="-4585"/>
                  </a:lnTo>
                  <a:lnTo>
                    <a:pt x="1115314" y="-4585"/>
                  </a:lnTo>
                  <a:lnTo>
                    <a:pt x="1144996" y="-4585"/>
                  </a:lnTo>
                  <a:lnTo>
                    <a:pt x="1226249" y="-4585"/>
                  </a:lnTo>
                  <a:lnTo>
                    <a:pt x="1255327" y="-4585"/>
                  </a:lnTo>
                  <a:lnTo>
                    <a:pt x="1270415" y="-4585"/>
                  </a:lnTo>
                  <a:lnTo>
                    <a:pt x="1329119" y="-4585"/>
                  </a:lnTo>
                  <a:lnTo>
                    <a:pt x="1468364" y="-4585"/>
                  </a:lnTo>
                  <a:lnTo>
                    <a:pt x="1468364" y="49099"/>
                  </a:lnTo>
                  <a:lnTo>
                    <a:pt x="1460518" y="49099"/>
                  </a:lnTo>
                  <a:lnTo>
                    <a:pt x="1460518" y="85644"/>
                  </a:lnTo>
                  <a:lnTo>
                    <a:pt x="1451356" y="85644"/>
                  </a:lnTo>
                  <a:lnTo>
                    <a:pt x="1451356" y="435397"/>
                  </a:lnTo>
                  <a:lnTo>
                    <a:pt x="1456623" y="435397"/>
                  </a:lnTo>
                  <a:lnTo>
                    <a:pt x="1456623" y="460524"/>
                  </a:lnTo>
                  <a:lnTo>
                    <a:pt x="1468968" y="460524"/>
                  </a:lnTo>
                  <a:lnTo>
                    <a:pt x="1468968" y="490530"/>
                  </a:lnTo>
                  <a:close/>
                  <a:moveTo>
                    <a:pt x="806073" y="310482"/>
                  </a:moveTo>
                  <a:lnTo>
                    <a:pt x="830839" y="310482"/>
                  </a:lnTo>
                  <a:lnTo>
                    <a:pt x="830839" y="276258"/>
                  </a:lnTo>
                  <a:lnTo>
                    <a:pt x="806073" y="276258"/>
                  </a:lnTo>
                  <a:close/>
                  <a:moveTo>
                    <a:pt x="833121" y="310482"/>
                  </a:moveTo>
                  <a:lnTo>
                    <a:pt x="857887" y="310482"/>
                  </a:lnTo>
                  <a:lnTo>
                    <a:pt x="857887" y="276258"/>
                  </a:lnTo>
                  <a:lnTo>
                    <a:pt x="833121" y="276258"/>
                  </a:lnTo>
                  <a:close/>
                  <a:moveTo>
                    <a:pt x="857887" y="346989"/>
                  </a:moveTo>
                  <a:lnTo>
                    <a:pt x="857887" y="312765"/>
                  </a:lnTo>
                  <a:lnTo>
                    <a:pt x="833121" y="312765"/>
                  </a:lnTo>
                  <a:lnTo>
                    <a:pt x="833121" y="346989"/>
                  </a:lnTo>
                  <a:close/>
                  <a:moveTo>
                    <a:pt x="806073" y="346989"/>
                  </a:moveTo>
                  <a:lnTo>
                    <a:pt x="830839" y="346989"/>
                  </a:lnTo>
                  <a:lnTo>
                    <a:pt x="830839" y="312765"/>
                  </a:lnTo>
                  <a:lnTo>
                    <a:pt x="806073" y="312765"/>
                  </a:lnTo>
                  <a:close/>
                  <a:moveTo>
                    <a:pt x="803456" y="154691"/>
                  </a:moveTo>
                  <a:cubicBezTo>
                    <a:pt x="803456" y="170448"/>
                    <a:pt x="816228" y="183209"/>
                    <a:pt x="831980" y="183209"/>
                  </a:cubicBezTo>
                  <a:cubicBezTo>
                    <a:pt x="847731" y="183209"/>
                    <a:pt x="860498" y="170448"/>
                    <a:pt x="860498" y="154691"/>
                  </a:cubicBezTo>
                  <a:lnTo>
                    <a:pt x="860498" y="147459"/>
                  </a:lnTo>
                  <a:lnTo>
                    <a:pt x="803456" y="147459"/>
                  </a:lnTo>
                  <a:close/>
                  <a:moveTo>
                    <a:pt x="614055" y="310482"/>
                  </a:moveTo>
                  <a:lnTo>
                    <a:pt x="638820" y="310482"/>
                  </a:lnTo>
                  <a:lnTo>
                    <a:pt x="638820" y="276258"/>
                  </a:lnTo>
                  <a:lnTo>
                    <a:pt x="614055" y="276258"/>
                  </a:lnTo>
                  <a:close/>
                  <a:moveTo>
                    <a:pt x="641102" y="310482"/>
                  </a:moveTo>
                  <a:lnTo>
                    <a:pt x="665868" y="310482"/>
                  </a:lnTo>
                  <a:lnTo>
                    <a:pt x="665868" y="276258"/>
                  </a:lnTo>
                  <a:lnTo>
                    <a:pt x="641102" y="276258"/>
                  </a:lnTo>
                  <a:close/>
                  <a:moveTo>
                    <a:pt x="665868" y="346989"/>
                  </a:moveTo>
                  <a:lnTo>
                    <a:pt x="665868" y="312765"/>
                  </a:lnTo>
                  <a:lnTo>
                    <a:pt x="641102" y="312765"/>
                  </a:lnTo>
                  <a:lnTo>
                    <a:pt x="641102" y="346989"/>
                  </a:lnTo>
                  <a:close/>
                  <a:moveTo>
                    <a:pt x="614055" y="346989"/>
                  </a:moveTo>
                  <a:lnTo>
                    <a:pt x="638820" y="346989"/>
                  </a:lnTo>
                  <a:lnTo>
                    <a:pt x="638820" y="312765"/>
                  </a:lnTo>
                  <a:lnTo>
                    <a:pt x="614055" y="312765"/>
                  </a:lnTo>
                  <a:close/>
                  <a:moveTo>
                    <a:pt x="611443" y="154691"/>
                  </a:moveTo>
                  <a:cubicBezTo>
                    <a:pt x="611443" y="170448"/>
                    <a:pt x="624210" y="183209"/>
                    <a:pt x="639961" y="183209"/>
                  </a:cubicBezTo>
                  <a:cubicBezTo>
                    <a:pt x="655713" y="183209"/>
                    <a:pt x="668480" y="170448"/>
                    <a:pt x="668480" y="154691"/>
                  </a:cubicBezTo>
                  <a:lnTo>
                    <a:pt x="668480" y="147459"/>
                  </a:lnTo>
                  <a:lnTo>
                    <a:pt x="611443" y="147459"/>
                  </a:lnTo>
                  <a:close/>
                  <a:moveTo>
                    <a:pt x="229941" y="310482"/>
                  </a:moveTo>
                  <a:lnTo>
                    <a:pt x="254707" y="310482"/>
                  </a:lnTo>
                  <a:lnTo>
                    <a:pt x="254707" y="276258"/>
                  </a:lnTo>
                  <a:lnTo>
                    <a:pt x="229941" y="276258"/>
                  </a:lnTo>
                  <a:close/>
                  <a:moveTo>
                    <a:pt x="256994" y="310482"/>
                  </a:moveTo>
                  <a:lnTo>
                    <a:pt x="281760" y="310482"/>
                  </a:lnTo>
                  <a:lnTo>
                    <a:pt x="281760" y="276258"/>
                  </a:lnTo>
                  <a:lnTo>
                    <a:pt x="256994" y="276258"/>
                  </a:lnTo>
                  <a:close/>
                  <a:moveTo>
                    <a:pt x="281760" y="346989"/>
                  </a:moveTo>
                  <a:lnTo>
                    <a:pt x="281760" y="312765"/>
                  </a:lnTo>
                  <a:lnTo>
                    <a:pt x="256994" y="312765"/>
                  </a:lnTo>
                  <a:lnTo>
                    <a:pt x="256994" y="346989"/>
                  </a:lnTo>
                  <a:close/>
                  <a:moveTo>
                    <a:pt x="229941" y="346989"/>
                  </a:moveTo>
                  <a:lnTo>
                    <a:pt x="254707" y="346989"/>
                  </a:lnTo>
                  <a:lnTo>
                    <a:pt x="254707" y="312765"/>
                  </a:lnTo>
                  <a:lnTo>
                    <a:pt x="229941" y="312765"/>
                  </a:lnTo>
                  <a:close/>
                  <a:moveTo>
                    <a:pt x="227406" y="154691"/>
                  </a:moveTo>
                  <a:cubicBezTo>
                    <a:pt x="227406" y="170448"/>
                    <a:pt x="240173" y="183209"/>
                    <a:pt x="255924" y="183209"/>
                  </a:cubicBezTo>
                  <a:cubicBezTo>
                    <a:pt x="271676" y="183209"/>
                    <a:pt x="284442" y="170448"/>
                    <a:pt x="284442" y="154691"/>
                  </a:cubicBezTo>
                  <a:lnTo>
                    <a:pt x="284442" y="147459"/>
                  </a:lnTo>
                  <a:lnTo>
                    <a:pt x="227406" y="147459"/>
                  </a:lnTo>
                  <a:close/>
                  <a:moveTo>
                    <a:pt x="66194" y="310482"/>
                  </a:moveTo>
                  <a:lnTo>
                    <a:pt x="89741" y="310482"/>
                  </a:lnTo>
                  <a:lnTo>
                    <a:pt x="89741" y="276258"/>
                  </a:lnTo>
                  <a:lnTo>
                    <a:pt x="66194" y="276258"/>
                  </a:lnTo>
                  <a:close/>
                  <a:moveTo>
                    <a:pt x="89741" y="346989"/>
                  </a:moveTo>
                  <a:lnTo>
                    <a:pt x="89741" y="312765"/>
                  </a:lnTo>
                  <a:lnTo>
                    <a:pt x="66194" y="312765"/>
                  </a:lnTo>
                  <a:lnTo>
                    <a:pt x="66194" y="346989"/>
                  </a:lnTo>
                  <a:close/>
                  <a:moveTo>
                    <a:pt x="37928" y="346989"/>
                  </a:moveTo>
                  <a:lnTo>
                    <a:pt x="63906" y="346989"/>
                  </a:lnTo>
                  <a:lnTo>
                    <a:pt x="63906" y="312765"/>
                  </a:lnTo>
                  <a:lnTo>
                    <a:pt x="39140" y="312765"/>
                  </a:lnTo>
                  <a:cubicBezTo>
                    <a:pt x="38509" y="312765"/>
                    <a:pt x="37999" y="312254"/>
                    <a:pt x="37999" y="311624"/>
                  </a:cubicBezTo>
                  <a:cubicBezTo>
                    <a:pt x="37999" y="310993"/>
                    <a:pt x="38509" y="310482"/>
                    <a:pt x="39140" y="310482"/>
                  </a:cubicBezTo>
                  <a:lnTo>
                    <a:pt x="63906" y="310482"/>
                  </a:lnTo>
                  <a:lnTo>
                    <a:pt x="63906" y="276258"/>
                  </a:lnTo>
                  <a:lnTo>
                    <a:pt x="37928" y="276258"/>
                  </a:lnTo>
                  <a:close/>
                  <a:moveTo>
                    <a:pt x="35387" y="154691"/>
                  </a:moveTo>
                  <a:cubicBezTo>
                    <a:pt x="35387" y="170448"/>
                    <a:pt x="48154" y="183209"/>
                    <a:pt x="63906" y="183209"/>
                  </a:cubicBezTo>
                  <a:cubicBezTo>
                    <a:pt x="79657" y="183209"/>
                    <a:pt x="92430" y="170448"/>
                    <a:pt x="92430" y="154691"/>
                  </a:cubicBezTo>
                  <a:lnTo>
                    <a:pt x="92430" y="147459"/>
                  </a:lnTo>
                  <a:lnTo>
                    <a:pt x="35387" y="147459"/>
                  </a:lnTo>
                  <a:close/>
                  <a:moveTo>
                    <a:pt x="33357" y="276258"/>
                  </a:moveTo>
                  <a:lnTo>
                    <a:pt x="7445" y="276258"/>
                  </a:lnTo>
                  <a:lnTo>
                    <a:pt x="7445" y="346989"/>
                  </a:lnTo>
                  <a:lnTo>
                    <a:pt x="33357" y="346989"/>
                  </a:lnTo>
                  <a:close/>
                  <a:moveTo>
                    <a:pt x="35387" y="73207"/>
                  </a:moveTo>
                  <a:lnTo>
                    <a:pt x="35387" y="145177"/>
                  </a:lnTo>
                  <a:lnTo>
                    <a:pt x="62765" y="145177"/>
                  </a:lnTo>
                  <a:lnTo>
                    <a:pt x="62765" y="73207"/>
                  </a:lnTo>
                  <a:close/>
                  <a:moveTo>
                    <a:pt x="92430" y="73207"/>
                  </a:moveTo>
                  <a:lnTo>
                    <a:pt x="65052" y="73207"/>
                  </a:lnTo>
                  <a:lnTo>
                    <a:pt x="65052" y="145177"/>
                  </a:lnTo>
                  <a:lnTo>
                    <a:pt x="92430" y="145177"/>
                  </a:lnTo>
                  <a:close/>
                  <a:moveTo>
                    <a:pt x="120224" y="276258"/>
                  </a:moveTo>
                  <a:lnTo>
                    <a:pt x="94311" y="276258"/>
                  </a:lnTo>
                  <a:lnTo>
                    <a:pt x="94311" y="346989"/>
                  </a:lnTo>
                  <a:lnTo>
                    <a:pt x="120224" y="346989"/>
                  </a:lnTo>
                  <a:close/>
                  <a:moveTo>
                    <a:pt x="225370" y="276258"/>
                  </a:moveTo>
                  <a:lnTo>
                    <a:pt x="199464" y="276258"/>
                  </a:lnTo>
                  <a:lnTo>
                    <a:pt x="199464" y="346989"/>
                  </a:lnTo>
                  <a:lnTo>
                    <a:pt x="225370" y="346989"/>
                  </a:lnTo>
                  <a:close/>
                  <a:moveTo>
                    <a:pt x="227406" y="73207"/>
                  </a:moveTo>
                  <a:lnTo>
                    <a:pt x="227406" y="145177"/>
                  </a:lnTo>
                  <a:lnTo>
                    <a:pt x="254783" y="145177"/>
                  </a:lnTo>
                  <a:lnTo>
                    <a:pt x="254783" y="73207"/>
                  </a:lnTo>
                  <a:close/>
                  <a:moveTo>
                    <a:pt x="284442" y="73207"/>
                  </a:moveTo>
                  <a:lnTo>
                    <a:pt x="257071" y="73207"/>
                  </a:lnTo>
                  <a:lnTo>
                    <a:pt x="257071" y="145177"/>
                  </a:lnTo>
                  <a:lnTo>
                    <a:pt x="284442" y="145177"/>
                  </a:lnTo>
                  <a:close/>
                  <a:moveTo>
                    <a:pt x="312237" y="276258"/>
                  </a:moveTo>
                  <a:lnTo>
                    <a:pt x="286335" y="276258"/>
                  </a:lnTo>
                  <a:lnTo>
                    <a:pt x="286335" y="346989"/>
                  </a:lnTo>
                  <a:lnTo>
                    <a:pt x="312237" y="346989"/>
                  </a:lnTo>
                  <a:close/>
                  <a:moveTo>
                    <a:pt x="476461" y="147459"/>
                  </a:moveTo>
                  <a:lnTo>
                    <a:pt x="419425" y="147459"/>
                  </a:lnTo>
                  <a:lnTo>
                    <a:pt x="419425" y="154691"/>
                  </a:lnTo>
                  <a:cubicBezTo>
                    <a:pt x="419425" y="170448"/>
                    <a:pt x="432192" y="183209"/>
                    <a:pt x="447943" y="183209"/>
                  </a:cubicBezTo>
                  <a:cubicBezTo>
                    <a:pt x="463695" y="183209"/>
                    <a:pt x="476461" y="170448"/>
                    <a:pt x="476461" y="154691"/>
                  </a:cubicBezTo>
                  <a:close/>
                  <a:moveTo>
                    <a:pt x="419425" y="73207"/>
                  </a:moveTo>
                  <a:lnTo>
                    <a:pt x="419425" y="145177"/>
                  </a:lnTo>
                  <a:lnTo>
                    <a:pt x="446802" y="145177"/>
                  </a:lnTo>
                  <a:lnTo>
                    <a:pt x="446802" y="73207"/>
                  </a:lnTo>
                  <a:close/>
                  <a:moveTo>
                    <a:pt x="476461" y="73207"/>
                  </a:moveTo>
                  <a:lnTo>
                    <a:pt x="449084" y="73207"/>
                  </a:lnTo>
                  <a:lnTo>
                    <a:pt x="449084" y="145177"/>
                  </a:lnTo>
                  <a:lnTo>
                    <a:pt x="476461" y="145177"/>
                  </a:lnTo>
                  <a:close/>
                  <a:moveTo>
                    <a:pt x="526080" y="222804"/>
                  </a:moveTo>
                  <a:lnTo>
                    <a:pt x="369805" y="222804"/>
                  </a:lnTo>
                  <a:lnTo>
                    <a:pt x="369805" y="369110"/>
                  </a:lnTo>
                  <a:lnTo>
                    <a:pt x="526080" y="369110"/>
                  </a:lnTo>
                  <a:close/>
                  <a:moveTo>
                    <a:pt x="609484" y="276258"/>
                  </a:moveTo>
                  <a:lnTo>
                    <a:pt x="583572" y="276258"/>
                  </a:lnTo>
                  <a:lnTo>
                    <a:pt x="583572" y="346989"/>
                  </a:lnTo>
                  <a:lnTo>
                    <a:pt x="609484" y="346989"/>
                  </a:lnTo>
                  <a:close/>
                  <a:moveTo>
                    <a:pt x="611443" y="73207"/>
                  </a:moveTo>
                  <a:lnTo>
                    <a:pt x="611443" y="145177"/>
                  </a:lnTo>
                  <a:lnTo>
                    <a:pt x="638820" y="145177"/>
                  </a:lnTo>
                  <a:lnTo>
                    <a:pt x="638820" y="73207"/>
                  </a:lnTo>
                  <a:close/>
                  <a:moveTo>
                    <a:pt x="668480" y="73207"/>
                  </a:moveTo>
                  <a:lnTo>
                    <a:pt x="641102" y="73207"/>
                  </a:lnTo>
                  <a:lnTo>
                    <a:pt x="641102" y="145177"/>
                  </a:lnTo>
                  <a:lnTo>
                    <a:pt x="668480" y="145177"/>
                  </a:lnTo>
                  <a:close/>
                  <a:moveTo>
                    <a:pt x="696345" y="276258"/>
                  </a:moveTo>
                  <a:lnTo>
                    <a:pt x="670439" y="276258"/>
                  </a:lnTo>
                  <a:lnTo>
                    <a:pt x="670439" y="346989"/>
                  </a:lnTo>
                  <a:lnTo>
                    <a:pt x="696345" y="346989"/>
                  </a:lnTo>
                  <a:close/>
                  <a:moveTo>
                    <a:pt x="801498" y="276258"/>
                  </a:moveTo>
                  <a:lnTo>
                    <a:pt x="775591" y="276258"/>
                  </a:lnTo>
                  <a:lnTo>
                    <a:pt x="775591" y="346989"/>
                  </a:lnTo>
                  <a:lnTo>
                    <a:pt x="801498" y="346989"/>
                  </a:lnTo>
                  <a:close/>
                  <a:moveTo>
                    <a:pt x="803456" y="73207"/>
                  </a:moveTo>
                  <a:lnTo>
                    <a:pt x="803456" y="145177"/>
                  </a:lnTo>
                  <a:lnTo>
                    <a:pt x="830839" y="145177"/>
                  </a:lnTo>
                  <a:lnTo>
                    <a:pt x="830839" y="73207"/>
                  </a:lnTo>
                  <a:close/>
                  <a:moveTo>
                    <a:pt x="860498" y="73207"/>
                  </a:moveTo>
                  <a:lnTo>
                    <a:pt x="833121" y="73207"/>
                  </a:lnTo>
                  <a:lnTo>
                    <a:pt x="833121" y="145177"/>
                  </a:lnTo>
                  <a:lnTo>
                    <a:pt x="860498" y="145177"/>
                  </a:lnTo>
                  <a:close/>
                  <a:moveTo>
                    <a:pt x="888369" y="276258"/>
                  </a:moveTo>
                  <a:lnTo>
                    <a:pt x="862457" y="276258"/>
                  </a:lnTo>
                  <a:lnTo>
                    <a:pt x="862457" y="346989"/>
                  </a:lnTo>
                  <a:lnTo>
                    <a:pt x="888369" y="346989"/>
                  </a:lnTo>
                  <a:close/>
                  <a:moveTo>
                    <a:pt x="948599" y="435397"/>
                  </a:moveTo>
                  <a:lnTo>
                    <a:pt x="953839" y="435397"/>
                  </a:lnTo>
                  <a:lnTo>
                    <a:pt x="953839" y="460524"/>
                  </a:lnTo>
                  <a:lnTo>
                    <a:pt x="971033" y="460524"/>
                  </a:lnTo>
                  <a:lnTo>
                    <a:pt x="971033" y="435397"/>
                  </a:lnTo>
                  <a:lnTo>
                    <a:pt x="976267" y="435397"/>
                  </a:lnTo>
                  <a:lnTo>
                    <a:pt x="976267" y="85644"/>
                  </a:lnTo>
                  <a:lnTo>
                    <a:pt x="948599" y="85644"/>
                  </a:lnTo>
                  <a:close/>
                  <a:moveTo>
                    <a:pt x="1014957" y="49099"/>
                  </a:moveTo>
                  <a:lnTo>
                    <a:pt x="1014957" y="85644"/>
                  </a:lnTo>
                  <a:lnTo>
                    <a:pt x="1005592" y="85644"/>
                  </a:lnTo>
                  <a:lnTo>
                    <a:pt x="1005592" y="435397"/>
                  </a:lnTo>
                  <a:lnTo>
                    <a:pt x="1010826" y="435397"/>
                  </a:lnTo>
                  <a:lnTo>
                    <a:pt x="1010826" y="460524"/>
                  </a:lnTo>
                  <a:lnTo>
                    <a:pt x="1045456" y="460524"/>
                  </a:lnTo>
                  <a:lnTo>
                    <a:pt x="1045456" y="435397"/>
                  </a:lnTo>
                  <a:lnTo>
                    <a:pt x="1050690" y="435397"/>
                  </a:lnTo>
                  <a:lnTo>
                    <a:pt x="1050690" y="85644"/>
                  </a:lnTo>
                  <a:lnTo>
                    <a:pt x="1041528" y="85644"/>
                  </a:lnTo>
                  <a:lnTo>
                    <a:pt x="1041528" y="49099"/>
                  </a:lnTo>
                  <a:close/>
                  <a:moveTo>
                    <a:pt x="1100221" y="8028"/>
                  </a:moveTo>
                  <a:lnTo>
                    <a:pt x="1100221" y="49099"/>
                  </a:lnTo>
                  <a:lnTo>
                    <a:pt x="1089177" y="49099"/>
                  </a:lnTo>
                  <a:lnTo>
                    <a:pt x="1089177" y="85644"/>
                  </a:lnTo>
                  <a:lnTo>
                    <a:pt x="1080014" y="85644"/>
                  </a:lnTo>
                  <a:lnTo>
                    <a:pt x="1080014" y="435397"/>
                  </a:lnTo>
                  <a:lnTo>
                    <a:pt x="1085249" y="435397"/>
                  </a:lnTo>
                  <a:lnTo>
                    <a:pt x="1085249" y="460524"/>
                  </a:lnTo>
                  <a:lnTo>
                    <a:pt x="1115314" y="460524"/>
                  </a:lnTo>
                  <a:lnTo>
                    <a:pt x="1115314" y="8028"/>
                  </a:lnTo>
                  <a:close/>
                  <a:moveTo>
                    <a:pt x="1141265" y="228653"/>
                  </a:moveTo>
                  <a:lnTo>
                    <a:pt x="1141265" y="243718"/>
                  </a:lnTo>
                  <a:lnTo>
                    <a:pt x="1229376" y="243718"/>
                  </a:lnTo>
                  <a:lnTo>
                    <a:pt x="1229376" y="228653"/>
                  </a:lnTo>
                  <a:close/>
                  <a:moveTo>
                    <a:pt x="1223287" y="224077"/>
                  </a:moveTo>
                  <a:lnTo>
                    <a:pt x="1223287" y="213746"/>
                  </a:lnTo>
                  <a:lnTo>
                    <a:pt x="1215002" y="213746"/>
                  </a:lnTo>
                  <a:lnTo>
                    <a:pt x="1215002" y="224077"/>
                  </a:lnTo>
                  <a:close/>
                  <a:moveTo>
                    <a:pt x="1155639" y="224077"/>
                  </a:moveTo>
                  <a:lnTo>
                    <a:pt x="1155639" y="213746"/>
                  </a:lnTo>
                  <a:lnTo>
                    <a:pt x="1147355" y="213746"/>
                  </a:lnTo>
                  <a:lnTo>
                    <a:pt x="1147355" y="224077"/>
                  </a:lnTo>
                  <a:close/>
                  <a:moveTo>
                    <a:pt x="1229376" y="248289"/>
                  </a:moveTo>
                  <a:lnTo>
                    <a:pt x="1141265" y="248289"/>
                  </a:lnTo>
                  <a:lnTo>
                    <a:pt x="1141265" y="285009"/>
                  </a:lnTo>
                  <a:lnTo>
                    <a:pt x="1229376" y="285009"/>
                  </a:lnTo>
                  <a:close/>
                  <a:moveTo>
                    <a:pt x="1154761" y="293738"/>
                  </a:moveTo>
                  <a:lnTo>
                    <a:pt x="1154761" y="351148"/>
                  </a:lnTo>
                  <a:cubicBezTo>
                    <a:pt x="1154761" y="368177"/>
                    <a:pt x="1168587" y="381981"/>
                    <a:pt x="1185595" y="381981"/>
                  </a:cubicBezTo>
                  <a:cubicBezTo>
                    <a:pt x="1202658" y="381981"/>
                    <a:pt x="1216429" y="368177"/>
                    <a:pt x="1216429" y="351148"/>
                  </a:cubicBezTo>
                  <a:lnTo>
                    <a:pt x="1216429" y="293738"/>
                  </a:lnTo>
                  <a:close/>
                  <a:moveTo>
                    <a:pt x="1144996" y="8028"/>
                  </a:moveTo>
                  <a:lnTo>
                    <a:pt x="1144996" y="164380"/>
                  </a:lnTo>
                  <a:cubicBezTo>
                    <a:pt x="1144996" y="186830"/>
                    <a:pt x="1163155" y="205028"/>
                    <a:pt x="1185595" y="205028"/>
                  </a:cubicBezTo>
                  <a:cubicBezTo>
                    <a:pt x="1208089" y="205028"/>
                    <a:pt x="1226249" y="186830"/>
                    <a:pt x="1226249" y="164380"/>
                  </a:cubicBezTo>
                  <a:lnTo>
                    <a:pt x="1226249" y="8028"/>
                  </a:lnTo>
                  <a:close/>
                  <a:moveTo>
                    <a:pt x="1255327" y="8028"/>
                  </a:moveTo>
                  <a:lnTo>
                    <a:pt x="1255327" y="460524"/>
                  </a:lnTo>
                  <a:lnTo>
                    <a:pt x="1285392" y="460524"/>
                  </a:lnTo>
                  <a:lnTo>
                    <a:pt x="1285392" y="435397"/>
                  </a:lnTo>
                  <a:lnTo>
                    <a:pt x="1290604" y="435397"/>
                  </a:lnTo>
                  <a:lnTo>
                    <a:pt x="1290604" y="85644"/>
                  </a:lnTo>
                  <a:lnTo>
                    <a:pt x="1281443" y="85644"/>
                  </a:lnTo>
                  <a:lnTo>
                    <a:pt x="1281443" y="49099"/>
                  </a:lnTo>
                  <a:lnTo>
                    <a:pt x="1270415" y="49099"/>
                  </a:lnTo>
                  <a:lnTo>
                    <a:pt x="1270415" y="8028"/>
                  </a:lnTo>
                  <a:close/>
                  <a:moveTo>
                    <a:pt x="1329119" y="49099"/>
                  </a:moveTo>
                  <a:lnTo>
                    <a:pt x="1329119" y="85644"/>
                  </a:lnTo>
                  <a:lnTo>
                    <a:pt x="1319957" y="85644"/>
                  </a:lnTo>
                  <a:lnTo>
                    <a:pt x="1319957" y="435397"/>
                  </a:lnTo>
                  <a:lnTo>
                    <a:pt x="1325169" y="435397"/>
                  </a:lnTo>
                  <a:lnTo>
                    <a:pt x="1325169" y="460524"/>
                  </a:lnTo>
                  <a:lnTo>
                    <a:pt x="1359788" y="460524"/>
                  </a:lnTo>
                  <a:lnTo>
                    <a:pt x="1359788" y="435397"/>
                  </a:lnTo>
                  <a:lnTo>
                    <a:pt x="1365055" y="435397"/>
                  </a:lnTo>
                  <a:lnTo>
                    <a:pt x="1365055" y="85644"/>
                  </a:lnTo>
                  <a:lnTo>
                    <a:pt x="1355673" y="85644"/>
                  </a:lnTo>
                  <a:lnTo>
                    <a:pt x="1355673" y="49099"/>
                  </a:lnTo>
                  <a:close/>
                  <a:moveTo>
                    <a:pt x="1422059" y="435397"/>
                  </a:moveTo>
                  <a:lnTo>
                    <a:pt x="1422059" y="85644"/>
                  </a:lnTo>
                  <a:lnTo>
                    <a:pt x="1394353" y="85644"/>
                  </a:lnTo>
                  <a:lnTo>
                    <a:pt x="1394353" y="435397"/>
                  </a:lnTo>
                  <a:lnTo>
                    <a:pt x="1399619" y="435397"/>
                  </a:lnTo>
                  <a:lnTo>
                    <a:pt x="1399619" y="460524"/>
                  </a:lnTo>
                  <a:lnTo>
                    <a:pt x="1416792" y="460524"/>
                  </a:lnTo>
                  <a:lnTo>
                    <a:pt x="1416792" y="435397"/>
                  </a:lnTo>
                  <a:lnTo>
                    <a:pt x="1422059" y="435397"/>
                  </a:lnTo>
                </a:path>
              </a:pathLst>
            </a:custGeom>
            <a:grpFill/>
            <a:ln w="548" cap="flat">
              <a:noFill/>
              <a:prstDash val="solid"/>
              <a:miter/>
            </a:ln>
          </p:spPr>
          <p:txBody>
            <a:bodyPr/>
            <a:lstStyle/>
            <a:p>
              <a:endParaRPr lang="en-US"/>
            </a:p>
          </p:txBody>
        </p:sp>
        <p:sp>
          <p:nvSpPr>
            <p:cNvPr id="503" name="Freeform: Shape 502">
              <a:extLst>
                <a:ext uri="{FF2B5EF4-FFF2-40B4-BE49-F238E27FC236}">
                  <a16:creationId xmlns:a16="http://schemas.microsoft.com/office/drawing/2014/main" id="{A6B24F7A-4832-077C-A8A4-E1A8DDD33399}"/>
                </a:ext>
              </a:extLst>
            </p:cNvPr>
            <p:cNvSpPr/>
            <p:nvPr/>
          </p:nvSpPr>
          <p:spPr>
            <a:xfrm flipV="1">
              <a:off x="22286810" y="4263119"/>
              <a:ext cx="693267" cy="158518"/>
            </a:xfrm>
            <a:custGeom>
              <a:avLst/>
              <a:gdLst>
                <a:gd name="csX0" fmla="*/ 18898 w 693267"/>
                <a:gd name="csY0" fmla="*/ -5388 h 158518"/>
                <a:gd name="csX1" fmla="*/ 661196 w 693267"/>
                <a:gd name="csY1" fmla="*/ -5388 h 158518"/>
                <a:gd name="csX2" fmla="*/ 661196 w 693267"/>
                <a:gd name="csY2" fmla="*/ 7823 h 158518"/>
                <a:gd name="csX3" fmla="*/ 686379 w 693267"/>
                <a:gd name="csY3" fmla="*/ 7823 h 158518"/>
                <a:gd name="csX4" fmla="*/ 339748 w 693267"/>
                <a:gd name="csY4" fmla="*/ 153131 h 158518"/>
                <a:gd name="csX5" fmla="*/ -6888 w 693267"/>
                <a:gd name="csY5" fmla="*/ 7823 h 158518"/>
                <a:gd name="csX6" fmla="*/ 18898 w 693267"/>
                <a:gd name="csY6" fmla="*/ 7823 h 158518"/>
                <a:gd name="csX7" fmla="*/ 339748 w 693267"/>
                <a:gd name="csY7" fmla="*/ 136600 h 158518"/>
                <a:gd name="csX8" fmla="*/ 610612 w 693267"/>
                <a:gd name="csY8" fmla="*/ 23059 h 158518"/>
                <a:gd name="csX9" fmla="*/ 68890 w 693267"/>
                <a:gd name="csY9" fmla="*/ 23059 h 15851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Lst>
              <a:rect l="l" t="t" r="r" b="b"/>
              <a:pathLst>
                <a:path w="693267" h="158518">
                  <a:moveTo>
                    <a:pt x="18898" y="-5388"/>
                  </a:moveTo>
                  <a:lnTo>
                    <a:pt x="661196" y="-5388"/>
                  </a:lnTo>
                  <a:lnTo>
                    <a:pt x="661196" y="7823"/>
                  </a:lnTo>
                  <a:lnTo>
                    <a:pt x="686379" y="7823"/>
                  </a:lnTo>
                  <a:lnTo>
                    <a:pt x="339748" y="153131"/>
                  </a:lnTo>
                  <a:lnTo>
                    <a:pt x="-6888" y="7823"/>
                  </a:lnTo>
                  <a:lnTo>
                    <a:pt x="18898" y="7823"/>
                  </a:lnTo>
                  <a:close/>
                  <a:moveTo>
                    <a:pt x="339748" y="136600"/>
                  </a:moveTo>
                  <a:lnTo>
                    <a:pt x="610612" y="23059"/>
                  </a:lnTo>
                  <a:lnTo>
                    <a:pt x="68890" y="23059"/>
                  </a:lnTo>
                  <a:close/>
                </a:path>
              </a:pathLst>
            </a:custGeom>
            <a:grpFill/>
            <a:ln w="548" cap="flat">
              <a:noFill/>
              <a:prstDash val="solid"/>
              <a:miter/>
            </a:ln>
          </p:spPr>
          <p:txBody>
            <a:bodyPr/>
            <a:lstStyle/>
            <a:p>
              <a:endParaRPr lang="en-US"/>
            </a:p>
          </p:txBody>
        </p:sp>
        <p:sp>
          <p:nvSpPr>
            <p:cNvPr id="504" name="Freeform: Shape 503">
              <a:extLst>
                <a:ext uri="{FF2B5EF4-FFF2-40B4-BE49-F238E27FC236}">
                  <a16:creationId xmlns:a16="http://schemas.microsoft.com/office/drawing/2014/main" id="{ED0C461D-789A-5C73-56C2-5C99FC636C08}"/>
                </a:ext>
              </a:extLst>
            </p:cNvPr>
            <p:cNvSpPr/>
            <p:nvPr/>
          </p:nvSpPr>
          <p:spPr>
            <a:xfrm flipV="1">
              <a:off x="23224057" y="4369122"/>
              <a:ext cx="338785" cy="104444"/>
            </a:xfrm>
            <a:custGeom>
              <a:avLst/>
              <a:gdLst>
                <a:gd name="csX0" fmla="*/ 139041 w 338785"/>
                <a:gd name="csY0" fmla="*/ -5198 h 104444"/>
                <a:gd name="csX1" fmla="*/ 184084 w 338785"/>
                <a:gd name="csY1" fmla="*/ -5198 h 104444"/>
                <a:gd name="csX2" fmla="*/ 184084 w 338785"/>
                <a:gd name="csY2" fmla="*/ 16726 h 104444"/>
                <a:gd name="csX3" fmla="*/ 330955 w 338785"/>
                <a:gd name="csY3" fmla="*/ 16726 h 104444"/>
                <a:gd name="csX4" fmla="*/ 330955 w 338785"/>
                <a:gd name="csY4" fmla="*/ 32093 h 104444"/>
                <a:gd name="csX5" fmla="*/ 263801 w 338785"/>
                <a:gd name="csY5" fmla="*/ 32093 h 104444"/>
                <a:gd name="csX6" fmla="*/ 263801 w 338785"/>
                <a:gd name="csY6" fmla="*/ 62137 h 104444"/>
                <a:gd name="csX7" fmla="*/ 209541 w 338785"/>
                <a:gd name="csY7" fmla="*/ 62137 h 104444"/>
                <a:gd name="csX8" fmla="*/ 209541 w 338785"/>
                <a:gd name="csY8" fmla="*/ 32093 h 104444"/>
                <a:gd name="csX9" fmla="*/ 184084 w 338785"/>
                <a:gd name="csY9" fmla="*/ 32093 h 104444"/>
                <a:gd name="csX10" fmla="*/ 184084 w 338785"/>
                <a:gd name="csY10" fmla="*/ 72605 h 104444"/>
                <a:gd name="csX11" fmla="*/ 184084 w 338785"/>
                <a:gd name="csY11" fmla="*/ 91867 h 104444"/>
                <a:gd name="csX12" fmla="*/ 187376 w 338785"/>
                <a:gd name="csY12" fmla="*/ 91867 h 104444"/>
                <a:gd name="csX13" fmla="*/ 187376 w 338785"/>
                <a:gd name="csY13" fmla="*/ 99247 h 104444"/>
                <a:gd name="csX14" fmla="*/ 135804 w 338785"/>
                <a:gd name="csY14" fmla="*/ 99247 h 104444"/>
                <a:gd name="csX15" fmla="*/ 135804 w 338785"/>
                <a:gd name="csY15" fmla="*/ 91867 h 104444"/>
                <a:gd name="csX16" fmla="*/ 139041 w 338785"/>
                <a:gd name="csY16" fmla="*/ 91867 h 104444"/>
                <a:gd name="csX17" fmla="*/ 139041 w 338785"/>
                <a:gd name="csY17" fmla="*/ 72605 h 104444"/>
                <a:gd name="csX18" fmla="*/ 139041 w 338785"/>
                <a:gd name="csY18" fmla="*/ 32093 h 104444"/>
                <a:gd name="csX19" fmla="*/ -7830 w 338785"/>
                <a:gd name="csY19" fmla="*/ 32093 h 104444"/>
                <a:gd name="csX20" fmla="*/ -7830 w 338785"/>
                <a:gd name="csY20" fmla="*/ 16726 h 104444"/>
                <a:gd name="csX21" fmla="*/ 139041 w 338785"/>
                <a:gd name="csY21" fmla="*/ 16726 h 104444"/>
                <a:gd name="csX22" fmla="*/ 139041 w 338785"/>
                <a:gd name="csY22" fmla="*/ -5198 h 10444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Lst>
              <a:rect l="l" t="t" r="r" b="b"/>
              <a:pathLst>
                <a:path w="338785" h="104444">
                  <a:moveTo>
                    <a:pt x="139041" y="-5198"/>
                  </a:moveTo>
                  <a:lnTo>
                    <a:pt x="184084" y="-5198"/>
                  </a:lnTo>
                  <a:lnTo>
                    <a:pt x="184084" y="16726"/>
                  </a:lnTo>
                  <a:lnTo>
                    <a:pt x="330955" y="16726"/>
                  </a:lnTo>
                  <a:lnTo>
                    <a:pt x="330955" y="32093"/>
                  </a:lnTo>
                  <a:lnTo>
                    <a:pt x="263801" y="32093"/>
                  </a:lnTo>
                  <a:lnTo>
                    <a:pt x="263801" y="62137"/>
                  </a:lnTo>
                  <a:lnTo>
                    <a:pt x="209541" y="62137"/>
                  </a:lnTo>
                  <a:lnTo>
                    <a:pt x="209541" y="32093"/>
                  </a:lnTo>
                  <a:lnTo>
                    <a:pt x="184084" y="32093"/>
                  </a:lnTo>
                  <a:lnTo>
                    <a:pt x="184084" y="72605"/>
                  </a:lnTo>
                  <a:lnTo>
                    <a:pt x="184084" y="91867"/>
                  </a:lnTo>
                  <a:lnTo>
                    <a:pt x="187376" y="91867"/>
                  </a:lnTo>
                  <a:lnTo>
                    <a:pt x="187376" y="99247"/>
                  </a:lnTo>
                  <a:lnTo>
                    <a:pt x="135804" y="99247"/>
                  </a:lnTo>
                  <a:lnTo>
                    <a:pt x="135804" y="91867"/>
                  </a:lnTo>
                  <a:lnTo>
                    <a:pt x="139041" y="91867"/>
                  </a:lnTo>
                  <a:lnTo>
                    <a:pt x="139041" y="72605"/>
                  </a:lnTo>
                  <a:lnTo>
                    <a:pt x="139041" y="32093"/>
                  </a:lnTo>
                  <a:lnTo>
                    <a:pt x="-7830" y="32093"/>
                  </a:lnTo>
                  <a:lnTo>
                    <a:pt x="-7830" y="16726"/>
                  </a:lnTo>
                  <a:lnTo>
                    <a:pt x="139041" y="16726"/>
                  </a:lnTo>
                  <a:lnTo>
                    <a:pt x="139041" y="-5198"/>
                  </a:lnTo>
                </a:path>
              </a:pathLst>
            </a:custGeom>
            <a:grpFill/>
            <a:ln w="548" cap="flat">
              <a:noFill/>
              <a:prstDash val="solid"/>
              <a:miter/>
            </a:ln>
          </p:spPr>
          <p:txBody>
            <a:bodyPr/>
            <a:lstStyle/>
            <a:p>
              <a:endParaRPr lang="en-US"/>
            </a:p>
          </p:txBody>
        </p:sp>
        <p:sp>
          <p:nvSpPr>
            <p:cNvPr id="505" name="Freeform: Shape 504">
              <a:extLst>
                <a:ext uri="{FF2B5EF4-FFF2-40B4-BE49-F238E27FC236}">
                  <a16:creationId xmlns:a16="http://schemas.microsoft.com/office/drawing/2014/main" id="{45F40444-30F3-B61E-4E20-107567424976}"/>
                </a:ext>
              </a:extLst>
            </p:cNvPr>
            <p:cNvSpPr/>
            <p:nvPr/>
          </p:nvSpPr>
          <p:spPr>
            <a:xfrm flipV="1">
              <a:off x="23886101" y="4735817"/>
              <a:ext cx="57058" cy="35749"/>
            </a:xfrm>
            <a:custGeom>
              <a:avLst/>
              <a:gdLst>
                <a:gd name="csX0" fmla="*/ 20053 w 57058"/>
                <a:gd name="csY0" fmla="*/ 31351 h 35749"/>
                <a:gd name="csX1" fmla="*/ -8476 w 57058"/>
                <a:gd name="csY1" fmla="*/ 2833 h 35749"/>
                <a:gd name="csX2" fmla="*/ -8476 w 57058"/>
                <a:gd name="csY2" fmla="*/ -4398 h 35749"/>
                <a:gd name="csX3" fmla="*/ 48582 w 57058"/>
                <a:gd name="csY3" fmla="*/ -4398 h 35749"/>
                <a:gd name="csX4" fmla="*/ 48582 w 57058"/>
                <a:gd name="csY4" fmla="*/ 2833 h 35749"/>
                <a:gd name="csX5" fmla="*/ 20053 w 57058"/>
                <a:gd name="csY5" fmla="*/ 31351 h 35749"/>
              </a:gdLst>
              <a:ahLst/>
              <a:cxnLst>
                <a:cxn ang="0">
                  <a:pos x="csX0" y="csY0"/>
                </a:cxn>
                <a:cxn ang="0">
                  <a:pos x="csX1" y="csY1"/>
                </a:cxn>
                <a:cxn ang="0">
                  <a:pos x="csX2" y="csY2"/>
                </a:cxn>
                <a:cxn ang="0">
                  <a:pos x="csX3" y="csY3"/>
                </a:cxn>
                <a:cxn ang="0">
                  <a:pos x="csX4" y="csY4"/>
                </a:cxn>
                <a:cxn ang="0">
                  <a:pos x="csX5" y="csY5"/>
                </a:cxn>
              </a:cxnLst>
              <a:rect l="l" t="t" r="r" b="b"/>
              <a:pathLst>
                <a:path w="57058" h="35749">
                  <a:moveTo>
                    <a:pt x="20053" y="31351"/>
                  </a:moveTo>
                  <a:cubicBezTo>
                    <a:pt x="4307" y="31351"/>
                    <a:pt x="-8476" y="18590"/>
                    <a:pt x="-8476" y="2833"/>
                  </a:cubicBezTo>
                  <a:lnTo>
                    <a:pt x="-8476" y="-4398"/>
                  </a:lnTo>
                  <a:lnTo>
                    <a:pt x="48582" y="-4398"/>
                  </a:lnTo>
                  <a:lnTo>
                    <a:pt x="48582" y="2833"/>
                  </a:lnTo>
                  <a:cubicBezTo>
                    <a:pt x="48582" y="18590"/>
                    <a:pt x="35799" y="31351"/>
                    <a:pt x="20053" y="31351"/>
                  </a:cubicBezTo>
                </a:path>
              </a:pathLst>
            </a:custGeom>
            <a:grpFill/>
            <a:ln w="548" cap="flat">
              <a:noFill/>
              <a:prstDash val="solid"/>
              <a:miter/>
            </a:ln>
          </p:spPr>
          <p:txBody>
            <a:bodyPr/>
            <a:lstStyle/>
            <a:p>
              <a:endParaRPr lang="en-US"/>
            </a:p>
          </p:txBody>
        </p:sp>
        <p:sp>
          <p:nvSpPr>
            <p:cNvPr id="506" name="Freeform: Shape 505">
              <a:extLst>
                <a:ext uri="{FF2B5EF4-FFF2-40B4-BE49-F238E27FC236}">
                  <a16:creationId xmlns:a16="http://schemas.microsoft.com/office/drawing/2014/main" id="{CF19E814-5B1B-987F-E4CC-C017066F2267}"/>
                </a:ext>
              </a:extLst>
            </p:cNvPr>
            <p:cNvSpPr/>
            <p:nvPr/>
          </p:nvSpPr>
          <p:spPr>
            <a:xfrm flipV="1">
              <a:off x="23886101" y="4773848"/>
              <a:ext cx="27376" cy="71970"/>
            </a:xfrm>
            <a:custGeom>
              <a:avLst/>
              <a:gdLst>
                <a:gd name="csX0" fmla="*/ -8458 w 27376"/>
                <a:gd name="csY0" fmla="*/ -4263 h 71970"/>
                <a:gd name="csX1" fmla="*/ 18919 w 27376"/>
                <a:gd name="csY1" fmla="*/ -4263 h 71970"/>
                <a:gd name="csX2" fmla="*/ 18919 w 27376"/>
                <a:gd name="csY2" fmla="*/ 67707 h 71970"/>
                <a:gd name="csX3" fmla="*/ -8458 w 27376"/>
                <a:gd name="csY3" fmla="*/ 67707 h 71970"/>
                <a:gd name="csX4" fmla="*/ -8458 w 27376"/>
                <a:gd name="csY4" fmla="*/ -4263 h 71970"/>
              </a:gdLst>
              <a:ahLst/>
              <a:cxnLst>
                <a:cxn ang="0">
                  <a:pos x="csX0" y="csY0"/>
                </a:cxn>
                <a:cxn ang="0">
                  <a:pos x="csX1" y="csY1"/>
                </a:cxn>
                <a:cxn ang="0">
                  <a:pos x="csX2" y="csY2"/>
                </a:cxn>
                <a:cxn ang="0">
                  <a:pos x="csX3" y="csY3"/>
                </a:cxn>
                <a:cxn ang="0">
                  <a:pos x="csX4" y="csY4"/>
                </a:cxn>
              </a:cxnLst>
              <a:rect l="l" t="t" r="r" b="b"/>
              <a:pathLst>
                <a:path w="27376" h="71970">
                  <a:moveTo>
                    <a:pt x="-8458" y="-4263"/>
                  </a:moveTo>
                  <a:lnTo>
                    <a:pt x="18919" y="-4263"/>
                  </a:lnTo>
                  <a:lnTo>
                    <a:pt x="18919" y="67707"/>
                  </a:lnTo>
                  <a:lnTo>
                    <a:pt x="-8458" y="67707"/>
                  </a:lnTo>
                  <a:lnTo>
                    <a:pt x="-8458" y="-4263"/>
                  </a:lnTo>
                </a:path>
              </a:pathLst>
            </a:custGeom>
            <a:grpFill/>
            <a:ln w="548" cap="flat">
              <a:noFill/>
              <a:prstDash val="solid"/>
              <a:miter/>
            </a:ln>
          </p:spPr>
          <p:txBody>
            <a:bodyPr/>
            <a:lstStyle/>
            <a:p>
              <a:endParaRPr lang="en-US"/>
            </a:p>
          </p:txBody>
        </p:sp>
        <p:sp>
          <p:nvSpPr>
            <p:cNvPr id="507" name="Freeform: Shape 506">
              <a:extLst>
                <a:ext uri="{FF2B5EF4-FFF2-40B4-BE49-F238E27FC236}">
                  <a16:creationId xmlns:a16="http://schemas.microsoft.com/office/drawing/2014/main" id="{18859F04-D924-9CE1-F6E7-F2B0B737CB6D}"/>
                </a:ext>
              </a:extLst>
            </p:cNvPr>
            <p:cNvSpPr/>
            <p:nvPr/>
          </p:nvSpPr>
          <p:spPr>
            <a:xfrm flipV="1">
              <a:off x="23915783" y="4773848"/>
              <a:ext cx="27377" cy="71970"/>
            </a:xfrm>
            <a:custGeom>
              <a:avLst/>
              <a:gdLst>
                <a:gd name="csX0" fmla="*/ -8495 w 27377"/>
                <a:gd name="csY0" fmla="*/ -4263 h 71970"/>
                <a:gd name="csX1" fmla="*/ 18883 w 27377"/>
                <a:gd name="csY1" fmla="*/ -4263 h 71970"/>
                <a:gd name="csX2" fmla="*/ 18883 w 27377"/>
                <a:gd name="csY2" fmla="*/ 67707 h 71970"/>
                <a:gd name="csX3" fmla="*/ -8495 w 27377"/>
                <a:gd name="csY3" fmla="*/ 67707 h 71970"/>
                <a:gd name="csX4" fmla="*/ -8495 w 27377"/>
                <a:gd name="csY4" fmla="*/ -4263 h 71970"/>
              </a:gdLst>
              <a:ahLst/>
              <a:cxnLst>
                <a:cxn ang="0">
                  <a:pos x="csX0" y="csY0"/>
                </a:cxn>
                <a:cxn ang="0">
                  <a:pos x="csX1" y="csY1"/>
                </a:cxn>
                <a:cxn ang="0">
                  <a:pos x="csX2" y="csY2"/>
                </a:cxn>
                <a:cxn ang="0">
                  <a:pos x="csX3" y="csY3"/>
                </a:cxn>
                <a:cxn ang="0">
                  <a:pos x="csX4" y="csY4"/>
                </a:cxn>
              </a:cxnLst>
              <a:rect l="l" t="t" r="r" b="b"/>
              <a:pathLst>
                <a:path w="27377" h="71970">
                  <a:moveTo>
                    <a:pt x="-8495" y="-4263"/>
                  </a:moveTo>
                  <a:lnTo>
                    <a:pt x="18883" y="-4263"/>
                  </a:lnTo>
                  <a:lnTo>
                    <a:pt x="18883" y="67707"/>
                  </a:lnTo>
                  <a:lnTo>
                    <a:pt x="-8495" y="67707"/>
                  </a:lnTo>
                  <a:lnTo>
                    <a:pt x="-8495" y="-4263"/>
                  </a:lnTo>
                </a:path>
              </a:pathLst>
            </a:custGeom>
            <a:grpFill/>
            <a:ln w="548" cap="flat">
              <a:noFill/>
              <a:prstDash val="solid"/>
              <a:miter/>
            </a:ln>
          </p:spPr>
          <p:txBody>
            <a:bodyPr/>
            <a:lstStyle/>
            <a:p>
              <a:endParaRPr lang="en-US"/>
            </a:p>
          </p:txBody>
        </p:sp>
        <p:sp>
          <p:nvSpPr>
            <p:cNvPr id="508" name="Freeform: Shape 507">
              <a:extLst>
                <a:ext uri="{FF2B5EF4-FFF2-40B4-BE49-F238E27FC236}">
                  <a16:creationId xmlns:a16="http://schemas.microsoft.com/office/drawing/2014/main" id="{9EBC9948-2342-4975-81BA-A1338B02AB3D}"/>
                </a:ext>
              </a:extLst>
            </p:cNvPr>
            <p:cNvSpPr/>
            <p:nvPr/>
          </p:nvSpPr>
          <p:spPr>
            <a:xfrm flipV="1">
              <a:off x="22917093" y="4534159"/>
              <a:ext cx="908602" cy="389452"/>
            </a:xfrm>
            <a:custGeom>
              <a:avLst/>
              <a:gdLst>
                <a:gd name="csX0" fmla="*/ -7803 w 908602"/>
                <a:gd name="csY0" fmla="*/ -4458 h 389452"/>
                <a:gd name="csX1" fmla="*/ 900800 w 908602"/>
                <a:gd name="csY1" fmla="*/ -4458 h 389452"/>
                <a:gd name="csX2" fmla="*/ 900800 w 908602"/>
                <a:gd name="csY2" fmla="*/ 384994 h 389452"/>
                <a:gd name="csX3" fmla="*/ -7803 w 908602"/>
                <a:gd name="csY3" fmla="*/ 384994 h 389452"/>
                <a:gd name="csX4" fmla="*/ 33948 w 908602"/>
                <a:gd name="csY4" fmla="*/ 73334 h 389452"/>
                <a:gd name="csX5" fmla="*/ 33948 w 908602"/>
                <a:gd name="csY5" fmla="*/ 145304 h 389452"/>
                <a:gd name="csX6" fmla="*/ 61326 w 908602"/>
                <a:gd name="csY6" fmla="*/ 145304 h 389452"/>
                <a:gd name="csX7" fmla="*/ 61326 w 908602"/>
                <a:gd name="csY7" fmla="*/ 73334 h 389452"/>
                <a:gd name="csX8" fmla="*/ 91007 w 908602"/>
                <a:gd name="csY8" fmla="*/ 73334 h 389452"/>
                <a:gd name="csX9" fmla="*/ 63630 w 908602"/>
                <a:gd name="csY9" fmla="*/ 73334 h 389452"/>
                <a:gd name="csX10" fmla="*/ 63630 w 908602"/>
                <a:gd name="csY10" fmla="*/ 145304 h 389452"/>
                <a:gd name="csX11" fmla="*/ 91007 w 908602"/>
                <a:gd name="csY11" fmla="*/ 145304 h 389452"/>
                <a:gd name="csX12" fmla="*/ 225972 w 908602"/>
                <a:gd name="csY12" fmla="*/ 73334 h 389452"/>
                <a:gd name="csX13" fmla="*/ 225972 w 908602"/>
                <a:gd name="csY13" fmla="*/ 145304 h 389452"/>
                <a:gd name="csX14" fmla="*/ 253350 w 908602"/>
                <a:gd name="csY14" fmla="*/ 145304 h 389452"/>
                <a:gd name="csX15" fmla="*/ 253350 w 908602"/>
                <a:gd name="csY15" fmla="*/ 73334 h 389452"/>
                <a:gd name="csX16" fmla="*/ 283031 w 908602"/>
                <a:gd name="csY16" fmla="*/ 73334 h 389452"/>
                <a:gd name="csX17" fmla="*/ 255654 w 908602"/>
                <a:gd name="csY17" fmla="*/ 73334 h 389452"/>
                <a:gd name="csX18" fmla="*/ 255654 w 908602"/>
                <a:gd name="csY18" fmla="*/ 145304 h 389452"/>
                <a:gd name="csX19" fmla="*/ 283031 w 908602"/>
                <a:gd name="csY19" fmla="*/ 145304 h 389452"/>
                <a:gd name="csX20" fmla="*/ 475055 w 908602"/>
                <a:gd name="csY20" fmla="*/ 147587 h 389452"/>
                <a:gd name="csX21" fmla="*/ 417996 w 908602"/>
                <a:gd name="csY21" fmla="*/ 147587 h 389452"/>
                <a:gd name="csX22" fmla="*/ 417996 w 908602"/>
                <a:gd name="csY22" fmla="*/ 154818 h 389452"/>
                <a:gd name="csX23" fmla="*/ 446526 w 908602"/>
                <a:gd name="csY23" fmla="*/ 183336 h 389452"/>
                <a:gd name="csX24" fmla="*/ 475055 w 908602"/>
                <a:gd name="csY24" fmla="*/ 154818 h 389452"/>
                <a:gd name="csX25" fmla="*/ 417996 w 908602"/>
                <a:gd name="csY25" fmla="*/ 73334 h 389452"/>
                <a:gd name="csX26" fmla="*/ 417996 w 908602"/>
                <a:gd name="csY26" fmla="*/ 145304 h 389452"/>
                <a:gd name="csX27" fmla="*/ 445374 w 908602"/>
                <a:gd name="csY27" fmla="*/ 145304 h 389452"/>
                <a:gd name="csX28" fmla="*/ 445374 w 908602"/>
                <a:gd name="csY28" fmla="*/ 73334 h 389452"/>
                <a:gd name="csX29" fmla="*/ 475055 w 908602"/>
                <a:gd name="csY29" fmla="*/ 73334 h 389452"/>
                <a:gd name="csX30" fmla="*/ 447678 w 908602"/>
                <a:gd name="csY30" fmla="*/ 73334 h 389452"/>
                <a:gd name="csX31" fmla="*/ 447678 w 908602"/>
                <a:gd name="csY31" fmla="*/ 145304 h 389452"/>
                <a:gd name="csX32" fmla="*/ 475055 w 908602"/>
                <a:gd name="csY32" fmla="*/ 145304 h 389452"/>
                <a:gd name="csX33" fmla="*/ 610021 w 908602"/>
                <a:gd name="csY33" fmla="*/ 73334 h 389452"/>
                <a:gd name="csX34" fmla="*/ 610021 w 908602"/>
                <a:gd name="csY34" fmla="*/ 145304 h 389452"/>
                <a:gd name="csX35" fmla="*/ 637398 w 908602"/>
                <a:gd name="csY35" fmla="*/ 145304 h 389452"/>
                <a:gd name="csX36" fmla="*/ 637398 w 908602"/>
                <a:gd name="csY36" fmla="*/ 73334 h 389452"/>
                <a:gd name="csX37" fmla="*/ 667079 w 908602"/>
                <a:gd name="csY37" fmla="*/ 73334 h 389452"/>
                <a:gd name="csX38" fmla="*/ 639702 w 908602"/>
                <a:gd name="csY38" fmla="*/ 73334 h 389452"/>
                <a:gd name="csX39" fmla="*/ 639702 w 908602"/>
                <a:gd name="csY39" fmla="*/ 145304 h 389452"/>
                <a:gd name="csX40" fmla="*/ 667079 w 908602"/>
                <a:gd name="csY40" fmla="*/ 145304 h 389452"/>
                <a:gd name="csX41" fmla="*/ 802045 w 908602"/>
                <a:gd name="csY41" fmla="*/ 73334 h 389452"/>
                <a:gd name="csX42" fmla="*/ 802045 w 908602"/>
                <a:gd name="csY42" fmla="*/ 145304 h 389452"/>
                <a:gd name="csX43" fmla="*/ 829422 w 908602"/>
                <a:gd name="csY43" fmla="*/ 145304 h 389452"/>
                <a:gd name="csX44" fmla="*/ 829422 w 908602"/>
                <a:gd name="csY44" fmla="*/ 73334 h 389452"/>
                <a:gd name="csX45" fmla="*/ 859103 w 908602"/>
                <a:gd name="csY45" fmla="*/ 73334 h 389452"/>
                <a:gd name="csX46" fmla="*/ 831726 w 908602"/>
                <a:gd name="csY46" fmla="*/ 73334 h 389452"/>
                <a:gd name="csX47" fmla="*/ 831726 w 908602"/>
                <a:gd name="csY47" fmla="*/ 145304 h 389452"/>
                <a:gd name="csX48" fmla="*/ 859103 w 908602"/>
                <a:gd name="csY48" fmla="*/ 145304 h 389452"/>
                <a:gd name="csX49" fmla="*/ 861133 w 908602"/>
                <a:gd name="csY49" fmla="*/ 347116 h 389452"/>
                <a:gd name="csX50" fmla="*/ 887029 w 908602"/>
                <a:gd name="csY50" fmla="*/ 347116 h 389452"/>
                <a:gd name="csX51" fmla="*/ 887029 w 908602"/>
                <a:gd name="csY51" fmla="*/ 276385 h 389452"/>
                <a:gd name="csX52" fmla="*/ 861133 w 908602"/>
                <a:gd name="csY52" fmla="*/ 276385 h 389452"/>
                <a:gd name="csX53" fmla="*/ 856524 w 908602"/>
                <a:gd name="csY53" fmla="*/ 347116 h 389452"/>
                <a:gd name="csX54" fmla="*/ 856524 w 908602"/>
                <a:gd name="csY54" fmla="*/ 276385 h 389452"/>
                <a:gd name="csX55" fmla="*/ 830574 w 908602"/>
                <a:gd name="csY55" fmla="*/ 276385 h 389452"/>
                <a:gd name="csX56" fmla="*/ 830574 w 908602"/>
                <a:gd name="csY56" fmla="*/ 310609 h 389452"/>
                <a:gd name="csX57" fmla="*/ 855318 w 908602"/>
                <a:gd name="csY57" fmla="*/ 310609 h 389452"/>
                <a:gd name="csX58" fmla="*/ 856470 w 908602"/>
                <a:gd name="csY58" fmla="*/ 311751 h 389452"/>
                <a:gd name="csX59" fmla="*/ 855318 w 908602"/>
                <a:gd name="csY59" fmla="*/ 312892 h 389452"/>
                <a:gd name="csX60" fmla="*/ 830574 w 908602"/>
                <a:gd name="csY60" fmla="*/ 312892 h 389452"/>
                <a:gd name="csX61" fmla="*/ 830574 w 908602"/>
                <a:gd name="csY61" fmla="*/ 347116 h 389452"/>
                <a:gd name="csX62" fmla="*/ 804733 w 908602"/>
                <a:gd name="csY62" fmla="*/ 310609 h 389452"/>
                <a:gd name="csX63" fmla="*/ 828269 w 908602"/>
                <a:gd name="csY63" fmla="*/ 310609 h 389452"/>
                <a:gd name="csX64" fmla="*/ 828269 w 908602"/>
                <a:gd name="csY64" fmla="*/ 276385 h 389452"/>
                <a:gd name="csX65" fmla="*/ 804733 w 908602"/>
                <a:gd name="csY65" fmla="*/ 276385 h 389452"/>
                <a:gd name="csX66" fmla="*/ 828269 w 908602"/>
                <a:gd name="csY66" fmla="*/ 347116 h 389452"/>
                <a:gd name="csX67" fmla="*/ 828269 w 908602"/>
                <a:gd name="csY67" fmla="*/ 312892 h 389452"/>
                <a:gd name="csX68" fmla="*/ 804733 w 908602"/>
                <a:gd name="csY68" fmla="*/ 312892 h 389452"/>
                <a:gd name="csX69" fmla="*/ 804733 w 908602"/>
                <a:gd name="csY69" fmla="*/ 347116 h 389452"/>
                <a:gd name="csX70" fmla="*/ 802045 w 908602"/>
                <a:gd name="csY70" fmla="*/ 154818 h 389452"/>
                <a:gd name="csX71" fmla="*/ 830574 w 908602"/>
                <a:gd name="csY71" fmla="*/ 183336 h 389452"/>
                <a:gd name="csX72" fmla="*/ 859103 w 908602"/>
                <a:gd name="csY72" fmla="*/ 154818 h 389452"/>
                <a:gd name="csX73" fmla="*/ 859103 w 908602"/>
                <a:gd name="csY73" fmla="*/ 147587 h 389452"/>
                <a:gd name="csX74" fmla="*/ 802045 w 908602"/>
                <a:gd name="csY74" fmla="*/ 147587 h 389452"/>
                <a:gd name="csX75" fmla="*/ 774228 w 908602"/>
                <a:gd name="csY75" fmla="*/ 347116 h 389452"/>
                <a:gd name="csX76" fmla="*/ 800179 w 908602"/>
                <a:gd name="csY76" fmla="*/ 347116 h 389452"/>
                <a:gd name="csX77" fmla="*/ 800179 w 908602"/>
                <a:gd name="csY77" fmla="*/ 276385 h 389452"/>
                <a:gd name="csX78" fmla="*/ 774228 w 908602"/>
                <a:gd name="csY78" fmla="*/ 276385 h 389452"/>
                <a:gd name="csX79" fmla="*/ 669109 w 908602"/>
                <a:gd name="csY79" fmla="*/ 347116 h 389452"/>
                <a:gd name="csX80" fmla="*/ 695005 w 908602"/>
                <a:gd name="csY80" fmla="*/ 347116 h 389452"/>
                <a:gd name="csX81" fmla="*/ 695005 w 908602"/>
                <a:gd name="csY81" fmla="*/ 276385 h 389452"/>
                <a:gd name="csX82" fmla="*/ 669109 w 908602"/>
                <a:gd name="csY82" fmla="*/ 276385 h 389452"/>
                <a:gd name="csX83" fmla="*/ 612709 w 908602"/>
                <a:gd name="csY83" fmla="*/ 310609 h 389452"/>
                <a:gd name="csX84" fmla="*/ 637453 w 908602"/>
                <a:gd name="csY84" fmla="*/ 310609 h 389452"/>
                <a:gd name="csX85" fmla="*/ 637453 w 908602"/>
                <a:gd name="csY85" fmla="*/ 276385 h 389452"/>
                <a:gd name="csX86" fmla="*/ 612709 w 908602"/>
                <a:gd name="csY86" fmla="*/ 276385 h 389452"/>
                <a:gd name="csX87" fmla="*/ 639757 w 908602"/>
                <a:gd name="csY87" fmla="*/ 310609 h 389452"/>
                <a:gd name="csX88" fmla="*/ 664500 w 908602"/>
                <a:gd name="csY88" fmla="*/ 310609 h 389452"/>
                <a:gd name="csX89" fmla="*/ 664500 w 908602"/>
                <a:gd name="csY89" fmla="*/ 276385 h 389452"/>
                <a:gd name="csX90" fmla="*/ 639757 w 908602"/>
                <a:gd name="csY90" fmla="*/ 276385 h 389452"/>
                <a:gd name="csX91" fmla="*/ 664500 w 908602"/>
                <a:gd name="csY91" fmla="*/ 347116 h 389452"/>
                <a:gd name="csX92" fmla="*/ 664500 w 908602"/>
                <a:gd name="csY92" fmla="*/ 312892 h 389452"/>
                <a:gd name="csX93" fmla="*/ 639757 w 908602"/>
                <a:gd name="csY93" fmla="*/ 312892 h 389452"/>
                <a:gd name="csX94" fmla="*/ 639757 w 908602"/>
                <a:gd name="csY94" fmla="*/ 347116 h 389452"/>
                <a:gd name="csX95" fmla="*/ 612709 w 908602"/>
                <a:gd name="csY95" fmla="*/ 347116 h 389452"/>
                <a:gd name="csX96" fmla="*/ 637453 w 908602"/>
                <a:gd name="csY96" fmla="*/ 347116 h 389452"/>
                <a:gd name="csX97" fmla="*/ 637453 w 908602"/>
                <a:gd name="csY97" fmla="*/ 312892 h 389452"/>
                <a:gd name="csX98" fmla="*/ 612709 w 908602"/>
                <a:gd name="csY98" fmla="*/ 312892 h 389452"/>
                <a:gd name="csX99" fmla="*/ 610021 w 908602"/>
                <a:gd name="csY99" fmla="*/ 154818 h 389452"/>
                <a:gd name="csX100" fmla="*/ 638550 w 908602"/>
                <a:gd name="csY100" fmla="*/ 183336 h 389452"/>
                <a:gd name="csX101" fmla="*/ 667079 w 908602"/>
                <a:gd name="csY101" fmla="*/ 154818 h 389452"/>
                <a:gd name="csX102" fmla="*/ 667079 w 908602"/>
                <a:gd name="csY102" fmla="*/ 147587 h 389452"/>
                <a:gd name="csX103" fmla="*/ 610021 w 908602"/>
                <a:gd name="csY103" fmla="*/ 147587 h 389452"/>
                <a:gd name="csX104" fmla="*/ 582204 w 908602"/>
                <a:gd name="csY104" fmla="*/ 347116 h 389452"/>
                <a:gd name="csX105" fmla="*/ 608155 w 908602"/>
                <a:gd name="csY105" fmla="*/ 347116 h 389452"/>
                <a:gd name="csX106" fmla="*/ 608155 w 908602"/>
                <a:gd name="csY106" fmla="*/ 276385 h 389452"/>
                <a:gd name="csX107" fmla="*/ 582204 w 908602"/>
                <a:gd name="csY107" fmla="*/ 276385 h 389452"/>
                <a:gd name="csX108" fmla="*/ 368400 w 908602"/>
                <a:gd name="csY108" fmla="*/ 369237 h 389452"/>
                <a:gd name="csX109" fmla="*/ 524652 w 908602"/>
                <a:gd name="csY109" fmla="*/ 369237 h 389452"/>
                <a:gd name="csX110" fmla="*/ 524652 w 908602"/>
                <a:gd name="csY110" fmla="*/ 222931 h 389452"/>
                <a:gd name="csX111" fmla="*/ 368400 w 908602"/>
                <a:gd name="csY111" fmla="*/ 222931 h 389452"/>
                <a:gd name="csX112" fmla="*/ 285006 w 908602"/>
                <a:gd name="csY112" fmla="*/ 347116 h 389452"/>
                <a:gd name="csX113" fmla="*/ 310902 w 908602"/>
                <a:gd name="csY113" fmla="*/ 347116 h 389452"/>
                <a:gd name="csX114" fmla="*/ 310902 w 908602"/>
                <a:gd name="csY114" fmla="*/ 276385 h 389452"/>
                <a:gd name="csX115" fmla="*/ 285006 w 908602"/>
                <a:gd name="csY115" fmla="*/ 276385 h 389452"/>
                <a:gd name="csX116" fmla="*/ 228606 w 908602"/>
                <a:gd name="csY116" fmla="*/ 310609 h 389452"/>
                <a:gd name="csX117" fmla="*/ 253350 w 908602"/>
                <a:gd name="csY117" fmla="*/ 310609 h 389452"/>
                <a:gd name="csX118" fmla="*/ 253350 w 908602"/>
                <a:gd name="csY118" fmla="*/ 276385 h 389452"/>
                <a:gd name="csX119" fmla="*/ 228606 w 908602"/>
                <a:gd name="csY119" fmla="*/ 276385 h 389452"/>
                <a:gd name="csX120" fmla="*/ 255654 w 908602"/>
                <a:gd name="csY120" fmla="*/ 310609 h 389452"/>
                <a:gd name="csX121" fmla="*/ 280398 w 908602"/>
                <a:gd name="csY121" fmla="*/ 310609 h 389452"/>
                <a:gd name="csX122" fmla="*/ 280398 w 908602"/>
                <a:gd name="csY122" fmla="*/ 276385 h 389452"/>
                <a:gd name="csX123" fmla="*/ 255654 w 908602"/>
                <a:gd name="csY123" fmla="*/ 276385 h 389452"/>
                <a:gd name="csX124" fmla="*/ 280398 w 908602"/>
                <a:gd name="csY124" fmla="*/ 347116 h 389452"/>
                <a:gd name="csX125" fmla="*/ 280398 w 908602"/>
                <a:gd name="csY125" fmla="*/ 312892 h 389452"/>
                <a:gd name="csX126" fmla="*/ 255654 w 908602"/>
                <a:gd name="csY126" fmla="*/ 312892 h 389452"/>
                <a:gd name="csX127" fmla="*/ 255654 w 908602"/>
                <a:gd name="csY127" fmla="*/ 347116 h 389452"/>
                <a:gd name="csX128" fmla="*/ 228606 w 908602"/>
                <a:gd name="csY128" fmla="*/ 347116 h 389452"/>
                <a:gd name="csX129" fmla="*/ 253350 w 908602"/>
                <a:gd name="csY129" fmla="*/ 347116 h 389452"/>
                <a:gd name="csX130" fmla="*/ 253350 w 908602"/>
                <a:gd name="csY130" fmla="*/ 312892 h 389452"/>
                <a:gd name="csX131" fmla="*/ 228606 w 908602"/>
                <a:gd name="csY131" fmla="*/ 312892 h 389452"/>
                <a:gd name="csX132" fmla="*/ 225972 w 908602"/>
                <a:gd name="csY132" fmla="*/ 154818 h 389452"/>
                <a:gd name="csX133" fmla="*/ 254502 w 908602"/>
                <a:gd name="csY133" fmla="*/ 183336 h 389452"/>
                <a:gd name="csX134" fmla="*/ 283031 w 908602"/>
                <a:gd name="csY134" fmla="*/ 154818 h 389452"/>
                <a:gd name="csX135" fmla="*/ 283031 w 908602"/>
                <a:gd name="csY135" fmla="*/ 147587 h 389452"/>
                <a:gd name="csX136" fmla="*/ 225972 w 908602"/>
                <a:gd name="csY136" fmla="*/ 147587 h 389452"/>
                <a:gd name="csX137" fmla="*/ 198102 w 908602"/>
                <a:gd name="csY137" fmla="*/ 347116 h 389452"/>
                <a:gd name="csX138" fmla="*/ 224052 w 908602"/>
                <a:gd name="csY138" fmla="*/ 347116 h 389452"/>
                <a:gd name="csX139" fmla="*/ 224052 w 908602"/>
                <a:gd name="csY139" fmla="*/ 276385 h 389452"/>
                <a:gd name="csX140" fmla="*/ 198102 w 908602"/>
                <a:gd name="csY140" fmla="*/ 276385 h 389452"/>
                <a:gd name="csX141" fmla="*/ 92982 w 908602"/>
                <a:gd name="csY141" fmla="*/ 347116 h 389452"/>
                <a:gd name="csX142" fmla="*/ 118878 w 908602"/>
                <a:gd name="csY142" fmla="*/ 347116 h 389452"/>
                <a:gd name="csX143" fmla="*/ 118878 w 908602"/>
                <a:gd name="csY143" fmla="*/ 276385 h 389452"/>
                <a:gd name="csX144" fmla="*/ 92982 w 908602"/>
                <a:gd name="csY144" fmla="*/ 276385 h 389452"/>
                <a:gd name="csX145" fmla="*/ 36582 w 908602"/>
                <a:gd name="csY145" fmla="*/ 310609 h 389452"/>
                <a:gd name="csX146" fmla="*/ 61326 w 908602"/>
                <a:gd name="csY146" fmla="*/ 310609 h 389452"/>
                <a:gd name="csX147" fmla="*/ 61326 w 908602"/>
                <a:gd name="csY147" fmla="*/ 276385 h 389452"/>
                <a:gd name="csX148" fmla="*/ 36582 w 908602"/>
                <a:gd name="csY148" fmla="*/ 276385 h 389452"/>
                <a:gd name="csX149" fmla="*/ 63630 w 908602"/>
                <a:gd name="csY149" fmla="*/ 310609 h 389452"/>
                <a:gd name="csX150" fmla="*/ 88374 w 908602"/>
                <a:gd name="csY150" fmla="*/ 310609 h 389452"/>
                <a:gd name="csX151" fmla="*/ 88374 w 908602"/>
                <a:gd name="csY151" fmla="*/ 276385 h 389452"/>
                <a:gd name="csX152" fmla="*/ 63630 w 908602"/>
                <a:gd name="csY152" fmla="*/ 276385 h 389452"/>
                <a:gd name="csX153" fmla="*/ 88374 w 908602"/>
                <a:gd name="csY153" fmla="*/ 347116 h 389452"/>
                <a:gd name="csX154" fmla="*/ 88374 w 908602"/>
                <a:gd name="csY154" fmla="*/ 312892 h 389452"/>
                <a:gd name="csX155" fmla="*/ 63630 w 908602"/>
                <a:gd name="csY155" fmla="*/ 312892 h 389452"/>
                <a:gd name="csX156" fmla="*/ 63630 w 908602"/>
                <a:gd name="csY156" fmla="*/ 347116 h 389452"/>
                <a:gd name="csX157" fmla="*/ 36582 w 908602"/>
                <a:gd name="csY157" fmla="*/ 347116 h 389452"/>
                <a:gd name="csX158" fmla="*/ 61326 w 908602"/>
                <a:gd name="csY158" fmla="*/ 347116 h 389452"/>
                <a:gd name="csX159" fmla="*/ 61326 w 908602"/>
                <a:gd name="csY159" fmla="*/ 312892 h 389452"/>
                <a:gd name="csX160" fmla="*/ 36582 w 908602"/>
                <a:gd name="csY160" fmla="*/ 312892 h 389452"/>
                <a:gd name="csX161" fmla="*/ 33948 w 908602"/>
                <a:gd name="csY161" fmla="*/ 154818 h 389452"/>
                <a:gd name="csX162" fmla="*/ 62478 w 908602"/>
                <a:gd name="csY162" fmla="*/ 183336 h 389452"/>
                <a:gd name="csX163" fmla="*/ 91007 w 908602"/>
                <a:gd name="csY163" fmla="*/ 154818 h 389452"/>
                <a:gd name="csX164" fmla="*/ 91007 w 908602"/>
                <a:gd name="csY164" fmla="*/ 147587 h 389452"/>
                <a:gd name="csX165" fmla="*/ 33948 w 908602"/>
                <a:gd name="csY165" fmla="*/ 147587 h 389452"/>
                <a:gd name="csX166" fmla="*/ 6078 w 908602"/>
                <a:gd name="csY166" fmla="*/ 347116 h 389452"/>
                <a:gd name="csX167" fmla="*/ 32028 w 908602"/>
                <a:gd name="csY167" fmla="*/ 347116 h 389452"/>
                <a:gd name="csX168" fmla="*/ 32028 w 908602"/>
                <a:gd name="csY168" fmla="*/ 276385 h 389452"/>
                <a:gd name="csX169" fmla="*/ 6078 w 908602"/>
                <a:gd name="csY169" fmla="*/ 276385 h 389452"/>
                <a:gd name="csX170" fmla="*/ 6078 w 908602"/>
                <a:gd name="csY170" fmla="*/ 347116 h 38945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 ang="0">
                  <a:pos x="csX97" y="csY97"/>
                </a:cxn>
                <a:cxn ang="0">
                  <a:pos x="csX98" y="csY98"/>
                </a:cxn>
                <a:cxn ang="0">
                  <a:pos x="csX99" y="csY99"/>
                </a:cxn>
                <a:cxn ang="0">
                  <a:pos x="csX100" y="csY100"/>
                </a:cxn>
                <a:cxn ang="0">
                  <a:pos x="csX101" y="csY101"/>
                </a:cxn>
                <a:cxn ang="0">
                  <a:pos x="csX102" y="csY102"/>
                </a:cxn>
                <a:cxn ang="0">
                  <a:pos x="csX103" y="csY103"/>
                </a:cxn>
                <a:cxn ang="0">
                  <a:pos x="csX104" y="csY104"/>
                </a:cxn>
                <a:cxn ang="0">
                  <a:pos x="csX105" y="csY105"/>
                </a:cxn>
                <a:cxn ang="0">
                  <a:pos x="csX106" y="csY106"/>
                </a:cxn>
                <a:cxn ang="0">
                  <a:pos x="csX107" y="csY107"/>
                </a:cxn>
                <a:cxn ang="0">
                  <a:pos x="csX108" y="csY108"/>
                </a:cxn>
                <a:cxn ang="0">
                  <a:pos x="csX109" y="csY109"/>
                </a:cxn>
                <a:cxn ang="0">
                  <a:pos x="csX110" y="csY110"/>
                </a:cxn>
                <a:cxn ang="0">
                  <a:pos x="csX111" y="csY111"/>
                </a:cxn>
                <a:cxn ang="0">
                  <a:pos x="csX112" y="csY112"/>
                </a:cxn>
                <a:cxn ang="0">
                  <a:pos x="csX113" y="csY113"/>
                </a:cxn>
                <a:cxn ang="0">
                  <a:pos x="csX114" y="csY114"/>
                </a:cxn>
                <a:cxn ang="0">
                  <a:pos x="csX115" y="csY115"/>
                </a:cxn>
                <a:cxn ang="0">
                  <a:pos x="csX116" y="csY116"/>
                </a:cxn>
                <a:cxn ang="0">
                  <a:pos x="csX117" y="csY117"/>
                </a:cxn>
                <a:cxn ang="0">
                  <a:pos x="csX118" y="csY118"/>
                </a:cxn>
                <a:cxn ang="0">
                  <a:pos x="csX119" y="csY119"/>
                </a:cxn>
                <a:cxn ang="0">
                  <a:pos x="csX120" y="csY120"/>
                </a:cxn>
                <a:cxn ang="0">
                  <a:pos x="csX121" y="csY121"/>
                </a:cxn>
                <a:cxn ang="0">
                  <a:pos x="csX122" y="csY122"/>
                </a:cxn>
                <a:cxn ang="0">
                  <a:pos x="csX123" y="csY123"/>
                </a:cxn>
                <a:cxn ang="0">
                  <a:pos x="csX124" y="csY124"/>
                </a:cxn>
                <a:cxn ang="0">
                  <a:pos x="csX125" y="csY125"/>
                </a:cxn>
                <a:cxn ang="0">
                  <a:pos x="csX126" y="csY126"/>
                </a:cxn>
                <a:cxn ang="0">
                  <a:pos x="csX127" y="csY127"/>
                </a:cxn>
                <a:cxn ang="0">
                  <a:pos x="csX128" y="csY128"/>
                </a:cxn>
                <a:cxn ang="0">
                  <a:pos x="csX129" y="csY129"/>
                </a:cxn>
                <a:cxn ang="0">
                  <a:pos x="csX130" y="csY130"/>
                </a:cxn>
                <a:cxn ang="0">
                  <a:pos x="csX131" y="csY131"/>
                </a:cxn>
                <a:cxn ang="0">
                  <a:pos x="csX132" y="csY132"/>
                </a:cxn>
                <a:cxn ang="0">
                  <a:pos x="csX133" y="csY133"/>
                </a:cxn>
                <a:cxn ang="0">
                  <a:pos x="csX134" y="csY134"/>
                </a:cxn>
                <a:cxn ang="0">
                  <a:pos x="csX135" y="csY135"/>
                </a:cxn>
                <a:cxn ang="0">
                  <a:pos x="csX136" y="csY136"/>
                </a:cxn>
                <a:cxn ang="0">
                  <a:pos x="csX137" y="csY137"/>
                </a:cxn>
                <a:cxn ang="0">
                  <a:pos x="csX138" y="csY138"/>
                </a:cxn>
                <a:cxn ang="0">
                  <a:pos x="csX139" y="csY139"/>
                </a:cxn>
                <a:cxn ang="0">
                  <a:pos x="csX140" y="csY140"/>
                </a:cxn>
                <a:cxn ang="0">
                  <a:pos x="csX141" y="csY141"/>
                </a:cxn>
                <a:cxn ang="0">
                  <a:pos x="csX142" y="csY142"/>
                </a:cxn>
                <a:cxn ang="0">
                  <a:pos x="csX143" y="csY143"/>
                </a:cxn>
                <a:cxn ang="0">
                  <a:pos x="csX144" y="csY144"/>
                </a:cxn>
                <a:cxn ang="0">
                  <a:pos x="csX145" y="csY145"/>
                </a:cxn>
                <a:cxn ang="0">
                  <a:pos x="csX146" y="csY146"/>
                </a:cxn>
                <a:cxn ang="0">
                  <a:pos x="csX147" y="csY147"/>
                </a:cxn>
                <a:cxn ang="0">
                  <a:pos x="csX148" y="csY148"/>
                </a:cxn>
                <a:cxn ang="0">
                  <a:pos x="csX149" y="csY149"/>
                </a:cxn>
                <a:cxn ang="0">
                  <a:pos x="csX150" y="csY150"/>
                </a:cxn>
                <a:cxn ang="0">
                  <a:pos x="csX151" y="csY151"/>
                </a:cxn>
                <a:cxn ang="0">
                  <a:pos x="csX152" y="csY152"/>
                </a:cxn>
                <a:cxn ang="0">
                  <a:pos x="csX153" y="csY153"/>
                </a:cxn>
                <a:cxn ang="0">
                  <a:pos x="csX154" y="csY154"/>
                </a:cxn>
                <a:cxn ang="0">
                  <a:pos x="csX155" y="csY155"/>
                </a:cxn>
                <a:cxn ang="0">
                  <a:pos x="csX156" y="csY156"/>
                </a:cxn>
                <a:cxn ang="0">
                  <a:pos x="csX157" y="csY157"/>
                </a:cxn>
                <a:cxn ang="0">
                  <a:pos x="csX158" y="csY158"/>
                </a:cxn>
                <a:cxn ang="0">
                  <a:pos x="csX159" y="csY159"/>
                </a:cxn>
                <a:cxn ang="0">
                  <a:pos x="csX160" y="csY160"/>
                </a:cxn>
                <a:cxn ang="0">
                  <a:pos x="csX161" y="csY161"/>
                </a:cxn>
                <a:cxn ang="0">
                  <a:pos x="csX162" y="csY162"/>
                </a:cxn>
                <a:cxn ang="0">
                  <a:pos x="csX163" y="csY163"/>
                </a:cxn>
                <a:cxn ang="0">
                  <a:pos x="csX164" y="csY164"/>
                </a:cxn>
                <a:cxn ang="0">
                  <a:pos x="csX165" y="csY165"/>
                </a:cxn>
                <a:cxn ang="0">
                  <a:pos x="csX166" y="csY166"/>
                </a:cxn>
                <a:cxn ang="0">
                  <a:pos x="csX167" y="csY167"/>
                </a:cxn>
                <a:cxn ang="0">
                  <a:pos x="csX168" y="csY168"/>
                </a:cxn>
                <a:cxn ang="0">
                  <a:pos x="csX169" y="csY169"/>
                </a:cxn>
                <a:cxn ang="0">
                  <a:pos x="csX170" y="csY170"/>
                </a:cxn>
              </a:cxnLst>
              <a:rect l="l" t="t" r="r" b="b"/>
              <a:pathLst>
                <a:path w="908602" h="389452">
                  <a:moveTo>
                    <a:pt x="-7803" y="-4458"/>
                  </a:moveTo>
                  <a:lnTo>
                    <a:pt x="900800" y="-4458"/>
                  </a:lnTo>
                  <a:lnTo>
                    <a:pt x="900800" y="384994"/>
                  </a:lnTo>
                  <a:lnTo>
                    <a:pt x="-7803" y="384994"/>
                  </a:lnTo>
                  <a:close/>
                  <a:moveTo>
                    <a:pt x="33948" y="73334"/>
                  </a:moveTo>
                  <a:lnTo>
                    <a:pt x="33948" y="145304"/>
                  </a:lnTo>
                  <a:lnTo>
                    <a:pt x="61326" y="145304"/>
                  </a:lnTo>
                  <a:lnTo>
                    <a:pt x="61326" y="73334"/>
                  </a:lnTo>
                  <a:close/>
                  <a:moveTo>
                    <a:pt x="91007" y="73334"/>
                  </a:moveTo>
                  <a:lnTo>
                    <a:pt x="63630" y="73334"/>
                  </a:lnTo>
                  <a:lnTo>
                    <a:pt x="63630" y="145304"/>
                  </a:lnTo>
                  <a:lnTo>
                    <a:pt x="91007" y="145304"/>
                  </a:lnTo>
                  <a:close/>
                  <a:moveTo>
                    <a:pt x="225972" y="73334"/>
                  </a:moveTo>
                  <a:lnTo>
                    <a:pt x="225972" y="145304"/>
                  </a:lnTo>
                  <a:lnTo>
                    <a:pt x="253350" y="145304"/>
                  </a:lnTo>
                  <a:lnTo>
                    <a:pt x="253350" y="73334"/>
                  </a:lnTo>
                  <a:close/>
                  <a:moveTo>
                    <a:pt x="283031" y="73334"/>
                  </a:moveTo>
                  <a:lnTo>
                    <a:pt x="255654" y="73334"/>
                  </a:lnTo>
                  <a:lnTo>
                    <a:pt x="255654" y="145304"/>
                  </a:lnTo>
                  <a:lnTo>
                    <a:pt x="283031" y="145304"/>
                  </a:lnTo>
                  <a:close/>
                  <a:moveTo>
                    <a:pt x="475055" y="147587"/>
                  </a:moveTo>
                  <a:lnTo>
                    <a:pt x="417996" y="147587"/>
                  </a:lnTo>
                  <a:lnTo>
                    <a:pt x="417996" y="154818"/>
                  </a:lnTo>
                  <a:cubicBezTo>
                    <a:pt x="417996" y="170575"/>
                    <a:pt x="430780" y="183336"/>
                    <a:pt x="446526" y="183336"/>
                  </a:cubicBezTo>
                  <a:cubicBezTo>
                    <a:pt x="462272" y="183336"/>
                    <a:pt x="475055" y="170575"/>
                    <a:pt x="475055" y="154818"/>
                  </a:cubicBezTo>
                  <a:close/>
                  <a:moveTo>
                    <a:pt x="417996" y="73334"/>
                  </a:moveTo>
                  <a:lnTo>
                    <a:pt x="417996" y="145304"/>
                  </a:lnTo>
                  <a:lnTo>
                    <a:pt x="445374" y="145304"/>
                  </a:lnTo>
                  <a:lnTo>
                    <a:pt x="445374" y="73334"/>
                  </a:lnTo>
                  <a:close/>
                  <a:moveTo>
                    <a:pt x="475055" y="73334"/>
                  </a:moveTo>
                  <a:lnTo>
                    <a:pt x="447678" y="73334"/>
                  </a:lnTo>
                  <a:lnTo>
                    <a:pt x="447678" y="145304"/>
                  </a:lnTo>
                  <a:lnTo>
                    <a:pt x="475055" y="145304"/>
                  </a:lnTo>
                  <a:close/>
                  <a:moveTo>
                    <a:pt x="610021" y="73334"/>
                  </a:moveTo>
                  <a:lnTo>
                    <a:pt x="610021" y="145304"/>
                  </a:lnTo>
                  <a:lnTo>
                    <a:pt x="637398" y="145304"/>
                  </a:lnTo>
                  <a:lnTo>
                    <a:pt x="637398" y="73334"/>
                  </a:lnTo>
                  <a:close/>
                  <a:moveTo>
                    <a:pt x="667079" y="73334"/>
                  </a:moveTo>
                  <a:lnTo>
                    <a:pt x="639702" y="73334"/>
                  </a:lnTo>
                  <a:lnTo>
                    <a:pt x="639702" y="145304"/>
                  </a:lnTo>
                  <a:lnTo>
                    <a:pt x="667079" y="145304"/>
                  </a:lnTo>
                  <a:close/>
                  <a:moveTo>
                    <a:pt x="802045" y="73334"/>
                  </a:moveTo>
                  <a:lnTo>
                    <a:pt x="802045" y="145304"/>
                  </a:lnTo>
                  <a:lnTo>
                    <a:pt x="829422" y="145304"/>
                  </a:lnTo>
                  <a:lnTo>
                    <a:pt x="829422" y="73334"/>
                  </a:lnTo>
                  <a:close/>
                  <a:moveTo>
                    <a:pt x="859103" y="73334"/>
                  </a:moveTo>
                  <a:lnTo>
                    <a:pt x="831726" y="73334"/>
                  </a:lnTo>
                  <a:lnTo>
                    <a:pt x="831726" y="145304"/>
                  </a:lnTo>
                  <a:lnTo>
                    <a:pt x="859103" y="145304"/>
                  </a:lnTo>
                  <a:close/>
                  <a:moveTo>
                    <a:pt x="861133" y="347116"/>
                  </a:moveTo>
                  <a:lnTo>
                    <a:pt x="887029" y="347116"/>
                  </a:lnTo>
                  <a:lnTo>
                    <a:pt x="887029" y="276385"/>
                  </a:lnTo>
                  <a:lnTo>
                    <a:pt x="861133" y="276385"/>
                  </a:lnTo>
                  <a:close/>
                  <a:moveTo>
                    <a:pt x="856524" y="347116"/>
                  </a:moveTo>
                  <a:lnTo>
                    <a:pt x="856524" y="276385"/>
                  </a:lnTo>
                  <a:lnTo>
                    <a:pt x="830574" y="276385"/>
                  </a:lnTo>
                  <a:lnTo>
                    <a:pt x="830574" y="310609"/>
                  </a:lnTo>
                  <a:lnTo>
                    <a:pt x="855318" y="310609"/>
                  </a:lnTo>
                  <a:cubicBezTo>
                    <a:pt x="855976" y="310609"/>
                    <a:pt x="856470" y="311120"/>
                    <a:pt x="856470" y="311751"/>
                  </a:cubicBezTo>
                  <a:cubicBezTo>
                    <a:pt x="856470" y="312382"/>
                    <a:pt x="855976" y="312892"/>
                    <a:pt x="855318" y="312892"/>
                  </a:cubicBezTo>
                  <a:lnTo>
                    <a:pt x="830574" y="312892"/>
                  </a:lnTo>
                  <a:lnTo>
                    <a:pt x="830574" y="347116"/>
                  </a:lnTo>
                  <a:close/>
                  <a:moveTo>
                    <a:pt x="804733" y="310609"/>
                  </a:moveTo>
                  <a:lnTo>
                    <a:pt x="828269" y="310609"/>
                  </a:lnTo>
                  <a:lnTo>
                    <a:pt x="828269" y="276385"/>
                  </a:lnTo>
                  <a:lnTo>
                    <a:pt x="804733" y="276385"/>
                  </a:lnTo>
                  <a:close/>
                  <a:moveTo>
                    <a:pt x="828269" y="347116"/>
                  </a:moveTo>
                  <a:lnTo>
                    <a:pt x="828269" y="312892"/>
                  </a:lnTo>
                  <a:lnTo>
                    <a:pt x="804733" y="312892"/>
                  </a:lnTo>
                  <a:lnTo>
                    <a:pt x="804733" y="347116"/>
                  </a:lnTo>
                  <a:close/>
                  <a:moveTo>
                    <a:pt x="802045" y="154818"/>
                  </a:moveTo>
                  <a:cubicBezTo>
                    <a:pt x="802045" y="170575"/>
                    <a:pt x="814828" y="183336"/>
                    <a:pt x="830574" y="183336"/>
                  </a:cubicBezTo>
                  <a:cubicBezTo>
                    <a:pt x="846320" y="183336"/>
                    <a:pt x="859103" y="170575"/>
                    <a:pt x="859103" y="154818"/>
                  </a:cubicBezTo>
                  <a:lnTo>
                    <a:pt x="859103" y="147587"/>
                  </a:lnTo>
                  <a:lnTo>
                    <a:pt x="802045" y="147587"/>
                  </a:lnTo>
                  <a:close/>
                  <a:moveTo>
                    <a:pt x="774228" y="347116"/>
                  </a:moveTo>
                  <a:lnTo>
                    <a:pt x="800179" y="347116"/>
                  </a:lnTo>
                  <a:lnTo>
                    <a:pt x="800179" y="276385"/>
                  </a:lnTo>
                  <a:lnTo>
                    <a:pt x="774228" y="276385"/>
                  </a:lnTo>
                  <a:close/>
                  <a:moveTo>
                    <a:pt x="669109" y="347116"/>
                  </a:moveTo>
                  <a:lnTo>
                    <a:pt x="695005" y="347116"/>
                  </a:lnTo>
                  <a:lnTo>
                    <a:pt x="695005" y="276385"/>
                  </a:lnTo>
                  <a:lnTo>
                    <a:pt x="669109" y="276385"/>
                  </a:lnTo>
                  <a:close/>
                  <a:moveTo>
                    <a:pt x="612709" y="310609"/>
                  </a:moveTo>
                  <a:lnTo>
                    <a:pt x="637453" y="310609"/>
                  </a:lnTo>
                  <a:lnTo>
                    <a:pt x="637453" y="276385"/>
                  </a:lnTo>
                  <a:lnTo>
                    <a:pt x="612709" y="276385"/>
                  </a:lnTo>
                  <a:close/>
                  <a:moveTo>
                    <a:pt x="639757" y="310609"/>
                  </a:moveTo>
                  <a:lnTo>
                    <a:pt x="664500" y="310609"/>
                  </a:lnTo>
                  <a:lnTo>
                    <a:pt x="664500" y="276385"/>
                  </a:lnTo>
                  <a:lnTo>
                    <a:pt x="639757" y="276385"/>
                  </a:lnTo>
                  <a:close/>
                  <a:moveTo>
                    <a:pt x="664500" y="347116"/>
                  </a:moveTo>
                  <a:lnTo>
                    <a:pt x="664500" y="312892"/>
                  </a:lnTo>
                  <a:lnTo>
                    <a:pt x="639757" y="312892"/>
                  </a:lnTo>
                  <a:lnTo>
                    <a:pt x="639757" y="347116"/>
                  </a:lnTo>
                  <a:close/>
                  <a:moveTo>
                    <a:pt x="612709" y="347116"/>
                  </a:moveTo>
                  <a:lnTo>
                    <a:pt x="637453" y="347116"/>
                  </a:lnTo>
                  <a:lnTo>
                    <a:pt x="637453" y="312892"/>
                  </a:lnTo>
                  <a:lnTo>
                    <a:pt x="612709" y="312892"/>
                  </a:lnTo>
                  <a:close/>
                  <a:moveTo>
                    <a:pt x="610021" y="154818"/>
                  </a:moveTo>
                  <a:cubicBezTo>
                    <a:pt x="610021" y="170575"/>
                    <a:pt x="622804" y="183336"/>
                    <a:pt x="638550" y="183336"/>
                  </a:cubicBezTo>
                  <a:cubicBezTo>
                    <a:pt x="654296" y="183336"/>
                    <a:pt x="667079" y="170575"/>
                    <a:pt x="667079" y="154818"/>
                  </a:cubicBezTo>
                  <a:lnTo>
                    <a:pt x="667079" y="147587"/>
                  </a:lnTo>
                  <a:lnTo>
                    <a:pt x="610021" y="147587"/>
                  </a:lnTo>
                  <a:close/>
                  <a:moveTo>
                    <a:pt x="582204" y="347116"/>
                  </a:moveTo>
                  <a:lnTo>
                    <a:pt x="608155" y="347116"/>
                  </a:lnTo>
                  <a:lnTo>
                    <a:pt x="608155" y="276385"/>
                  </a:lnTo>
                  <a:lnTo>
                    <a:pt x="582204" y="276385"/>
                  </a:lnTo>
                  <a:close/>
                  <a:moveTo>
                    <a:pt x="368400" y="369237"/>
                  </a:moveTo>
                  <a:lnTo>
                    <a:pt x="524652" y="369237"/>
                  </a:lnTo>
                  <a:lnTo>
                    <a:pt x="524652" y="222931"/>
                  </a:lnTo>
                  <a:lnTo>
                    <a:pt x="368400" y="222931"/>
                  </a:lnTo>
                  <a:close/>
                  <a:moveTo>
                    <a:pt x="285006" y="347116"/>
                  </a:moveTo>
                  <a:lnTo>
                    <a:pt x="310902" y="347116"/>
                  </a:lnTo>
                  <a:lnTo>
                    <a:pt x="310902" y="276385"/>
                  </a:lnTo>
                  <a:lnTo>
                    <a:pt x="285006" y="276385"/>
                  </a:lnTo>
                  <a:close/>
                  <a:moveTo>
                    <a:pt x="228606" y="310609"/>
                  </a:moveTo>
                  <a:lnTo>
                    <a:pt x="253350" y="310609"/>
                  </a:lnTo>
                  <a:lnTo>
                    <a:pt x="253350" y="276385"/>
                  </a:lnTo>
                  <a:lnTo>
                    <a:pt x="228606" y="276385"/>
                  </a:lnTo>
                  <a:close/>
                  <a:moveTo>
                    <a:pt x="255654" y="310609"/>
                  </a:moveTo>
                  <a:lnTo>
                    <a:pt x="280398" y="310609"/>
                  </a:lnTo>
                  <a:lnTo>
                    <a:pt x="280398" y="276385"/>
                  </a:lnTo>
                  <a:lnTo>
                    <a:pt x="255654" y="276385"/>
                  </a:lnTo>
                  <a:close/>
                  <a:moveTo>
                    <a:pt x="280398" y="347116"/>
                  </a:moveTo>
                  <a:lnTo>
                    <a:pt x="280398" y="312892"/>
                  </a:lnTo>
                  <a:lnTo>
                    <a:pt x="255654" y="312892"/>
                  </a:lnTo>
                  <a:lnTo>
                    <a:pt x="255654" y="347116"/>
                  </a:lnTo>
                  <a:close/>
                  <a:moveTo>
                    <a:pt x="228606" y="347116"/>
                  </a:moveTo>
                  <a:lnTo>
                    <a:pt x="253350" y="347116"/>
                  </a:lnTo>
                  <a:lnTo>
                    <a:pt x="253350" y="312892"/>
                  </a:lnTo>
                  <a:lnTo>
                    <a:pt x="228606" y="312892"/>
                  </a:lnTo>
                  <a:close/>
                  <a:moveTo>
                    <a:pt x="225972" y="154818"/>
                  </a:moveTo>
                  <a:cubicBezTo>
                    <a:pt x="225972" y="170575"/>
                    <a:pt x="238756" y="183336"/>
                    <a:pt x="254502" y="183336"/>
                  </a:cubicBezTo>
                  <a:cubicBezTo>
                    <a:pt x="270248" y="183336"/>
                    <a:pt x="283031" y="170575"/>
                    <a:pt x="283031" y="154818"/>
                  </a:cubicBezTo>
                  <a:lnTo>
                    <a:pt x="283031" y="147587"/>
                  </a:lnTo>
                  <a:lnTo>
                    <a:pt x="225972" y="147587"/>
                  </a:lnTo>
                  <a:close/>
                  <a:moveTo>
                    <a:pt x="198102" y="347116"/>
                  </a:moveTo>
                  <a:lnTo>
                    <a:pt x="224052" y="347116"/>
                  </a:lnTo>
                  <a:lnTo>
                    <a:pt x="224052" y="276385"/>
                  </a:lnTo>
                  <a:lnTo>
                    <a:pt x="198102" y="276385"/>
                  </a:lnTo>
                  <a:close/>
                  <a:moveTo>
                    <a:pt x="92982" y="347116"/>
                  </a:moveTo>
                  <a:lnTo>
                    <a:pt x="118878" y="347116"/>
                  </a:lnTo>
                  <a:lnTo>
                    <a:pt x="118878" y="276385"/>
                  </a:lnTo>
                  <a:lnTo>
                    <a:pt x="92982" y="276385"/>
                  </a:lnTo>
                  <a:close/>
                  <a:moveTo>
                    <a:pt x="36582" y="310609"/>
                  </a:moveTo>
                  <a:lnTo>
                    <a:pt x="61326" y="310609"/>
                  </a:lnTo>
                  <a:lnTo>
                    <a:pt x="61326" y="276385"/>
                  </a:lnTo>
                  <a:lnTo>
                    <a:pt x="36582" y="276385"/>
                  </a:lnTo>
                  <a:close/>
                  <a:moveTo>
                    <a:pt x="63630" y="310609"/>
                  </a:moveTo>
                  <a:lnTo>
                    <a:pt x="88374" y="310609"/>
                  </a:lnTo>
                  <a:lnTo>
                    <a:pt x="88374" y="276385"/>
                  </a:lnTo>
                  <a:lnTo>
                    <a:pt x="63630" y="276385"/>
                  </a:lnTo>
                  <a:close/>
                  <a:moveTo>
                    <a:pt x="88374" y="347116"/>
                  </a:moveTo>
                  <a:lnTo>
                    <a:pt x="88374" y="312892"/>
                  </a:lnTo>
                  <a:lnTo>
                    <a:pt x="63630" y="312892"/>
                  </a:lnTo>
                  <a:lnTo>
                    <a:pt x="63630" y="347116"/>
                  </a:lnTo>
                  <a:close/>
                  <a:moveTo>
                    <a:pt x="36582" y="347116"/>
                  </a:moveTo>
                  <a:lnTo>
                    <a:pt x="61326" y="347116"/>
                  </a:lnTo>
                  <a:lnTo>
                    <a:pt x="61326" y="312892"/>
                  </a:lnTo>
                  <a:lnTo>
                    <a:pt x="36582" y="312892"/>
                  </a:lnTo>
                  <a:close/>
                  <a:moveTo>
                    <a:pt x="33948" y="154818"/>
                  </a:moveTo>
                  <a:cubicBezTo>
                    <a:pt x="33948" y="170575"/>
                    <a:pt x="46732" y="183336"/>
                    <a:pt x="62478" y="183336"/>
                  </a:cubicBezTo>
                  <a:cubicBezTo>
                    <a:pt x="78224" y="183336"/>
                    <a:pt x="91007" y="170575"/>
                    <a:pt x="91007" y="154818"/>
                  </a:cubicBezTo>
                  <a:lnTo>
                    <a:pt x="91007" y="147587"/>
                  </a:lnTo>
                  <a:lnTo>
                    <a:pt x="33948" y="147587"/>
                  </a:lnTo>
                  <a:close/>
                  <a:moveTo>
                    <a:pt x="6078" y="347116"/>
                  </a:moveTo>
                  <a:lnTo>
                    <a:pt x="32028" y="347116"/>
                  </a:lnTo>
                  <a:lnTo>
                    <a:pt x="32028" y="276385"/>
                  </a:lnTo>
                  <a:lnTo>
                    <a:pt x="6078" y="276385"/>
                  </a:lnTo>
                  <a:lnTo>
                    <a:pt x="6078" y="347116"/>
                  </a:lnTo>
                </a:path>
              </a:pathLst>
            </a:custGeom>
            <a:grpFill/>
            <a:ln w="548" cap="flat">
              <a:noFill/>
              <a:prstDash val="solid"/>
              <a:miter/>
            </a:ln>
          </p:spPr>
          <p:txBody>
            <a:bodyPr/>
            <a:lstStyle/>
            <a:p>
              <a:endParaRPr lang="en-US"/>
            </a:p>
          </p:txBody>
        </p:sp>
        <p:sp>
          <p:nvSpPr>
            <p:cNvPr id="509" name="Freeform: Shape 508">
              <a:extLst>
                <a:ext uri="{FF2B5EF4-FFF2-40B4-BE49-F238E27FC236}">
                  <a16:creationId xmlns:a16="http://schemas.microsoft.com/office/drawing/2014/main" id="{DB542C01-8595-5F05-4D8C-D7DA3C621E3B}"/>
                </a:ext>
              </a:extLst>
            </p:cNvPr>
            <p:cNvSpPr/>
            <p:nvPr/>
          </p:nvSpPr>
          <p:spPr>
            <a:xfrm flipV="1">
              <a:off x="23345526" y="4581270"/>
              <a:ext cx="24743" cy="34224"/>
            </a:xfrm>
            <a:custGeom>
              <a:avLst/>
              <a:gdLst>
                <a:gd name="csX0" fmla="*/ 16958 w 24743"/>
                <a:gd name="csY0" fmla="*/ 29452 h 34224"/>
                <a:gd name="csX1" fmla="*/ -7786 w 24743"/>
                <a:gd name="csY1" fmla="*/ 29452 h 34224"/>
                <a:gd name="csX2" fmla="*/ -7786 w 24743"/>
                <a:gd name="csY2" fmla="*/ -4772 h 34224"/>
                <a:gd name="csX3" fmla="*/ 16958 w 24743"/>
                <a:gd name="csY3" fmla="*/ -4772 h 34224"/>
                <a:gd name="csX4" fmla="*/ 16958 w 24743"/>
                <a:gd name="csY4" fmla="*/ 29452 h 34224"/>
              </a:gdLst>
              <a:ahLst/>
              <a:cxnLst>
                <a:cxn ang="0">
                  <a:pos x="csX0" y="csY0"/>
                </a:cxn>
                <a:cxn ang="0">
                  <a:pos x="csX1" y="csY1"/>
                </a:cxn>
                <a:cxn ang="0">
                  <a:pos x="csX2" y="csY2"/>
                </a:cxn>
                <a:cxn ang="0">
                  <a:pos x="csX3" y="csY3"/>
                </a:cxn>
                <a:cxn ang="0">
                  <a:pos x="csX4" y="csY4"/>
                </a:cxn>
              </a:cxnLst>
              <a:rect l="l" t="t" r="r" b="b"/>
              <a:pathLst>
                <a:path w="24743" h="34224">
                  <a:moveTo>
                    <a:pt x="16958" y="29452"/>
                  </a:moveTo>
                  <a:lnTo>
                    <a:pt x="-7786" y="29452"/>
                  </a:lnTo>
                  <a:lnTo>
                    <a:pt x="-7786" y="-4772"/>
                  </a:lnTo>
                  <a:lnTo>
                    <a:pt x="16958" y="-4772"/>
                  </a:lnTo>
                  <a:lnTo>
                    <a:pt x="16958" y="29452"/>
                  </a:lnTo>
                </a:path>
              </a:pathLst>
            </a:custGeom>
            <a:grpFill/>
            <a:ln w="548" cap="flat">
              <a:noFill/>
              <a:prstDash val="solid"/>
              <a:miter/>
            </a:ln>
          </p:spPr>
          <p:txBody>
            <a:bodyPr/>
            <a:lstStyle/>
            <a:p>
              <a:endParaRPr lang="en-US"/>
            </a:p>
          </p:txBody>
        </p:sp>
        <p:sp>
          <p:nvSpPr>
            <p:cNvPr id="510" name="Freeform: Shape 509">
              <a:extLst>
                <a:ext uri="{FF2B5EF4-FFF2-40B4-BE49-F238E27FC236}">
                  <a16:creationId xmlns:a16="http://schemas.microsoft.com/office/drawing/2014/main" id="{FADD0652-D140-EE8B-5930-98135C502D30}"/>
                </a:ext>
              </a:extLst>
            </p:cNvPr>
            <p:cNvSpPr/>
            <p:nvPr/>
          </p:nvSpPr>
          <p:spPr>
            <a:xfrm flipV="1">
              <a:off x="23372574" y="4581270"/>
              <a:ext cx="24743" cy="34224"/>
            </a:xfrm>
            <a:custGeom>
              <a:avLst/>
              <a:gdLst>
                <a:gd name="csX0" fmla="*/ 16924 w 24743"/>
                <a:gd name="csY0" fmla="*/ 29452 h 34224"/>
                <a:gd name="csX1" fmla="*/ -7820 w 24743"/>
                <a:gd name="csY1" fmla="*/ 29452 h 34224"/>
                <a:gd name="csX2" fmla="*/ -7820 w 24743"/>
                <a:gd name="csY2" fmla="*/ -4772 h 34224"/>
                <a:gd name="csX3" fmla="*/ 16924 w 24743"/>
                <a:gd name="csY3" fmla="*/ -4772 h 34224"/>
                <a:gd name="csX4" fmla="*/ 16924 w 24743"/>
                <a:gd name="csY4" fmla="*/ 29452 h 34224"/>
              </a:gdLst>
              <a:ahLst/>
              <a:cxnLst>
                <a:cxn ang="0">
                  <a:pos x="csX0" y="csY0"/>
                </a:cxn>
                <a:cxn ang="0">
                  <a:pos x="csX1" y="csY1"/>
                </a:cxn>
                <a:cxn ang="0">
                  <a:pos x="csX2" y="csY2"/>
                </a:cxn>
                <a:cxn ang="0">
                  <a:pos x="csX3" y="csY3"/>
                </a:cxn>
                <a:cxn ang="0">
                  <a:pos x="csX4" y="csY4"/>
                </a:cxn>
              </a:cxnLst>
              <a:rect l="l" t="t" r="r" b="b"/>
              <a:pathLst>
                <a:path w="24743" h="34224">
                  <a:moveTo>
                    <a:pt x="16924" y="29452"/>
                  </a:moveTo>
                  <a:lnTo>
                    <a:pt x="-7820" y="29452"/>
                  </a:lnTo>
                  <a:lnTo>
                    <a:pt x="-7820" y="-4772"/>
                  </a:lnTo>
                  <a:lnTo>
                    <a:pt x="16924" y="-4772"/>
                  </a:lnTo>
                  <a:lnTo>
                    <a:pt x="16924" y="29452"/>
                  </a:lnTo>
                </a:path>
              </a:pathLst>
            </a:custGeom>
            <a:grpFill/>
            <a:ln w="548" cap="flat">
              <a:noFill/>
              <a:prstDash val="solid"/>
              <a:miter/>
            </a:ln>
          </p:spPr>
          <p:txBody>
            <a:bodyPr/>
            <a:lstStyle/>
            <a:p>
              <a:endParaRPr lang="en-US"/>
            </a:p>
          </p:txBody>
        </p:sp>
        <p:sp>
          <p:nvSpPr>
            <p:cNvPr id="511" name="Freeform: Shape 510">
              <a:extLst>
                <a:ext uri="{FF2B5EF4-FFF2-40B4-BE49-F238E27FC236}">
                  <a16:creationId xmlns:a16="http://schemas.microsoft.com/office/drawing/2014/main" id="{E391AABA-D7AC-0B50-8698-33E78E6DDCE5}"/>
                </a:ext>
              </a:extLst>
            </p:cNvPr>
            <p:cNvSpPr/>
            <p:nvPr/>
          </p:nvSpPr>
          <p:spPr>
            <a:xfrm flipV="1">
              <a:off x="23372574" y="4617777"/>
              <a:ext cx="24743" cy="34224"/>
            </a:xfrm>
            <a:custGeom>
              <a:avLst/>
              <a:gdLst>
                <a:gd name="csX0" fmla="*/ 16924 w 24743"/>
                <a:gd name="csY0" fmla="*/ 29540 h 34224"/>
                <a:gd name="csX1" fmla="*/ -7820 w 24743"/>
                <a:gd name="csY1" fmla="*/ 29540 h 34224"/>
                <a:gd name="csX2" fmla="*/ -7820 w 24743"/>
                <a:gd name="csY2" fmla="*/ -4684 h 34224"/>
                <a:gd name="csX3" fmla="*/ 16924 w 24743"/>
                <a:gd name="csY3" fmla="*/ -4684 h 34224"/>
                <a:gd name="csX4" fmla="*/ 16924 w 24743"/>
                <a:gd name="csY4" fmla="*/ 29540 h 34224"/>
              </a:gdLst>
              <a:ahLst/>
              <a:cxnLst>
                <a:cxn ang="0">
                  <a:pos x="csX0" y="csY0"/>
                </a:cxn>
                <a:cxn ang="0">
                  <a:pos x="csX1" y="csY1"/>
                </a:cxn>
                <a:cxn ang="0">
                  <a:pos x="csX2" y="csY2"/>
                </a:cxn>
                <a:cxn ang="0">
                  <a:pos x="csX3" y="csY3"/>
                </a:cxn>
                <a:cxn ang="0">
                  <a:pos x="csX4" y="csY4"/>
                </a:cxn>
              </a:cxnLst>
              <a:rect l="l" t="t" r="r" b="b"/>
              <a:pathLst>
                <a:path w="24743" h="34224">
                  <a:moveTo>
                    <a:pt x="16924" y="29540"/>
                  </a:moveTo>
                  <a:lnTo>
                    <a:pt x="-7820" y="29540"/>
                  </a:lnTo>
                  <a:lnTo>
                    <a:pt x="-7820" y="-4684"/>
                  </a:lnTo>
                  <a:lnTo>
                    <a:pt x="16924" y="-4684"/>
                  </a:lnTo>
                  <a:lnTo>
                    <a:pt x="16924" y="29540"/>
                  </a:lnTo>
                </a:path>
              </a:pathLst>
            </a:custGeom>
            <a:grpFill/>
            <a:ln w="548" cap="flat">
              <a:noFill/>
              <a:prstDash val="solid"/>
              <a:miter/>
            </a:ln>
          </p:spPr>
          <p:txBody>
            <a:bodyPr/>
            <a:lstStyle/>
            <a:p>
              <a:endParaRPr lang="en-US"/>
            </a:p>
          </p:txBody>
        </p:sp>
        <p:sp>
          <p:nvSpPr>
            <p:cNvPr id="512" name="Freeform: Shape 511">
              <a:extLst>
                <a:ext uri="{FF2B5EF4-FFF2-40B4-BE49-F238E27FC236}">
                  <a16:creationId xmlns:a16="http://schemas.microsoft.com/office/drawing/2014/main" id="{C62666F0-2075-0697-2696-04F4DFA7D3B5}"/>
                </a:ext>
              </a:extLst>
            </p:cNvPr>
            <p:cNvSpPr/>
            <p:nvPr/>
          </p:nvSpPr>
          <p:spPr>
            <a:xfrm flipV="1">
              <a:off x="23345526" y="4617777"/>
              <a:ext cx="24743" cy="34224"/>
            </a:xfrm>
            <a:custGeom>
              <a:avLst/>
              <a:gdLst>
                <a:gd name="csX0" fmla="*/ 16958 w 24743"/>
                <a:gd name="csY0" fmla="*/ 29540 h 34224"/>
                <a:gd name="csX1" fmla="*/ -7786 w 24743"/>
                <a:gd name="csY1" fmla="*/ 29540 h 34224"/>
                <a:gd name="csX2" fmla="*/ -7786 w 24743"/>
                <a:gd name="csY2" fmla="*/ -4684 h 34224"/>
                <a:gd name="csX3" fmla="*/ 16958 w 24743"/>
                <a:gd name="csY3" fmla="*/ -4684 h 34224"/>
                <a:gd name="csX4" fmla="*/ 16958 w 24743"/>
                <a:gd name="csY4" fmla="*/ 29540 h 34224"/>
              </a:gdLst>
              <a:ahLst/>
              <a:cxnLst>
                <a:cxn ang="0">
                  <a:pos x="csX0" y="csY0"/>
                </a:cxn>
                <a:cxn ang="0">
                  <a:pos x="csX1" y="csY1"/>
                </a:cxn>
                <a:cxn ang="0">
                  <a:pos x="csX2" y="csY2"/>
                </a:cxn>
                <a:cxn ang="0">
                  <a:pos x="csX3" y="csY3"/>
                </a:cxn>
                <a:cxn ang="0">
                  <a:pos x="csX4" y="csY4"/>
                </a:cxn>
              </a:cxnLst>
              <a:rect l="l" t="t" r="r" b="b"/>
              <a:pathLst>
                <a:path w="24743" h="34224">
                  <a:moveTo>
                    <a:pt x="16958" y="29540"/>
                  </a:moveTo>
                  <a:lnTo>
                    <a:pt x="-7786" y="29540"/>
                  </a:lnTo>
                  <a:lnTo>
                    <a:pt x="-7786" y="-4684"/>
                  </a:lnTo>
                  <a:lnTo>
                    <a:pt x="16958" y="-4684"/>
                  </a:lnTo>
                  <a:lnTo>
                    <a:pt x="16958" y="29540"/>
                  </a:lnTo>
                </a:path>
              </a:pathLst>
            </a:custGeom>
            <a:grpFill/>
            <a:ln w="548" cap="flat">
              <a:noFill/>
              <a:prstDash val="solid"/>
              <a:miter/>
            </a:ln>
          </p:spPr>
          <p:txBody>
            <a:bodyPr/>
            <a:lstStyle/>
            <a:p>
              <a:endParaRPr lang="en-US"/>
            </a:p>
          </p:txBody>
        </p:sp>
        <p:sp>
          <p:nvSpPr>
            <p:cNvPr id="513" name="Freeform: Shape 512">
              <a:extLst>
                <a:ext uri="{FF2B5EF4-FFF2-40B4-BE49-F238E27FC236}">
                  <a16:creationId xmlns:a16="http://schemas.microsoft.com/office/drawing/2014/main" id="{9D5351C2-82B5-5E87-6B73-CA767C0AB4FF}"/>
                </a:ext>
              </a:extLst>
            </p:cNvPr>
            <p:cNvSpPr/>
            <p:nvPr/>
          </p:nvSpPr>
          <p:spPr>
            <a:xfrm flipV="1">
              <a:off x="22917093" y="4458501"/>
              <a:ext cx="1075663" cy="465109"/>
            </a:xfrm>
            <a:custGeom>
              <a:avLst/>
              <a:gdLst>
                <a:gd name="csX0" fmla="*/ 497830 w 1075663"/>
                <a:gd name="csY0" fmla="*/ 460561 h 465109"/>
                <a:gd name="csX1" fmla="*/ 497830 w 1075663"/>
                <a:gd name="csY1" fmla="*/ 438637 h 465109"/>
                <a:gd name="csX2" fmla="*/ 439071 w 1075663"/>
                <a:gd name="csY2" fmla="*/ 438637 h 465109"/>
                <a:gd name="csX3" fmla="*/ 439071 w 1075663"/>
                <a:gd name="csY3" fmla="*/ 460561 h 465109"/>
                <a:gd name="csX4" fmla="*/ -7906 w 1075663"/>
                <a:gd name="csY4" fmla="*/ 460561 h 465109"/>
                <a:gd name="csX5" fmla="*/ -7906 w 1075663"/>
                <a:gd name="csY5" fmla="*/ 395152 h 465109"/>
                <a:gd name="csX6" fmla="*/ 1056949 w 1075663"/>
                <a:gd name="csY6" fmla="*/ 395152 h 465109"/>
                <a:gd name="csX7" fmla="*/ 1056949 w 1075663"/>
                <a:gd name="csY7" fmla="*/ 369146 h 465109"/>
                <a:gd name="csX8" fmla="*/ 1045263 w 1075663"/>
                <a:gd name="csY8" fmla="*/ 369146 h 465109"/>
                <a:gd name="csX9" fmla="*/ 933999 w 1075663"/>
                <a:gd name="csY9" fmla="*/ 369146 h 465109"/>
                <a:gd name="csX10" fmla="*/ 922313 w 1075663"/>
                <a:gd name="csY10" fmla="*/ 369146 h 465109"/>
                <a:gd name="csX11" fmla="*/ 922313 w 1075663"/>
                <a:gd name="csY11" fmla="*/ 384903 h 465109"/>
                <a:gd name="csX12" fmla="*/ 911505 w 1075663"/>
                <a:gd name="csY12" fmla="*/ 384903 h 465109"/>
                <a:gd name="csX13" fmla="*/ 911505 w 1075663"/>
                <a:gd name="csY13" fmla="*/ 369146 h 465109"/>
                <a:gd name="csX14" fmla="*/ 911505 w 1075663"/>
                <a:gd name="csY14" fmla="*/ 222840 h 465109"/>
                <a:gd name="csX15" fmla="*/ 911505 w 1075663"/>
                <a:gd name="csY15" fmla="*/ 8064 h 465109"/>
                <a:gd name="csX16" fmla="*/ 911505 w 1075663"/>
                <a:gd name="csY16" fmla="*/ -4549 h 465109"/>
                <a:gd name="csX17" fmla="*/ 922313 w 1075663"/>
                <a:gd name="csY17" fmla="*/ -4549 h 465109"/>
                <a:gd name="csX18" fmla="*/ 1056949 w 1075663"/>
                <a:gd name="csY18" fmla="*/ -4549 h 465109"/>
                <a:gd name="csX19" fmla="*/ 1067757 w 1075663"/>
                <a:gd name="csY19" fmla="*/ -4549 h 465109"/>
                <a:gd name="csX20" fmla="*/ 1067757 w 1075663"/>
                <a:gd name="csY20" fmla="*/ 8064 h 465109"/>
                <a:gd name="csX21" fmla="*/ 1067757 w 1075663"/>
                <a:gd name="csY21" fmla="*/ 222840 h 465109"/>
                <a:gd name="csX22" fmla="*/ 1067757 w 1075663"/>
                <a:gd name="csY22" fmla="*/ 369146 h 465109"/>
                <a:gd name="csX23" fmla="*/ 1067757 w 1075663"/>
                <a:gd name="csY23" fmla="*/ 395152 h 465109"/>
                <a:gd name="csX24" fmla="*/ 1067757 w 1075663"/>
                <a:gd name="csY24" fmla="*/ 401176 h 465109"/>
                <a:gd name="csX25" fmla="*/ 1067757 w 1075663"/>
                <a:gd name="csY25" fmla="*/ 460561 h 465109"/>
                <a:gd name="csX26" fmla="*/ 963735 w 1075663"/>
                <a:gd name="csY26" fmla="*/ 301285 h 465109"/>
                <a:gd name="csX27" fmla="*/ 988479 w 1075663"/>
                <a:gd name="csY27" fmla="*/ 301285 h 465109"/>
                <a:gd name="csX28" fmla="*/ 988479 w 1075663"/>
                <a:gd name="csY28" fmla="*/ 267061 h 465109"/>
                <a:gd name="csX29" fmla="*/ 963735 w 1075663"/>
                <a:gd name="csY29" fmla="*/ 267061 h 465109"/>
                <a:gd name="csX30" fmla="*/ 990783 w 1075663"/>
                <a:gd name="csY30" fmla="*/ 301285 h 465109"/>
                <a:gd name="csX31" fmla="*/ 1015526 w 1075663"/>
                <a:gd name="csY31" fmla="*/ 301285 h 465109"/>
                <a:gd name="csX32" fmla="*/ 1015526 w 1075663"/>
                <a:gd name="csY32" fmla="*/ 267061 h 465109"/>
                <a:gd name="csX33" fmla="*/ 990783 w 1075663"/>
                <a:gd name="csY33" fmla="*/ 267061 h 465109"/>
                <a:gd name="csX34" fmla="*/ 1015526 w 1075663"/>
                <a:gd name="csY34" fmla="*/ 337791 h 465109"/>
                <a:gd name="csX35" fmla="*/ 1015526 w 1075663"/>
                <a:gd name="csY35" fmla="*/ 303567 h 465109"/>
                <a:gd name="csX36" fmla="*/ 990783 w 1075663"/>
                <a:gd name="csY36" fmla="*/ 303567 h 465109"/>
                <a:gd name="csX37" fmla="*/ 990783 w 1075663"/>
                <a:gd name="csY37" fmla="*/ 337791 h 465109"/>
                <a:gd name="csX38" fmla="*/ 963735 w 1075663"/>
                <a:gd name="csY38" fmla="*/ 337791 h 465109"/>
                <a:gd name="csX39" fmla="*/ 988479 w 1075663"/>
                <a:gd name="csY39" fmla="*/ 337791 h 465109"/>
                <a:gd name="csX40" fmla="*/ 988479 w 1075663"/>
                <a:gd name="csY40" fmla="*/ 303567 h 465109"/>
                <a:gd name="csX41" fmla="*/ 963735 w 1075663"/>
                <a:gd name="csY41" fmla="*/ 303567 h 465109"/>
                <a:gd name="csX42" fmla="*/ 1056949 w 1075663"/>
                <a:gd name="csY42" fmla="*/ 8064 h 465109"/>
                <a:gd name="csX43" fmla="*/ 922313 w 1075663"/>
                <a:gd name="csY43" fmla="*/ 8064 h 465109"/>
                <a:gd name="csX44" fmla="*/ 922313 w 1075663"/>
                <a:gd name="csY44" fmla="*/ 222840 h 465109"/>
                <a:gd name="csX45" fmla="*/ 1056949 w 1075663"/>
                <a:gd name="csY45" fmla="*/ 222840 h 465109"/>
                <a:gd name="csX46" fmla="*/ 1056949 w 1075663"/>
                <a:gd name="csY46" fmla="*/ 8064 h 46510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Lst>
              <a:rect l="l" t="t" r="r" b="b"/>
              <a:pathLst>
                <a:path w="1075663" h="465109">
                  <a:moveTo>
                    <a:pt x="497830" y="460561"/>
                  </a:moveTo>
                  <a:lnTo>
                    <a:pt x="497830" y="438637"/>
                  </a:lnTo>
                  <a:lnTo>
                    <a:pt x="439071" y="438637"/>
                  </a:lnTo>
                  <a:lnTo>
                    <a:pt x="439071" y="460561"/>
                  </a:lnTo>
                  <a:lnTo>
                    <a:pt x="-7906" y="460561"/>
                  </a:lnTo>
                  <a:lnTo>
                    <a:pt x="-7906" y="395152"/>
                  </a:lnTo>
                  <a:lnTo>
                    <a:pt x="1056949" y="395152"/>
                  </a:lnTo>
                  <a:lnTo>
                    <a:pt x="1056949" y="369146"/>
                  </a:lnTo>
                  <a:lnTo>
                    <a:pt x="1045263" y="369146"/>
                  </a:lnTo>
                  <a:lnTo>
                    <a:pt x="933999" y="369146"/>
                  </a:lnTo>
                  <a:lnTo>
                    <a:pt x="922313" y="369146"/>
                  </a:lnTo>
                  <a:lnTo>
                    <a:pt x="922313" y="384903"/>
                  </a:lnTo>
                  <a:lnTo>
                    <a:pt x="911505" y="384903"/>
                  </a:lnTo>
                  <a:lnTo>
                    <a:pt x="911505" y="369146"/>
                  </a:lnTo>
                  <a:lnTo>
                    <a:pt x="911505" y="222840"/>
                  </a:lnTo>
                  <a:lnTo>
                    <a:pt x="911505" y="8064"/>
                  </a:lnTo>
                  <a:lnTo>
                    <a:pt x="911505" y="-4549"/>
                  </a:lnTo>
                  <a:lnTo>
                    <a:pt x="922313" y="-4549"/>
                  </a:lnTo>
                  <a:lnTo>
                    <a:pt x="1056949" y="-4549"/>
                  </a:lnTo>
                  <a:lnTo>
                    <a:pt x="1067757" y="-4549"/>
                  </a:lnTo>
                  <a:lnTo>
                    <a:pt x="1067757" y="8064"/>
                  </a:lnTo>
                  <a:lnTo>
                    <a:pt x="1067757" y="222840"/>
                  </a:lnTo>
                  <a:lnTo>
                    <a:pt x="1067757" y="369146"/>
                  </a:lnTo>
                  <a:lnTo>
                    <a:pt x="1067757" y="395152"/>
                  </a:lnTo>
                  <a:lnTo>
                    <a:pt x="1067757" y="401176"/>
                  </a:lnTo>
                  <a:lnTo>
                    <a:pt x="1067757" y="460561"/>
                  </a:lnTo>
                  <a:close/>
                  <a:moveTo>
                    <a:pt x="963735" y="301285"/>
                  </a:moveTo>
                  <a:lnTo>
                    <a:pt x="988479" y="301285"/>
                  </a:lnTo>
                  <a:lnTo>
                    <a:pt x="988479" y="267061"/>
                  </a:lnTo>
                  <a:lnTo>
                    <a:pt x="963735" y="267061"/>
                  </a:lnTo>
                  <a:close/>
                  <a:moveTo>
                    <a:pt x="990783" y="301285"/>
                  </a:moveTo>
                  <a:lnTo>
                    <a:pt x="1015526" y="301285"/>
                  </a:lnTo>
                  <a:lnTo>
                    <a:pt x="1015526" y="267061"/>
                  </a:lnTo>
                  <a:lnTo>
                    <a:pt x="990783" y="267061"/>
                  </a:lnTo>
                  <a:close/>
                  <a:moveTo>
                    <a:pt x="1015526" y="337791"/>
                  </a:moveTo>
                  <a:lnTo>
                    <a:pt x="1015526" y="303567"/>
                  </a:lnTo>
                  <a:lnTo>
                    <a:pt x="990783" y="303567"/>
                  </a:lnTo>
                  <a:lnTo>
                    <a:pt x="990783" y="337791"/>
                  </a:lnTo>
                  <a:close/>
                  <a:moveTo>
                    <a:pt x="963735" y="337791"/>
                  </a:moveTo>
                  <a:lnTo>
                    <a:pt x="988479" y="337791"/>
                  </a:lnTo>
                  <a:lnTo>
                    <a:pt x="988479" y="303567"/>
                  </a:lnTo>
                  <a:lnTo>
                    <a:pt x="963735" y="303567"/>
                  </a:lnTo>
                  <a:close/>
                  <a:moveTo>
                    <a:pt x="1056949" y="8064"/>
                  </a:moveTo>
                  <a:lnTo>
                    <a:pt x="922313" y="8064"/>
                  </a:lnTo>
                  <a:lnTo>
                    <a:pt x="922313" y="222840"/>
                  </a:lnTo>
                  <a:lnTo>
                    <a:pt x="1056949" y="222840"/>
                  </a:lnTo>
                  <a:lnTo>
                    <a:pt x="1056949" y="8064"/>
                  </a:lnTo>
                </a:path>
              </a:pathLst>
            </a:custGeom>
            <a:grpFill/>
            <a:ln w="548" cap="flat">
              <a:noFill/>
              <a:prstDash val="solid"/>
              <a:miter/>
            </a:ln>
          </p:spPr>
          <p:txBody>
            <a:bodyPr/>
            <a:lstStyle/>
            <a:p>
              <a:endParaRPr lang="en-US"/>
            </a:p>
          </p:txBody>
        </p:sp>
        <p:sp>
          <p:nvSpPr>
            <p:cNvPr id="514" name="Freeform: Shape 513">
              <a:extLst>
                <a:ext uri="{FF2B5EF4-FFF2-40B4-BE49-F238E27FC236}">
                  <a16:creationId xmlns:a16="http://schemas.microsoft.com/office/drawing/2014/main" id="{F696501D-832B-4719-2445-5CDB6F7610B7}"/>
                </a:ext>
              </a:extLst>
            </p:cNvPr>
            <p:cNvSpPr/>
            <p:nvPr/>
          </p:nvSpPr>
          <p:spPr>
            <a:xfrm flipV="1">
              <a:off x="23306298" y="4661075"/>
              <a:ext cx="130247" cy="26691"/>
            </a:xfrm>
            <a:custGeom>
              <a:avLst/>
              <a:gdLst>
                <a:gd name="csX0" fmla="*/ 122444 w 130247"/>
                <a:gd name="csY0" fmla="*/ 22102 h 26691"/>
                <a:gd name="csX1" fmla="*/ -7803 w 130247"/>
                <a:gd name="csY1" fmla="*/ 22102 h 26691"/>
                <a:gd name="csX2" fmla="*/ -7803 w 130247"/>
                <a:gd name="csY2" fmla="*/ -4589 h 26691"/>
                <a:gd name="csX3" fmla="*/ 122444 w 130247"/>
                <a:gd name="csY3" fmla="*/ -4589 h 26691"/>
                <a:gd name="csX4" fmla="*/ 122444 w 130247"/>
                <a:gd name="csY4" fmla="*/ 22102 h 26691"/>
              </a:gdLst>
              <a:ahLst/>
              <a:cxnLst>
                <a:cxn ang="0">
                  <a:pos x="csX0" y="csY0"/>
                </a:cxn>
                <a:cxn ang="0">
                  <a:pos x="csX1" y="csY1"/>
                </a:cxn>
                <a:cxn ang="0">
                  <a:pos x="csX2" y="csY2"/>
                </a:cxn>
                <a:cxn ang="0">
                  <a:pos x="csX3" y="csY3"/>
                </a:cxn>
                <a:cxn ang="0">
                  <a:pos x="csX4" y="csY4"/>
                </a:cxn>
              </a:cxnLst>
              <a:rect l="l" t="t" r="r" b="b"/>
              <a:pathLst>
                <a:path w="130247" h="26691">
                  <a:moveTo>
                    <a:pt x="122444" y="22102"/>
                  </a:moveTo>
                  <a:lnTo>
                    <a:pt x="-7803" y="22102"/>
                  </a:lnTo>
                  <a:lnTo>
                    <a:pt x="-7803" y="-4589"/>
                  </a:lnTo>
                  <a:lnTo>
                    <a:pt x="122444" y="-4589"/>
                  </a:lnTo>
                  <a:lnTo>
                    <a:pt x="122444" y="22102"/>
                  </a:lnTo>
                </a:path>
              </a:pathLst>
            </a:custGeom>
            <a:grpFill/>
            <a:ln w="548" cap="flat">
              <a:noFill/>
              <a:prstDash val="solid"/>
              <a:miter/>
            </a:ln>
          </p:spPr>
          <p:txBody>
            <a:bodyPr/>
            <a:lstStyle/>
            <a:p>
              <a:endParaRPr lang="en-US"/>
            </a:p>
          </p:txBody>
        </p:sp>
        <p:sp>
          <p:nvSpPr>
            <p:cNvPr id="515" name="Freeform: Shape 514">
              <a:extLst>
                <a:ext uri="{FF2B5EF4-FFF2-40B4-BE49-F238E27FC236}">
                  <a16:creationId xmlns:a16="http://schemas.microsoft.com/office/drawing/2014/main" id="{E5817FF2-6F45-6005-8305-F424A5EA40F6}"/>
                </a:ext>
              </a:extLst>
            </p:cNvPr>
            <p:cNvSpPr/>
            <p:nvPr/>
          </p:nvSpPr>
          <p:spPr>
            <a:xfrm flipV="1">
              <a:off x="21704632" y="4369122"/>
              <a:ext cx="338779" cy="104444"/>
            </a:xfrm>
            <a:custGeom>
              <a:avLst/>
              <a:gdLst>
                <a:gd name="csX0" fmla="*/ 140924 w 338779"/>
                <a:gd name="csY0" fmla="*/ -5198 h 104444"/>
                <a:gd name="csX1" fmla="*/ 185962 w 338779"/>
                <a:gd name="csY1" fmla="*/ -5198 h 104444"/>
                <a:gd name="csX2" fmla="*/ 185962 w 338779"/>
                <a:gd name="csY2" fmla="*/ 16726 h 104444"/>
                <a:gd name="csX3" fmla="*/ 332833 w 338779"/>
                <a:gd name="csY3" fmla="*/ 16726 h 104444"/>
                <a:gd name="csX4" fmla="*/ 332833 w 338779"/>
                <a:gd name="csY4" fmla="*/ 32093 h 104444"/>
                <a:gd name="csX5" fmla="*/ 185962 w 338779"/>
                <a:gd name="csY5" fmla="*/ 32093 h 104444"/>
                <a:gd name="csX6" fmla="*/ 185962 w 338779"/>
                <a:gd name="csY6" fmla="*/ 72605 h 104444"/>
                <a:gd name="csX7" fmla="*/ 185962 w 338779"/>
                <a:gd name="csY7" fmla="*/ 91867 h 104444"/>
                <a:gd name="csX8" fmla="*/ 189216 w 338779"/>
                <a:gd name="csY8" fmla="*/ 91867 h 104444"/>
                <a:gd name="csX9" fmla="*/ 189216 w 338779"/>
                <a:gd name="csY9" fmla="*/ 99247 h 104444"/>
                <a:gd name="csX10" fmla="*/ 137671 w 338779"/>
                <a:gd name="csY10" fmla="*/ 99247 h 104444"/>
                <a:gd name="csX11" fmla="*/ 137671 w 338779"/>
                <a:gd name="csY11" fmla="*/ 91867 h 104444"/>
                <a:gd name="csX12" fmla="*/ 140924 w 338779"/>
                <a:gd name="csY12" fmla="*/ 91867 h 104444"/>
                <a:gd name="csX13" fmla="*/ 140924 w 338779"/>
                <a:gd name="csY13" fmla="*/ 72605 h 104444"/>
                <a:gd name="csX14" fmla="*/ 140924 w 338779"/>
                <a:gd name="csY14" fmla="*/ 32093 h 104444"/>
                <a:gd name="csX15" fmla="*/ 115506 w 338779"/>
                <a:gd name="csY15" fmla="*/ 32093 h 104444"/>
                <a:gd name="csX16" fmla="*/ 115506 w 338779"/>
                <a:gd name="csY16" fmla="*/ 62137 h 104444"/>
                <a:gd name="csX17" fmla="*/ 61201 w 338779"/>
                <a:gd name="csY17" fmla="*/ 62137 h 104444"/>
                <a:gd name="csX18" fmla="*/ 61201 w 338779"/>
                <a:gd name="csY18" fmla="*/ 32093 h 104444"/>
                <a:gd name="csX19" fmla="*/ -5947 w 338779"/>
                <a:gd name="csY19" fmla="*/ 32093 h 104444"/>
                <a:gd name="csX20" fmla="*/ -5947 w 338779"/>
                <a:gd name="csY20" fmla="*/ 16726 h 104444"/>
                <a:gd name="csX21" fmla="*/ 140924 w 338779"/>
                <a:gd name="csY21" fmla="*/ 16726 h 104444"/>
                <a:gd name="csX22" fmla="*/ 140924 w 338779"/>
                <a:gd name="csY22" fmla="*/ -5198 h 10444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Lst>
              <a:rect l="l" t="t" r="r" b="b"/>
              <a:pathLst>
                <a:path w="338779" h="104444">
                  <a:moveTo>
                    <a:pt x="140924" y="-5198"/>
                  </a:moveTo>
                  <a:lnTo>
                    <a:pt x="185962" y="-5198"/>
                  </a:lnTo>
                  <a:lnTo>
                    <a:pt x="185962" y="16726"/>
                  </a:lnTo>
                  <a:lnTo>
                    <a:pt x="332833" y="16726"/>
                  </a:lnTo>
                  <a:lnTo>
                    <a:pt x="332833" y="32093"/>
                  </a:lnTo>
                  <a:lnTo>
                    <a:pt x="185962" y="32093"/>
                  </a:lnTo>
                  <a:lnTo>
                    <a:pt x="185962" y="72605"/>
                  </a:lnTo>
                  <a:lnTo>
                    <a:pt x="185962" y="91867"/>
                  </a:lnTo>
                  <a:lnTo>
                    <a:pt x="189216" y="91867"/>
                  </a:lnTo>
                  <a:lnTo>
                    <a:pt x="189216" y="99247"/>
                  </a:lnTo>
                  <a:lnTo>
                    <a:pt x="137671" y="99247"/>
                  </a:lnTo>
                  <a:lnTo>
                    <a:pt x="137671" y="91867"/>
                  </a:lnTo>
                  <a:lnTo>
                    <a:pt x="140924" y="91867"/>
                  </a:lnTo>
                  <a:lnTo>
                    <a:pt x="140924" y="72605"/>
                  </a:lnTo>
                  <a:lnTo>
                    <a:pt x="140924" y="32093"/>
                  </a:lnTo>
                  <a:lnTo>
                    <a:pt x="115506" y="32093"/>
                  </a:lnTo>
                  <a:lnTo>
                    <a:pt x="115506" y="62137"/>
                  </a:lnTo>
                  <a:lnTo>
                    <a:pt x="61201" y="62137"/>
                  </a:lnTo>
                  <a:lnTo>
                    <a:pt x="61201" y="32093"/>
                  </a:lnTo>
                  <a:lnTo>
                    <a:pt x="-5947" y="32093"/>
                  </a:lnTo>
                  <a:lnTo>
                    <a:pt x="-5947" y="16726"/>
                  </a:lnTo>
                  <a:lnTo>
                    <a:pt x="140924" y="16726"/>
                  </a:lnTo>
                  <a:lnTo>
                    <a:pt x="140924" y="-5198"/>
                  </a:lnTo>
                </a:path>
              </a:pathLst>
            </a:custGeom>
            <a:grpFill/>
            <a:ln w="548" cap="flat">
              <a:noFill/>
              <a:prstDash val="solid"/>
              <a:miter/>
            </a:ln>
          </p:spPr>
          <p:txBody>
            <a:bodyPr/>
            <a:lstStyle/>
            <a:p>
              <a:endParaRPr lang="en-US"/>
            </a:p>
          </p:txBody>
        </p:sp>
        <p:sp>
          <p:nvSpPr>
            <p:cNvPr id="516" name="Freeform: Shape 515">
              <a:extLst>
                <a:ext uri="{FF2B5EF4-FFF2-40B4-BE49-F238E27FC236}">
                  <a16:creationId xmlns:a16="http://schemas.microsoft.com/office/drawing/2014/main" id="{B53F1907-BD86-D139-937D-2A6039051BAE}"/>
                </a:ext>
              </a:extLst>
            </p:cNvPr>
            <p:cNvSpPr/>
            <p:nvPr/>
          </p:nvSpPr>
          <p:spPr>
            <a:xfrm flipV="1">
              <a:off x="21324331" y="4735817"/>
              <a:ext cx="57042" cy="35749"/>
            </a:xfrm>
            <a:custGeom>
              <a:avLst/>
              <a:gdLst>
                <a:gd name="csX0" fmla="*/ 51741 w 57042"/>
                <a:gd name="csY0" fmla="*/ 2833 h 35749"/>
                <a:gd name="csX1" fmla="*/ 23223 w 57042"/>
                <a:gd name="csY1" fmla="*/ 31351 h 35749"/>
                <a:gd name="csX2" fmla="*/ -5301 w 57042"/>
                <a:gd name="csY2" fmla="*/ 2833 h 35749"/>
                <a:gd name="csX3" fmla="*/ -5301 w 57042"/>
                <a:gd name="csY3" fmla="*/ -4398 h 35749"/>
                <a:gd name="csX4" fmla="*/ 51741 w 57042"/>
                <a:gd name="csY4" fmla="*/ -4398 h 35749"/>
                <a:gd name="csX5" fmla="*/ 51741 w 57042"/>
                <a:gd name="csY5" fmla="*/ 2833 h 35749"/>
              </a:gdLst>
              <a:ahLst/>
              <a:cxnLst>
                <a:cxn ang="0">
                  <a:pos x="csX0" y="csY0"/>
                </a:cxn>
                <a:cxn ang="0">
                  <a:pos x="csX1" y="csY1"/>
                </a:cxn>
                <a:cxn ang="0">
                  <a:pos x="csX2" y="csY2"/>
                </a:cxn>
                <a:cxn ang="0">
                  <a:pos x="csX3" y="csY3"/>
                </a:cxn>
                <a:cxn ang="0">
                  <a:pos x="csX4" y="csY4"/>
                </a:cxn>
                <a:cxn ang="0">
                  <a:pos x="csX5" y="csY5"/>
                </a:cxn>
              </a:cxnLst>
              <a:rect l="l" t="t" r="r" b="b"/>
              <a:pathLst>
                <a:path w="57042" h="35749">
                  <a:moveTo>
                    <a:pt x="51741" y="2833"/>
                  </a:moveTo>
                  <a:cubicBezTo>
                    <a:pt x="51741" y="18590"/>
                    <a:pt x="38974" y="31351"/>
                    <a:pt x="23223" y="31351"/>
                  </a:cubicBezTo>
                  <a:cubicBezTo>
                    <a:pt x="7471" y="31351"/>
                    <a:pt x="-5301" y="18590"/>
                    <a:pt x="-5301" y="2833"/>
                  </a:cubicBezTo>
                  <a:lnTo>
                    <a:pt x="-5301" y="-4398"/>
                  </a:lnTo>
                  <a:lnTo>
                    <a:pt x="51741" y="-4398"/>
                  </a:lnTo>
                  <a:lnTo>
                    <a:pt x="51741" y="2833"/>
                  </a:lnTo>
                </a:path>
              </a:pathLst>
            </a:custGeom>
            <a:grpFill/>
            <a:ln w="548" cap="flat">
              <a:noFill/>
              <a:prstDash val="solid"/>
              <a:miter/>
            </a:ln>
          </p:spPr>
          <p:txBody>
            <a:bodyPr/>
            <a:lstStyle/>
            <a:p>
              <a:endParaRPr lang="en-US"/>
            </a:p>
          </p:txBody>
        </p:sp>
        <p:sp>
          <p:nvSpPr>
            <p:cNvPr id="517" name="Freeform: Shape 516">
              <a:extLst>
                <a:ext uri="{FF2B5EF4-FFF2-40B4-BE49-F238E27FC236}">
                  <a16:creationId xmlns:a16="http://schemas.microsoft.com/office/drawing/2014/main" id="{4595C900-A40B-A5AC-460E-5D9FACE9BABB}"/>
                </a:ext>
              </a:extLst>
            </p:cNvPr>
            <p:cNvSpPr/>
            <p:nvPr/>
          </p:nvSpPr>
          <p:spPr>
            <a:xfrm flipV="1">
              <a:off x="21353996" y="4773848"/>
              <a:ext cx="27377" cy="71970"/>
            </a:xfrm>
            <a:custGeom>
              <a:avLst/>
              <a:gdLst>
                <a:gd name="csX0" fmla="*/ -5319 w 27377"/>
                <a:gd name="csY0" fmla="*/ -4263 h 71970"/>
                <a:gd name="csX1" fmla="*/ 22058 w 27377"/>
                <a:gd name="csY1" fmla="*/ -4263 h 71970"/>
                <a:gd name="csX2" fmla="*/ 22058 w 27377"/>
                <a:gd name="csY2" fmla="*/ 67707 h 71970"/>
                <a:gd name="csX3" fmla="*/ -5319 w 27377"/>
                <a:gd name="csY3" fmla="*/ 67707 h 71970"/>
                <a:gd name="csX4" fmla="*/ -5319 w 27377"/>
                <a:gd name="csY4" fmla="*/ -4263 h 71970"/>
              </a:gdLst>
              <a:ahLst/>
              <a:cxnLst>
                <a:cxn ang="0">
                  <a:pos x="csX0" y="csY0"/>
                </a:cxn>
                <a:cxn ang="0">
                  <a:pos x="csX1" y="csY1"/>
                </a:cxn>
                <a:cxn ang="0">
                  <a:pos x="csX2" y="csY2"/>
                </a:cxn>
                <a:cxn ang="0">
                  <a:pos x="csX3" y="csY3"/>
                </a:cxn>
                <a:cxn ang="0">
                  <a:pos x="csX4" y="csY4"/>
                </a:cxn>
              </a:cxnLst>
              <a:rect l="l" t="t" r="r" b="b"/>
              <a:pathLst>
                <a:path w="27377" h="71970">
                  <a:moveTo>
                    <a:pt x="-5319" y="-4263"/>
                  </a:moveTo>
                  <a:lnTo>
                    <a:pt x="22058" y="-4263"/>
                  </a:lnTo>
                  <a:lnTo>
                    <a:pt x="22058" y="67707"/>
                  </a:lnTo>
                  <a:lnTo>
                    <a:pt x="-5319" y="67707"/>
                  </a:lnTo>
                  <a:lnTo>
                    <a:pt x="-5319" y="-4263"/>
                  </a:lnTo>
                </a:path>
              </a:pathLst>
            </a:custGeom>
            <a:grpFill/>
            <a:ln w="548" cap="flat">
              <a:noFill/>
              <a:prstDash val="solid"/>
              <a:miter/>
            </a:ln>
          </p:spPr>
          <p:txBody>
            <a:bodyPr/>
            <a:lstStyle/>
            <a:p>
              <a:endParaRPr lang="en-US"/>
            </a:p>
          </p:txBody>
        </p:sp>
        <p:sp>
          <p:nvSpPr>
            <p:cNvPr id="518" name="Freeform: Shape 517">
              <a:extLst>
                <a:ext uri="{FF2B5EF4-FFF2-40B4-BE49-F238E27FC236}">
                  <a16:creationId xmlns:a16="http://schemas.microsoft.com/office/drawing/2014/main" id="{B0AA0CB6-EC4A-AB7D-1986-9AE49F806F9E}"/>
                </a:ext>
              </a:extLst>
            </p:cNvPr>
            <p:cNvSpPr/>
            <p:nvPr/>
          </p:nvSpPr>
          <p:spPr>
            <a:xfrm flipV="1">
              <a:off x="21324331" y="4773848"/>
              <a:ext cx="27377" cy="71970"/>
            </a:xfrm>
            <a:custGeom>
              <a:avLst/>
              <a:gdLst>
                <a:gd name="csX0" fmla="*/ 22095 w 27377"/>
                <a:gd name="csY0" fmla="*/ 67707 h 71970"/>
                <a:gd name="csX1" fmla="*/ -5283 w 27377"/>
                <a:gd name="csY1" fmla="*/ 67707 h 71970"/>
                <a:gd name="csX2" fmla="*/ -5283 w 27377"/>
                <a:gd name="csY2" fmla="*/ -4263 h 71970"/>
                <a:gd name="csX3" fmla="*/ 22095 w 27377"/>
                <a:gd name="csY3" fmla="*/ -4263 h 71970"/>
                <a:gd name="csX4" fmla="*/ 22095 w 27377"/>
                <a:gd name="csY4" fmla="*/ 67707 h 71970"/>
              </a:gdLst>
              <a:ahLst/>
              <a:cxnLst>
                <a:cxn ang="0">
                  <a:pos x="csX0" y="csY0"/>
                </a:cxn>
                <a:cxn ang="0">
                  <a:pos x="csX1" y="csY1"/>
                </a:cxn>
                <a:cxn ang="0">
                  <a:pos x="csX2" y="csY2"/>
                </a:cxn>
                <a:cxn ang="0">
                  <a:pos x="csX3" y="csY3"/>
                </a:cxn>
                <a:cxn ang="0">
                  <a:pos x="csX4" y="csY4"/>
                </a:cxn>
              </a:cxnLst>
              <a:rect l="l" t="t" r="r" b="b"/>
              <a:pathLst>
                <a:path w="27377" h="71970">
                  <a:moveTo>
                    <a:pt x="22095" y="67707"/>
                  </a:moveTo>
                  <a:lnTo>
                    <a:pt x="-5283" y="67707"/>
                  </a:lnTo>
                  <a:lnTo>
                    <a:pt x="-5283" y="-4263"/>
                  </a:lnTo>
                  <a:lnTo>
                    <a:pt x="22095" y="-4263"/>
                  </a:lnTo>
                  <a:lnTo>
                    <a:pt x="22095" y="67707"/>
                  </a:lnTo>
                </a:path>
              </a:pathLst>
            </a:custGeom>
            <a:grpFill/>
            <a:ln w="548" cap="flat">
              <a:noFill/>
              <a:prstDash val="solid"/>
              <a:miter/>
            </a:ln>
          </p:spPr>
          <p:txBody>
            <a:bodyPr/>
            <a:lstStyle/>
            <a:p>
              <a:endParaRPr lang="en-US"/>
            </a:p>
          </p:txBody>
        </p:sp>
        <p:sp>
          <p:nvSpPr>
            <p:cNvPr id="519" name="Freeform: Shape 518">
              <a:extLst>
                <a:ext uri="{FF2B5EF4-FFF2-40B4-BE49-F238E27FC236}">
                  <a16:creationId xmlns:a16="http://schemas.microsoft.com/office/drawing/2014/main" id="{DED23900-261A-9674-4B53-AC320FA5F9E0}"/>
                </a:ext>
              </a:extLst>
            </p:cNvPr>
            <p:cNvSpPr/>
            <p:nvPr/>
          </p:nvSpPr>
          <p:spPr>
            <a:xfrm flipV="1">
              <a:off x="21897210" y="4581270"/>
              <a:ext cx="24765" cy="34224"/>
            </a:xfrm>
            <a:custGeom>
              <a:avLst/>
              <a:gdLst>
                <a:gd name="csX0" fmla="*/ 18775 w 24765"/>
                <a:gd name="csY0" fmla="*/ 29452 h 34224"/>
                <a:gd name="csX1" fmla="*/ -5991 w 24765"/>
                <a:gd name="csY1" fmla="*/ 29452 h 34224"/>
                <a:gd name="csX2" fmla="*/ -5991 w 24765"/>
                <a:gd name="csY2" fmla="*/ -4772 h 34224"/>
                <a:gd name="csX3" fmla="*/ 18775 w 24765"/>
                <a:gd name="csY3" fmla="*/ -4772 h 34224"/>
                <a:gd name="csX4" fmla="*/ 18775 w 24765"/>
                <a:gd name="csY4" fmla="*/ 29452 h 34224"/>
              </a:gdLst>
              <a:ahLst/>
              <a:cxnLst>
                <a:cxn ang="0">
                  <a:pos x="csX0" y="csY0"/>
                </a:cxn>
                <a:cxn ang="0">
                  <a:pos x="csX1" y="csY1"/>
                </a:cxn>
                <a:cxn ang="0">
                  <a:pos x="csX2" y="csY2"/>
                </a:cxn>
                <a:cxn ang="0">
                  <a:pos x="csX3" y="csY3"/>
                </a:cxn>
                <a:cxn ang="0">
                  <a:pos x="csX4" y="csY4"/>
                </a:cxn>
              </a:cxnLst>
              <a:rect l="l" t="t" r="r" b="b"/>
              <a:pathLst>
                <a:path w="24765" h="34224">
                  <a:moveTo>
                    <a:pt x="18775" y="29452"/>
                  </a:moveTo>
                  <a:lnTo>
                    <a:pt x="-5991" y="29452"/>
                  </a:lnTo>
                  <a:lnTo>
                    <a:pt x="-5991" y="-4772"/>
                  </a:lnTo>
                  <a:lnTo>
                    <a:pt x="18775" y="-4772"/>
                  </a:lnTo>
                  <a:lnTo>
                    <a:pt x="18775" y="29452"/>
                  </a:lnTo>
                </a:path>
              </a:pathLst>
            </a:custGeom>
            <a:grpFill/>
            <a:ln w="548" cap="flat">
              <a:noFill/>
              <a:prstDash val="solid"/>
              <a:miter/>
            </a:ln>
          </p:spPr>
          <p:txBody>
            <a:bodyPr/>
            <a:lstStyle/>
            <a:p>
              <a:endParaRPr lang="en-US"/>
            </a:p>
          </p:txBody>
        </p:sp>
        <p:sp>
          <p:nvSpPr>
            <p:cNvPr id="520" name="Freeform: Shape 519">
              <a:extLst>
                <a:ext uri="{FF2B5EF4-FFF2-40B4-BE49-F238E27FC236}">
                  <a16:creationId xmlns:a16="http://schemas.microsoft.com/office/drawing/2014/main" id="{C1D80946-7ECB-F6DA-24F6-AA83AD45BACD}"/>
                </a:ext>
              </a:extLst>
            </p:cNvPr>
            <p:cNvSpPr/>
            <p:nvPr/>
          </p:nvSpPr>
          <p:spPr>
            <a:xfrm flipV="1">
              <a:off x="21870156" y="4581270"/>
              <a:ext cx="24771" cy="34224"/>
            </a:xfrm>
            <a:custGeom>
              <a:avLst/>
              <a:gdLst>
                <a:gd name="csX0" fmla="*/ 18814 w 24771"/>
                <a:gd name="csY0" fmla="*/ 29452 h 34224"/>
                <a:gd name="csX1" fmla="*/ -5958 w 24771"/>
                <a:gd name="csY1" fmla="*/ 29452 h 34224"/>
                <a:gd name="csX2" fmla="*/ -5958 w 24771"/>
                <a:gd name="csY2" fmla="*/ -4772 h 34224"/>
                <a:gd name="csX3" fmla="*/ 18814 w 24771"/>
                <a:gd name="csY3" fmla="*/ -4772 h 34224"/>
                <a:gd name="csX4" fmla="*/ 18814 w 24771"/>
                <a:gd name="csY4" fmla="*/ 29452 h 34224"/>
              </a:gdLst>
              <a:ahLst/>
              <a:cxnLst>
                <a:cxn ang="0">
                  <a:pos x="csX0" y="csY0"/>
                </a:cxn>
                <a:cxn ang="0">
                  <a:pos x="csX1" y="csY1"/>
                </a:cxn>
                <a:cxn ang="0">
                  <a:pos x="csX2" y="csY2"/>
                </a:cxn>
                <a:cxn ang="0">
                  <a:pos x="csX3" y="csY3"/>
                </a:cxn>
                <a:cxn ang="0">
                  <a:pos x="csX4" y="csY4"/>
                </a:cxn>
              </a:cxnLst>
              <a:rect l="l" t="t" r="r" b="b"/>
              <a:pathLst>
                <a:path w="24771" h="34224">
                  <a:moveTo>
                    <a:pt x="18814" y="29452"/>
                  </a:moveTo>
                  <a:lnTo>
                    <a:pt x="-5958" y="29452"/>
                  </a:lnTo>
                  <a:lnTo>
                    <a:pt x="-5958" y="-4772"/>
                  </a:lnTo>
                  <a:lnTo>
                    <a:pt x="18814" y="-4772"/>
                  </a:lnTo>
                  <a:lnTo>
                    <a:pt x="18814" y="29452"/>
                  </a:lnTo>
                </a:path>
              </a:pathLst>
            </a:custGeom>
            <a:grpFill/>
            <a:ln w="548" cap="flat">
              <a:noFill/>
              <a:prstDash val="solid"/>
              <a:miter/>
            </a:ln>
          </p:spPr>
          <p:txBody>
            <a:bodyPr/>
            <a:lstStyle/>
            <a:p>
              <a:endParaRPr lang="en-US"/>
            </a:p>
          </p:txBody>
        </p:sp>
        <p:sp>
          <p:nvSpPr>
            <p:cNvPr id="521" name="Freeform: Shape 520">
              <a:extLst>
                <a:ext uri="{FF2B5EF4-FFF2-40B4-BE49-F238E27FC236}">
                  <a16:creationId xmlns:a16="http://schemas.microsoft.com/office/drawing/2014/main" id="{0055D8D1-A81B-7896-C1A6-E1D4B06CD3FF}"/>
                </a:ext>
              </a:extLst>
            </p:cNvPr>
            <p:cNvSpPr/>
            <p:nvPr/>
          </p:nvSpPr>
          <p:spPr>
            <a:xfrm flipV="1">
              <a:off x="21870156" y="4617777"/>
              <a:ext cx="24771" cy="34224"/>
            </a:xfrm>
            <a:custGeom>
              <a:avLst/>
              <a:gdLst>
                <a:gd name="csX0" fmla="*/ 18814 w 24771"/>
                <a:gd name="csY0" fmla="*/ 29540 h 34224"/>
                <a:gd name="csX1" fmla="*/ -5958 w 24771"/>
                <a:gd name="csY1" fmla="*/ 29540 h 34224"/>
                <a:gd name="csX2" fmla="*/ -5958 w 24771"/>
                <a:gd name="csY2" fmla="*/ -4684 h 34224"/>
                <a:gd name="csX3" fmla="*/ 18814 w 24771"/>
                <a:gd name="csY3" fmla="*/ -4684 h 34224"/>
                <a:gd name="csX4" fmla="*/ 18814 w 24771"/>
                <a:gd name="csY4" fmla="*/ 29540 h 34224"/>
              </a:gdLst>
              <a:ahLst/>
              <a:cxnLst>
                <a:cxn ang="0">
                  <a:pos x="csX0" y="csY0"/>
                </a:cxn>
                <a:cxn ang="0">
                  <a:pos x="csX1" y="csY1"/>
                </a:cxn>
                <a:cxn ang="0">
                  <a:pos x="csX2" y="csY2"/>
                </a:cxn>
                <a:cxn ang="0">
                  <a:pos x="csX3" y="csY3"/>
                </a:cxn>
                <a:cxn ang="0">
                  <a:pos x="csX4" y="csY4"/>
                </a:cxn>
              </a:cxnLst>
              <a:rect l="l" t="t" r="r" b="b"/>
              <a:pathLst>
                <a:path w="24771" h="34224">
                  <a:moveTo>
                    <a:pt x="18814" y="29540"/>
                  </a:moveTo>
                  <a:lnTo>
                    <a:pt x="-5958" y="29540"/>
                  </a:lnTo>
                  <a:lnTo>
                    <a:pt x="-5958" y="-4684"/>
                  </a:lnTo>
                  <a:lnTo>
                    <a:pt x="18814" y="-4684"/>
                  </a:lnTo>
                  <a:lnTo>
                    <a:pt x="18814" y="29540"/>
                  </a:lnTo>
                </a:path>
              </a:pathLst>
            </a:custGeom>
            <a:grpFill/>
            <a:ln w="548" cap="flat">
              <a:noFill/>
              <a:prstDash val="solid"/>
              <a:miter/>
            </a:ln>
          </p:spPr>
          <p:txBody>
            <a:bodyPr/>
            <a:lstStyle/>
            <a:p>
              <a:endParaRPr lang="en-US"/>
            </a:p>
          </p:txBody>
        </p:sp>
        <p:sp>
          <p:nvSpPr>
            <p:cNvPr id="522" name="Freeform: Shape 521">
              <a:extLst>
                <a:ext uri="{FF2B5EF4-FFF2-40B4-BE49-F238E27FC236}">
                  <a16:creationId xmlns:a16="http://schemas.microsoft.com/office/drawing/2014/main" id="{A7F422E3-9970-34F4-90F0-40FF6275564A}"/>
                </a:ext>
              </a:extLst>
            </p:cNvPr>
            <p:cNvSpPr/>
            <p:nvPr/>
          </p:nvSpPr>
          <p:spPr>
            <a:xfrm flipV="1">
              <a:off x="21897210" y="4617777"/>
              <a:ext cx="24765" cy="34224"/>
            </a:xfrm>
            <a:custGeom>
              <a:avLst/>
              <a:gdLst>
                <a:gd name="csX0" fmla="*/ 18775 w 24765"/>
                <a:gd name="csY0" fmla="*/ 29540 h 34224"/>
                <a:gd name="csX1" fmla="*/ -5991 w 24765"/>
                <a:gd name="csY1" fmla="*/ 29540 h 34224"/>
                <a:gd name="csX2" fmla="*/ -5991 w 24765"/>
                <a:gd name="csY2" fmla="*/ -4684 h 34224"/>
                <a:gd name="csX3" fmla="*/ 18775 w 24765"/>
                <a:gd name="csY3" fmla="*/ -4684 h 34224"/>
                <a:gd name="csX4" fmla="*/ 18775 w 24765"/>
                <a:gd name="csY4" fmla="*/ 29540 h 34224"/>
              </a:gdLst>
              <a:ahLst/>
              <a:cxnLst>
                <a:cxn ang="0">
                  <a:pos x="csX0" y="csY0"/>
                </a:cxn>
                <a:cxn ang="0">
                  <a:pos x="csX1" y="csY1"/>
                </a:cxn>
                <a:cxn ang="0">
                  <a:pos x="csX2" y="csY2"/>
                </a:cxn>
                <a:cxn ang="0">
                  <a:pos x="csX3" y="csY3"/>
                </a:cxn>
                <a:cxn ang="0">
                  <a:pos x="csX4" y="csY4"/>
                </a:cxn>
              </a:cxnLst>
              <a:rect l="l" t="t" r="r" b="b"/>
              <a:pathLst>
                <a:path w="24765" h="34224">
                  <a:moveTo>
                    <a:pt x="18775" y="29540"/>
                  </a:moveTo>
                  <a:lnTo>
                    <a:pt x="-5991" y="29540"/>
                  </a:lnTo>
                  <a:lnTo>
                    <a:pt x="-5991" y="-4684"/>
                  </a:lnTo>
                  <a:lnTo>
                    <a:pt x="18775" y="-4684"/>
                  </a:lnTo>
                  <a:lnTo>
                    <a:pt x="18775" y="29540"/>
                  </a:lnTo>
                </a:path>
              </a:pathLst>
            </a:custGeom>
            <a:grpFill/>
            <a:ln w="548" cap="flat">
              <a:noFill/>
              <a:prstDash val="solid"/>
              <a:miter/>
            </a:ln>
          </p:spPr>
          <p:txBody>
            <a:bodyPr/>
            <a:lstStyle/>
            <a:p>
              <a:endParaRPr lang="en-US"/>
            </a:p>
          </p:txBody>
        </p:sp>
        <p:sp>
          <p:nvSpPr>
            <p:cNvPr id="523" name="Freeform: Shape 522">
              <a:extLst>
                <a:ext uri="{FF2B5EF4-FFF2-40B4-BE49-F238E27FC236}">
                  <a16:creationId xmlns:a16="http://schemas.microsoft.com/office/drawing/2014/main" id="{A6A60F65-B7B9-1B35-29A4-42FA99472C57}"/>
                </a:ext>
              </a:extLst>
            </p:cNvPr>
            <p:cNvSpPr/>
            <p:nvPr/>
          </p:nvSpPr>
          <p:spPr>
            <a:xfrm flipV="1">
              <a:off x="21274717" y="4458501"/>
              <a:ext cx="1075658" cy="465109"/>
            </a:xfrm>
            <a:custGeom>
              <a:avLst/>
              <a:gdLst>
                <a:gd name="csX0" fmla="*/ 622810 w 1075658"/>
                <a:gd name="csY0" fmla="*/ 438637 h 465109"/>
                <a:gd name="csX1" fmla="*/ 564056 w 1075658"/>
                <a:gd name="csY1" fmla="*/ 438637 h 465109"/>
                <a:gd name="csX2" fmla="*/ 564056 w 1075658"/>
                <a:gd name="csY2" fmla="*/ 460561 h 465109"/>
                <a:gd name="csX3" fmla="*/ -5871 w 1075658"/>
                <a:gd name="csY3" fmla="*/ 460561 h 465109"/>
                <a:gd name="csX4" fmla="*/ -5871 w 1075658"/>
                <a:gd name="csY4" fmla="*/ 401176 h 465109"/>
                <a:gd name="csX5" fmla="*/ -5871 w 1075658"/>
                <a:gd name="csY5" fmla="*/ 395152 h 465109"/>
                <a:gd name="csX6" fmla="*/ -5871 w 1075658"/>
                <a:gd name="csY6" fmla="*/ 369146 h 465109"/>
                <a:gd name="csX7" fmla="*/ -5871 w 1075658"/>
                <a:gd name="csY7" fmla="*/ 222840 h 465109"/>
                <a:gd name="csX8" fmla="*/ -5871 w 1075658"/>
                <a:gd name="csY8" fmla="*/ 8064 h 465109"/>
                <a:gd name="csX9" fmla="*/ -5871 w 1075658"/>
                <a:gd name="csY9" fmla="*/ -4549 h 465109"/>
                <a:gd name="csX10" fmla="*/ 4943 w 1075658"/>
                <a:gd name="csY10" fmla="*/ -4549 h 465109"/>
                <a:gd name="csX11" fmla="*/ 139584 w 1075658"/>
                <a:gd name="csY11" fmla="*/ -4549 h 465109"/>
                <a:gd name="csX12" fmla="*/ 150398 w 1075658"/>
                <a:gd name="csY12" fmla="*/ -4549 h 465109"/>
                <a:gd name="csX13" fmla="*/ 150398 w 1075658"/>
                <a:gd name="csY13" fmla="*/ 8064 h 465109"/>
                <a:gd name="csX14" fmla="*/ 150398 w 1075658"/>
                <a:gd name="csY14" fmla="*/ 222840 h 465109"/>
                <a:gd name="csX15" fmla="*/ 150398 w 1075658"/>
                <a:gd name="csY15" fmla="*/ 369146 h 465109"/>
                <a:gd name="csX16" fmla="*/ 150398 w 1075658"/>
                <a:gd name="csY16" fmla="*/ 384903 h 465109"/>
                <a:gd name="csX17" fmla="*/ 139584 w 1075658"/>
                <a:gd name="csY17" fmla="*/ 384903 h 465109"/>
                <a:gd name="csX18" fmla="*/ 139584 w 1075658"/>
                <a:gd name="csY18" fmla="*/ 369146 h 465109"/>
                <a:gd name="csX19" fmla="*/ 127899 w 1075658"/>
                <a:gd name="csY19" fmla="*/ 369146 h 465109"/>
                <a:gd name="csX20" fmla="*/ 16629 w 1075658"/>
                <a:gd name="csY20" fmla="*/ 369146 h 465109"/>
                <a:gd name="csX21" fmla="*/ 4943 w 1075658"/>
                <a:gd name="csY21" fmla="*/ 369146 h 465109"/>
                <a:gd name="csX22" fmla="*/ 4943 w 1075658"/>
                <a:gd name="csY22" fmla="*/ 395152 h 465109"/>
                <a:gd name="csX23" fmla="*/ 1069787 w 1075658"/>
                <a:gd name="csY23" fmla="*/ 395152 h 465109"/>
                <a:gd name="csX24" fmla="*/ 1069787 w 1075658"/>
                <a:gd name="csY24" fmla="*/ 460561 h 465109"/>
                <a:gd name="csX25" fmla="*/ 622810 w 1075658"/>
                <a:gd name="csY25" fmla="*/ 460561 h 465109"/>
                <a:gd name="csX26" fmla="*/ 46360 w 1075658"/>
                <a:gd name="csY26" fmla="*/ 301285 h 465109"/>
                <a:gd name="csX27" fmla="*/ 71120 w 1075658"/>
                <a:gd name="csY27" fmla="*/ 301285 h 465109"/>
                <a:gd name="csX28" fmla="*/ 71120 w 1075658"/>
                <a:gd name="csY28" fmla="*/ 267061 h 465109"/>
                <a:gd name="csX29" fmla="*/ 46360 w 1075658"/>
                <a:gd name="csY29" fmla="*/ 267061 h 465109"/>
                <a:gd name="csX30" fmla="*/ 73408 w 1075658"/>
                <a:gd name="csY30" fmla="*/ 301285 h 465109"/>
                <a:gd name="csX31" fmla="*/ 98173 w 1075658"/>
                <a:gd name="csY31" fmla="*/ 301285 h 465109"/>
                <a:gd name="csX32" fmla="*/ 98173 w 1075658"/>
                <a:gd name="csY32" fmla="*/ 267061 h 465109"/>
                <a:gd name="csX33" fmla="*/ 73408 w 1075658"/>
                <a:gd name="csY33" fmla="*/ 267061 h 465109"/>
                <a:gd name="csX34" fmla="*/ 98173 w 1075658"/>
                <a:gd name="csY34" fmla="*/ 337791 h 465109"/>
                <a:gd name="csX35" fmla="*/ 98173 w 1075658"/>
                <a:gd name="csY35" fmla="*/ 303567 h 465109"/>
                <a:gd name="csX36" fmla="*/ 73408 w 1075658"/>
                <a:gd name="csY36" fmla="*/ 303567 h 465109"/>
                <a:gd name="csX37" fmla="*/ 73408 w 1075658"/>
                <a:gd name="csY37" fmla="*/ 337791 h 465109"/>
                <a:gd name="csX38" fmla="*/ 46360 w 1075658"/>
                <a:gd name="csY38" fmla="*/ 337791 h 465109"/>
                <a:gd name="csX39" fmla="*/ 71120 w 1075658"/>
                <a:gd name="csY39" fmla="*/ 337791 h 465109"/>
                <a:gd name="csX40" fmla="*/ 71120 w 1075658"/>
                <a:gd name="csY40" fmla="*/ 303567 h 465109"/>
                <a:gd name="csX41" fmla="*/ 46360 w 1075658"/>
                <a:gd name="csY41" fmla="*/ 303567 h 465109"/>
                <a:gd name="csX42" fmla="*/ 16629 w 1075658"/>
                <a:gd name="csY42" fmla="*/ 222840 h 465109"/>
                <a:gd name="csX43" fmla="*/ 139584 w 1075658"/>
                <a:gd name="csY43" fmla="*/ 222840 h 465109"/>
                <a:gd name="csX44" fmla="*/ 139584 w 1075658"/>
                <a:gd name="csY44" fmla="*/ 8064 h 465109"/>
                <a:gd name="csX45" fmla="*/ 4943 w 1075658"/>
                <a:gd name="csY45" fmla="*/ 8064 h 465109"/>
                <a:gd name="csX46" fmla="*/ 4943 w 1075658"/>
                <a:gd name="csY46" fmla="*/ 222840 h 465109"/>
                <a:gd name="csX47" fmla="*/ 16629 w 1075658"/>
                <a:gd name="csY47" fmla="*/ 222840 h 46510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Lst>
              <a:rect l="l" t="t" r="r" b="b"/>
              <a:pathLst>
                <a:path w="1075658" h="465109">
                  <a:moveTo>
                    <a:pt x="622810" y="438637"/>
                  </a:moveTo>
                  <a:lnTo>
                    <a:pt x="564056" y="438637"/>
                  </a:lnTo>
                  <a:lnTo>
                    <a:pt x="564056" y="460561"/>
                  </a:lnTo>
                  <a:lnTo>
                    <a:pt x="-5871" y="460561"/>
                  </a:lnTo>
                  <a:lnTo>
                    <a:pt x="-5871" y="401176"/>
                  </a:lnTo>
                  <a:lnTo>
                    <a:pt x="-5871" y="395152"/>
                  </a:lnTo>
                  <a:lnTo>
                    <a:pt x="-5871" y="369146"/>
                  </a:lnTo>
                  <a:lnTo>
                    <a:pt x="-5871" y="222840"/>
                  </a:lnTo>
                  <a:lnTo>
                    <a:pt x="-5871" y="8064"/>
                  </a:lnTo>
                  <a:lnTo>
                    <a:pt x="-5871" y="-4549"/>
                  </a:lnTo>
                  <a:lnTo>
                    <a:pt x="4943" y="-4549"/>
                  </a:lnTo>
                  <a:lnTo>
                    <a:pt x="139584" y="-4549"/>
                  </a:lnTo>
                  <a:lnTo>
                    <a:pt x="150398" y="-4549"/>
                  </a:lnTo>
                  <a:lnTo>
                    <a:pt x="150398" y="8064"/>
                  </a:lnTo>
                  <a:lnTo>
                    <a:pt x="150398" y="222840"/>
                  </a:lnTo>
                  <a:lnTo>
                    <a:pt x="150398" y="369146"/>
                  </a:lnTo>
                  <a:lnTo>
                    <a:pt x="150398" y="384903"/>
                  </a:lnTo>
                  <a:lnTo>
                    <a:pt x="139584" y="384903"/>
                  </a:lnTo>
                  <a:lnTo>
                    <a:pt x="139584" y="369146"/>
                  </a:lnTo>
                  <a:lnTo>
                    <a:pt x="127899" y="369146"/>
                  </a:lnTo>
                  <a:lnTo>
                    <a:pt x="16629" y="369146"/>
                  </a:lnTo>
                  <a:lnTo>
                    <a:pt x="4943" y="369146"/>
                  </a:lnTo>
                  <a:lnTo>
                    <a:pt x="4943" y="395152"/>
                  </a:lnTo>
                  <a:lnTo>
                    <a:pt x="1069787" y="395152"/>
                  </a:lnTo>
                  <a:lnTo>
                    <a:pt x="1069787" y="460561"/>
                  </a:lnTo>
                  <a:lnTo>
                    <a:pt x="622810" y="460561"/>
                  </a:lnTo>
                  <a:close/>
                  <a:moveTo>
                    <a:pt x="46360" y="301285"/>
                  </a:moveTo>
                  <a:lnTo>
                    <a:pt x="71120" y="301285"/>
                  </a:lnTo>
                  <a:lnTo>
                    <a:pt x="71120" y="267061"/>
                  </a:lnTo>
                  <a:lnTo>
                    <a:pt x="46360" y="267061"/>
                  </a:lnTo>
                  <a:close/>
                  <a:moveTo>
                    <a:pt x="73408" y="301285"/>
                  </a:moveTo>
                  <a:lnTo>
                    <a:pt x="98173" y="301285"/>
                  </a:lnTo>
                  <a:lnTo>
                    <a:pt x="98173" y="267061"/>
                  </a:lnTo>
                  <a:lnTo>
                    <a:pt x="73408" y="267061"/>
                  </a:lnTo>
                  <a:close/>
                  <a:moveTo>
                    <a:pt x="98173" y="337791"/>
                  </a:moveTo>
                  <a:lnTo>
                    <a:pt x="98173" y="303567"/>
                  </a:lnTo>
                  <a:lnTo>
                    <a:pt x="73408" y="303567"/>
                  </a:lnTo>
                  <a:lnTo>
                    <a:pt x="73408" y="337791"/>
                  </a:lnTo>
                  <a:close/>
                  <a:moveTo>
                    <a:pt x="46360" y="337791"/>
                  </a:moveTo>
                  <a:lnTo>
                    <a:pt x="71120" y="337791"/>
                  </a:lnTo>
                  <a:lnTo>
                    <a:pt x="71120" y="303567"/>
                  </a:lnTo>
                  <a:lnTo>
                    <a:pt x="46360" y="303567"/>
                  </a:lnTo>
                  <a:close/>
                  <a:moveTo>
                    <a:pt x="16629" y="222840"/>
                  </a:moveTo>
                  <a:lnTo>
                    <a:pt x="139584" y="222840"/>
                  </a:lnTo>
                  <a:lnTo>
                    <a:pt x="139584" y="8064"/>
                  </a:lnTo>
                  <a:lnTo>
                    <a:pt x="4943" y="8064"/>
                  </a:lnTo>
                  <a:lnTo>
                    <a:pt x="4943" y="222840"/>
                  </a:lnTo>
                  <a:lnTo>
                    <a:pt x="16629" y="222840"/>
                  </a:lnTo>
                </a:path>
              </a:pathLst>
            </a:custGeom>
            <a:grpFill/>
            <a:ln w="548" cap="flat">
              <a:noFill/>
              <a:prstDash val="solid"/>
              <a:miter/>
            </a:ln>
          </p:spPr>
          <p:txBody>
            <a:bodyPr/>
            <a:lstStyle/>
            <a:p>
              <a:endParaRPr lang="en-US"/>
            </a:p>
          </p:txBody>
        </p:sp>
        <p:sp>
          <p:nvSpPr>
            <p:cNvPr id="524" name="Freeform: Shape 523">
              <a:extLst>
                <a:ext uri="{FF2B5EF4-FFF2-40B4-BE49-F238E27FC236}">
                  <a16:creationId xmlns:a16="http://schemas.microsoft.com/office/drawing/2014/main" id="{CEE0B83C-BA6D-A879-FB6E-7D5397ACE630}"/>
                </a:ext>
              </a:extLst>
            </p:cNvPr>
            <p:cNvSpPr/>
            <p:nvPr/>
          </p:nvSpPr>
          <p:spPr>
            <a:xfrm flipV="1">
              <a:off x="21830945" y="4661075"/>
              <a:ext cx="130246" cy="26691"/>
            </a:xfrm>
            <a:custGeom>
              <a:avLst/>
              <a:gdLst>
                <a:gd name="csX0" fmla="*/ -5974 w 130246"/>
                <a:gd name="csY0" fmla="*/ -4589 h 26691"/>
                <a:gd name="csX1" fmla="*/ 124273 w 130246"/>
                <a:gd name="csY1" fmla="*/ -4589 h 26691"/>
                <a:gd name="csX2" fmla="*/ 124273 w 130246"/>
                <a:gd name="csY2" fmla="*/ 22102 h 26691"/>
                <a:gd name="csX3" fmla="*/ -5974 w 130246"/>
                <a:gd name="csY3" fmla="*/ 22102 h 26691"/>
                <a:gd name="csX4" fmla="*/ -5974 w 130246"/>
                <a:gd name="csY4" fmla="*/ -4589 h 26691"/>
              </a:gdLst>
              <a:ahLst/>
              <a:cxnLst>
                <a:cxn ang="0">
                  <a:pos x="csX0" y="csY0"/>
                </a:cxn>
                <a:cxn ang="0">
                  <a:pos x="csX1" y="csY1"/>
                </a:cxn>
                <a:cxn ang="0">
                  <a:pos x="csX2" y="csY2"/>
                </a:cxn>
                <a:cxn ang="0">
                  <a:pos x="csX3" y="csY3"/>
                </a:cxn>
                <a:cxn ang="0">
                  <a:pos x="csX4" y="csY4"/>
                </a:cxn>
              </a:cxnLst>
              <a:rect l="l" t="t" r="r" b="b"/>
              <a:pathLst>
                <a:path w="130246" h="26691">
                  <a:moveTo>
                    <a:pt x="-5974" y="-4589"/>
                  </a:moveTo>
                  <a:lnTo>
                    <a:pt x="124273" y="-4589"/>
                  </a:lnTo>
                  <a:lnTo>
                    <a:pt x="124273" y="22102"/>
                  </a:lnTo>
                  <a:lnTo>
                    <a:pt x="-5974" y="22102"/>
                  </a:lnTo>
                  <a:lnTo>
                    <a:pt x="-5974" y="-4589"/>
                  </a:lnTo>
                </a:path>
              </a:pathLst>
            </a:custGeom>
            <a:grpFill/>
            <a:ln w="548" cap="flat">
              <a:noFill/>
              <a:prstDash val="solid"/>
              <a:miter/>
            </a:ln>
          </p:spPr>
          <p:txBody>
            <a:bodyPr/>
            <a:lstStyle/>
            <a:p>
              <a:endParaRPr lang="en-US"/>
            </a:p>
          </p:txBody>
        </p:sp>
        <p:sp>
          <p:nvSpPr>
            <p:cNvPr id="525" name="Freeform: Shape 524">
              <a:extLst>
                <a:ext uri="{FF2B5EF4-FFF2-40B4-BE49-F238E27FC236}">
                  <a16:creationId xmlns:a16="http://schemas.microsoft.com/office/drawing/2014/main" id="{10241A86-B399-1292-C395-919DAF65C3EC}"/>
                </a:ext>
              </a:extLst>
            </p:cNvPr>
            <p:cNvSpPr/>
            <p:nvPr/>
          </p:nvSpPr>
          <p:spPr>
            <a:xfrm flipV="1">
              <a:off x="17801777" y="3224698"/>
              <a:ext cx="636905" cy="1698913"/>
            </a:xfrm>
            <a:custGeom>
              <a:avLst/>
              <a:gdLst>
                <a:gd name="csX0" fmla="*/ 508140 w 636905"/>
                <a:gd name="csY0" fmla="*/ 1619258 h 1698913"/>
                <a:gd name="csX1" fmla="*/ 417724 w 636905"/>
                <a:gd name="csY1" fmla="*/ 1619258 h 1698913"/>
                <a:gd name="csX2" fmla="*/ 417724 w 636905"/>
                <a:gd name="csY2" fmla="*/ 1692880 h 1698913"/>
                <a:gd name="csX3" fmla="*/ 216593 w 636905"/>
                <a:gd name="csY3" fmla="*/ 1692880 h 1698913"/>
                <a:gd name="csX4" fmla="*/ 216593 w 636905"/>
                <a:gd name="csY4" fmla="*/ 1619258 h 1698913"/>
                <a:gd name="csX5" fmla="*/ 201115 w 636905"/>
                <a:gd name="csY5" fmla="*/ 1619258 h 1698913"/>
                <a:gd name="csX6" fmla="*/ 126177 w 636905"/>
                <a:gd name="csY6" fmla="*/ 1619258 h 1698913"/>
                <a:gd name="csX7" fmla="*/ 110705 w 636905"/>
                <a:gd name="csY7" fmla="*/ 1619258 h 1698913"/>
                <a:gd name="csX8" fmla="*/ -1294 w 636905"/>
                <a:gd name="csY8" fmla="*/ 1619258 h 1698913"/>
                <a:gd name="csX9" fmla="*/ -1294 w 636905"/>
                <a:gd name="csY9" fmla="*/ 1555687 h 1698913"/>
                <a:gd name="csX10" fmla="*/ -1294 w 636905"/>
                <a:gd name="csY10" fmla="*/ -6033 h 1698913"/>
                <a:gd name="csX11" fmla="*/ 110705 w 636905"/>
                <a:gd name="csY11" fmla="*/ -6033 h 1698913"/>
                <a:gd name="csX12" fmla="*/ 222699 w 636905"/>
                <a:gd name="csY12" fmla="*/ -6033 h 1698913"/>
                <a:gd name="csX13" fmla="*/ 411618 w 636905"/>
                <a:gd name="csY13" fmla="*/ -6033 h 1698913"/>
                <a:gd name="csX14" fmla="*/ 523612 w 636905"/>
                <a:gd name="csY14" fmla="*/ -6033 h 1698913"/>
                <a:gd name="csX15" fmla="*/ 635611 w 636905"/>
                <a:gd name="csY15" fmla="*/ -6033 h 1698913"/>
                <a:gd name="csX16" fmla="*/ 635611 w 636905"/>
                <a:gd name="csY16" fmla="*/ 1555687 h 1698913"/>
                <a:gd name="csX17" fmla="*/ 635611 w 636905"/>
                <a:gd name="csY17" fmla="*/ 1619258 h 1698913"/>
                <a:gd name="csX18" fmla="*/ 523612 w 636905"/>
                <a:gd name="csY18" fmla="*/ 1619258 h 1698913"/>
                <a:gd name="csX19" fmla="*/ 110705 w 636905"/>
                <a:gd name="csY19" fmla="*/ 1399435 h 1698913"/>
                <a:gd name="csX20" fmla="*/ 110705 w 636905"/>
                <a:gd name="csY20" fmla="*/ 1359691 h 1698913"/>
                <a:gd name="csX21" fmla="*/ 50816 w 636905"/>
                <a:gd name="csY21" fmla="*/ 1359691 h 1698913"/>
                <a:gd name="csX22" fmla="*/ 50816 w 636905"/>
                <a:gd name="csY22" fmla="*/ 1399435 h 1698913"/>
                <a:gd name="csX23" fmla="*/ 50816 w 636905"/>
                <a:gd name="csY23" fmla="*/ 1422988 h 1698913"/>
                <a:gd name="csX24" fmla="*/ 50816 w 636905"/>
                <a:gd name="csY24" fmla="*/ 1462737 h 1698913"/>
                <a:gd name="csX25" fmla="*/ 110705 w 636905"/>
                <a:gd name="csY25" fmla="*/ 1462737 h 1698913"/>
                <a:gd name="csX26" fmla="*/ 110705 w 636905"/>
                <a:gd name="csY26" fmla="*/ 1422988 h 1698913"/>
                <a:gd name="csX27" fmla="*/ 110705 w 636905"/>
                <a:gd name="csY27" fmla="*/ 1336132 h 1698913"/>
                <a:gd name="csX28" fmla="*/ 110705 w 636905"/>
                <a:gd name="csY28" fmla="*/ 1296389 h 1698913"/>
                <a:gd name="csX29" fmla="*/ 50816 w 636905"/>
                <a:gd name="csY29" fmla="*/ 1296389 h 1698913"/>
                <a:gd name="csX30" fmla="*/ 50816 w 636905"/>
                <a:gd name="csY30" fmla="*/ 1336132 h 1698913"/>
                <a:gd name="csX31" fmla="*/ 110705 w 636905"/>
                <a:gd name="csY31" fmla="*/ 1272830 h 1698913"/>
                <a:gd name="csX32" fmla="*/ 110705 w 636905"/>
                <a:gd name="csY32" fmla="*/ 1233087 h 1698913"/>
                <a:gd name="csX33" fmla="*/ 50816 w 636905"/>
                <a:gd name="csY33" fmla="*/ 1233087 h 1698913"/>
                <a:gd name="csX34" fmla="*/ 50816 w 636905"/>
                <a:gd name="csY34" fmla="*/ 1272830 h 1698913"/>
                <a:gd name="csX35" fmla="*/ 110705 w 636905"/>
                <a:gd name="csY35" fmla="*/ 1209533 h 1698913"/>
                <a:gd name="csX36" fmla="*/ 110705 w 636905"/>
                <a:gd name="csY36" fmla="*/ 1169785 h 1698913"/>
                <a:gd name="csX37" fmla="*/ 50816 w 636905"/>
                <a:gd name="csY37" fmla="*/ 1169785 h 1698913"/>
                <a:gd name="csX38" fmla="*/ 50816 w 636905"/>
                <a:gd name="csY38" fmla="*/ 1209533 h 1698913"/>
                <a:gd name="csX39" fmla="*/ 110705 w 636905"/>
                <a:gd name="csY39" fmla="*/ 1146232 h 1698913"/>
                <a:gd name="csX40" fmla="*/ 110705 w 636905"/>
                <a:gd name="csY40" fmla="*/ 1106488 h 1698913"/>
                <a:gd name="csX41" fmla="*/ 50816 w 636905"/>
                <a:gd name="csY41" fmla="*/ 1106488 h 1698913"/>
                <a:gd name="csX42" fmla="*/ 50816 w 636905"/>
                <a:gd name="csY42" fmla="*/ 1146232 h 1698913"/>
                <a:gd name="csX43" fmla="*/ 110705 w 636905"/>
                <a:gd name="csY43" fmla="*/ 1082929 h 1698913"/>
                <a:gd name="csX44" fmla="*/ 110705 w 636905"/>
                <a:gd name="csY44" fmla="*/ 1043186 h 1698913"/>
                <a:gd name="csX45" fmla="*/ 50816 w 636905"/>
                <a:gd name="csY45" fmla="*/ 1043186 h 1698913"/>
                <a:gd name="csX46" fmla="*/ 50816 w 636905"/>
                <a:gd name="csY46" fmla="*/ 1082929 h 1698913"/>
                <a:gd name="csX47" fmla="*/ 110705 w 636905"/>
                <a:gd name="csY47" fmla="*/ 1019633 h 1698913"/>
                <a:gd name="csX48" fmla="*/ 110705 w 636905"/>
                <a:gd name="csY48" fmla="*/ 979889 h 1698913"/>
                <a:gd name="csX49" fmla="*/ 50816 w 636905"/>
                <a:gd name="csY49" fmla="*/ 979889 h 1698913"/>
                <a:gd name="csX50" fmla="*/ 50816 w 636905"/>
                <a:gd name="csY50" fmla="*/ 1019633 h 1698913"/>
                <a:gd name="csX51" fmla="*/ 110705 w 636905"/>
                <a:gd name="csY51" fmla="*/ 956331 h 1698913"/>
                <a:gd name="csX52" fmla="*/ 110705 w 636905"/>
                <a:gd name="csY52" fmla="*/ 916582 h 1698913"/>
                <a:gd name="csX53" fmla="*/ 50816 w 636905"/>
                <a:gd name="csY53" fmla="*/ 916582 h 1698913"/>
                <a:gd name="csX54" fmla="*/ 50816 w 636905"/>
                <a:gd name="csY54" fmla="*/ 956331 h 1698913"/>
                <a:gd name="csX55" fmla="*/ 110705 w 636905"/>
                <a:gd name="csY55" fmla="*/ 893029 h 1698913"/>
                <a:gd name="csX56" fmla="*/ 110705 w 636905"/>
                <a:gd name="csY56" fmla="*/ 853285 h 1698913"/>
                <a:gd name="csX57" fmla="*/ 50816 w 636905"/>
                <a:gd name="csY57" fmla="*/ 853285 h 1698913"/>
                <a:gd name="csX58" fmla="*/ 50816 w 636905"/>
                <a:gd name="csY58" fmla="*/ 893029 h 1698913"/>
                <a:gd name="csX59" fmla="*/ 110705 w 636905"/>
                <a:gd name="csY59" fmla="*/ 829727 h 1698913"/>
                <a:gd name="csX60" fmla="*/ 110705 w 636905"/>
                <a:gd name="csY60" fmla="*/ 789983 h 1698913"/>
                <a:gd name="csX61" fmla="*/ 50816 w 636905"/>
                <a:gd name="csY61" fmla="*/ 789983 h 1698913"/>
                <a:gd name="csX62" fmla="*/ 50816 w 636905"/>
                <a:gd name="csY62" fmla="*/ 829727 h 1698913"/>
                <a:gd name="csX63" fmla="*/ 110705 w 636905"/>
                <a:gd name="csY63" fmla="*/ 766430 h 1698913"/>
                <a:gd name="csX64" fmla="*/ 110705 w 636905"/>
                <a:gd name="csY64" fmla="*/ 726681 h 1698913"/>
                <a:gd name="csX65" fmla="*/ 50816 w 636905"/>
                <a:gd name="csY65" fmla="*/ 726681 h 1698913"/>
                <a:gd name="csX66" fmla="*/ 50816 w 636905"/>
                <a:gd name="csY66" fmla="*/ 766430 h 1698913"/>
                <a:gd name="csX67" fmla="*/ 110705 w 636905"/>
                <a:gd name="csY67" fmla="*/ 703128 h 1698913"/>
                <a:gd name="csX68" fmla="*/ 110705 w 636905"/>
                <a:gd name="csY68" fmla="*/ 663384 h 1698913"/>
                <a:gd name="csX69" fmla="*/ 50816 w 636905"/>
                <a:gd name="csY69" fmla="*/ 663384 h 1698913"/>
                <a:gd name="csX70" fmla="*/ 50816 w 636905"/>
                <a:gd name="csY70" fmla="*/ 703128 h 1698913"/>
                <a:gd name="csX71" fmla="*/ 110705 w 636905"/>
                <a:gd name="csY71" fmla="*/ 639831 h 1698913"/>
                <a:gd name="csX72" fmla="*/ 110705 w 636905"/>
                <a:gd name="csY72" fmla="*/ 600082 h 1698913"/>
                <a:gd name="csX73" fmla="*/ 50816 w 636905"/>
                <a:gd name="csY73" fmla="*/ 600082 h 1698913"/>
                <a:gd name="csX74" fmla="*/ 50816 w 636905"/>
                <a:gd name="csY74" fmla="*/ 639831 h 1698913"/>
                <a:gd name="csX75" fmla="*/ 110705 w 636905"/>
                <a:gd name="csY75" fmla="*/ 576529 h 1698913"/>
                <a:gd name="csX76" fmla="*/ 110705 w 636905"/>
                <a:gd name="csY76" fmla="*/ 536780 h 1698913"/>
                <a:gd name="csX77" fmla="*/ 50816 w 636905"/>
                <a:gd name="csY77" fmla="*/ 536780 h 1698913"/>
                <a:gd name="csX78" fmla="*/ 50816 w 636905"/>
                <a:gd name="csY78" fmla="*/ 576529 h 1698913"/>
                <a:gd name="csX79" fmla="*/ 110705 w 636905"/>
                <a:gd name="csY79" fmla="*/ 513222 h 1698913"/>
                <a:gd name="csX80" fmla="*/ 110705 w 636905"/>
                <a:gd name="csY80" fmla="*/ 473484 h 1698913"/>
                <a:gd name="csX81" fmla="*/ 50816 w 636905"/>
                <a:gd name="csY81" fmla="*/ 473484 h 1698913"/>
                <a:gd name="csX82" fmla="*/ 50816 w 636905"/>
                <a:gd name="csY82" fmla="*/ 513222 h 1698913"/>
                <a:gd name="csX83" fmla="*/ 110705 w 636905"/>
                <a:gd name="csY83" fmla="*/ 449925 h 1698913"/>
                <a:gd name="csX84" fmla="*/ 110705 w 636905"/>
                <a:gd name="csY84" fmla="*/ 410181 h 1698913"/>
                <a:gd name="csX85" fmla="*/ 50816 w 636905"/>
                <a:gd name="csY85" fmla="*/ 410181 h 1698913"/>
                <a:gd name="csX86" fmla="*/ 50816 w 636905"/>
                <a:gd name="csY86" fmla="*/ 449925 h 1698913"/>
                <a:gd name="csX87" fmla="*/ 110705 w 636905"/>
                <a:gd name="csY87" fmla="*/ 386623 h 1698913"/>
                <a:gd name="csX88" fmla="*/ 110705 w 636905"/>
                <a:gd name="csY88" fmla="*/ 346879 h 1698913"/>
                <a:gd name="csX89" fmla="*/ 50816 w 636905"/>
                <a:gd name="csY89" fmla="*/ 346879 h 1698913"/>
                <a:gd name="csX90" fmla="*/ 50816 w 636905"/>
                <a:gd name="csY90" fmla="*/ 386623 h 1698913"/>
                <a:gd name="csX91" fmla="*/ 110705 w 636905"/>
                <a:gd name="csY91" fmla="*/ 323321 h 1698913"/>
                <a:gd name="csX92" fmla="*/ 110705 w 636905"/>
                <a:gd name="csY92" fmla="*/ 283577 h 1698913"/>
                <a:gd name="csX93" fmla="*/ 50816 w 636905"/>
                <a:gd name="csY93" fmla="*/ 283577 h 1698913"/>
                <a:gd name="csX94" fmla="*/ 50816 w 636905"/>
                <a:gd name="csY94" fmla="*/ 323321 h 1698913"/>
                <a:gd name="csX95" fmla="*/ 110705 w 636905"/>
                <a:gd name="csY95" fmla="*/ 260024 h 1698913"/>
                <a:gd name="csX96" fmla="*/ 110705 w 636905"/>
                <a:gd name="csY96" fmla="*/ 220275 h 1698913"/>
                <a:gd name="csX97" fmla="*/ 50816 w 636905"/>
                <a:gd name="csY97" fmla="*/ 220275 h 1698913"/>
                <a:gd name="csX98" fmla="*/ 50816 w 636905"/>
                <a:gd name="csY98" fmla="*/ 260024 h 1698913"/>
                <a:gd name="csX99" fmla="*/ 110705 w 636905"/>
                <a:gd name="csY99" fmla="*/ 196722 h 1698913"/>
                <a:gd name="csX100" fmla="*/ 110705 w 636905"/>
                <a:gd name="csY100" fmla="*/ 156979 h 1698913"/>
                <a:gd name="csX101" fmla="*/ 50816 w 636905"/>
                <a:gd name="csY101" fmla="*/ 156979 h 1698913"/>
                <a:gd name="csX102" fmla="*/ 50816 w 636905"/>
                <a:gd name="csY102" fmla="*/ 196722 h 1698913"/>
                <a:gd name="csX103" fmla="*/ 110705 w 636905"/>
                <a:gd name="csY103" fmla="*/ 133420 h 1698913"/>
                <a:gd name="csX104" fmla="*/ 110705 w 636905"/>
                <a:gd name="csY104" fmla="*/ 93677 h 1698913"/>
                <a:gd name="csX105" fmla="*/ 50816 w 636905"/>
                <a:gd name="csY105" fmla="*/ 93677 h 1698913"/>
                <a:gd name="csX106" fmla="*/ 50816 w 636905"/>
                <a:gd name="csY106" fmla="*/ 133420 h 1698913"/>
                <a:gd name="csX107" fmla="*/ 50816 w 636905"/>
                <a:gd name="csY107" fmla="*/ 30380 h 1698913"/>
                <a:gd name="csX108" fmla="*/ 50816 w 636905"/>
                <a:gd name="csY108" fmla="*/ 70123 h 1698913"/>
                <a:gd name="csX109" fmla="*/ 110705 w 636905"/>
                <a:gd name="csY109" fmla="*/ 70123 h 1698913"/>
                <a:gd name="csX110" fmla="*/ 110705 w 636905"/>
                <a:gd name="csY110" fmla="*/ 30380 h 1698913"/>
                <a:gd name="csX111" fmla="*/ 222699 w 636905"/>
                <a:gd name="csY111" fmla="*/ 24010 h 1698913"/>
                <a:gd name="csX112" fmla="*/ 126177 w 636905"/>
                <a:gd name="csY112" fmla="*/ 24010 h 1698913"/>
                <a:gd name="csX113" fmla="*/ 126177 w 636905"/>
                <a:gd name="csY113" fmla="*/ 1555687 h 1698913"/>
                <a:gd name="csX114" fmla="*/ 222699 w 636905"/>
                <a:gd name="csY114" fmla="*/ 1555687 h 1698913"/>
                <a:gd name="csX115" fmla="*/ 222699 w 636905"/>
                <a:gd name="csY115" fmla="*/ 1539968 h 1698913"/>
                <a:gd name="csX116" fmla="*/ 222699 w 636905"/>
                <a:gd name="csY116" fmla="*/ 1487409 h 1698913"/>
                <a:gd name="csX117" fmla="*/ 222699 w 636905"/>
                <a:gd name="csY117" fmla="*/ 1471696 h 1698913"/>
                <a:gd name="csX118" fmla="*/ 222699 w 636905"/>
                <a:gd name="csY118" fmla="*/ 1419130 h 1698913"/>
                <a:gd name="csX119" fmla="*/ 222699 w 636905"/>
                <a:gd name="csY119" fmla="*/ 1403418 h 1698913"/>
                <a:gd name="csX120" fmla="*/ 222699 w 636905"/>
                <a:gd name="csY120" fmla="*/ 1350852 h 1698913"/>
                <a:gd name="csX121" fmla="*/ 222699 w 636905"/>
                <a:gd name="csY121" fmla="*/ 1335139 h 1698913"/>
                <a:gd name="csX122" fmla="*/ 222699 w 636905"/>
                <a:gd name="csY122" fmla="*/ 1282574 h 1698913"/>
                <a:gd name="csX123" fmla="*/ 222699 w 636905"/>
                <a:gd name="csY123" fmla="*/ 1266861 h 1698913"/>
                <a:gd name="csX124" fmla="*/ 222699 w 636905"/>
                <a:gd name="csY124" fmla="*/ 1214301 h 1698913"/>
                <a:gd name="csX125" fmla="*/ 222699 w 636905"/>
                <a:gd name="csY125" fmla="*/ 1198583 h 1698913"/>
                <a:gd name="csX126" fmla="*/ 222699 w 636905"/>
                <a:gd name="csY126" fmla="*/ 1146023 h 1698913"/>
                <a:gd name="csX127" fmla="*/ 222699 w 636905"/>
                <a:gd name="csY127" fmla="*/ 1130304 h 1698913"/>
                <a:gd name="csX128" fmla="*/ 222699 w 636905"/>
                <a:gd name="csY128" fmla="*/ 1077328 h 1698913"/>
                <a:gd name="csX129" fmla="*/ 222699 w 636905"/>
                <a:gd name="csY129" fmla="*/ 1061609 h 1698913"/>
                <a:gd name="csX130" fmla="*/ 222699 w 636905"/>
                <a:gd name="csY130" fmla="*/ 1008627 h 1698913"/>
                <a:gd name="csX131" fmla="*/ 222699 w 636905"/>
                <a:gd name="csY131" fmla="*/ 992914 h 1698913"/>
                <a:gd name="csX132" fmla="*/ 222699 w 636905"/>
                <a:gd name="csY132" fmla="*/ 939932 h 1698913"/>
                <a:gd name="csX133" fmla="*/ 222699 w 636905"/>
                <a:gd name="csY133" fmla="*/ 924219 h 1698913"/>
                <a:gd name="csX134" fmla="*/ 222699 w 636905"/>
                <a:gd name="csY134" fmla="*/ 871231 h 1698913"/>
                <a:gd name="csX135" fmla="*/ 222699 w 636905"/>
                <a:gd name="csY135" fmla="*/ 855524 h 1698913"/>
                <a:gd name="csX136" fmla="*/ 222699 w 636905"/>
                <a:gd name="csY136" fmla="*/ 802536 h 1698913"/>
                <a:gd name="csX137" fmla="*/ 222699 w 636905"/>
                <a:gd name="csY137" fmla="*/ 786823 h 1698913"/>
                <a:gd name="csX138" fmla="*/ 222699 w 636905"/>
                <a:gd name="csY138" fmla="*/ 733841 h 1698913"/>
                <a:gd name="csX139" fmla="*/ 222699 w 636905"/>
                <a:gd name="csY139" fmla="*/ 718128 h 1698913"/>
                <a:gd name="csX140" fmla="*/ 222699 w 636905"/>
                <a:gd name="csY140" fmla="*/ 665146 h 1698913"/>
                <a:gd name="csX141" fmla="*/ 222699 w 636905"/>
                <a:gd name="csY141" fmla="*/ 649427 h 1698913"/>
                <a:gd name="csX142" fmla="*/ 222699 w 636905"/>
                <a:gd name="csY142" fmla="*/ 596445 h 1698913"/>
                <a:gd name="csX143" fmla="*/ 222699 w 636905"/>
                <a:gd name="csY143" fmla="*/ 580732 h 1698913"/>
                <a:gd name="csX144" fmla="*/ 222699 w 636905"/>
                <a:gd name="csY144" fmla="*/ 527750 h 1698913"/>
                <a:gd name="csX145" fmla="*/ 222699 w 636905"/>
                <a:gd name="csY145" fmla="*/ 512037 h 1698913"/>
                <a:gd name="csX146" fmla="*/ 222699 w 636905"/>
                <a:gd name="csY146" fmla="*/ 459054 h 1698913"/>
                <a:gd name="csX147" fmla="*/ 222699 w 636905"/>
                <a:gd name="csY147" fmla="*/ 443341 h 1698913"/>
                <a:gd name="csX148" fmla="*/ 222699 w 636905"/>
                <a:gd name="csY148" fmla="*/ 390354 h 1698913"/>
                <a:gd name="csX149" fmla="*/ 222699 w 636905"/>
                <a:gd name="csY149" fmla="*/ 374641 h 1698913"/>
                <a:gd name="csX150" fmla="*/ 222699 w 636905"/>
                <a:gd name="csY150" fmla="*/ 321659 h 1698913"/>
                <a:gd name="csX151" fmla="*/ 222699 w 636905"/>
                <a:gd name="csY151" fmla="*/ 305940 h 1698913"/>
                <a:gd name="csX152" fmla="*/ 222699 w 636905"/>
                <a:gd name="csY152" fmla="*/ 252958 h 1698913"/>
                <a:gd name="csX153" fmla="*/ 222699 w 636905"/>
                <a:gd name="csY153" fmla="*/ 237245 h 1698913"/>
                <a:gd name="csX154" fmla="*/ 222699 w 636905"/>
                <a:gd name="csY154" fmla="*/ 184263 h 1698913"/>
                <a:gd name="csX155" fmla="*/ 222699 w 636905"/>
                <a:gd name="csY155" fmla="*/ 168549 h 1698913"/>
                <a:gd name="csX156" fmla="*/ 222699 w 636905"/>
                <a:gd name="csY156" fmla="*/ 115567 h 1698913"/>
                <a:gd name="csX157" fmla="*/ 222699 w 636905"/>
                <a:gd name="csY157" fmla="*/ 99854 h 1698913"/>
                <a:gd name="csX158" fmla="*/ 390166 w 636905"/>
                <a:gd name="csY158" fmla="*/ 1487409 h 1698913"/>
                <a:gd name="csX159" fmla="*/ 375440 w 636905"/>
                <a:gd name="csY159" fmla="*/ 1487409 h 1698913"/>
                <a:gd name="csX160" fmla="*/ 375440 w 636905"/>
                <a:gd name="csY160" fmla="*/ 1539968 h 1698913"/>
                <a:gd name="csX161" fmla="*/ 390166 w 636905"/>
                <a:gd name="csY161" fmla="*/ 1539968 h 1698913"/>
                <a:gd name="csX162" fmla="*/ 390166 w 636905"/>
                <a:gd name="csY162" fmla="*/ 1419130 h 1698913"/>
                <a:gd name="csX163" fmla="*/ 375440 w 636905"/>
                <a:gd name="csY163" fmla="*/ 1419130 h 1698913"/>
                <a:gd name="csX164" fmla="*/ 375440 w 636905"/>
                <a:gd name="csY164" fmla="*/ 1471696 h 1698913"/>
                <a:gd name="csX165" fmla="*/ 390166 w 636905"/>
                <a:gd name="csY165" fmla="*/ 1471696 h 1698913"/>
                <a:gd name="csX166" fmla="*/ 390166 w 636905"/>
                <a:gd name="csY166" fmla="*/ 1350852 h 1698913"/>
                <a:gd name="csX167" fmla="*/ 375440 w 636905"/>
                <a:gd name="csY167" fmla="*/ 1350852 h 1698913"/>
                <a:gd name="csX168" fmla="*/ 375440 w 636905"/>
                <a:gd name="csY168" fmla="*/ 1403418 h 1698913"/>
                <a:gd name="csX169" fmla="*/ 390166 w 636905"/>
                <a:gd name="csY169" fmla="*/ 1403418 h 1698913"/>
                <a:gd name="csX170" fmla="*/ 390166 w 636905"/>
                <a:gd name="csY170" fmla="*/ 1282574 h 1698913"/>
                <a:gd name="csX171" fmla="*/ 375440 w 636905"/>
                <a:gd name="csY171" fmla="*/ 1282574 h 1698913"/>
                <a:gd name="csX172" fmla="*/ 375440 w 636905"/>
                <a:gd name="csY172" fmla="*/ 1335139 h 1698913"/>
                <a:gd name="csX173" fmla="*/ 390166 w 636905"/>
                <a:gd name="csY173" fmla="*/ 1335139 h 1698913"/>
                <a:gd name="csX174" fmla="*/ 390166 w 636905"/>
                <a:gd name="csY174" fmla="*/ 1214301 h 1698913"/>
                <a:gd name="csX175" fmla="*/ 375440 w 636905"/>
                <a:gd name="csY175" fmla="*/ 1214301 h 1698913"/>
                <a:gd name="csX176" fmla="*/ 375440 w 636905"/>
                <a:gd name="csY176" fmla="*/ 1266861 h 1698913"/>
                <a:gd name="csX177" fmla="*/ 390166 w 636905"/>
                <a:gd name="csY177" fmla="*/ 1266861 h 1698913"/>
                <a:gd name="csX178" fmla="*/ 390166 w 636905"/>
                <a:gd name="csY178" fmla="*/ 1146023 h 1698913"/>
                <a:gd name="csX179" fmla="*/ 375440 w 636905"/>
                <a:gd name="csY179" fmla="*/ 1146023 h 1698913"/>
                <a:gd name="csX180" fmla="*/ 375440 w 636905"/>
                <a:gd name="csY180" fmla="*/ 1198583 h 1698913"/>
                <a:gd name="csX181" fmla="*/ 390166 w 636905"/>
                <a:gd name="csY181" fmla="*/ 1198583 h 1698913"/>
                <a:gd name="csX182" fmla="*/ 243673 w 636905"/>
                <a:gd name="csY182" fmla="*/ 168549 h 1698913"/>
                <a:gd name="csX183" fmla="*/ 258410 w 636905"/>
                <a:gd name="csY183" fmla="*/ 168549 h 1698913"/>
                <a:gd name="csX184" fmla="*/ 258410 w 636905"/>
                <a:gd name="csY184" fmla="*/ 115984 h 1698913"/>
                <a:gd name="csX185" fmla="*/ 243673 w 636905"/>
                <a:gd name="csY185" fmla="*/ 115984 h 1698913"/>
                <a:gd name="csX186" fmla="*/ 342500 w 636905"/>
                <a:gd name="csY186" fmla="*/ 168549 h 1698913"/>
                <a:gd name="csX187" fmla="*/ 357225 w 636905"/>
                <a:gd name="csY187" fmla="*/ 168549 h 1698913"/>
                <a:gd name="csX188" fmla="*/ 357225 w 636905"/>
                <a:gd name="csY188" fmla="*/ 115984 h 1698913"/>
                <a:gd name="csX189" fmla="*/ 342500 w 636905"/>
                <a:gd name="csY189" fmla="*/ 115984 h 1698913"/>
                <a:gd name="csX190" fmla="*/ 309560 w 636905"/>
                <a:gd name="csY190" fmla="*/ 168549 h 1698913"/>
                <a:gd name="csX191" fmla="*/ 324285 w 636905"/>
                <a:gd name="csY191" fmla="*/ 168549 h 1698913"/>
                <a:gd name="csX192" fmla="*/ 324285 w 636905"/>
                <a:gd name="csY192" fmla="*/ 115984 h 1698913"/>
                <a:gd name="csX193" fmla="*/ 309560 w 636905"/>
                <a:gd name="csY193" fmla="*/ 115984 h 1698913"/>
                <a:gd name="csX194" fmla="*/ 276619 w 636905"/>
                <a:gd name="csY194" fmla="*/ 168549 h 1698913"/>
                <a:gd name="csX195" fmla="*/ 291345 w 636905"/>
                <a:gd name="csY195" fmla="*/ 168549 h 1698913"/>
                <a:gd name="csX196" fmla="*/ 291345 w 636905"/>
                <a:gd name="csY196" fmla="*/ 115984 h 1698913"/>
                <a:gd name="csX197" fmla="*/ 276619 w 636905"/>
                <a:gd name="csY197" fmla="*/ 115984 h 1698913"/>
                <a:gd name="csX198" fmla="*/ 390166 w 636905"/>
                <a:gd name="csY198" fmla="*/ 115984 h 1698913"/>
                <a:gd name="csX199" fmla="*/ 375440 w 636905"/>
                <a:gd name="csY199" fmla="*/ 115984 h 1698913"/>
                <a:gd name="csX200" fmla="*/ 375440 w 636905"/>
                <a:gd name="csY200" fmla="*/ 168549 h 1698913"/>
                <a:gd name="csX201" fmla="*/ 390166 w 636905"/>
                <a:gd name="csY201" fmla="*/ 168549 h 1698913"/>
                <a:gd name="csX202" fmla="*/ 243673 w 636905"/>
                <a:gd name="csY202" fmla="*/ 237245 h 1698913"/>
                <a:gd name="csX203" fmla="*/ 258410 w 636905"/>
                <a:gd name="csY203" fmla="*/ 237245 h 1698913"/>
                <a:gd name="csX204" fmla="*/ 258410 w 636905"/>
                <a:gd name="csY204" fmla="*/ 184685 h 1698913"/>
                <a:gd name="csX205" fmla="*/ 243673 w 636905"/>
                <a:gd name="csY205" fmla="*/ 184685 h 1698913"/>
                <a:gd name="csX206" fmla="*/ 342500 w 636905"/>
                <a:gd name="csY206" fmla="*/ 237245 h 1698913"/>
                <a:gd name="csX207" fmla="*/ 357225 w 636905"/>
                <a:gd name="csY207" fmla="*/ 237245 h 1698913"/>
                <a:gd name="csX208" fmla="*/ 357225 w 636905"/>
                <a:gd name="csY208" fmla="*/ 184685 h 1698913"/>
                <a:gd name="csX209" fmla="*/ 342500 w 636905"/>
                <a:gd name="csY209" fmla="*/ 184685 h 1698913"/>
                <a:gd name="csX210" fmla="*/ 309560 w 636905"/>
                <a:gd name="csY210" fmla="*/ 237245 h 1698913"/>
                <a:gd name="csX211" fmla="*/ 324285 w 636905"/>
                <a:gd name="csY211" fmla="*/ 237245 h 1698913"/>
                <a:gd name="csX212" fmla="*/ 324285 w 636905"/>
                <a:gd name="csY212" fmla="*/ 184685 h 1698913"/>
                <a:gd name="csX213" fmla="*/ 309560 w 636905"/>
                <a:gd name="csY213" fmla="*/ 184685 h 1698913"/>
                <a:gd name="csX214" fmla="*/ 276619 w 636905"/>
                <a:gd name="csY214" fmla="*/ 237245 h 1698913"/>
                <a:gd name="csX215" fmla="*/ 291345 w 636905"/>
                <a:gd name="csY215" fmla="*/ 237245 h 1698913"/>
                <a:gd name="csX216" fmla="*/ 291345 w 636905"/>
                <a:gd name="csY216" fmla="*/ 184685 h 1698913"/>
                <a:gd name="csX217" fmla="*/ 276619 w 636905"/>
                <a:gd name="csY217" fmla="*/ 184685 h 1698913"/>
                <a:gd name="csX218" fmla="*/ 390166 w 636905"/>
                <a:gd name="csY218" fmla="*/ 184685 h 1698913"/>
                <a:gd name="csX219" fmla="*/ 375440 w 636905"/>
                <a:gd name="csY219" fmla="*/ 184685 h 1698913"/>
                <a:gd name="csX220" fmla="*/ 375440 w 636905"/>
                <a:gd name="csY220" fmla="*/ 237245 h 1698913"/>
                <a:gd name="csX221" fmla="*/ 390166 w 636905"/>
                <a:gd name="csY221" fmla="*/ 237245 h 1698913"/>
                <a:gd name="csX222" fmla="*/ 243673 w 636905"/>
                <a:gd name="csY222" fmla="*/ 305940 h 1698913"/>
                <a:gd name="csX223" fmla="*/ 258410 w 636905"/>
                <a:gd name="csY223" fmla="*/ 305940 h 1698913"/>
                <a:gd name="csX224" fmla="*/ 258410 w 636905"/>
                <a:gd name="csY224" fmla="*/ 253380 h 1698913"/>
                <a:gd name="csX225" fmla="*/ 243673 w 636905"/>
                <a:gd name="csY225" fmla="*/ 253380 h 1698913"/>
                <a:gd name="csX226" fmla="*/ 342500 w 636905"/>
                <a:gd name="csY226" fmla="*/ 305940 h 1698913"/>
                <a:gd name="csX227" fmla="*/ 357225 w 636905"/>
                <a:gd name="csY227" fmla="*/ 305940 h 1698913"/>
                <a:gd name="csX228" fmla="*/ 357225 w 636905"/>
                <a:gd name="csY228" fmla="*/ 253380 h 1698913"/>
                <a:gd name="csX229" fmla="*/ 342500 w 636905"/>
                <a:gd name="csY229" fmla="*/ 253380 h 1698913"/>
                <a:gd name="csX230" fmla="*/ 309560 w 636905"/>
                <a:gd name="csY230" fmla="*/ 305940 h 1698913"/>
                <a:gd name="csX231" fmla="*/ 324285 w 636905"/>
                <a:gd name="csY231" fmla="*/ 305940 h 1698913"/>
                <a:gd name="csX232" fmla="*/ 324285 w 636905"/>
                <a:gd name="csY232" fmla="*/ 253380 h 1698913"/>
                <a:gd name="csX233" fmla="*/ 309560 w 636905"/>
                <a:gd name="csY233" fmla="*/ 253380 h 1698913"/>
                <a:gd name="csX234" fmla="*/ 276619 w 636905"/>
                <a:gd name="csY234" fmla="*/ 305940 h 1698913"/>
                <a:gd name="csX235" fmla="*/ 291345 w 636905"/>
                <a:gd name="csY235" fmla="*/ 305940 h 1698913"/>
                <a:gd name="csX236" fmla="*/ 291345 w 636905"/>
                <a:gd name="csY236" fmla="*/ 253380 h 1698913"/>
                <a:gd name="csX237" fmla="*/ 276619 w 636905"/>
                <a:gd name="csY237" fmla="*/ 253380 h 1698913"/>
                <a:gd name="csX238" fmla="*/ 390166 w 636905"/>
                <a:gd name="csY238" fmla="*/ 253380 h 1698913"/>
                <a:gd name="csX239" fmla="*/ 375440 w 636905"/>
                <a:gd name="csY239" fmla="*/ 253380 h 1698913"/>
                <a:gd name="csX240" fmla="*/ 375440 w 636905"/>
                <a:gd name="csY240" fmla="*/ 305940 h 1698913"/>
                <a:gd name="csX241" fmla="*/ 390166 w 636905"/>
                <a:gd name="csY241" fmla="*/ 305940 h 1698913"/>
                <a:gd name="csX242" fmla="*/ 243673 w 636905"/>
                <a:gd name="csY242" fmla="*/ 374641 h 1698913"/>
                <a:gd name="csX243" fmla="*/ 258410 w 636905"/>
                <a:gd name="csY243" fmla="*/ 374641 h 1698913"/>
                <a:gd name="csX244" fmla="*/ 258410 w 636905"/>
                <a:gd name="csY244" fmla="*/ 322075 h 1698913"/>
                <a:gd name="csX245" fmla="*/ 243673 w 636905"/>
                <a:gd name="csY245" fmla="*/ 322075 h 1698913"/>
                <a:gd name="csX246" fmla="*/ 342500 w 636905"/>
                <a:gd name="csY246" fmla="*/ 374641 h 1698913"/>
                <a:gd name="csX247" fmla="*/ 357225 w 636905"/>
                <a:gd name="csY247" fmla="*/ 374641 h 1698913"/>
                <a:gd name="csX248" fmla="*/ 357225 w 636905"/>
                <a:gd name="csY248" fmla="*/ 322075 h 1698913"/>
                <a:gd name="csX249" fmla="*/ 342500 w 636905"/>
                <a:gd name="csY249" fmla="*/ 322075 h 1698913"/>
                <a:gd name="csX250" fmla="*/ 309560 w 636905"/>
                <a:gd name="csY250" fmla="*/ 374641 h 1698913"/>
                <a:gd name="csX251" fmla="*/ 324285 w 636905"/>
                <a:gd name="csY251" fmla="*/ 374641 h 1698913"/>
                <a:gd name="csX252" fmla="*/ 324285 w 636905"/>
                <a:gd name="csY252" fmla="*/ 322075 h 1698913"/>
                <a:gd name="csX253" fmla="*/ 309560 w 636905"/>
                <a:gd name="csY253" fmla="*/ 322075 h 1698913"/>
                <a:gd name="csX254" fmla="*/ 276619 w 636905"/>
                <a:gd name="csY254" fmla="*/ 374641 h 1698913"/>
                <a:gd name="csX255" fmla="*/ 291345 w 636905"/>
                <a:gd name="csY255" fmla="*/ 374641 h 1698913"/>
                <a:gd name="csX256" fmla="*/ 291345 w 636905"/>
                <a:gd name="csY256" fmla="*/ 322075 h 1698913"/>
                <a:gd name="csX257" fmla="*/ 276619 w 636905"/>
                <a:gd name="csY257" fmla="*/ 322075 h 1698913"/>
                <a:gd name="csX258" fmla="*/ 390166 w 636905"/>
                <a:gd name="csY258" fmla="*/ 322075 h 1698913"/>
                <a:gd name="csX259" fmla="*/ 375440 w 636905"/>
                <a:gd name="csY259" fmla="*/ 322075 h 1698913"/>
                <a:gd name="csX260" fmla="*/ 375440 w 636905"/>
                <a:gd name="csY260" fmla="*/ 374641 h 1698913"/>
                <a:gd name="csX261" fmla="*/ 390166 w 636905"/>
                <a:gd name="csY261" fmla="*/ 374641 h 1698913"/>
                <a:gd name="csX262" fmla="*/ 243673 w 636905"/>
                <a:gd name="csY262" fmla="*/ 443341 h 1698913"/>
                <a:gd name="csX263" fmla="*/ 258410 w 636905"/>
                <a:gd name="csY263" fmla="*/ 443341 h 1698913"/>
                <a:gd name="csX264" fmla="*/ 258410 w 636905"/>
                <a:gd name="csY264" fmla="*/ 390776 h 1698913"/>
                <a:gd name="csX265" fmla="*/ 243673 w 636905"/>
                <a:gd name="csY265" fmla="*/ 390776 h 1698913"/>
                <a:gd name="csX266" fmla="*/ 342500 w 636905"/>
                <a:gd name="csY266" fmla="*/ 443341 h 1698913"/>
                <a:gd name="csX267" fmla="*/ 357225 w 636905"/>
                <a:gd name="csY267" fmla="*/ 443341 h 1698913"/>
                <a:gd name="csX268" fmla="*/ 357225 w 636905"/>
                <a:gd name="csY268" fmla="*/ 390776 h 1698913"/>
                <a:gd name="csX269" fmla="*/ 342500 w 636905"/>
                <a:gd name="csY269" fmla="*/ 390776 h 1698913"/>
                <a:gd name="csX270" fmla="*/ 309560 w 636905"/>
                <a:gd name="csY270" fmla="*/ 443341 h 1698913"/>
                <a:gd name="csX271" fmla="*/ 324285 w 636905"/>
                <a:gd name="csY271" fmla="*/ 443341 h 1698913"/>
                <a:gd name="csX272" fmla="*/ 324285 w 636905"/>
                <a:gd name="csY272" fmla="*/ 390776 h 1698913"/>
                <a:gd name="csX273" fmla="*/ 309560 w 636905"/>
                <a:gd name="csY273" fmla="*/ 390776 h 1698913"/>
                <a:gd name="csX274" fmla="*/ 276619 w 636905"/>
                <a:gd name="csY274" fmla="*/ 443341 h 1698913"/>
                <a:gd name="csX275" fmla="*/ 291345 w 636905"/>
                <a:gd name="csY275" fmla="*/ 443341 h 1698913"/>
                <a:gd name="csX276" fmla="*/ 291345 w 636905"/>
                <a:gd name="csY276" fmla="*/ 390776 h 1698913"/>
                <a:gd name="csX277" fmla="*/ 276619 w 636905"/>
                <a:gd name="csY277" fmla="*/ 390776 h 1698913"/>
                <a:gd name="csX278" fmla="*/ 390166 w 636905"/>
                <a:gd name="csY278" fmla="*/ 390776 h 1698913"/>
                <a:gd name="csX279" fmla="*/ 375440 w 636905"/>
                <a:gd name="csY279" fmla="*/ 390776 h 1698913"/>
                <a:gd name="csX280" fmla="*/ 375440 w 636905"/>
                <a:gd name="csY280" fmla="*/ 443341 h 1698913"/>
                <a:gd name="csX281" fmla="*/ 390166 w 636905"/>
                <a:gd name="csY281" fmla="*/ 443341 h 1698913"/>
                <a:gd name="csX282" fmla="*/ 243673 w 636905"/>
                <a:gd name="csY282" fmla="*/ 512037 h 1698913"/>
                <a:gd name="csX283" fmla="*/ 258410 w 636905"/>
                <a:gd name="csY283" fmla="*/ 512037 h 1698913"/>
                <a:gd name="csX284" fmla="*/ 258410 w 636905"/>
                <a:gd name="csY284" fmla="*/ 459471 h 1698913"/>
                <a:gd name="csX285" fmla="*/ 243673 w 636905"/>
                <a:gd name="csY285" fmla="*/ 459471 h 1698913"/>
                <a:gd name="csX286" fmla="*/ 342500 w 636905"/>
                <a:gd name="csY286" fmla="*/ 512037 h 1698913"/>
                <a:gd name="csX287" fmla="*/ 357225 w 636905"/>
                <a:gd name="csY287" fmla="*/ 512037 h 1698913"/>
                <a:gd name="csX288" fmla="*/ 357225 w 636905"/>
                <a:gd name="csY288" fmla="*/ 459471 h 1698913"/>
                <a:gd name="csX289" fmla="*/ 342500 w 636905"/>
                <a:gd name="csY289" fmla="*/ 459471 h 1698913"/>
                <a:gd name="csX290" fmla="*/ 309560 w 636905"/>
                <a:gd name="csY290" fmla="*/ 512037 h 1698913"/>
                <a:gd name="csX291" fmla="*/ 324285 w 636905"/>
                <a:gd name="csY291" fmla="*/ 512037 h 1698913"/>
                <a:gd name="csX292" fmla="*/ 324285 w 636905"/>
                <a:gd name="csY292" fmla="*/ 459471 h 1698913"/>
                <a:gd name="csX293" fmla="*/ 309560 w 636905"/>
                <a:gd name="csY293" fmla="*/ 459471 h 1698913"/>
                <a:gd name="csX294" fmla="*/ 276619 w 636905"/>
                <a:gd name="csY294" fmla="*/ 512037 h 1698913"/>
                <a:gd name="csX295" fmla="*/ 291345 w 636905"/>
                <a:gd name="csY295" fmla="*/ 512037 h 1698913"/>
                <a:gd name="csX296" fmla="*/ 291345 w 636905"/>
                <a:gd name="csY296" fmla="*/ 459471 h 1698913"/>
                <a:gd name="csX297" fmla="*/ 276619 w 636905"/>
                <a:gd name="csY297" fmla="*/ 459471 h 1698913"/>
                <a:gd name="csX298" fmla="*/ 390166 w 636905"/>
                <a:gd name="csY298" fmla="*/ 459471 h 1698913"/>
                <a:gd name="csX299" fmla="*/ 375440 w 636905"/>
                <a:gd name="csY299" fmla="*/ 459471 h 1698913"/>
                <a:gd name="csX300" fmla="*/ 375440 w 636905"/>
                <a:gd name="csY300" fmla="*/ 512037 h 1698913"/>
                <a:gd name="csX301" fmla="*/ 390166 w 636905"/>
                <a:gd name="csY301" fmla="*/ 512037 h 1698913"/>
                <a:gd name="csX302" fmla="*/ 243673 w 636905"/>
                <a:gd name="csY302" fmla="*/ 580732 h 1698913"/>
                <a:gd name="csX303" fmla="*/ 258410 w 636905"/>
                <a:gd name="csY303" fmla="*/ 580732 h 1698913"/>
                <a:gd name="csX304" fmla="*/ 258410 w 636905"/>
                <a:gd name="csY304" fmla="*/ 528167 h 1698913"/>
                <a:gd name="csX305" fmla="*/ 243673 w 636905"/>
                <a:gd name="csY305" fmla="*/ 528167 h 1698913"/>
                <a:gd name="csX306" fmla="*/ 342500 w 636905"/>
                <a:gd name="csY306" fmla="*/ 580732 h 1698913"/>
                <a:gd name="csX307" fmla="*/ 357225 w 636905"/>
                <a:gd name="csY307" fmla="*/ 580732 h 1698913"/>
                <a:gd name="csX308" fmla="*/ 357225 w 636905"/>
                <a:gd name="csY308" fmla="*/ 528167 h 1698913"/>
                <a:gd name="csX309" fmla="*/ 342500 w 636905"/>
                <a:gd name="csY309" fmla="*/ 528167 h 1698913"/>
                <a:gd name="csX310" fmla="*/ 309560 w 636905"/>
                <a:gd name="csY310" fmla="*/ 580732 h 1698913"/>
                <a:gd name="csX311" fmla="*/ 324285 w 636905"/>
                <a:gd name="csY311" fmla="*/ 580732 h 1698913"/>
                <a:gd name="csX312" fmla="*/ 324285 w 636905"/>
                <a:gd name="csY312" fmla="*/ 528167 h 1698913"/>
                <a:gd name="csX313" fmla="*/ 309560 w 636905"/>
                <a:gd name="csY313" fmla="*/ 528167 h 1698913"/>
                <a:gd name="csX314" fmla="*/ 276619 w 636905"/>
                <a:gd name="csY314" fmla="*/ 580732 h 1698913"/>
                <a:gd name="csX315" fmla="*/ 291345 w 636905"/>
                <a:gd name="csY315" fmla="*/ 580732 h 1698913"/>
                <a:gd name="csX316" fmla="*/ 291345 w 636905"/>
                <a:gd name="csY316" fmla="*/ 528167 h 1698913"/>
                <a:gd name="csX317" fmla="*/ 276619 w 636905"/>
                <a:gd name="csY317" fmla="*/ 528167 h 1698913"/>
                <a:gd name="csX318" fmla="*/ 390166 w 636905"/>
                <a:gd name="csY318" fmla="*/ 528167 h 1698913"/>
                <a:gd name="csX319" fmla="*/ 375440 w 636905"/>
                <a:gd name="csY319" fmla="*/ 528167 h 1698913"/>
                <a:gd name="csX320" fmla="*/ 375440 w 636905"/>
                <a:gd name="csY320" fmla="*/ 580732 h 1698913"/>
                <a:gd name="csX321" fmla="*/ 390166 w 636905"/>
                <a:gd name="csY321" fmla="*/ 580732 h 1698913"/>
                <a:gd name="csX322" fmla="*/ 243673 w 636905"/>
                <a:gd name="csY322" fmla="*/ 649427 h 1698913"/>
                <a:gd name="csX323" fmla="*/ 258410 w 636905"/>
                <a:gd name="csY323" fmla="*/ 649427 h 1698913"/>
                <a:gd name="csX324" fmla="*/ 258410 w 636905"/>
                <a:gd name="csY324" fmla="*/ 596867 h 1698913"/>
                <a:gd name="csX325" fmla="*/ 243673 w 636905"/>
                <a:gd name="csY325" fmla="*/ 596867 h 1698913"/>
                <a:gd name="csX326" fmla="*/ 342500 w 636905"/>
                <a:gd name="csY326" fmla="*/ 649427 h 1698913"/>
                <a:gd name="csX327" fmla="*/ 357225 w 636905"/>
                <a:gd name="csY327" fmla="*/ 649427 h 1698913"/>
                <a:gd name="csX328" fmla="*/ 357225 w 636905"/>
                <a:gd name="csY328" fmla="*/ 596867 h 1698913"/>
                <a:gd name="csX329" fmla="*/ 342500 w 636905"/>
                <a:gd name="csY329" fmla="*/ 596867 h 1698913"/>
                <a:gd name="csX330" fmla="*/ 309560 w 636905"/>
                <a:gd name="csY330" fmla="*/ 649427 h 1698913"/>
                <a:gd name="csX331" fmla="*/ 324285 w 636905"/>
                <a:gd name="csY331" fmla="*/ 649427 h 1698913"/>
                <a:gd name="csX332" fmla="*/ 324285 w 636905"/>
                <a:gd name="csY332" fmla="*/ 596867 h 1698913"/>
                <a:gd name="csX333" fmla="*/ 309560 w 636905"/>
                <a:gd name="csY333" fmla="*/ 596867 h 1698913"/>
                <a:gd name="csX334" fmla="*/ 276619 w 636905"/>
                <a:gd name="csY334" fmla="*/ 649427 h 1698913"/>
                <a:gd name="csX335" fmla="*/ 291345 w 636905"/>
                <a:gd name="csY335" fmla="*/ 649427 h 1698913"/>
                <a:gd name="csX336" fmla="*/ 291345 w 636905"/>
                <a:gd name="csY336" fmla="*/ 596867 h 1698913"/>
                <a:gd name="csX337" fmla="*/ 276619 w 636905"/>
                <a:gd name="csY337" fmla="*/ 596867 h 1698913"/>
                <a:gd name="csX338" fmla="*/ 390166 w 636905"/>
                <a:gd name="csY338" fmla="*/ 596867 h 1698913"/>
                <a:gd name="csX339" fmla="*/ 375440 w 636905"/>
                <a:gd name="csY339" fmla="*/ 596867 h 1698913"/>
                <a:gd name="csX340" fmla="*/ 375440 w 636905"/>
                <a:gd name="csY340" fmla="*/ 649427 h 1698913"/>
                <a:gd name="csX341" fmla="*/ 390166 w 636905"/>
                <a:gd name="csY341" fmla="*/ 649427 h 1698913"/>
                <a:gd name="csX342" fmla="*/ 243673 w 636905"/>
                <a:gd name="csY342" fmla="*/ 718128 h 1698913"/>
                <a:gd name="csX343" fmla="*/ 258410 w 636905"/>
                <a:gd name="csY343" fmla="*/ 718128 h 1698913"/>
                <a:gd name="csX344" fmla="*/ 258410 w 636905"/>
                <a:gd name="csY344" fmla="*/ 665562 h 1698913"/>
                <a:gd name="csX345" fmla="*/ 243673 w 636905"/>
                <a:gd name="csY345" fmla="*/ 665562 h 1698913"/>
                <a:gd name="csX346" fmla="*/ 342500 w 636905"/>
                <a:gd name="csY346" fmla="*/ 718128 h 1698913"/>
                <a:gd name="csX347" fmla="*/ 357225 w 636905"/>
                <a:gd name="csY347" fmla="*/ 718128 h 1698913"/>
                <a:gd name="csX348" fmla="*/ 357225 w 636905"/>
                <a:gd name="csY348" fmla="*/ 665562 h 1698913"/>
                <a:gd name="csX349" fmla="*/ 342500 w 636905"/>
                <a:gd name="csY349" fmla="*/ 665562 h 1698913"/>
                <a:gd name="csX350" fmla="*/ 309560 w 636905"/>
                <a:gd name="csY350" fmla="*/ 718128 h 1698913"/>
                <a:gd name="csX351" fmla="*/ 324285 w 636905"/>
                <a:gd name="csY351" fmla="*/ 718128 h 1698913"/>
                <a:gd name="csX352" fmla="*/ 324285 w 636905"/>
                <a:gd name="csY352" fmla="*/ 665562 h 1698913"/>
                <a:gd name="csX353" fmla="*/ 309560 w 636905"/>
                <a:gd name="csY353" fmla="*/ 665562 h 1698913"/>
                <a:gd name="csX354" fmla="*/ 276619 w 636905"/>
                <a:gd name="csY354" fmla="*/ 718128 h 1698913"/>
                <a:gd name="csX355" fmla="*/ 291345 w 636905"/>
                <a:gd name="csY355" fmla="*/ 718128 h 1698913"/>
                <a:gd name="csX356" fmla="*/ 291345 w 636905"/>
                <a:gd name="csY356" fmla="*/ 665562 h 1698913"/>
                <a:gd name="csX357" fmla="*/ 276619 w 636905"/>
                <a:gd name="csY357" fmla="*/ 665562 h 1698913"/>
                <a:gd name="csX358" fmla="*/ 390166 w 636905"/>
                <a:gd name="csY358" fmla="*/ 665562 h 1698913"/>
                <a:gd name="csX359" fmla="*/ 375440 w 636905"/>
                <a:gd name="csY359" fmla="*/ 665562 h 1698913"/>
                <a:gd name="csX360" fmla="*/ 375440 w 636905"/>
                <a:gd name="csY360" fmla="*/ 718128 h 1698913"/>
                <a:gd name="csX361" fmla="*/ 390166 w 636905"/>
                <a:gd name="csY361" fmla="*/ 718128 h 1698913"/>
                <a:gd name="csX362" fmla="*/ 243673 w 636905"/>
                <a:gd name="csY362" fmla="*/ 786823 h 1698913"/>
                <a:gd name="csX363" fmla="*/ 258410 w 636905"/>
                <a:gd name="csY363" fmla="*/ 786823 h 1698913"/>
                <a:gd name="csX364" fmla="*/ 258410 w 636905"/>
                <a:gd name="csY364" fmla="*/ 734258 h 1698913"/>
                <a:gd name="csX365" fmla="*/ 243673 w 636905"/>
                <a:gd name="csY365" fmla="*/ 734258 h 1698913"/>
                <a:gd name="csX366" fmla="*/ 342500 w 636905"/>
                <a:gd name="csY366" fmla="*/ 786823 h 1698913"/>
                <a:gd name="csX367" fmla="*/ 357225 w 636905"/>
                <a:gd name="csY367" fmla="*/ 786823 h 1698913"/>
                <a:gd name="csX368" fmla="*/ 357225 w 636905"/>
                <a:gd name="csY368" fmla="*/ 734258 h 1698913"/>
                <a:gd name="csX369" fmla="*/ 342500 w 636905"/>
                <a:gd name="csY369" fmla="*/ 734258 h 1698913"/>
                <a:gd name="csX370" fmla="*/ 309560 w 636905"/>
                <a:gd name="csY370" fmla="*/ 786823 h 1698913"/>
                <a:gd name="csX371" fmla="*/ 324285 w 636905"/>
                <a:gd name="csY371" fmla="*/ 786823 h 1698913"/>
                <a:gd name="csX372" fmla="*/ 324285 w 636905"/>
                <a:gd name="csY372" fmla="*/ 734258 h 1698913"/>
                <a:gd name="csX373" fmla="*/ 309560 w 636905"/>
                <a:gd name="csY373" fmla="*/ 734258 h 1698913"/>
                <a:gd name="csX374" fmla="*/ 276619 w 636905"/>
                <a:gd name="csY374" fmla="*/ 786823 h 1698913"/>
                <a:gd name="csX375" fmla="*/ 291345 w 636905"/>
                <a:gd name="csY375" fmla="*/ 786823 h 1698913"/>
                <a:gd name="csX376" fmla="*/ 291345 w 636905"/>
                <a:gd name="csY376" fmla="*/ 734258 h 1698913"/>
                <a:gd name="csX377" fmla="*/ 276619 w 636905"/>
                <a:gd name="csY377" fmla="*/ 734258 h 1698913"/>
                <a:gd name="csX378" fmla="*/ 390166 w 636905"/>
                <a:gd name="csY378" fmla="*/ 734258 h 1698913"/>
                <a:gd name="csX379" fmla="*/ 375440 w 636905"/>
                <a:gd name="csY379" fmla="*/ 734258 h 1698913"/>
                <a:gd name="csX380" fmla="*/ 375440 w 636905"/>
                <a:gd name="csY380" fmla="*/ 786823 h 1698913"/>
                <a:gd name="csX381" fmla="*/ 390166 w 636905"/>
                <a:gd name="csY381" fmla="*/ 786823 h 1698913"/>
                <a:gd name="csX382" fmla="*/ 243673 w 636905"/>
                <a:gd name="csY382" fmla="*/ 855524 h 1698913"/>
                <a:gd name="csX383" fmla="*/ 258410 w 636905"/>
                <a:gd name="csY383" fmla="*/ 855524 h 1698913"/>
                <a:gd name="csX384" fmla="*/ 258410 w 636905"/>
                <a:gd name="csY384" fmla="*/ 802958 h 1698913"/>
                <a:gd name="csX385" fmla="*/ 243673 w 636905"/>
                <a:gd name="csY385" fmla="*/ 802958 h 1698913"/>
                <a:gd name="csX386" fmla="*/ 342500 w 636905"/>
                <a:gd name="csY386" fmla="*/ 855524 h 1698913"/>
                <a:gd name="csX387" fmla="*/ 357225 w 636905"/>
                <a:gd name="csY387" fmla="*/ 855524 h 1698913"/>
                <a:gd name="csX388" fmla="*/ 357225 w 636905"/>
                <a:gd name="csY388" fmla="*/ 802958 h 1698913"/>
                <a:gd name="csX389" fmla="*/ 342500 w 636905"/>
                <a:gd name="csY389" fmla="*/ 802958 h 1698913"/>
                <a:gd name="csX390" fmla="*/ 309560 w 636905"/>
                <a:gd name="csY390" fmla="*/ 855524 h 1698913"/>
                <a:gd name="csX391" fmla="*/ 324285 w 636905"/>
                <a:gd name="csY391" fmla="*/ 855524 h 1698913"/>
                <a:gd name="csX392" fmla="*/ 324285 w 636905"/>
                <a:gd name="csY392" fmla="*/ 802958 h 1698913"/>
                <a:gd name="csX393" fmla="*/ 309560 w 636905"/>
                <a:gd name="csY393" fmla="*/ 802958 h 1698913"/>
                <a:gd name="csX394" fmla="*/ 276619 w 636905"/>
                <a:gd name="csY394" fmla="*/ 855524 h 1698913"/>
                <a:gd name="csX395" fmla="*/ 291345 w 636905"/>
                <a:gd name="csY395" fmla="*/ 855524 h 1698913"/>
                <a:gd name="csX396" fmla="*/ 291345 w 636905"/>
                <a:gd name="csY396" fmla="*/ 802958 h 1698913"/>
                <a:gd name="csX397" fmla="*/ 276619 w 636905"/>
                <a:gd name="csY397" fmla="*/ 802958 h 1698913"/>
                <a:gd name="csX398" fmla="*/ 390166 w 636905"/>
                <a:gd name="csY398" fmla="*/ 802958 h 1698913"/>
                <a:gd name="csX399" fmla="*/ 375440 w 636905"/>
                <a:gd name="csY399" fmla="*/ 802958 h 1698913"/>
                <a:gd name="csX400" fmla="*/ 375440 w 636905"/>
                <a:gd name="csY400" fmla="*/ 855524 h 1698913"/>
                <a:gd name="csX401" fmla="*/ 390166 w 636905"/>
                <a:gd name="csY401" fmla="*/ 855524 h 1698913"/>
                <a:gd name="csX402" fmla="*/ 243673 w 636905"/>
                <a:gd name="csY402" fmla="*/ 924219 h 1698913"/>
                <a:gd name="csX403" fmla="*/ 258410 w 636905"/>
                <a:gd name="csY403" fmla="*/ 924219 h 1698913"/>
                <a:gd name="csX404" fmla="*/ 258410 w 636905"/>
                <a:gd name="csY404" fmla="*/ 871654 h 1698913"/>
                <a:gd name="csX405" fmla="*/ 243673 w 636905"/>
                <a:gd name="csY405" fmla="*/ 871654 h 1698913"/>
                <a:gd name="csX406" fmla="*/ 342500 w 636905"/>
                <a:gd name="csY406" fmla="*/ 924219 h 1698913"/>
                <a:gd name="csX407" fmla="*/ 357225 w 636905"/>
                <a:gd name="csY407" fmla="*/ 924219 h 1698913"/>
                <a:gd name="csX408" fmla="*/ 357225 w 636905"/>
                <a:gd name="csY408" fmla="*/ 871654 h 1698913"/>
                <a:gd name="csX409" fmla="*/ 342500 w 636905"/>
                <a:gd name="csY409" fmla="*/ 871654 h 1698913"/>
                <a:gd name="csX410" fmla="*/ 309560 w 636905"/>
                <a:gd name="csY410" fmla="*/ 924219 h 1698913"/>
                <a:gd name="csX411" fmla="*/ 324285 w 636905"/>
                <a:gd name="csY411" fmla="*/ 924219 h 1698913"/>
                <a:gd name="csX412" fmla="*/ 324285 w 636905"/>
                <a:gd name="csY412" fmla="*/ 871654 h 1698913"/>
                <a:gd name="csX413" fmla="*/ 309560 w 636905"/>
                <a:gd name="csY413" fmla="*/ 871654 h 1698913"/>
                <a:gd name="csX414" fmla="*/ 276619 w 636905"/>
                <a:gd name="csY414" fmla="*/ 924219 h 1698913"/>
                <a:gd name="csX415" fmla="*/ 291345 w 636905"/>
                <a:gd name="csY415" fmla="*/ 924219 h 1698913"/>
                <a:gd name="csX416" fmla="*/ 291345 w 636905"/>
                <a:gd name="csY416" fmla="*/ 871654 h 1698913"/>
                <a:gd name="csX417" fmla="*/ 276619 w 636905"/>
                <a:gd name="csY417" fmla="*/ 871654 h 1698913"/>
                <a:gd name="csX418" fmla="*/ 390166 w 636905"/>
                <a:gd name="csY418" fmla="*/ 871654 h 1698913"/>
                <a:gd name="csX419" fmla="*/ 375440 w 636905"/>
                <a:gd name="csY419" fmla="*/ 871654 h 1698913"/>
                <a:gd name="csX420" fmla="*/ 375440 w 636905"/>
                <a:gd name="csY420" fmla="*/ 924219 h 1698913"/>
                <a:gd name="csX421" fmla="*/ 390166 w 636905"/>
                <a:gd name="csY421" fmla="*/ 924219 h 1698913"/>
                <a:gd name="csX422" fmla="*/ 243673 w 636905"/>
                <a:gd name="csY422" fmla="*/ 992914 h 1698913"/>
                <a:gd name="csX423" fmla="*/ 258410 w 636905"/>
                <a:gd name="csY423" fmla="*/ 992914 h 1698913"/>
                <a:gd name="csX424" fmla="*/ 258410 w 636905"/>
                <a:gd name="csY424" fmla="*/ 940349 h 1698913"/>
                <a:gd name="csX425" fmla="*/ 243673 w 636905"/>
                <a:gd name="csY425" fmla="*/ 940349 h 1698913"/>
                <a:gd name="csX426" fmla="*/ 342500 w 636905"/>
                <a:gd name="csY426" fmla="*/ 992914 h 1698913"/>
                <a:gd name="csX427" fmla="*/ 357225 w 636905"/>
                <a:gd name="csY427" fmla="*/ 992914 h 1698913"/>
                <a:gd name="csX428" fmla="*/ 357225 w 636905"/>
                <a:gd name="csY428" fmla="*/ 940349 h 1698913"/>
                <a:gd name="csX429" fmla="*/ 342500 w 636905"/>
                <a:gd name="csY429" fmla="*/ 940349 h 1698913"/>
                <a:gd name="csX430" fmla="*/ 309560 w 636905"/>
                <a:gd name="csY430" fmla="*/ 992914 h 1698913"/>
                <a:gd name="csX431" fmla="*/ 324285 w 636905"/>
                <a:gd name="csY431" fmla="*/ 992914 h 1698913"/>
                <a:gd name="csX432" fmla="*/ 324285 w 636905"/>
                <a:gd name="csY432" fmla="*/ 940349 h 1698913"/>
                <a:gd name="csX433" fmla="*/ 309560 w 636905"/>
                <a:gd name="csY433" fmla="*/ 940349 h 1698913"/>
                <a:gd name="csX434" fmla="*/ 276619 w 636905"/>
                <a:gd name="csY434" fmla="*/ 992914 h 1698913"/>
                <a:gd name="csX435" fmla="*/ 291345 w 636905"/>
                <a:gd name="csY435" fmla="*/ 992914 h 1698913"/>
                <a:gd name="csX436" fmla="*/ 291345 w 636905"/>
                <a:gd name="csY436" fmla="*/ 940349 h 1698913"/>
                <a:gd name="csX437" fmla="*/ 276619 w 636905"/>
                <a:gd name="csY437" fmla="*/ 940349 h 1698913"/>
                <a:gd name="csX438" fmla="*/ 390166 w 636905"/>
                <a:gd name="csY438" fmla="*/ 940349 h 1698913"/>
                <a:gd name="csX439" fmla="*/ 375440 w 636905"/>
                <a:gd name="csY439" fmla="*/ 940349 h 1698913"/>
                <a:gd name="csX440" fmla="*/ 375440 w 636905"/>
                <a:gd name="csY440" fmla="*/ 992914 h 1698913"/>
                <a:gd name="csX441" fmla="*/ 390166 w 636905"/>
                <a:gd name="csY441" fmla="*/ 992914 h 1698913"/>
                <a:gd name="csX442" fmla="*/ 243673 w 636905"/>
                <a:gd name="csY442" fmla="*/ 1061609 h 1698913"/>
                <a:gd name="csX443" fmla="*/ 258410 w 636905"/>
                <a:gd name="csY443" fmla="*/ 1061609 h 1698913"/>
                <a:gd name="csX444" fmla="*/ 258410 w 636905"/>
                <a:gd name="csY444" fmla="*/ 1009050 h 1698913"/>
                <a:gd name="csX445" fmla="*/ 243673 w 636905"/>
                <a:gd name="csY445" fmla="*/ 1009050 h 1698913"/>
                <a:gd name="csX446" fmla="*/ 342500 w 636905"/>
                <a:gd name="csY446" fmla="*/ 1061609 h 1698913"/>
                <a:gd name="csX447" fmla="*/ 357225 w 636905"/>
                <a:gd name="csY447" fmla="*/ 1061609 h 1698913"/>
                <a:gd name="csX448" fmla="*/ 357225 w 636905"/>
                <a:gd name="csY448" fmla="*/ 1009050 h 1698913"/>
                <a:gd name="csX449" fmla="*/ 342500 w 636905"/>
                <a:gd name="csY449" fmla="*/ 1009050 h 1698913"/>
                <a:gd name="csX450" fmla="*/ 309560 w 636905"/>
                <a:gd name="csY450" fmla="*/ 1061609 h 1698913"/>
                <a:gd name="csX451" fmla="*/ 324285 w 636905"/>
                <a:gd name="csY451" fmla="*/ 1061609 h 1698913"/>
                <a:gd name="csX452" fmla="*/ 324285 w 636905"/>
                <a:gd name="csY452" fmla="*/ 1009050 h 1698913"/>
                <a:gd name="csX453" fmla="*/ 309560 w 636905"/>
                <a:gd name="csY453" fmla="*/ 1009050 h 1698913"/>
                <a:gd name="csX454" fmla="*/ 276619 w 636905"/>
                <a:gd name="csY454" fmla="*/ 1061609 h 1698913"/>
                <a:gd name="csX455" fmla="*/ 291345 w 636905"/>
                <a:gd name="csY455" fmla="*/ 1061609 h 1698913"/>
                <a:gd name="csX456" fmla="*/ 291345 w 636905"/>
                <a:gd name="csY456" fmla="*/ 1009050 h 1698913"/>
                <a:gd name="csX457" fmla="*/ 276619 w 636905"/>
                <a:gd name="csY457" fmla="*/ 1009050 h 1698913"/>
                <a:gd name="csX458" fmla="*/ 390166 w 636905"/>
                <a:gd name="csY458" fmla="*/ 1009050 h 1698913"/>
                <a:gd name="csX459" fmla="*/ 375440 w 636905"/>
                <a:gd name="csY459" fmla="*/ 1009050 h 1698913"/>
                <a:gd name="csX460" fmla="*/ 375440 w 636905"/>
                <a:gd name="csY460" fmla="*/ 1061609 h 1698913"/>
                <a:gd name="csX461" fmla="*/ 390166 w 636905"/>
                <a:gd name="csY461" fmla="*/ 1061609 h 1698913"/>
                <a:gd name="csX462" fmla="*/ 243673 w 636905"/>
                <a:gd name="csY462" fmla="*/ 1130304 h 1698913"/>
                <a:gd name="csX463" fmla="*/ 258410 w 636905"/>
                <a:gd name="csY463" fmla="*/ 1130304 h 1698913"/>
                <a:gd name="csX464" fmla="*/ 258410 w 636905"/>
                <a:gd name="csY464" fmla="*/ 1077745 h 1698913"/>
                <a:gd name="csX465" fmla="*/ 243673 w 636905"/>
                <a:gd name="csY465" fmla="*/ 1077745 h 1698913"/>
                <a:gd name="csX466" fmla="*/ 243673 w 636905"/>
                <a:gd name="csY466" fmla="*/ 1198583 h 1698913"/>
                <a:gd name="csX467" fmla="*/ 258410 w 636905"/>
                <a:gd name="csY467" fmla="*/ 1198583 h 1698913"/>
                <a:gd name="csX468" fmla="*/ 258410 w 636905"/>
                <a:gd name="csY468" fmla="*/ 1146023 h 1698913"/>
                <a:gd name="csX469" fmla="*/ 243673 w 636905"/>
                <a:gd name="csY469" fmla="*/ 1146023 h 1698913"/>
                <a:gd name="csX470" fmla="*/ 243673 w 636905"/>
                <a:gd name="csY470" fmla="*/ 1266861 h 1698913"/>
                <a:gd name="csX471" fmla="*/ 258410 w 636905"/>
                <a:gd name="csY471" fmla="*/ 1266861 h 1698913"/>
                <a:gd name="csX472" fmla="*/ 258410 w 636905"/>
                <a:gd name="csY472" fmla="*/ 1214301 h 1698913"/>
                <a:gd name="csX473" fmla="*/ 243673 w 636905"/>
                <a:gd name="csY473" fmla="*/ 1214301 h 1698913"/>
                <a:gd name="csX474" fmla="*/ 243673 w 636905"/>
                <a:gd name="csY474" fmla="*/ 1335139 h 1698913"/>
                <a:gd name="csX475" fmla="*/ 258410 w 636905"/>
                <a:gd name="csY475" fmla="*/ 1335139 h 1698913"/>
                <a:gd name="csX476" fmla="*/ 258410 w 636905"/>
                <a:gd name="csY476" fmla="*/ 1282574 h 1698913"/>
                <a:gd name="csX477" fmla="*/ 243673 w 636905"/>
                <a:gd name="csY477" fmla="*/ 1282574 h 1698913"/>
                <a:gd name="csX478" fmla="*/ 243673 w 636905"/>
                <a:gd name="csY478" fmla="*/ 1403418 h 1698913"/>
                <a:gd name="csX479" fmla="*/ 258410 w 636905"/>
                <a:gd name="csY479" fmla="*/ 1403418 h 1698913"/>
                <a:gd name="csX480" fmla="*/ 258410 w 636905"/>
                <a:gd name="csY480" fmla="*/ 1350852 h 1698913"/>
                <a:gd name="csX481" fmla="*/ 243673 w 636905"/>
                <a:gd name="csY481" fmla="*/ 1350852 h 1698913"/>
                <a:gd name="csX482" fmla="*/ 243673 w 636905"/>
                <a:gd name="csY482" fmla="*/ 1471696 h 1698913"/>
                <a:gd name="csX483" fmla="*/ 258410 w 636905"/>
                <a:gd name="csY483" fmla="*/ 1471696 h 1698913"/>
                <a:gd name="csX484" fmla="*/ 258410 w 636905"/>
                <a:gd name="csY484" fmla="*/ 1419130 h 1698913"/>
                <a:gd name="csX485" fmla="*/ 243673 w 636905"/>
                <a:gd name="csY485" fmla="*/ 1419130 h 1698913"/>
                <a:gd name="csX486" fmla="*/ 243673 w 636905"/>
                <a:gd name="csY486" fmla="*/ 1539968 h 1698913"/>
                <a:gd name="csX487" fmla="*/ 258410 w 636905"/>
                <a:gd name="csY487" fmla="*/ 1539968 h 1698913"/>
                <a:gd name="csX488" fmla="*/ 258410 w 636905"/>
                <a:gd name="csY488" fmla="*/ 1487409 h 1698913"/>
                <a:gd name="csX489" fmla="*/ 243673 w 636905"/>
                <a:gd name="csY489" fmla="*/ 1487409 h 1698913"/>
                <a:gd name="csX490" fmla="*/ 357225 w 636905"/>
                <a:gd name="csY490" fmla="*/ 1487409 h 1698913"/>
                <a:gd name="csX491" fmla="*/ 342500 w 636905"/>
                <a:gd name="csY491" fmla="*/ 1487409 h 1698913"/>
                <a:gd name="csX492" fmla="*/ 342500 w 636905"/>
                <a:gd name="csY492" fmla="*/ 1539968 h 1698913"/>
                <a:gd name="csX493" fmla="*/ 357225 w 636905"/>
                <a:gd name="csY493" fmla="*/ 1539968 h 1698913"/>
                <a:gd name="csX494" fmla="*/ 357225 w 636905"/>
                <a:gd name="csY494" fmla="*/ 1419130 h 1698913"/>
                <a:gd name="csX495" fmla="*/ 342500 w 636905"/>
                <a:gd name="csY495" fmla="*/ 1419130 h 1698913"/>
                <a:gd name="csX496" fmla="*/ 342500 w 636905"/>
                <a:gd name="csY496" fmla="*/ 1471696 h 1698913"/>
                <a:gd name="csX497" fmla="*/ 357225 w 636905"/>
                <a:gd name="csY497" fmla="*/ 1471696 h 1698913"/>
                <a:gd name="csX498" fmla="*/ 357225 w 636905"/>
                <a:gd name="csY498" fmla="*/ 1350852 h 1698913"/>
                <a:gd name="csX499" fmla="*/ 342500 w 636905"/>
                <a:gd name="csY499" fmla="*/ 1350852 h 1698913"/>
                <a:gd name="csX500" fmla="*/ 342500 w 636905"/>
                <a:gd name="csY500" fmla="*/ 1403418 h 1698913"/>
                <a:gd name="csX501" fmla="*/ 357225 w 636905"/>
                <a:gd name="csY501" fmla="*/ 1403418 h 1698913"/>
                <a:gd name="csX502" fmla="*/ 357225 w 636905"/>
                <a:gd name="csY502" fmla="*/ 1282574 h 1698913"/>
                <a:gd name="csX503" fmla="*/ 342500 w 636905"/>
                <a:gd name="csY503" fmla="*/ 1282574 h 1698913"/>
                <a:gd name="csX504" fmla="*/ 342500 w 636905"/>
                <a:gd name="csY504" fmla="*/ 1335139 h 1698913"/>
                <a:gd name="csX505" fmla="*/ 357225 w 636905"/>
                <a:gd name="csY505" fmla="*/ 1335139 h 1698913"/>
                <a:gd name="csX506" fmla="*/ 357225 w 636905"/>
                <a:gd name="csY506" fmla="*/ 1214301 h 1698913"/>
                <a:gd name="csX507" fmla="*/ 342500 w 636905"/>
                <a:gd name="csY507" fmla="*/ 1214301 h 1698913"/>
                <a:gd name="csX508" fmla="*/ 342500 w 636905"/>
                <a:gd name="csY508" fmla="*/ 1266861 h 1698913"/>
                <a:gd name="csX509" fmla="*/ 357225 w 636905"/>
                <a:gd name="csY509" fmla="*/ 1266861 h 1698913"/>
                <a:gd name="csX510" fmla="*/ 357225 w 636905"/>
                <a:gd name="csY510" fmla="*/ 1146023 h 1698913"/>
                <a:gd name="csX511" fmla="*/ 342500 w 636905"/>
                <a:gd name="csY511" fmla="*/ 1146023 h 1698913"/>
                <a:gd name="csX512" fmla="*/ 342500 w 636905"/>
                <a:gd name="csY512" fmla="*/ 1198583 h 1698913"/>
                <a:gd name="csX513" fmla="*/ 357225 w 636905"/>
                <a:gd name="csY513" fmla="*/ 1198583 h 1698913"/>
                <a:gd name="csX514" fmla="*/ 276619 w 636905"/>
                <a:gd name="csY514" fmla="*/ 1130304 h 1698913"/>
                <a:gd name="csX515" fmla="*/ 291345 w 636905"/>
                <a:gd name="csY515" fmla="*/ 1130304 h 1698913"/>
                <a:gd name="csX516" fmla="*/ 291345 w 636905"/>
                <a:gd name="csY516" fmla="*/ 1077745 h 1698913"/>
                <a:gd name="csX517" fmla="*/ 276619 w 636905"/>
                <a:gd name="csY517" fmla="*/ 1077745 h 1698913"/>
                <a:gd name="csX518" fmla="*/ 276619 w 636905"/>
                <a:gd name="csY518" fmla="*/ 1198583 h 1698913"/>
                <a:gd name="csX519" fmla="*/ 291345 w 636905"/>
                <a:gd name="csY519" fmla="*/ 1198583 h 1698913"/>
                <a:gd name="csX520" fmla="*/ 291345 w 636905"/>
                <a:gd name="csY520" fmla="*/ 1146023 h 1698913"/>
                <a:gd name="csX521" fmla="*/ 276619 w 636905"/>
                <a:gd name="csY521" fmla="*/ 1146023 h 1698913"/>
                <a:gd name="csX522" fmla="*/ 276619 w 636905"/>
                <a:gd name="csY522" fmla="*/ 1266861 h 1698913"/>
                <a:gd name="csX523" fmla="*/ 291345 w 636905"/>
                <a:gd name="csY523" fmla="*/ 1266861 h 1698913"/>
                <a:gd name="csX524" fmla="*/ 291345 w 636905"/>
                <a:gd name="csY524" fmla="*/ 1214301 h 1698913"/>
                <a:gd name="csX525" fmla="*/ 276619 w 636905"/>
                <a:gd name="csY525" fmla="*/ 1214301 h 1698913"/>
                <a:gd name="csX526" fmla="*/ 276619 w 636905"/>
                <a:gd name="csY526" fmla="*/ 1335139 h 1698913"/>
                <a:gd name="csX527" fmla="*/ 291345 w 636905"/>
                <a:gd name="csY527" fmla="*/ 1335139 h 1698913"/>
                <a:gd name="csX528" fmla="*/ 291345 w 636905"/>
                <a:gd name="csY528" fmla="*/ 1282574 h 1698913"/>
                <a:gd name="csX529" fmla="*/ 276619 w 636905"/>
                <a:gd name="csY529" fmla="*/ 1282574 h 1698913"/>
                <a:gd name="csX530" fmla="*/ 276619 w 636905"/>
                <a:gd name="csY530" fmla="*/ 1403418 h 1698913"/>
                <a:gd name="csX531" fmla="*/ 291345 w 636905"/>
                <a:gd name="csY531" fmla="*/ 1403418 h 1698913"/>
                <a:gd name="csX532" fmla="*/ 291345 w 636905"/>
                <a:gd name="csY532" fmla="*/ 1350852 h 1698913"/>
                <a:gd name="csX533" fmla="*/ 276619 w 636905"/>
                <a:gd name="csY533" fmla="*/ 1350852 h 1698913"/>
                <a:gd name="csX534" fmla="*/ 276619 w 636905"/>
                <a:gd name="csY534" fmla="*/ 1471696 h 1698913"/>
                <a:gd name="csX535" fmla="*/ 291345 w 636905"/>
                <a:gd name="csY535" fmla="*/ 1471696 h 1698913"/>
                <a:gd name="csX536" fmla="*/ 291345 w 636905"/>
                <a:gd name="csY536" fmla="*/ 1419130 h 1698913"/>
                <a:gd name="csX537" fmla="*/ 276619 w 636905"/>
                <a:gd name="csY537" fmla="*/ 1419130 h 1698913"/>
                <a:gd name="csX538" fmla="*/ 324285 w 636905"/>
                <a:gd name="csY538" fmla="*/ 1419130 h 1698913"/>
                <a:gd name="csX539" fmla="*/ 309560 w 636905"/>
                <a:gd name="csY539" fmla="*/ 1419130 h 1698913"/>
                <a:gd name="csX540" fmla="*/ 309560 w 636905"/>
                <a:gd name="csY540" fmla="*/ 1471696 h 1698913"/>
                <a:gd name="csX541" fmla="*/ 324285 w 636905"/>
                <a:gd name="csY541" fmla="*/ 1471696 h 1698913"/>
                <a:gd name="csX542" fmla="*/ 324285 w 636905"/>
                <a:gd name="csY542" fmla="*/ 1350852 h 1698913"/>
                <a:gd name="csX543" fmla="*/ 309560 w 636905"/>
                <a:gd name="csY543" fmla="*/ 1350852 h 1698913"/>
                <a:gd name="csX544" fmla="*/ 309560 w 636905"/>
                <a:gd name="csY544" fmla="*/ 1403418 h 1698913"/>
                <a:gd name="csX545" fmla="*/ 324285 w 636905"/>
                <a:gd name="csY545" fmla="*/ 1403418 h 1698913"/>
                <a:gd name="csX546" fmla="*/ 324285 w 636905"/>
                <a:gd name="csY546" fmla="*/ 1282574 h 1698913"/>
                <a:gd name="csX547" fmla="*/ 309560 w 636905"/>
                <a:gd name="csY547" fmla="*/ 1282574 h 1698913"/>
                <a:gd name="csX548" fmla="*/ 309560 w 636905"/>
                <a:gd name="csY548" fmla="*/ 1335139 h 1698913"/>
                <a:gd name="csX549" fmla="*/ 324285 w 636905"/>
                <a:gd name="csY549" fmla="*/ 1335139 h 1698913"/>
                <a:gd name="csX550" fmla="*/ 324285 w 636905"/>
                <a:gd name="csY550" fmla="*/ 1214301 h 1698913"/>
                <a:gd name="csX551" fmla="*/ 309560 w 636905"/>
                <a:gd name="csY551" fmla="*/ 1214301 h 1698913"/>
                <a:gd name="csX552" fmla="*/ 309560 w 636905"/>
                <a:gd name="csY552" fmla="*/ 1266861 h 1698913"/>
                <a:gd name="csX553" fmla="*/ 324285 w 636905"/>
                <a:gd name="csY553" fmla="*/ 1266861 h 1698913"/>
                <a:gd name="csX554" fmla="*/ 324285 w 636905"/>
                <a:gd name="csY554" fmla="*/ 1146023 h 1698913"/>
                <a:gd name="csX555" fmla="*/ 309560 w 636905"/>
                <a:gd name="csY555" fmla="*/ 1146023 h 1698913"/>
                <a:gd name="csX556" fmla="*/ 309560 w 636905"/>
                <a:gd name="csY556" fmla="*/ 1198583 h 1698913"/>
                <a:gd name="csX557" fmla="*/ 324285 w 636905"/>
                <a:gd name="csY557" fmla="*/ 1198583 h 1698913"/>
                <a:gd name="csX558" fmla="*/ 309560 w 636905"/>
                <a:gd name="csY558" fmla="*/ 1130304 h 1698913"/>
                <a:gd name="csX559" fmla="*/ 324285 w 636905"/>
                <a:gd name="csY559" fmla="*/ 1130304 h 1698913"/>
                <a:gd name="csX560" fmla="*/ 324285 w 636905"/>
                <a:gd name="csY560" fmla="*/ 1077745 h 1698913"/>
                <a:gd name="csX561" fmla="*/ 309560 w 636905"/>
                <a:gd name="csY561" fmla="*/ 1077745 h 1698913"/>
                <a:gd name="csX562" fmla="*/ 342500 w 636905"/>
                <a:gd name="csY562" fmla="*/ 1130304 h 1698913"/>
                <a:gd name="csX563" fmla="*/ 357225 w 636905"/>
                <a:gd name="csY563" fmla="*/ 1130304 h 1698913"/>
                <a:gd name="csX564" fmla="*/ 357225 w 636905"/>
                <a:gd name="csY564" fmla="*/ 1077745 h 1698913"/>
                <a:gd name="csX565" fmla="*/ 342500 w 636905"/>
                <a:gd name="csY565" fmla="*/ 1077745 h 1698913"/>
                <a:gd name="csX566" fmla="*/ 324285 w 636905"/>
                <a:gd name="csY566" fmla="*/ 1487409 h 1698913"/>
                <a:gd name="csX567" fmla="*/ 309560 w 636905"/>
                <a:gd name="csY567" fmla="*/ 1487409 h 1698913"/>
                <a:gd name="csX568" fmla="*/ 309560 w 636905"/>
                <a:gd name="csY568" fmla="*/ 1539968 h 1698913"/>
                <a:gd name="csX569" fmla="*/ 324285 w 636905"/>
                <a:gd name="csY569" fmla="*/ 1539968 h 1698913"/>
                <a:gd name="csX570" fmla="*/ 291345 w 636905"/>
                <a:gd name="csY570" fmla="*/ 1487409 h 1698913"/>
                <a:gd name="csX571" fmla="*/ 276619 w 636905"/>
                <a:gd name="csY571" fmla="*/ 1487409 h 1698913"/>
                <a:gd name="csX572" fmla="*/ 276619 w 636905"/>
                <a:gd name="csY572" fmla="*/ 1539968 h 1698913"/>
                <a:gd name="csX573" fmla="*/ 291345 w 636905"/>
                <a:gd name="csY573" fmla="*/ 1539968 h 1698913"/>
                <a:gd name="csX574" fmla="*/ 390166 w 636905"/>
                <a:gd name="csY574" fmla="*/ 1077745 h 1698913"/>
                <a:gd name="csX575" fmla="*/ 375440 w 636905"/>
                <a:gd name="csY575" fmla="*/ 1077745 h 1698913"/>
                <a:gd name="csX576" fmla="*/ 375440 w 636905"/>
                <a:gd name="csY576" fmla="*/ 1130304 h 1698913"/>
                <a:gd name="csX577" fmla="*/ 390166 w 636905"/>
                <a:gd name="csY577" fmla="*/ 1130304 h 1698913"/>
                <a:gd name="csX578" fmla="*/ 258410 w 636905"/>
                <a:gd name="csY578" fmla="*/ 47289 h 1698913"/>
                <a:gd name="csX579" fmla="*/ 243673 w 636905"/>
                <a:gd name="csY579" fmla="*/ 47289 h 1698913"/>
                <a:gd name="csX580" fmla="*/ 243673 w 636905"/>
                <a:gd name="csY580" fmla="*/ 99854 h 1698913"/>
                <a:gd name="csX581" fmla="*/ 258410 w 636905"/>
                <a:gd name="csY581" fmla="*/ 99854 h 1698913"/>
                <a:gd name="csX582" fmla="*/ 291345 w 636905"/>
                <a:gd name="csY582" fmla="*/ 47289 h 1698913"/>
                <a:gd name="csX583" fmla="*/ 276619 w 636905"/>
                <a:gd name="csY583" fmla="*/ 47289 h 1698913"/>
                <a:gd name="csX584" fmla="*/ 276619 w 636905"/>
                <a:gd name="csY584" fmla="*/ 99854 h 1698913"/>
                <a:gd name="csX585" fmla="*/ 291345 w 636905"/>
                <a:gd name="csY585" fmla="*/ 99854 h 1698913"/>
                <a:gd name="csX586" fmla="*/ 324285 w 636905"/>
                <a:gd name="csY586" fmla="*/ 47289 h 1698913"/>
                <a:gd name="csX587" fmla="*/ 309560 w 636905"/>
                <a:gd name="csY587" fmla="*/ 47289 h 1698913"/>
                <a:gd name="csX588" fmla="*/ 309560 w 636905"/>
                <a:gd name="csY588" fmla="*/ 99854 h 1698913"/>
                <a:gd name="csX589" fmla="*/ 324285 w 636905"/>
                <a:gd name="csY589" fmla="*/ 99854 h 1698913"/>
                <a:gd name="csX590" fmla="*/ 357225 w 636905"/>
                <a:gd name="csY590" fmla="*/ 47289 h 1698913"/>
                <a:gd name="csX591" fmla="*/ 342500 w 636905"/>
                <a:gd name="csY591" fmla="*/ 47289 h 1698913"/>
                <a:gd name="csX592" fmla="*/ 342500 w 636905"/>
                <a:gd name="csY592" fmla="*/ 99854 h 1698913"/>
                <a:gd name="csX593" fmla="*/ 357225 w 636905"/>
                <a:gd name="csY593" fmla="*/ 99854 h 1698913"/>
                <a:gd name="csX594" fmla="*/ 390166 w 636905"/>
                <a:gd name="csY594" fmla="*/ 47289 h 1698913"/>
                <a:gd name="csX595" fmla="*/ 375440 w 636905"/>
                <a:gd name="csY595" fmla="*/ 47289 h 1698913"/>
                <a:gd name="csX596" fmla="*/ 375440 w 636905"/>
                <a:gd name="csY596" fmla="*/ 99854 h 1698913"/>
                <a:gd name="csX597" fmla="*/ 390166 w 636905"/>
                <a:gd name="csY597" fmla="*/ 99854 h 1698913"/>
                <a:gd name="csX598" fmla="*/ 411618 w 636905"/>
                <a:gd name="csY598" fmla="*/ 99854 h 1698913"/>
                <a:gd name="csX599" fmla="*/ 411618 w 636905"/>
                <a:gd name="csY599" fmla="*/ 1555687 h 1698913"/>
                <a:gd name="csX600" fmla="*/ 508140 w 636905"/>
                <a:gd name="csY600" fmla="*/ 1555687 h 1698913"/>
                <a:gd name="csX601" fmla="*/ 508140 w 636905"/>
                <a:gd name="csY601" fmla="*/ 24010 h 1698913"/>
                <a:gd name="csX602" fmla="*/ 411618 w 636905"/>
                <a:gd name="csY602" fmla="*/ 24010 h 1698913"/>
                <a:gd name="csX603" fmla="*/ 583501 w 636905"/>
                <a:gd name="csY603" fmla="*/ 30380 h 1698913"/>
                <a:gd name="csX604" fmla="*/ 523612 w 636905"/>
                <a:gd name="csY604" fmla="*/ 30380 h 1698913"/>
                <a:gd name="csX605" fmla="*/ 523612 w 636905"/>
                <a:gd name="csY605" fmla="*/ 70123 h 1698913"/>
                <a:gd name="csX606" fmla="*/ 583501 w 636905"/>
                <a:gd name="csY606" fmla="*/ 70123 h 1698913"/>
                <a:gd name="csX607" fmla="*/ 583501 w 636905"/>
                <a:gd name="csY607" fmla="*/ 93677 h 1698913"/>
                <a:gd name="csX608" fmla="*/ 523612 w 636905"/>
                <a:gd name="csY608" fmla="*/ 93677 h 1698913"/>
                <a:gd name="csX609" fmla="*/ 523612 w 636905"/>
                <a:gd name="csY609" fmla="*/ 133420 h 1698913"/>
                <a:gd name="csX610" fmla="*/ 583501 w 636905"/>
                <a:gd name="csY610" fmla="*/ 133420 h 1698913"/>
                <a:gd name="csX611" fmla="*/ 583501 w 636905"/>
                <a:gd name="csY611" fmla="*/ 156979 h 1698913"/>
                <a:gd name="csX612" fmla="*/ 523612 w 636905"/>
                <a:gd name="csY612" fmla="*/ 156979 h 1698913"/>
                <a:gd name="csX613" fmla="*/ 523612 w 636905"/>
                <a:gd name="csY613" fmla="*/ 196722 h 1698913"/>
                <a:gd name="csX614" fmla="*/ 583501 w 636905"/>
                <a:gd name="csY614" fmla="*/ 196722 h 1698913"/>
                <a:gd name="csX615" fmla="*/ 583501 w 636905"/>
                <a:gd name="csY615" fmla="*/ 220275 h 1698913"/>
                <a:gd name="csX616" fmla="*/ 523612 w 636905"/>
                <a:gd name="csY616" fmla="*/ 220275 h 1698913"/>
                <a:gd name="csX617" fmla="*/ 523612 w 636905"/>
                <a:gd name="csY617" fmla="*/ 260024 h 1698913"/>
                <a:gd name="csX618" fmla="*/ 583501 w 636905"/>
                <a:gd name="csY618" fmla="*/ 260024 h 1698913"/>
                <a:gd name="csX619" fmla="*/ 583501 w 636905"/>
                <a:gd name="csY619" fmla="*/ 283577 h 1698913"/>
                <a:gd name="csX620" fmla="*/ 523612 w 636905"/>
                <a:gd name="csY620" fmla="*/ 283577 h 1698913"/>
                <a:gd name="csX621" fmla="*/ 523612 w 636905"/>
                <a:gd name="csY621" fmla="*/ 323321 h 1698913"/>
                <a:gd name="csX622" fmla="*/ 583501 w 636905"/>
                <a:gd name="csY622" fmla="*/ 323321 h 1698913"/>
                <a:gd name="csX623" fmla="*/ 583501 w 636905"/>
                <a:gd name="csY623" fmla="*/ 346879 h 1698913"/>
                <a:gd name="csX624" fmla="*/ 523612 w 636905"/>
                <a:gd name="csY624" fmla="*/ 346879 h 1698913"/>
                <a:gd name="csX625" fmla="*/ 523612 w 636905"/>
                <a:gd name="csY625" fmla="*/ 386623 h 1698913"/>
                <a:gd name="csX626" fmla="*/ 583501 w 636905"/>
                <a:gd name="csY626" fmla="*/ 386623 h 1698913"/>
                <a:gd name="csX627" fmla="*/ 583501 w 636905"/>
                <a:gd name="csY627" fmla="*/ 410181 h 1698913"/>
                <a:gd name="csX628" fmla="*/ 523612 w 636905"/>
                <a:gd name="csY628" fmla="*/ 410181 h 1698913"/>
                <a:gd name="csX629" fmla="*/ 523612 w 636905"/>
                <a:gd name="csY629" fmla="*/ 449925 h 1698913"/>
                <a:gd name="csX630" fmla="*/ 583501 w 636905"/>
                <a:gd name="csY630" fmla="*/ 449925 h 1698913"/>
                <a:gd name="csX631" fmla="*/ 583501 w 636905"/>
                <a:gd name="csY631" fmla="*/ 473484 h 1698913"/>
                <a:gd name="csX632" fmla="*/ 523612 w 636905"/>
                <a:gd name="csY632" fmla="*/ 473484 h 1698913"/>
                <a:gd name="csX633" fmla="*/ 523612 w 636905"/>
                <a:gd name="csY633" fmla="*/ 513222 h 1698913"/>
                <a:gd name="csX634" fmla="*/ 583501 w 636905"/>
                <a:gd name="csY634" fmla="*/ 513222 h 1698913"/>
                <a:gd name="csX635" fmla="*/ 583501 w 636905"/>
                <a:gd name="csY635" fmla="*/ 536780 h 1698913"/>
                <a:gd name="csX636" fmla="*/ 523612 w 636905"/>
                <a:gd name="csY636" fmla="*/ 536780 h 1698913"/>
                <a:gd name="csX637" fmla="*/ 523612 w 636905"/>
                <a:gd name="csY637" fmla="*/ 576529 h 1698913"/>
                <a:gd name="csX638" fmla="*/ 583501 w 636905"/>
                <a:gd name="csY638" fmla="*/ 576529 h 1698913"/>
                <a:gd name="csX639" fmla="*/ 583501 w 636905"/>
                <a:gd name="csY639" fmla="*/ 600082 h 1698913"/>
                <a:gd name="csX640" fmla="*/ 523612 w 636905"/>
                <a:gd name="csY640" fmla="*/ 600082 h 1698913"/>
                <a:gd name="csX641" fmla="*/ 523612 w 636905"/>
                <a:gd name="csY641" fmla="*/ 639831 h 1698913"/>
                <a:gd name="csX642" fmla="*/ 583501 w 636905"/>
                <a:gd name="csY642" fmla="*/ 639831 h 1698913"/>
                <a:gd name="csX643" fmla="*/ 583501 w 636905"/>
                <a:gd name="csY643" fmla="*/ 663384 h 1698913"/>
                <a:gd name="csX644" fmla="*/ 523612 w 636905"/>
                <a:gd name="csY644" fmla="*/ 663384 h 1698913"/>
                <a:gd name="csX645" fmla="*/ 523612 w 636905"/>
                <a:gd name="csY645" fmla="*/ 703128 h 1698913"/>
                <a:gd name="csX646" fmla="*/ 583501 w 636905"/>
                <a:gd name="csY646" fmla="*/ 703128 h 1698913"/>
                <a:gd name="csX647" fmla="*/ 583501 w 636905"/>
                <a:gd name="csY647" fmla="*/ 726681 h 1698913"/>
                <a:gd name="csX648" fmla="*/ 523612 w 636905"/>
                <a:gd name="csY648" fmla="*/ 726681 h 1698913"/>
                <a:gd name="csX649" fmla="*/ 523612 w 636905"/>
                <a:gd name="csY649" fmla="*/ 766430 h 1698913"/>
                <a:gd name="csX650" fmla="*/ 583501 w 636905"/>
                <a:gd name="csY650" fmla="*/ 766430 h 1698913"/>
                <a:gd name="csX651" fmla="*/ 583501 w 636905"/>
                <a:gd name="csY651" fmla="*/ 789983 h 1698913"/>
                <a:gd name="csX652" fmla="*/ 523612 w 636905"/>
                <a:gd name="csY652" fmla="*/ 789983 h 1698913"/>
                <a:gd name="csX653" fmla="*/ 523612 w 636905"/>
                <a:gd name="csY653" fmla="*/ 829727 h 1698913"/>
                <a:gd name="csX654" fmla="*/ 583501 w 636905"/>
                <a:gd name="csY654" fmla="*/ 829727 h 1698913"/>
                <a:gd name="csX655" fmla="*/ 583501 w 636905"/>
                <a:gd name="csY655" fmla="*/ 853285 h 1698913"/>
                <a:gd name="csX656" fmla="*/ 523612 w 636905"/>
                <a:gd name="csY656" fmla="*/ 853285 h 1698913"/>
                <a:gd name="csX657" fmla="*/ 523612 w 636905"/>
                <a:gd name="csY657" fmla="*/ 893029 h 1698913"/>
                <a:gd name="csX658" fmla="*/ 583501 w 636905"/>
                <a:gd name="csY658" fmla="*/ 893029 h 1698913"/>
                <a:gd name="csX659" fmla="*/ 583501 w 636905"/>
                <a:gd name="csY659" fmla="*/ 916582 h 1698913"/>
                <a:gd name="csX660" fmla="*/ 523612 w 636905"/>
                <a:gd name="csY660" fmla="*/ 916582 h 1698913"/>
                <a:gd name="csX661" fmla="*/ 523612 w 636905"/>
                <a:gd name="csY661" fmla="*/ 956331 h 1698913"/>
                <a:gd name="csX662" fmla="*/ 583501 w 636905"/>
                <a:gd name="csY662" fmla="*/ 956331 h 1698913"/>
                <a:gd name="csX663" fmla="*/ 583501 w 636905"/>
                <a:gd name="csY663" fmla="*/ 979889 h 1698913"/>
                <a:gd name="csX664" fmla="*/ 523612 w 636905"/>
                <a:gd name="csY664" fmla="*/ 979889 h 1698913"/>
                <a:gd name="csX665" fmla="*/ 523612 w 636905"/>
                <a:gd name="csY665" fmla="*/ 1019633 h 1698913"/>
                <a:gd name="csX666" fmla="*/ 583501 w 636905"/>
                <a:gd name="csY666" fmla="*/ 1019633 h 1698913"/>
                <a:gd name="csX667" fmla="*/ 583501 w 636905"/>
                <a:gd name="csY667" fmla="*/ 1043186 h 1698913"/>
                <a:gd name="csX668" fmla="*/ 523612 w 636905"/>
                <a:gd name="csY668" fmla="*/ 1043186 h 1698913"/>
                <a:gd name="csX669" fmla="*/ 523612 w 636905"/>
                <a:gd name="csY669" fmla="*/ 1082929 h 1698913"/>
                <a:gd name="csX670" fmla="*/ 583501 w 636905"/>
                <a:gd name="csY670" fmla="*/ 1082929 h 1698913"/>
                <a:gd name="csX671" fmla="*/ 583501 w 636905"/>
                <a:gd name="csY671" fmla="*/ 1106488 h 1698913"/>
                <a:gd name="csX672" fmla="*/ 523612 w 636905"/>
                <a:gd name="csY672" fmla="*/ 1106488 h 1698913"/>
                <a:gd name="csX673" fmla="*/ 523612 w 636905"/>
                <a:gd name="csY673" fmla="*/ 1146232 h 1698913"/>
                <a:gd name="csX674" fmla="*/ 583501 w 636905"/>
                <a:gd name="csY674" fmla="*/ 1146232 h 1698913"/>
                <a:gd name="csX675" fmla="*/ 583501 w 636905"/>
                <a:gd name="csY675" fmla="*/ 1169785 h 1698913"/>
                <a:gd name="csX676" fmla="*/ 523612 w 636905"/>
                <a:gd name="csY676" fmla="*/ 1169785 h 1698913"/>
                <a:gd name="csX677" fmla="*/ 523612 w 636905"/>
                <a:gd name="csY677" fmla="*/ 1209533 h 1698913"/>
                <a:gd name="csX678" fmla="*/ 583501 w 636905"/>
                <a:gd name="csY678" fmla="*/ 1209533 h 1698913"/>
                <a:gd name="csX679" fmla="*/ 583501 w 636905"/>
                <a:gd name="csY679" fmla="*/ 1233087 h 1698913"/>
                <a:gd name="csX680" fmla="*/ 523612 w 636905"/>
                <a:gd name="csY680" fmla="*/ 1233087 h 1698913"/>
                <a:gd name="csX681" fmla="*/ 523612 w 636905"/>
                <a:gd name="csY681" fmla="*/ 1272830 h 1698913"/>
                <a:gd name="csX682" fmla="*/ 583501 w 636905"/>
                <a:gd name="csY682" fmla="*/ 1272830 h 1698913"/>
                <a:gd name="csX683" fmla="*/ 583501 w 636905"/>
                <a:gd name="csY683" fmla="*/ 1296389 h 1698913"/>
                <a:gd name="csX684" fmla="*/ 523612 w 636905"/>
                <a:gd name="csY684" fmla="*/ 1296389 h 1698913"/>
                <a:gd name="csX685" fmla="*/ 523612 w 636905"/>
                <a:gd name="csY685" fmla="*/ 1336132 h 1698913"/>
                <a:gd name="csX686" fmla="*/ 583501 w 636905"/>
                <a:gd name="csY686" fmla="*/ 1336132 h 1698913"/>
                <a:gd name="csX687" fmla="*/ 583501 w 636905"/>
                <a:gd name="csY687" fmla="*/ 1359691 h 1698913"/>
                <a:gd name="csX688" fmla="*/ 523612 w 636905"/>
                <a:gd name="csY688" fmla="*/ 1359691 h 1698913"/>
                <a:gd name="csX689" fmla="*/ 523612 w 636905"/>
                <a:gd name="csY689" fmla="*/ 1399435 h 1698913"/>
                <a:gd name="csX690" fmla="*/ 583501 w 636905"/>
                <a:gd name="csY690" fmla="*/ 1399435 h 1698913"/>
                <a:gd name="csX691" fmla="*/ 583501 w 636905"/>
                <a:gd name="csY691" fmla="*/ 1422988 h 1698913"/>
                <a:gd name="csX692" fmla="*/ 523612 w 636905"/>
                <a:gd name="csY692" fmla="*/ 1422988 h 1698913"/>
                <a:gd name="csX693" fmla="*/ 523612 w 636905"/>
                <a:gd name="csY693" fmla="*/ 1462737 h 1698913"/>
                <a:gd name="csX694" fmla="*/ 583501 w 636905"/>
                <a:gd name="csY694" fmla="*/ 1462737 h 1698913"/>
                <a:gd name="csX695" fmla="*/ 583501 w 636905"/>
                <a:gd name="csY695" fmla="*/ 1422988 h 1698913"/>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 ang="0">
                  <a:pos x="csX97" y="csY97"/>
                </a:cxn>
                <a:cxn ang="0">
                  <a:pos x="csX98" y="csY98"/>
                </a:cxn>
                <a:cxn ang="0">
                  <a:pos x="csX99" y="csY99"/>
                </a:cxn>
                <a:cxn ang="0">
                  <a:pos x="csX100" y="csY100"/>
                </a:cxn>
                <a:cxn ang="0">
                  <a:pos x="csX101" y="csY101"/>
                </a:cxn>
                <a:cxn ang="0">
                  <a:pos x="csX102" y="csY102"/>
                </a:cxn>
                <a:cxn ang="0">
                  <a:pos x="csX103" y="csY103"/>
                </a:cxn>
                <a:cxn ang="0">
                  <a:pos x="csX104" y="csY104"/>
                </a:cxn>
                <a:cxn ang="0">
                  <a:pos x="csX105" y="csY105"/>
                </a:cxn>
                <a:cxn ang="0">
                  <a:pos x="csX106" y="csY106"/>
                </a:cxn>
                <a:cxn ang="0">
                  <a:pos x="csX107" y="csY107"/>
                </a:cxn>
                <a:cxn ang="0">
                  <a:pos x="csX108" y="csY108"/>
                </a:cxn>
                <a:cxn ang="0">
                  <a:pos x="csX109" y="csY109"/>
                </a:cxn>
                <a:cxn ang="0">
                  <a:pos x="csX110" y="csY110"/>
                </a:cxn>
                <a:cxn ang="0">
                  <a:pos x="csX111" y="csY111"/>
                </a:cxn>
                <a:cxn ang="0">
                  <a:pos x="csX112" y="csY112"/>
                </a:cxn>
                <a:cxn ang="0">
                  <a:pos x="csX113" y="csY113"/>
                </a:cxn>
                <a:cxn ang="0">
                  <a:pos x="csX114" y="csY114"/>
                </a:cxn>
                <a:cxn ang="0">
                  <a:pos x="csX115" y="csY115"/>
                </a:cxn>
                <a:cxn ang="0">
                  <a:pos x="csX116" y="csY116"/>
                </a:cxn>
                <a:cxn ang="0">
                  <a:pos x="csX117" y="csY117"/>
                </a:cxn>
                <a:cxn ang="0">
                  <a:pos x="csX118" y="csY118"/>
                </a:cxn>
                <a:cxn ang="0">
                  <a:pos x="csX119" y="csY119"/>
                </a:cxn>
                <a:cxn ang="0">
                  <a:pos x="csX120" y="csY120"/>
                </a:cxn>
                <a:cxn ang="0">
                  <a:pos x="csX121" y="csY121"/>
                </a:cxn>
                <a:cxn ang="0">
                  <a:pos x="csX122" y="csY122"/>
                </a:cxn>
                <a:cxn ang="0">
                  <a:pos x="csX123" y="csY123"/>
                </a:cxn>
                <a:cxn ang="0">
                  <a:pos x="csX124" y="csY124"/>
                </a:cxn>
                <a:cxn ang="0">
                  <a:pos x="csX125" y="csY125"/>
                </a:cxn>
                <a:cxn ang="0">
                  <a:pos x="csX126" y="csY126"/>
                </a:cxn>
                <a:cxn ang="0">
                  <a:pos x="csX127" y="csY127"/>
                </a:cxn>
                <a:cxn ang="0">
                  <a:pos x="csX128" y="csY128"/>
                </a:cxn>
                <a:cxn ang="0">
                  <a:pos x="csX129" y="csY129"/>
                </a:cxn>
                <a:cxn ang="0">
                  <a:pos x="csX130" y="csY130"/>
                </a:cxn>
                <a:cxn ang="0">
                  <a:pos x="csX131" y="csY131"/>
                </a:cxn>
                <a:cxn ang="0">
                  <a:pos x="csX132" y="csY132"/>
                </a:cxn>
                <a:cxn ang="0">
                  <a:pos x="csX133" y="csY133"/>
                </a:cxn>
                <a:cxn ang="0">
                  <a:pos x="csX134" y="csY134"/>
                </a:cxn>
                <a:cxn ang="0">
                  <a:pos x="csX135" y="csY135"/>
                </a:cxn>
                <a:cxn ang="0">
                  <a:pos x="csX136" y="csY136"/>
                </a:cxn>
                <a:cxn ang="0">
                  <a:pos x="csX137" y="csY137"/>
                </a:cxn>
                <a:cxn ang="0">
                  <a:pos x="csX138" y="csY138"/>
                </a:cxn>
                <a:cxn ang="0">
                  <a:pos x="csX139" y="csY139"/>
                </a:cxn>
                <a:cxn ang="0">
                  <a:pos x="csX140" y="csY140"/>
                </a:cxn>
                <a:cxn ang="0">
                  <a:pos x="csX141" y="csY141"/>
                </a:cxn>
                <a:cxn ang="0">
                  <a:pos x="csX142" y="csY142"/>
                </a:cxn>
                <a:cxn ang="0">
                  <a:pos x="csX143" y="csY143"/>
                </a:cxn>
                <a:cxn ang="0">
                  <a:pos x="csX144" y="csY144"/>
                </a:cxn>
                <a:cxn ang="0">
                  <a:pos x="csX145" y="csY145"/>
                </a:cxn>
                <a:cxn ang="0">
                  <a:pos x="csX146" y="csY146"/>
                </a:cxn>
                <a:cxn ang="0">
                  <a:pos x="csX147" y="csY147"/>
                </a:cxn>
                <a:cxn ang="0">
                  <a:pos x="csX148" y="csY148"/>
                </a:cxn>
                <a:cxn ang="0">
                  <a:pos x="csX149" y="csY149"/>
                </a:cxn>
                <a:cxn ang="0">
                  <a:pos x="csX150" y="csY150"/>
                </a:cxn>
                <a:cxn ang="0">
                  <a:pos x="csX151" y="csY151"/>
                </a:cxn>
                <a:cxn ang="0">
                  <a:pos x="csX152" y="csY152"/>
                </a:cxn>
                <a:cxn ang="0">
                  <a:pos x="csX153" y="csY153"/>
                </a:cxn>
                <a:cxn ang="0">
                  <a:pos x="csX154" y="csY154"/>
                </a:cxn>
                <a:cxn ang="0">
                  <a:pos x="csX155" y="csY155"/>
                </a:cxn>
                <a:cxn ang="0">
                  <a:pos x="csX156" y="csY156"/>
                </a:cxn>
                <a:cxn ang="0">
                  <a:pos x="csX157" y="csY157"/>
                </a:cxn>
                <a:cxn ang="0">
                  <a:pos x="csX158" y="csY158"/>
                </a:cxn>
                <a:cxn ang="0">
                  <a:pos x="csX159" y="csY159"/>
                </a:cxn>
                <a:cxn ang="0">
                  <a:pos x="csX160" y="csY160"/>
                </a:cxn>
                <a:cxn ang="0">
                  <a:pos x="csX161" y="csY161"/>
                </a:cxn>
                <a:cxn ang="0">
                  <a:pos x="csX162" y="csY162"/>
                </a:cxn>
                <a:cxn ang="0">
                  <a:pos x="csX163" y="csY163"/>
                </a:cxn>
                <a:cxn ang="0">
                  <a:pos x="csX164" y="csY164"/>
                </a:cxn>
                <a:cxn ang="0">
                  <a:pos x="csX165" y="csY165"/>
                </a:cxn>
                <a:cxn ang="0">
                  <a:pos x="csX166" y="csY166"/>
                </a:cxn>
                <a:cxn ang="0">
                  <a:pos x="csX167" y="csY167"/>
                </a:cxn>
                <a:cxn ang="0">
                  <a:pos x="csX168" y="csY168"/>
                </a:cxn>
                <a:cxn ang="0">
                  <a:pos x="csX169" y="csY169"/>
                </a:cxn>
                <a:cxn ang="0">
                  <a:pos x="csX170" y="csY170"/>
                </a:cxn>
                <a:cxn ang="0">
                  <a:pos x="csX171" y="csY171"/>
                </a:cxn>
                <a:cxn ang="0">
                  <a:pos x="csX172" y="csY172"/>
                </a:cxn>
                <a:cxn ang="0">
                  <a:pos x="csX173" y="csY173"/>
                </a:cxn>
                <a:cxn ang="0">
                  <a:pos x="csX174" y="csY174"/>
                </a:cxn>
                <a:cxn ang="0">
                  <a:pos x="csX175" y="csY175"/>
                </a:cxn>
                <a:cxn ang="0">
                  <a:pos x="csX176" y="csY176"/>
                </a:cxn>
                <a:cxn ang="0">
                  <a:pos x="csX177" y="csY177"/>
                </a:cxn>
                <a:cxn ang="0">
                  <a:pos x="csX178" y="csY178"/>
                </a:cxn>
                <a:cxn ang="0">
                  <a:pos x="csX179" y="csY179"/>
                </a:cxn>
                <a:cxn ang="0">
                  <a:pos x="csX180" y="csY180"/>
                </a:cxn>
                <a:cxn ang="0">
                  <a:pos x="csX181" y="csY181"/>
                </a:cxn>
                <a:cxn ang="0">
                  <a:pos x="csX182" y="csY182"/>
                </a:cxn>
                <a:cxn ang="0">
                  <a:pos x="csX183" y="csY183"/>
                </a:cxn>
                <a:cxn ang="0">
                  <a:pos x="csX184" y="csY184"/>
                </a:cxn>
                <a:cxn ang="0">
                  <a:pos x="csX185" y="csY185"/>
                </a:cxn>
                <a:cxn ang="0">
                  <a:pos x="csX186" y="csY186"/>
                </a:cxn>
                <a:cxn ang="0">
                  <a:pos x="csX187" y="csY187"/>
                </a:cxn>
                <a:cxn ang="0">
                  <a:pos x="csX188" y="csY188"/>
                </a:cxn>
                <a:cxn ang="0">
                  <a:pos x="csX189" y="csY189"/>
                </a:cxn>
                <a:cxn ang="0">
                  <a:pos x="csX190" y="csY190"/>
                </a:cxn>
                <a:cxn ang="0">
                  <a:pos x="csX191" y="csY191"/>
                </a:cxn>
                <a:cxn ang="0">
                  <a:pos x="csX192" y="csY192"/>
                </a:cxn>
                <a:cxn ang="0">
                  <a:pos x="csX193" y="csY193"/>
                </a:cxn>
                <a:cxn ang="0">
                  <a:pos x="csX194" y="csY194"/>
                </a:cxn>
                <a:cxn ang="0">
                  <a:pos x="csX195" y="csY195"/>
                </a:cxn>
                <a:cxn ang="0">
                  <a:pos x="csX196" y="csY196"/>
                </a:cxn>
                <a:cxn ang="0">
                  <a:pos x="csX197" y="csY197"/>
                </a:cxn>
                <a:cxn ang="0">
                  <a:pos x="csX198" y="csY198"/>
                </a:cxn>
                <a:cxn ang="0">
                  <a:pos x="csX199" y="csY199"/>
                </a:cxn>
                <a:cxn ang="0">
                  <a:pos x="csX200" y="csY200"/>
                </a:cxn>
                <a:cxn ang="0">
                  <a:pos x="csX201" y="csY201"/>
                </a:cxn>
                <a:cxn ang="0">
                  <a:pos x="csX202" y="csY202"/>
                </a:cxn>
                <a:cxn ang="0">
                  <a:pos x="csX203" y="csY203"/>
                </a:cxn>
                <a:cxn ang="0">
                  <a:pos x="csX204" y="csY204"/>
                </a:cxn>
                <a:cxn ang="0">
                  <a:pos x="csX205" y="csY205"/>
                </a:cxn>
                <a:cxn ang="0">
                  <a:pos x="csX206" y="csY206"/>
                </a:cxn>
                <a:cxn ang="0">
                  <a:pos x="csX207" y="csY207"/>
                </a:cxn>
                <a:cxn ang="0">
                  <a:pos x="csX208" y="csY208"/>
                </a:cxn>
                <a:cxn ang="0">
                  <a:pos x="csX209" y="csY209"/>
                </a:cxn>
                <a:cxn ang="0">
                  <a:pos x="csX210" y="csY210"/>
                </a:cxn>
                <a:cxn ang="0">
                  <a:pos x="csX211" y="csY211"/>
                </a:cxn>
                <a:cxn ang="0">
                  <a:pos x="csX212" y="csY212"/>
                </a:cxn>
                <a:cxn ang="0">
                  <a:pos x="csX213" y="csY213"/>
                </a:cxn>
                <a:cxn ang="0">
                  <a:pos x="csX214" y="csY214"/>
                </a:cxn>
                <a:cxn ang="0">
                  <a:pos x="csX215" y="csY215"/>
                </a:cxn>
                <a:cxn ang="0">
                  <a:pos x="csX216" y="csY216"/>
                </a:cxn>
                <a:cxn ang="0">
                  <a:pos x="csX217" y="csY217"/>
                </a:cxn>
                <a:cxn ang="0">
                  <a:pos x="csX218" y="csY218"/>
                </a:cxn>
                <a:cxn ang="0">
                  <a:pos x="csX219" y="csY219"/>
                </a:cxn>
                <a:cxn ang="0">
                  <a:pos x="csX220" y="csY220"/>
                </a:cxn>
                <a:cxn ang="0">
                  <a:pos x="csX221" y="csY221"/>
                </a:cxn>
                <a:cxn ang="0">
                  <a:pos x="csX222" y="csY222"/>
                </a:cxn>
                <a:cxn ang="0">
                  <a:pos x="csX223" y="csY223"/>
                </a:cxn>
                <a:cxn ang="0">
                  <a:pos x="csX224" y="csY224"/>
                </a:cxn>
                <a:cxn ang="0">
                  <a:pos x="csX225" y="csY225"/>
                </a:cxn>
                <a:cxn ang="0">
                  <a:pos x="csX226" y="csY226"/>
                </a:cxn>
                <a:cxn ang="0">
                  <a:pos x="csX227" y="csY227"/>
                </a:cxn>
                <a:cxn ang="0">
                  <a:pos x="csX228" y="csY228"/>
                </a:cxn>
                <a:cxn ang="0">
                  <a:pos x="csX229" y="csY229"/>
                </a:cxn>
                <a:cxn ang="0">
                  <a:pos x="csX230" y="csY230"/>
                </a:cxn>
                <a:cxn ang="0">
                  <a:pos x="csX231" y="csY231"/>
                </a:cxn>
                <a:cxn ang="0">
                  <a:pos x="csX232" y="csY232"/>
                </a:cxn>
                <a:cxn ang="0">
                  <a:pos x="csX233" y="csY233"/>
                </a:cxn>
                <a:cxn ang="0">
                  <a:pos x="csX234" y="csY234"/>
                </a:cxn>
                <a:cxn ang="0">
                  <a:pos x="csX235" y="csY235"/>
                </a:cxn>
                <a:cxn ang="0">
                  <a:pos x="csX236" y="csY236"/>
                </a:cxn>
                <a:cxn ang="0">
                  <a:pos x="csX237" y="csY237"/>
                </a:cxn>
                <a:cxn ang="0">
                  <a:pos x="csX238" y="csY238"/>
                </a:cxn>
                <a:cxn ang="0">
                  <a:pos x="csX239" y="csY239"/>
                </a:cxn>
                <a:cxn ang="0">
                  <a:pos x="csX240" y="csY240"/>
                </a:cxn>
                <a:cxn ang="0">
                  <a:pos x="csX241" y="csY241"/>
                </a:cxn>
                <a:cxn ang="0">
                  <a:pos x="csX242" y="csY242"/>
                </a:cxn>
                <a:cxn ang="0">
                  <a:pos x="csX243" y="csY243"/>
                </a:cxn>
                <a:cxn ang="0">
                  <a:pos x="csX244" y="csY244"/>
                </a:cxn>
                <a:cxn ang="0">
                  <a:pos x="csX245" y="csY245"/>
                </a:cxn>
                <a:cxn ang="0">
                  <a:pos x="csX246" y="csY246"/>
                </a:cxn>
                <a:cxn ang="0">
                  <a:pos x="csX247" y="csY247"/>
                </a:cxn>
                <a:cxn ang="0">
                  <a:pos x="csX248" y="csY248"/>
                </a:cxn>
                <a:cxn ang="0">
                  <a:pos x="csX249" y="csY249"/>
                </a:cxn>
                <a:cxn ang="0">
                  <a:pos x="csX250" y="csY250"/>
                </a:cxn>
                <a:cxn ang="0">
                  <a:pos x="csX251" y="csY251"/>
                </a:cxn>
                <a:cxn ang="0">
                  <a:pos x="csX252" y="csY252"/>
                </a:cxn>
                <a:cxn ang="0">
                  <a:pos x="csX253" y="csY253"/>
                </a:cxn>
                <a:cxn ang="0">
                  <a:pos x="csX254" y="csY254"/>
                </a:cxn>
                <a:cxn ang="0">
                  <a:pos x="csX255" y="csY255"/>
                </a:cxn>
                <a:cxn ang="0">
                  <a:pos x="csX256" y="csY256"/>
                </a:cxn>
                <a:cxn ang="0">
                  <a:pos x="csX257" y="csY257"/>
                </a:cxn>
                <a:cxn ang="0">
                  <a:pos x="csX258" y="csY258"/>
                </a:cxn>
                <a:cxn ang="0">
                  <a:pos x="csX259" y="csY259"/>
                </a:cxn>
                <a:cxn ang="0">
                  <a:pos x="csX260" y="csY260"/>
                </a:cxn>
                <a:cxn ang="0">
                  <a:pos x="csX261" y="csY261"/>
                </a:cxn>
                <a:cxn ang="0">
                  <a:pos x="csX262" y="csY262"/>
                </a:cxn>
                <a:cxn ang="0">
                  <a:pos x="csX263" y="csY263"/>
                </a:cxn>
                <a:cxn ang="0">
                  <a:pos x="csX264" y="csY264"/>
                </a:cxn>
                <a:cxn ang="0">
                  <a:pos x="csX265" y="csY265"/>
                </a:cxn>
                <a:cxn ang="0">
                  <a:pos x="csX266" y="csY266"/>
                </a:cxn>
                <a:cxn ang="0">
                  <a:pos x="csX267" y="csY267"/>
                </a:cxn>
                <a:cxn ang="0">
                  <a:pos x="csX268" y="csY268"/>
                </a:cxn>
                <a:cxn ang="0">
                  <a:pos x="csX269" y="csY269"/>
                </a:cxn>
                <a:cxn ang="0">
                  <a:pos x="csX270" y="csY270"/>
                </a:cxn>
                <a:cxn ang="0">
                  <a:pos x="csX271" y="csY271"/>
                </a:cxn>
                <a:cxn ang="0">
                  <a:pos x="csX272" y="csY272"/>
                </a:cxn>
                <a:cxn ang="0">
                  <a:pos x="csX273" y="csY273"/>
                </a:cxn>
                <a:cxn ang="0">
                  <a:pos x="csX274" y="csY274"/>
                </a:cxn>
                <a:cxn ang="0">
                  <a:pos x="csX275" y="csY275"/>
                </a:cxn>
                <a:cxn ang="0">
                  <a:pos x="csX276" y="csY276"/>
                </a:cxn>
                <a:cxn ang="0">
                  <a:pos x="csX277" y="csY277"/>
                </a:cxn>
                <a:cxn ang="0">
                  <a:pos x="csX278" y="csY278"/>
                </a:cxn>
                <a:cxn ang="0">
                  <a:pos x="csX279" y="csY279"/>
                </a:cxn>
                <a:cxn ang="0">
                  <a:pos x="csX280" y="csY280"/>
                </a:cxn>
                <a:cxn ang="0">
                  <a:pos x="csX281" y="csY281"/>
                </a:cxn>
                <a:cxn ang="0">
                  <a:pos x="csX282" y="csY282"/>
                </a:cxn>
                <a:cxn ang="0">
                  <a:pos x="csX283" y="csY283"/>
                </a:cxn>
                <a:cxn ang="0">
                  <a:pos x="csX284" y="csY284"/>
                </a:cxn>
                <a:cxn ang="0">
                  <a:pos x="csX285" y="csY285"/>
                </a:cxn>
                <a:cxn ang="0">
                  <a:pos x="csX286" y="csY286"/>
                </a:cxn>
                <a:cxn ang="0">
                  <a:pos x="csX287" y="csY287"/>
                </a:cxn>
                <a:cxn ang="0">
                  <a:pos x="csX288" y="csY288"/>
                </a:cxn>
                <a:cxn ang="0">
                  <a:pos x="csX289" y="csY289"/>
                </a:cxn>
                <a:cxn ang="0">
                  <a:pos x="csX290" y="csY290"/>
                </a:cxn>
                <a:cxn ang="0">
                  <a:pos x="csX291" y="csY291"/>
                </a:cxn>
                <a:cxn ang="0">
                  <a:pos x="csX292" y="csY292"/>
                </a:cxn>
                <a:cxn ang="0">
                  <a:pos x="csX293" y="csY293"/>
                </a:cxn>
                <a:cxn ang="0">
                  <a:pos x="csX294" y="csY294"/>
                </a:cxn>
                <a:cxn ang="0">
                  <a:pos x="csX295" y="csY295"/>
                </a:cxn>
                <a:cxn ang="0">
                  <a:pos x="csX296" y="csY296"/>
                </a:cxn>
                <a:cxn ang="0">
                  <a:pos x="csX297" y="csY297"/>
                </a:cxn>
                <a:cxn ang="0">
                  <a:pos x="csX298" y="csY298"/>
                </a:cxn>
                <a:cxn ang="0">
                  <a:pos x="csX299" y="csY299"/>
                </a:cxn>
                <a:cxn ang="0">
                  <a:pos x="csX300" y="csY300"/>
                </a:cxn>
                <a:cxn ang="0">
                  <a:pos x="csX301" y="csY301"/>
                </a:cxn>
                <a:cxn ang="0">
                  <a:pos x="csX302" y="csY302"/>
                </a:cxn>
                <a:cxn ang="0">
                  <a:pos x="csX303" y="csY303"/>
                </a:cxn>
                <a:cxn ang="0">
                  <a:pos x="csX304" y="csY304"/>
                </a:cxn>
                <a:cxn ang="0">
                  <a:pos x="csX305" y="csY305"/>
                </a:cxn>
                <a:cxn ang="0">
                  <a:pos x="csX306" y="csY306"/>
                </a:cxn>
                <a:cxn ang="0">
                  <a:pos x="csX307" y="csY307"/>
                </a:cxn>
                <a:cxn ang="0">
                  <a:pos x="csX308" y="csY308"/>
                </a:cxn>
                <a:cxn ang="0">
                  <a:pos x="csX309" y="csY309"/>
                </a:cxn>
                <a:cxn ang="0">
                  <a:pos x="csX310" y="csY310"/>
                </a:cxn>
                <a:cxn ang="0">
                  <a:pos x="csX311" y="csY311"/>
                </a:cxn>
                <a:cxn ang="0">
                  <a:pos x="csX312" y="csY312"/>
                </a:cxn>
                <a:cxn ang="0">
                  <a:pos x="csX313" y="csY313"/>
                </a:cxn>
                <a:cxn ang="0">
                  <a:pos x="csX314" y="csY314"/>
                </a:cxn>
                <a:cxn ang="0">
                  <a:pos x="csX315" y="csY315"/>
                </a:cxn>
                <a:cxn ang="0">
                  <a:pos x="csX316" y="csY316"/>
                </a:cxn>
                <a:cxn ang="0">
                  <a:pos x="csX317" y="csY317"/>
                </a:cxn>
                <a:cxn ang="0">
                  <a:pos x="csX318" y="csY318"/>
                </a:cxn>
                <a:cxn ang="0">
                  <a:pos x="csX319" y="csY319"/>
                </a:cxn>
                <a:cxn ang="0">
                  <a:pos x="csX320" y="csY320"/>
                </a:cxn>
                <a:cxn ang="0">
                  <a:pos x="csX321" y="csY321"/>
                </a:cxn>
                <a:cxn ang="0">
                  <a:pos x="csX322" y="csY322"/>
                </a:cxn>
                <a:cxn ang="0">
                  <a:pos x="csX323" y="csY323"/>
                </a:cxn>
                <a:cxn ang="0">
                  <a:pos x="csX324" y="csY324"/>
                </a:cxn>
                <a:cxn ang="0">
                  <a:pos x="csX325" y="csY325"/>
                </a:cxn>
                <a:cxn ang="0">
                  <a:pos x="csX326" y="csY326"/>
                </a:cxn>
                <a:cxn ang="0">
                  <a:pos x="csX327" y="csY327"/>
                </a:cxn>
                <a:cxn ang="0">
                  <a:pos x="csX328" y="csY328"/>
                </a:cxn>
                <a:cxn ang="0">
                  <a:pos x="csX329" y="csY329"/>
                </a:cxn>
                <a:cxn ang="0">
                  <a:pos x="csX330" y="csY330"/>
                </a:cxn>
                <a:cxn ang="0">
                  <a:pos x="csX331" y="csY331"/>
                </a:cxn>
                <a:cxn ang="0">
                  <a:pos x="csX332" y="csY332"/>
                </a:cxn>
                <a:cxn ang="0">
                  <a:pos x="csX333" y="csY333"/>
                </a:cxn>
                <a:cxn ang="0">
                  <a:pos x="csX334" y="csY334"/>
                </a:cxn>
                <a:cxn ang="0">
                  <a:pos x="csX335" y="csY335"/>
                </a:cxn>
                <a:cxn ang="0">
                  <a:pos x="csX336" y="csY336"/>
                </a:cxn>
                <a:cxn ang="0">
                  <a:pos x="csX337" y="csY337"/>
                </a:cxn>
                <a:cxn ang="0">
                  <a:pos x="csX338" y="csY338"/>
                </a:cxn>
                <a:cxn ang="0">
                  <a:pos x="csX339" y="csY339"/>
                </a:cxn>
                <a:cxn ang="0">
                  <a:pos x="csX340" y="csY340"/>
                </a:cxn>
                <a:cxn ang="0">
                  <a:pos x="csX341" y="csY341"/>
                </a:cxn>
                <a:cxn ang="0">
                  <a:pos x="csX342" y="csY342"/>
                </a:cxn>
                <a:cxn ang="0">
                  <a:pos x="csX343" y="csY343"/>
                </a:cxn>
                <a:cxn ang="0">
                  <a:pos x="csX344" y="csY344"/>
                </a:cxn>
                <a:cxn ang="0">
                  <a:pos x="csX345" y="csY345"/>
                </a:cxn>
                <a:cxn ang="0">
                  <a:pos x="csX346" y="csY346"/>
                </a:cxn>
                <a:cxn ang="0">
                  <a:pos x="csX347" y="csY347"/>
                </a:cxn>
                <a:cxn ang="0">
                  <a:pos x="csX348" y="csY348"/>
                </a:cxn>
                <a:cxn ang="0">
                  <a:pos x="csX349" y="csY349"/>
                </a:cxn>
                <a:cxn ang="0">
                  <a:pos x="csX350" y="csY350"/>
                </a:cxn>
                <a:cxn ang="0">
                  <a:pos x="csX351" y="csY351"/>
                </a:cxn>
                <a:cxn ang="0">
                  <a:pos x="csX352" y="csY352"/>
                </a:cxn>
                <a:cxn ang="0">
                  <a:pos x="csX353" y="csY353"/>
                </a:cxn>
                <a:cxn ang="0">
                  <a:pos x="csX354" y="csY354"/>
                </a:cxn>
                <a:cxn ang="0">
                  <a:pos x="csX355" y="csY355"/>
                </a:cxn>
                <a:cxn ang="0">
                  <a:pos x="csX356" y="csY356"/>
                </a:cxn>
                <a:cxn ang="0">
                  <a:pos x="csX357" y="csY357"/>
                </a:cxn>
                <a:cxn ang="0">
                  <a:pos x="csX358" y="csY358"/>
                </a:cxn>
                <a:cxn ang="0">
                  <a:pos x="csX359" y="csY359"/>
                </a:cxn>
                <a:cxn ang="0">
                  <a:pos x="csX360" y="csY360"/>
                </a:cxn>
                <a:cxn ang="0">
                  <a:pos x="csX361" y="csY361"/>
                </a:cxn>
                <a:cxn ang="0">
                  <a:pos x="csX362" y="csY362"/>
                </a:cxn>
                <a:cxn ang="0">
                  <a:pos x="csX363" y="csY363"/>
                </a:cxn>
                <a:cxn ang="0">
                  <a:pos x="csX364" y="csY364"/>
                </a:cxn>
                <a:cxn ang="0">
                  <a:pos x="csX365" y="csY365"/>
                </a:cxn>
                <a:cxn ang="0">
                  <a:pos x="csX366" y="csY366"/>
                </a:cxn>
                <a:cxn ang="0">
                  <a:pos x="csX367" y="csY367"/>
                </a:cxn>
                <a:cxn ang="0">
                  <a:pos x="csX368" y="csY368"/>
                </a:cxn>
                <a:cxn ang="0">
                  <a:pos x="csX369" y="csY369"/>
                </a:cxn>
                <a:cxn ang="0">
                  <a:pos x="csX370" y="csY370"/>
                </a:cxn>
                <a:cxn ang="0">
                  <a:pos x="csX371" y="csY371"/>
                </a:cxn>
                <a:cxn ang="0">
                  <a:pos x="csX372" y="csY372"/>
                </a:cxn>
                <a:cxn ang="0">
                  <a:pos x="csX373" y="csY373"/>
                </a:cxn>
                <a:cxn ang="0">
                  <a:pos x="csX374" y="csY374"/>
                </a:cxn>
                <a:cxn ang="0">
                  <a:pos x="csX375" y="csY375"/>
                </a:cxn>
                <a:cxn ang="0">
                  <a:pos x="csX376" y="csY376"/>
                </a:cxn>
                <a:cxn ang="0">
                  <a:pos x="csX377" y="csY377"/>
                </a:cxn>
                <a:cxn ang="0">
                  <a:pos x="csX378" y="csY378"/>
                </a:cxn>
                <a:cxn ang="0">
                  <a:pos x="csX379" y="csY379"/>
                </a:cxn>
                <a:cxn ang="0">
                  <a:pos x="csX380" y="csY380"/>
                </a:cxn>
                <a:cxn ang="0">
                  <a:pos x="csX381" y="csY381"/>
                </a:cxn>
                <a:cxn ang="0">
                  <a:pos x="csX382" y="csY382"/>
                </a:cxn>
                <a:cxn ang="0">
                  <a:pos x="csX383" y="csY383"/>
                </a:cxn>
                <a:cxn ang="0">
                  <a:pos x="csX384" y="csY384"/>
                </a:cxn>
                <a:cxn ang="0">
                  <a:pos x="csX385" y="csY385"/>
                </a:cxn>
                <a:cxn ang="0">
                  <a:pos x="csX386" y="csY386"/>
                </a:cxn>
                <a:cxn ang="0">
                  <a:pos x="csX387" y="csY387"/>
                </a:cxn>
                <a:cxn ang="0">
                  <a:pos x="csX388" y="csY388"/>
                </a:cxn>
                <a:cxn ang="0">
                  <a:pos x="csX389" y="csY389"/>
                </a:cxn>
                <a:cxn ang="0">
                  <a:pos x="csX390" y="csY390"/>
                </a:cxn>
                <a:cxn ang="0">
                  <a:pos x="csX391" y="csY391"/>
                </a:cxn>
                <a:cxn ang="0">
                  <a:pos x="csX392" y="csY392"/>
                </a:cxn>
                <a:cxn ang="0">
                  <a:pos x="csX393" y="csY393"/>
                </a:cxn>
                <a:cxn ang="0">
                  <a:pos x="csX394" y="csY394"/>
                </a:cxn>
                <a:cxn ang="0">
                  <a:pos x="csX395" y="csY395"/>
                </a:cxn>
                <a:cxn ang="0">
                  <a:pos x="csX396" y="csY396"/>
                </a:cxn>
                <a:cxn ang="0">
                  <a:pos x="csX397" y="csY397"/>
                </a:cxn>
                <a:cxn ang="0">
                  <a:pos x="csX398" y="csY398"/>
                </a:cxn>
                <a:cxn ang="0">
                  <a:pos x="csX399" y="csY399"/>
                </a:cxn>
                <a:cxn ang="0">
                  <a:pos x="csX400" y="csY400"/>
                </a:cxn>
                <a:cxn ang="0">
                  <a:pos x="csX401" y="csY401"/>
                </a:cxn>
                <a:cxn ang="0">
                  <a:pos x="csX402" y="csY402"/>
                </a:cxn>
                <a:cxn ang="0">
                  <a:pos x="csX403" y="csY403"/>
                </a:cxn>
                <a:cxn ang="0">
                  <a:pos x="csX404" y="csY404"/>
                </a:cxn>
                <a:cxn ang="0">
                  <a:pos x="csX405" y="csY405"/>
                </a:cxn>
                <a:cxn ang="0">
                  <a:pos x="csX406" y="csY406"/>
                </a:cxn>
                <a:cxn ang="0">
                  <a:pos x="csX407" y="csY407"/>
                </a:cxn>
                <a:cxn ang="0">
                  <a:pos x="csX408" y="csY408"/>
                </a:cxn>
                <a:cxn ang="0">
                  <a:pos x="csX409" y="csY409"/>
                </a:cxn>
                <a:cxn ang="0">
                  <a:pos x="csX410" y="csY410"/>
                </a:cxn>
                <a:cxn ang="0">
                  <a:pos x="csX411" y="csY411"/>
                </a:cxn>
                <a:cxn ang="0">
                  <a:pos x="csX412" y="csY412"/>
                </a:cxn>
                <a:cxn ang="0">
                  <a:pos x="csX413" y="csY413"/>
                </a:cxn>
                <a:cxn ang="0">
                  <a:pos x="csX414" y="csY414"/>
                </a:cxn>
                <a:cxn ang="0">
                  <a:pos x="csX415" y="csY415"/>
                </a:cxn>
                <a:cxn ang="0">
                  <a:pos x="csX416" y="csY416"/>
                </a:cxn>
                <a:cxn ang="0">
                  <a:pos x="csX417" y="csY417"/>
                </a:cxn>
                <a:cxn ang="0">
                  <a:pos x="csX418" y="csY418"/>
                </a:cxn>
                <a:cxn ang="0">
                  <a:pos x="csX419" y="csY419"/>
                </a:cxn>
                <a:cxn ang="0">
                  <a:pos x="csX420" y="csY420"/>
                </a:cxn>
                <a:cxn ang="0">
                  <a:pos x="csX421" y="csY421"/>
                </a:cxn>
                <a:cxn ang="0">
                  <a:pos x="csX422" y="csY422"/>
                </a:cxn>
                <a:cxn ang="0">
                  <a:pos x="csX423" y="csY423"/>
                </a:cxn>
                <a:cxn ang="0">
                  <a:pos x="csX424" y="csY424"/>
                </a:cxn>
                <a:cxn ang="0">
                  <a:pos x="csX425" y="csY425"/>
                </a:cxn>
                <a:cxn ang="0">
                  <a:pos x="csX426" y="csY426"/>
                </a:cxn>
                <a:cxn ang="0">
                  <a:pos x="csX427" y="csY427"/>
                </a:cxn>
                <a:cxn ang="0">
                  <a:pos x="csX428" y="csY428"/>
                </a:cxn>
                <a:cxn ang="0">
                  <a:pos x="csX429" y="csY429"/>
                </a:cxn>
                <a:cxn ang="0">
                  <a:pos x="csX430" y="csY430"/>
                </a:cxn>
                <a:cxn ang="0">
                  <a:pos x="csX431" y="csY431"/>
                </a:cxn>
                <a:cxn ang="0">
                  <a:pos x="csX432" y="csY432"/>
                </a:cxn>
                <a:cxn ang="0">
                  <a:pos x="csX433" y="csY433"/>
                </a:cxn>
                <a:cxn ang="0">
                  <a:pos x="csX434" y="csY434"/>
                </a:cxn>
                <a:cxn ang="0">
                  <a:pos x="csX435" y="csY435"/>
                </a:cxn>
                <a:cxn ang="0">
                  <a:pos x="csX436" y="csY436"/>
                </a:cxn>
                <a:cxn ang="0">
                  <a:pos x="csX437" y="csY437"/>
                </a:cxn>
                <a:cxn ang="0">
                  <a:pos x="csX438" y="csY438"/>
                </a:cxn>
                <a:cxn ang="0">
                  <a:pos x="csX439" y="csY439"/>
                </a:cxn>
                <a:cxn ang="0">
                  <a:pos x="csX440" y="csY440"/>
                </a:cxn>
                <a:cxn ang="0">
                  <a:pos x="csX441" y="csY441"/>
                </a:cxn>
                <a:cxn ang="0">
                  <a:pos x="csX442" y="csY442"/>
                </a:cxn>
                <a:cxn ang="0">
                  <a:pos x="csX443" y="csY443"/>
                </a:cxn>
                <a:cxn ang="0">
                  <a:pos x="csX444" y="csY444"/>
                </a:cxn>
                <a:cxn ang="0">
                  <a:pos x="csX445" y="csY445"/>
                </a:cxn>
                <a:cxn ang="0">
                  <a:pos x="csX446" y="csY446"/>
                </a:cxn>
                <a:cxn ang="0">
                  <a:pos x="csX447" y="csY447"/>
                </a:cxn>
                <a:cxn ang="0">
                  <a:pos x="csX448" y="csY448"/>
                </a:cxn>
                <a:cxn ang="0">
                  <a:pos x="csX449" y="csY449"/>
                </a:cxn>
                <a:cxn ang="0">
                  <a:pos x="csX450" y="csY450"/>
                </a:cxn>
                <a:cxn ang="0">
                  <a:pos x="csX451" y="csY451"/>
                </a:cxn>
                <a:cxn ang="0">
                  <a:pos x="csX452" y="csY452"/>
                </a:cxn>
                <a:cxn ang="0">
                  <a:pos x="csX453" y="csY453"/>
                </a:cxn>
                <a:cxn ang="0">
                  <a:pos x="csX454" y="csY454"/>
                </a:cxn>
                <a:cxn ang="0">
                  <a:pos x="csX455" y="csY455"/>
                </a:cxn>
                <a:cxn ang="0">
                  <a:pos x="csX456" y="csY456"/>
                </a:cxn>
                <a:cxn ang="0">
                  <a:pos x="csX457" y="csY457"/>
                </a:cxn>
                <a:cxn ang="0">
                  <a:pos x="csX458" y="csY458"/>
                </a:cxn>
                <a:cxn ang="0">
                  <a:pos x="csX459" y="csY459"/>
                </a:cxn>
                <a:cxn ang="0">
                  <a:pos x="csX460" y="csY460"/>
                </a:cxn>
                <a:cxn ang="0">
                  <a:pos x="csX461" y="csY461"/>
                </a:cxn>
                <a:cxn ang="0">
                  <a:pos x="csX462" y="csY462"/>
                </a:cxn>
                <a:cxn ang="0">
                  <a:pos x="csX463" y="csY463"/>
                </a:cxn>
                <a:cxn ang="0">
                  <a:pos x="csX464" y="csY464"/>
                </a:cxn>
                <a:cxn ang="0">
                  <a:pos x="csX465" y="csY465"/>
                </a:cxn>
                <a:cxn ang="0">
                  <a:pos x="csX466" y="csY466"/>
                </a:cxn>
                <a:cxn ang="0">
                  <a:pos x="csX467" y="csY467"/>
                </a:cxn>
                <a:cxn ang="0">
                  <a:pos x="csX468" y="csY468"/>
                </a:cxn>
                <a:cxn ang="0">
                  <a:pos x="csX469" y="csY469"/>
                </a:cxn>
                <a:cxn ang="0">
                  <a:pos x="csX470" y="csY470"/>
                </a:cxn>
                <a:cxn ang="0">
                  <a:pos x="csX471" y="csY471"/>
                </a:cxn>
                <a:cxn ang="0">
                  <a:pos x="csX472" y="csY472"/>
                </a:cxn>
                <a:cxn ang="0">
                  <a:pos x="csX473" y="csY473"/>
                </a:cxn>
                <a:cxn ang="0">
                  <a:pos x="csX474" y="csY474"/>
                </a:cxn>
                <a:cxn ang="0">
                  <a:pos x="csX475" y="csY475"/>
                </a:cxn>
                <a:cxn ang="0">
                  <a:pos x="csX476" y="csY476"/>
                </a:cxn>
                <a:cxn ang="0">
                  <a:pos x="csX477" y="csY477"/>
                </a:cxn>
                <a:cxn ang="0">
                  <a:pos x="csX478" y="csY478"/>
                </a:cxn>
                <a:cxn ang="0">
                  <a:pos x="csX479" y="csY479"/>
                </a:cxn>
                <a:cxn ang="0">
                  <a:pos x="csX480" y="csY480"/>
                </a:cxn>
                <a:cxn ang="0">
                  <a:pos x="csX481" y="csY481"/>
                </a:cxn>
                <a:cxn ang="0">
                  <a:pos x="csX482" y="csY482"/>
                </a:cxn>
                <a:cxn ang="0">
                  <a:pos x="csX483" y="csY483"/>
                </a:cxn>
                <a:cxn ang="0">
                  <a:pos x="csX484" y="csY484"/>
                </a:cxn>
                <a:cxn ang="0">
                  <a:pos x="csX485" y="csY485"/>
                </a:cxn>
                <a:cxn ang="0">
                  <a:pos x="csX486" y="csY486"/>
                </a:cxn>
                <a:cxn ang="0">
                  <a:pos x="csX487" y="csY487"/>
                </a:cxn>
                <a:cxn ang="0">
                  <a:pos x="csX488" y="csY488"/>
                </a:cxn>
                <a:cxn ang="0">
                  <a:pos x="csX489" y="csY489"/>
                </a:cxn>
                <a:cxn ang="0">
                  <a:pos x="csX490" y="csY490"/>
                </a:cxn>
                <a:cxn ang="0">
                  <a:pos x="csX491" y="csY491"/>
                </a:cxn>
                <a:cxn ang="0">
                  <a:pos x="csX492" y="csY492"/>
                </a:cxn>
                <a:cxn ang="0">
                  <a:pos x="csX493" y="csY493"/>
                </a:cxn>
                <a:cxn ang="0">
                  <a:pos x="csX494" y="csY494"/>
                </a:cxn>
                <a:cxn ang="0">
                  <a:pos x="csX495" y="csY495"/>
                </a:cxn>
                <a:cxn ang="0">
                  <a:pos x="csX496" y="csY496"/>
                </a:cxn>
                <a:cxn ang="0">
                  <a:pos x="csX497" y="csY497"/>
                </a:cxn>
                <a:cxn ang="0">
                  <a:pos x="csX498" y="csY498"/>
                </a:cxn>
                <a:cxn ang="0">
                  <a:pos x="csX499" y="csY499"/>
                </a:cxn>
                <a:cxn ang="0">
                  <a:pos x="csX500" y="csY500"/>
                </a:cxn>
                <a:cxn ang="0">
                  <a:pos x="csX501" y="csY501"/>
                </a:cxn>
                <a:cxn ang="0">
                  <a:pos x="csX502" y="csY502"/>
                </a:cxn>
                <a:cxn ang="0">
                  <a:pos x="csX503" y="csY503"/>
                </a:cxn>
                <a:cxn ang="0">
                  <a:pos x="csX504" y="csY504"/>
                </a:cxn>
                <a:cxn ang="0">
                  <a:pos x="csX505" y="csY505"/>
                </a:cxn>
                <a:cxn ang="0">
                  <a:pos x="csX506" y="csY506"/>
                </a:cxn>
                <a:cxn ang="0">
                  <a:pos x="csX507" y="csY507"/>
                </a:cxn>
                <a:cxn ang="0">
                  <a:pos x="csX508" y="csY508"/>
                </a:cxn>
                <a:cxn ang="0">
                  <a:pos x="csX509" y="csY509"/>
                </a:cxn>
                <a:cxn ang="0">
                  <a:pos x="csX510" y="csY510"/>
                </a:cxn>
                <a:cxn ang="0">
                  <a:pos x="csX511" y="csY511"/>
                </a:cxn>
                <a:cxn ang="0">
                  <a:pos x="csX512" y="csY512"/>
                </a:cxn>
                <a:cxn ang="0">
                  <a:pos x="csX513" y="csY513"/>
                </a:cxn>
                <a:cxn ang="0">
                  <a:pos x="csX514" y="csY514"/>
                </a:cxn>
                <a:cxn ang="0">
                  <a:pos x="csX515" y="csY515"/>
                </a:cxn>
                <a:cxn ang="0">
                  <a:pos x="csX516" y="csY516"/>
                </a:cxn>
                <a:cxn ang="0">
                  <a:pos x="csX517" y="csY517"/>
                </a:cxn>
                <a:cxn ang="0">
                  <a:pos x="csX518" y="csY518"/>
                </a:cxn>
                <a:cxn ang="0">
                  <a:pos x="csX519" y="csY519"/>
                </a:cxn>
                <a:cxn ang="0">
                  <a:pos x="csX520" y="csY520"/>
                </a:cxn>
                <a:cxn ang="0">
                  <a:pos x="csX521" y="csY521"/>
                </a:cxn>
                <a:cxn ang="0">
                  <a:pos x="csX522" y="csY522"/>
                </a:cxn>
                <a:cxn ang="0">
                  <a:pos x="csX523" y="csY523"/>
                </a:cxn>
                <a:cxn ang="0">
                  <a:pos x="csX524" y="csY524"/>
                </a:cxn>
                <a:cxn ang="0">
                  <a:pos x="csX525" y="csY525"/>
                </a:cxn>
                <a:cxn ang="0">
                  <a:pos x="csX526" y="csY526"/>
                </a:cxn>
                <a:cxn ang="0">
                  <a:pos x="csX527" y="csY527"/>
                </a:cxn>
                <a:cxn ang="0">
                  <a:pos x="csX528" y="csY528"/>
                </a:cxn>
                <a:cxn ang="0">
                  <a:pos x="csX529" y="csY529"/>
                </a:cxn>
                <a:cxn ang="0">
                  <a:pos x="csX530" y="csY530"/>
                </a:cxn>
                <a:cxn ang="0">
                  <a:pos x="csX531" y="csY531"/>
                </a:cxn>
                <a:cxn ang="0">
                  <a:pos x="csX532" y="csY532"/>
                </a:cxn>
                <a:cxn ang="0">
                  <a:pos x="csX533" y="csY533"/>
                </a:cxn>
                <a:cxn ang="0">
                  <a:pos x="csX534" y="csY534"/>
                </a:cxn>
                <a:cxn ang="0">
                  <a:pos x="csX535" y="csY535"/>
                </a:cxn>
                <a:cxn ang="0">
                  <a:pos x="csX536" y="csY536"/>
                </a:cxn>
                <a:cxn ang="0">
                  <a:pos x="csX537" y="csY537"/>
                </a:cxn>
                <a:cxn ang="0">
                  <a:pos x="csX538" y="csY538"/>
                </a:cxn>
                <a:cxn ang="0">
                  <a:pos x="csX539" y="csY539"/>
                </a:cxn>
                <a:cxn ang="0">
                  <a:pos x="csX540" y="csY540"/>
                </a:cxn>
                <a:cxn ang="0">
                  <a:pos x="csX541" y="csY541"/>
                </a:cxn>
                <a:cxn ang="0">
                  <a:pos x="csX542" y="csY542"/>
                </a:cxn>
                <a:cxn ang="0">
                  <a:pos x="csX543" y="csY543"/>
                </a:cxn>
                <a:cxn ang="0">
                  <a:pos x="csX544" y="csY544"/>
                </a:cxn>
                <a:cxn ang="0">
                  <a:pos x="csX545" y="csY545"/>
                </a:cxn>
                <a:cxn ang="0">
                  <a:pos x="csX546" y="csY546"/>
                </a:cxn>
                <a:cxn ang="0">
                  <a:pos x="csX547" y="csY547"/>
                </a:cxn>
                <a:cxn ang="0">
                  <a:pos x="csX548" y="csY548"/>
                </a:cxn>
                <a:cxn ang="0">
                  <a:pos x="csX549" y="csY549"/>
                </a:cxn>
                <a:cxn ang="0">
                  <a:pos x="csX550" y="csY550"/>
                </a:cxn>
                <a:cxn ang="0">
                  <a:pos x="csX551" y="csY551"/>
                </a:cxn>
                <a:cxn ang="0">
                  <a:pos x="csX552" y="csY552"/>
                </a:cxn>
                <a:cxn ang="0">
                  <a:pos x="csX553" y="csY553"/>
                </a:cxn>
                <a:cxn ang="0">
                  <a:pos x="csX554" y="csY554"/>
                </a:cxn>
                <a:cxn ang="0">
                  <a:pos x="csX555" y="csY555"/>
                </a:cxn>
                <a:cxn ang="0">
                  <a:pos x="csX556" y="csY556"/>
                </a:cxn>
                <a:cxn ang="0">
                  <a:pos x="csX557" y="csY557"/>
                </a:cxn>
                <a:cxn ang="0">
                  <a:pos x="csX558" y="csY558"/>
                </a:cxn>
                <a:cxn ang="0">
                  <a:pos x="csX559" y="csY559"/>
                </a:cxn>
                <a:cxn ang="0">
                  <a:pos x="csX560" y="csY560"/>
                </a:cxn>
                <a:cxn ang="0">
                  <a:pos x="csX561" y="csY561"/>
                </a:cxn>
                <a:cxn ang="0">
                  <a:pos x="csX562" y="csY562"/>
                </a:cxn>
                <a:cxn ang="0">
                  <a:pos x="csX563" y="csY563"/>
                </a:cxn>
                <a:cxn ang="0">
                  <a:pos x="csX564" y="csY564"/>
                </a:cxn>
                <a:cxn ang="0">
                  <a:pos x="csX565" y="csY565"/>
                </a:cxn>
                <a:cxn ang="0">
                  <a:pos x="csX566" y="csY566"/>
                </a:cxn>
                <a:cxn ang="0">
                  <a:pos x="csX567" y="csY567"/>
                </a:cxn>
                <a:cxn ang="0">
                  <a:pos x="csX568" y="csY568"/>
                </a:cxn>
                <a:cxn ang="0">
                  <a:pos x="csX569" y="csY569"/>
                </a:cxn>
                <a:cxn ang="0">
                  <a:pos x="csX570" y="csY570"/>
                </a:cxn>
                <a:cxn ang="0">
                  <a:pos x="csX571" y="csY571"/>
                </a:cxn>
                <a:cxn ang="0">
                  <a:pos x="csX572" y="csY572"/>
                </a:cxn>
                <a:cxn ang="0">
                  <a:pos x="csX573" y="csY573"/>
                </a:cxn>
                <a:cxn ang="0">
                  <a:pos x="csX574" y="csY574"/>
                </a:cxn>
                <a:cxn ang="0">
                  <a:pos x="csX575" y="csY575"/>
                </a:cxn>
                <a:cxn ang="0">
                  <a:pos x="csX576" y="csY576"/>
                </a:cxn>
                <a:cxn ang="0">
                  <a:pos x="csX577" y="csY577"/>
                </a:cxn>
                <a:cxn ang="0">
                  <a:pos x="csX578" y="csY578"/>
                </a:cxn>
                <a:cxn ang="0">
                  <a:pos x="csX579" y="csY579"/>
                </a:cxn>
                <a:cxn ang="0">
                  <a:pos x="csX580" y="csY580"/>
                </a:cxn>
                <a:cxn ang="0">
                  <a:pos x="csX581" y="csY581"/>
                </a:cxn>
                <a:cxn ang="0">
                  <a:pos x="csX582" y="csY582"/>
                </a:cxn>
                <a:cxn ang="0">
                  <a:pos x="csX583" y="csY583"/>
                </a:cxn>
                <a:cxn ang="0">
                  <a:pos x="csX584" y="csY584"/>
                </a:cxn>
                <a:cxn ang="0">
                  <a:pos x="csX585" y="csY585"/>
                </a:cxn>
                <a:cxn ang="0">
                  <a:pos x="csX586" y="csY586"/>
                </a:cxn>
                <a:cxn ang="0">
                  <a:pos x="csX587" y="csY587"/>
                </a:cxn>
                <a:cxn ang="0">
                  <a:pos x="csX588" y="csY588"/>
                </a:cxn>
                <a:cxn ang="0">
                  <a:pos x="csX589" y="csY589"/>
                </a:cxn>
                <a:cxn ang="0">
                  <a:pos x="csX590" y="csY590"/>
                </a:cxn>
                <a:cxn ang="0">
                  <a:pos x="csX591" y="csY591"/>
                </a:cxn>
                <a:cxn ang="0">
                  <a:pos x="csX592" y="csY592"/>
                </a:cxn>
                <a:cxn ang="0">
                  <a:pos x="csX593" y="csY593"/>
                </a:cxn>
                <a:cxn ang="0">
                  <a:pos x="csX594" y="csY594"/>
                </a:cxn>
                <a:cxn ang="0">
                  <a:pos x="csX595" y="csY595"/>
                </a:cxn>
                <a:cxn ang="0">
                  <a:pos x="csX596" y="csY596"/>
                </a:cxn>
                <a:cxn ang="0">
                  <a:pos x="csX597" y="csY597"/>
                </a:cxn>
                <a:cxn ang="0">
                  <a:pos x="csX598" y="csY598"/>
                </a:cxn>
                <a:cxn ang="0">
                  <a:pos x="csX599" y="csY599"/>
                </a:cxn>
                <a:cxn ang="0">
                  <a:pos x="csX600" y="csY600"/>
                </a:cxn>
                <a:cxn ang="0">
                  <a:pos x="csX601" y="csY601"/>
                </a:cxn>
                <a:cxn ang="0">
                  <a:pos x="csX602" y="csY602"/>
                </a:cxn>
                <a:cxn ang="0">
                  <a:pos x="csX603" y="csY603"/>
                </a:cxn>
                <a:cxn ang="0">
                  <a:pos x="csX604" y="csY604"/>
                </a:cxn>
                <a:cxn ang="0">
                  <a:pos x="csX605" y="csY605"/>
                </a:cxn>
                <a:cxn ang="0">
                  <a:pos x="csX606" y="csY606"/>
                </a:cxn>
                <a:cxn ang="0">
                  <a:pos x="csX607" y="csY607"/>
                </a:cxn>
                <a:cxn ang="0">
                  <a:pos x="csX608" y="csY608"/>
                </a:cxn>
                <a:cxn ang="0">
                  <a:pos x="csX609" y="csY609"/>
                </a:cxn>
                <a:cxn ang="0">
                  <a:pos x="csX610" y="csY610"/>
                </a:cxn>
                <a:cxn ang="0">
                  <a:pos x="csX611" y="csY611"/>
                </a:cxn>
                <a:cxn ang="0">
                  <a:pos x="csX612" y="csY612"/>
                </a:cxn>
                <a:cxn ang="0">
                  <a:pos x="csX613" y="csY613"/>
                </a:cxn>
                <a:cxn ang="0">
                  <a:pos x="csX614" y="csY614"/>
                </a:cxn>
                <a:cxn ang="0">
                  <a:pos x="csX615" y="csY615"/>
                </a:cxn>
                <a:cxn ang="0">
                  <a:pos x="csX616" y="csY616"/>
                </a:cxn>
                <a:cxn ang="0">
                  <a:pos x="csX617" y="csY617"/>
                </a:cxn>
                <a:cxn ang="0">
                  <a:pos x="csX618" y="csY618"/>
                </a:cxn>
                <a:cxn ang="0">
                  <a:pos x="csX619" y="csY619"/>
                </a:cxn>
                <a:cxn ang="0">
                  <a:pos x="csX620" y="csY620"/>
                </a:cxn>
                <a:cxn ang="0">
                  <a:pos x="csX621" y="csY621"/>
                </a:cxn>
                <a:cxn ang="0">
                  <a:pos x="csX622" y="csY622"/>
                </a:cxn>
                <a:cxn ang="0">
                  <a:pos x="csX623" y="csY623"/>
                </a:cxn>
                <a:cxn ang="0">
                  <a:pos x="csX624" y="csY624"/>
                </a:cxn>
                <a:cxn ang="0">
                  <a:pos x="csX625" y="csY625"/>
                </a:cxn>
                <a:cxn ang="0">
                  <a:pos x="csX626" y="csY626"/>
                </a:cxn>
                <a:cxn ang="0">
                  <a:pos x="csX627" y="csY627"/>
                </a:cxn>
                <a:cxn ang="0">
                  <a:pos x="csX628" y="csY628"/>
                </a:cxn>
                <a:cxn ang="0">
                  <a:pos x="csX629" y="csY629"/>
                </a:cxn>
                <a:cxn ang="0">
                  <a:pos x="csX630" y="csY630"/>
                </a:cxn>
                <a:cxn ang="0">
                  <a:pos x="csX631" y="csY631"/>
                </a:cxn>
                <a:cxn ang="0">
                  <a:pos x="csX632" y="csY632"/>
                </a:cxn>
                <a:cxn ang="0">
                  <a:pos x="csX633" y="csY633"/>
                </a:cxn>
                <a:cxn ang="0">
                  <a:pos x="csX634" y="csY634"/>
                </a:cxn>
                <a:cxn ang="0">
                  <a:pos x="csX635" y="csY635"/>
                </a:cxn>
                <a:cxn ang="0">
                  <a:pos x="csX636" y="csY636"/>
                </a:cxn>
                <a:cxn ang="0">
                  <a:pos x="csX637" y="csY637"/>
                </a:cxn>
                <a:cxn ang="0">
                  <a:pos x="csX638" y="csY638"/>
                </a:cxn>
                <a:cxn ang="0">
                  <a:pos x="csX639" y="csY639"/>
                </a:cxn>
                <a:cxn ang="0">
                  <a:pos x="csX640" y="csY640"/>
                </a:cxn>
                <a:cxn ang="0">
                  <a:pos x="csX641" y="csY641"/>
                </a:cxn>
                <a:cxn ang="0">
                  <a:pos x="csX642" y="csY642"/>
                </a:cxn>
                <a:cxn ang="0">
                  <a:pos x="csX643" y="csY643"/>
                </a:cxn>
                <a:cxn ang="0">
                  <a:pos x="csX644" y="csY644"/>
                </a:cxn>
                <a:cxn ang="0">
                  <a:pos x="csX645" y="csY645"/>
                </a:cxn>
                <a:cxn ang="0">
                  <a:pos x="csX646" y="csY646"/>
                </a:cxn>
                <a:cxn ang="0">
                  <a:pos x="csX647" y="csY647"/>
                </a:cxn>
                <a:cxn ang="0">
                  <a:pos x="csX648" y="csY648"/>
                </a:cxn>
                <a:cxn ang="0">
                  <a:pos x="csX649" y="csY649"/>
                </a:cxn>
                <a:cxn ang="0">
                  <a:pos x="csX650" y="csY650"/>
                </a:cxn>
                <a:cxn ang="0">
                  <a:pos x="csX651" y="csY651"/>
                </a:cxn>
                <a:cxn ang="0">
                  <a:pos x="csX652" y="csY652"/>
                </a:cxn>
                <a:cxn ang="0">
                  <a:pos x="csX653" y="csY653"/>
                </a:cxn>
                <a:cxn ang="0">
                  <a:pos x="csX654" y="csY654"/>
                </a:cxn>
                <a:cxn ang="0">
                  <a:pos x="csX655" y="csY655"/>
                </a:cxn>
                <a:cxn ang="0">
                  <a:pos x="csX656" y="csY656"/>
                </a:cxn>
                <a:cxn ang="0">
                  <a:pos x="csX657" y="csY657"/>
                </a:cxn>
                <a:cxn ang="0">
                  <a:pos x="csX658" y="csY658"/>
                </a:cxn>
                <a:cxn ang="0">
                  <a:pos x="csX659" y="csY659"/>
                </a:cxn>
                <a:cxn ang="0">
                  <a:pos x="csX660" y="csY660"/>
                </a:cxn>
                <a:cxn ang="0">
                  <a:pos x="csX661" y="csY661"/>
                </a:cxn>
                <a:cxn ang="0">
                  <a:pos x="csX662" y="csY662"/>
                </a:cxn>
                <a:cxn ang="0">
                  <a:pos x="csX663" y="csY663"/>
                </a:cxn>
                <a:cxn ang="0">
                  <a:pos x="csX664" y="csY664"/>
                </a:cxn>
                <a:cxn ang="0">
                  <a:pos x="csX665" y="csY665"/>
                </a:cxn>
                <a:cxn ang="0">
                  <a:pos x="csX666" y="csY666"/>
                </a:cxn>
                <a:cxn ang="0">
                  <a:pos x="csX667" y="csY667"/>
                </a:cxn>
                <a:cxn ang="0">
                  <a:pos x="csX668" y="csY668"/>
                </a:cxn>
                <a:cxn ang="0">
                  <a:pos x="csX669" y="csY669"/>
                </a:cxn>
                <a:cxn ang="0">
                  <a:pos x="csX670" y="csY670"/>
                </a:cxn>
                <a:cxn ang="0">
                  <a:pos x="csX671" y="csY671"/>
                </a:cxn>
                <a:cxn ang="0">
                  <a:pos x="csX672" y="csY672"/>
                </a:cxn>
                <a:cxn ang="0">
                  <a:pos x="csX673" y="csY673"/>
                </a:cxn>
                <a:cxn ang="0">
                  <a:pos x="csX674" y="csY674"/>
                </a:cxn>
                <a:cxn ang="0">
                  <a:pos x="csX675" y="csY675"/>
                </a:cxn>
                <a:cxn ang="0">
                  <a:pos x="csX676" y="csY676"/>
                </a:cxn>
                <a:cxn ang="0">
                  <a:pos x="csX677" y="csY677"/>
                </a:cxn>
                <a:cxn ang="0">
                  <a:pos x="csX678" y="csY678"/>
                </a:cxn>
                <a:cxn ang="0">
                  <a:pos x="csX679" y="csY679"/>
                </a:cxn>
                <a:cxn ang="0">
                  <a:pos x="csX680" y="csY680"/>
                </a:cxn>
                <a:cxn ang="0">
                  <a:pos x="csX681" y="csY681"/>
                </a:cxn>
                <a:cxn ang="0">
                  <a:pos x="csX682" y="csY682"/>
                </a:cxn>
                <a:cxn ang="0">
                  <a:pos x="csX683" y="csY683"/>
                </a:cxn>
                <a:cxn ang="0">
                  <a:pos x="csX684" y="csY684"/>
                </a:cxn>
                <a:cxn ang="0">
                  <a:pos x="csX685" y="csY685"/>
                </a:cxn>
                <a:cxn ang="0">
                  <a:pos x="csX686" y="csY686"/>
                </a:cxn>
                <a:cxn ang="0">
                  <a:pos x="csX687" y="csY687"/>
                </a:cxn>
                <a:cxn ang="0">
                  <a:pos x="csX688" y="csY688"/>
                </a:cxn>
                <a:cxn ang="0">
                  <a:pos x="csX689" y="csY689"/>
                </a:cxn>
                <a:cxn ang="0">
                  <a:pos x="csX690" y="csY690"/>
                </a:cxn>
                <a:cxn ang="0">
                  <a:pos x="csX691" y="csY691"/>
                </a:cxn>
                <a:cxn ang="0">
                  <a:pos x="csX692" y="csY692"/>
                </a:cxn>
                <a:cxn ang="0">
                  <a:pos x="csX693" y="csY693"/>
                </a:cxn>
                <a:cxn ang="0">
                  <a:pos x="csX694" y="csY694"/>
                </a:cxn>
                <a:cxn ang="0">
                  <a:pos x="csX695" y="csY695"/>
                </a:cxn>
              </a:cxnLst>
              <a:rect l="l" t="t" r="r" b="b"/>
              <a:pathLst>
                <a:path w="636905" h="1698913">
                  <a:moveTo>
                    <a:pt x="508140" y="1619258"/>
                  </a:moveTo>
                  <a:lnTo>
                    <a:pt x="417724" y="1619258"/>
                  </a:lnTo>
                  <a:lnTo>
                    <a:pt x="417724" y="1692880"/>
                  </a:lnTo>
                  <a:lnTo>
                    <a:pt x="216593" y="1692880"/>
                  </a:lnTo>
                  <a:lnTo>
                    <a:pt x="216593" y="1619258"/>
                  </a:lnTo>
                  <a:lnTo>
                    <a:pt x="201115" y="1619258"/>
                  </a:lnTo>
                  <a:lnTo>
                    <a:pt x="126177" y="1619258"/>
                  </a:lnTo>
                  <a:lnTo>
                    <a:pt x="110705" y="1619258"/>
                  </a:lnTo>
                  <a:lnTo>
                    <a:pt x="-1294" y="1619258"/>
                  </a:lnTo>
                  <a:lnTo>
                    <a:pt x="-1294" y="1555687"/>
                  </a:lnTo>
                  <a:lnTo>
                    <a:pt x="-1294" y="-6033"/>
                  </a:lnTo>
                  <a:lnTo>
                    <a:pt x="110705" y="-6033"/>
                  </a:lnTo>
                  <a:lnTo>
                    <a:pt x="222699" y="-6033"/>
                  </a:lnTo>
                  <a:lnTo>
                    <a:pt x="411618" y="-6033"/>
                  </a:lnTo>
                  <a:lnTo>
                    <a:pt x="523612" y="-6033"/>
                  </a:lnTo>
                  <a:lnTo>
                    <a:pt x="635611" y="-6033"/>
                  </a:lnTo>
                  <a:lnTo>
                    <a:pt x="635611" y="1555687"/>
                  </a:lnTo>
                  <a:lnTo>
                    <a:pt x="635611" y="1619258"/>
                  </a:lnTo>
                  <a:lnTo>
                    <a:pt x="523612" y="1619258"/>
                  </a:lnTo>
                  <a:close/>
                  <a:moveTo>
                    <a:pt x="110705" y="1399435"/>
                  </a:moveTo>
                  <a:lnTo>
                    <a:pt x="110705" y="1359691"/>
                  </a:lnTo>
                  <a:lnTo>
                    <a:pt x="50816" y="1359691"/>
                  </a:lnTo>
                  <a:lnTo>
                    <a:pt x="50816" y="1399435"/>
                  </a:lnTo>
                  <a:close/>
                  <a:moveTo>
                    <a:pt x="50816" y="1422988"/>
                  </a:moveTo>
                  <a:lnTo>
                    <a:pt x="50816" y="1462737"/>
                  </a:lnTo>
                  <a:lnTo>
                    <a:pt x="110705" y="1462737"/>
                  </a:lnTo>
                  <a:lnTo>
                    <a:pt x="110705" y="1422988"/>
                  </a:lnTo>
                  <a:close/>
                  <a:moveTo>
                    <a:pt x="110705" y="1336132"/>
                  </a:moveTo>
                  <a:lnTo>
                    <a:pt x="110705" y="1296389"/>
                  </a:lnTo>
                  <a:lnTo>
                    <a:pt x="50816" y="1296389"/>
                  </a:lnTo>
                  <a:lnTo>
                    <a:pt x="50816" y="1336132"/>
                  </a:lnTo>
                  <a:close/>
                  <a:moveTo>
                    <a:pt x="110705" y="1272830"/>
                  </a:moveTo>
                  <a:lnTo>
                    <a:pt x="110705" y="1233087"/>
                  </a:lnTo>
                  <a:lnTo>
                    <a:pt x="50816" y="1233087"/>
                  </a:lnTo>
                  <a:lnTo>
                    <a:pt x="50816" y="1272830"/>
                  </a:lnTo>
                  <a:close/>
                  <a:moveTo>
                    <a:pt x="110705" y="1209533"/>
                  </a:moveTo>
                  <a:lnTo>
                    <a:pt x="110705" y="1169785"/>
                  </a:lnTo>
                  <a:lnTo>
                    <a:pt x="50816" y="1169785"/>
                  </a:lnTo>
                  <a:lnTo>
                    <a:pt x="50816" y="1209533"/>
                  </a:lnTo>
                  <a:close/>
                  <a:moveTo>
                    <a:pt x="110705" y="1146232"/>
                  </a:moveTo>
                  <a:lnTo>
                    <a:pt x="110705" y="1106488"/>
                  </a:lnTo>
                  <a:lnTo>
                    <a:pt x="50816" y="1106488"/>
                  </a:lnTo>
                  <a:lnTo>
                    <a:pt x="50816" y="1146232"/>
                  </a:lnTo>
                  <a:close/>
                  <a:moveTo>
                    <a:pt x="110705" y="1082929"/>
                  </a:moveTo>
                  <a:lnTo>
                    <a:pt x="110705" y="1043186"/>
                  </a:lnTo>
                  <a:lnTo>
                    <a:pt x="50816" y="1043186"/>
                  </a:lnTo>
                  <a:lnTo>
                    <a:pt x="50816" y="1082929"/>
                  </a:lnTo>
                  <a:close/>
                  <a:moveTo>
                    <a:pt x="110705" y="1019633"/>
                  </a:moveTo>
                  <a:lnTo>
                    <a:pt x="110705" y="979889"/>
                  </a:lnTo>
                  <a:lnTo>
                    <a:pt x="50816" y="979889"/>
                  </a:lnTo>
                  <a:lnTo>
                    <a:pt x="50816" y="1019633"/>
                  </a:lnTo>
                  <a:close/>
                  <a:moveTo>
                    <a:pt x="110705" y="956331"/>
                  </a:moveTo>
                  <a:lnTo>
                    <a:pt x="110705" y="916582"/>
                  </a:lnTo>
                  <a:lnTo>
                    <a:pt x="50816" y="916582"/>
                  </a:lnTo>
                  <a:lnTo>
                    <a:pt x="50816" y="956331"/>
                  </a:lnTo>
                  <a:close/>
                  <a:moveTo>
                    <a:pt x="110705" y="893029"/>
                  </a:moveTo>
                  <a:lnTo>
                    <a:pt x="110705" y="853285"/>
                  </a:lnTo>
                  <a:lnTo>
                    <a:pt x="50816" y="853285"/>
                  </a:lnTo>
                  <a:lnTo>
                    <a:pt x="50816" y="893029"/>
                  </a:lnTo>
                  <a:close/>
                  <a:moveTo>
                    <a:pt x="110705" y="829727"/>
                  </a:moveTo>
                  <a:lnTo>
                    <a:pt x="110705" y="789983"/>
                  </a:lnTo>
                  <a:lnTo>
                    <a:pt x="50816" y="789983"/>
                  </a:lnTo>
                  <a:lnTo>
                    <a:pt x="50816" y="829727"/>
                  </a:lnTo>
                  <a:close/>
                  <a:moveTo>
                    <a:pt x="110705" y="766430"/>
                  </a:moveTo>
                  <a:lnTo>
                    <a:pt x="110705" y="726681"/>
                  </a:lnTo>
                  <a:lnTo>
                    <a:pt x="50816" y="726681"/>
                  </a:lnTo>
                  <a:lnTo>
                    <a:pt x="50816" y="766430"/>
                  </a:lnTo>
                  <a:close/>
                  <a:moveTo>
                    <a:pt x="110705" y="703128"/>
                  </a:moveTo>
                  <a:lnTo>
                    <a:pt x="110705" y="663384"/>
                  </a:lnTo>
                  <a:lnTo>
                    <a:pt x="50816" y="663384"/>
                  </a:lnTo>
                  <a:lnTo>
                    <a:pt x="50816" y="703128"/>
                  </a:lnTo>
                  <a:close/>
                  <a:moveTo>
                    <a:pt x="110705" y="639831"/>
                  </a:moveTo>
                  <a:lnTo>
                    <a:pt x="110705" y="600082"/>
                  </a:lnTo>
                  <a:lnTo>
                    <a:pt x="50816" y="600082"/>
                  </a:lnTo>
                  <a:lnTo>
                    <a:pt x="50816" y="639831"/>
                  </a:lnTo>
                  <a:close/>
                  <a:moveTo>
                    <a:pt x="110705" y="576529"/>
                  </a:moveTo>
                  <a:lnTo>
                    <a:pt x="110705" y="536780"/>
                  </a:lnTo>
                  <a:lnTo>
                    <a:pt x="50816" y="536780"/>
                  </a:lnTo>
                  <a:lnTo>
                    <a:pt x="50816" y="576529"/>
                  </a:lnTo>
                  <a:close/>
                  <a:moveTo>
                    <a:pt x="110705" y="513222"/>
                  </a:moveTo>
                  <a:lnTo>
                    <a:pt x="110705" y="473484"/>
                  </a:lnTo>
                  <a:lnTo>
                    <a:pt x="50816" y="473484"/>
                  </a:lnTo>
                  <a:lnTo>
                    <a:pt x="50816" y="513222"/>
                  </a:lnTo>
                  <a:close/>
                  <a:moveTo>
                    <a:pt x="110705" y="449925"/>
                  </a:moveTo>
                  <a:lnTo>
                    <a:pt x="110705" y="410181"/>
                  </a:lnTo>
                  <a:lnTo>
                    <a:pt x="50816" y="410181"/>
                  </a:lnTo>
                  <a:lnTo>
                    <a:pt x="50816" y="449925"/>
                  </a:lnTo>
                  <a:close/>
                  <a:moveTo>
                    <a:pt x="110705" y="386623"/>
                  </a:moveTo>
                  <a:lnTo>
                    <a:pt x="110705" y="346879"/>
                  </a:lnTo>
                  <a:lnTo>
                    <a:pt x="50816" y="346879"/>
                  </a:lnTo>
                  <a:lnTo>
                    <a:pt x="50816" y="386623"/>
                  </a:lnTo>
                  <a:close/>
                  <a:moveTo>
                    <a:pt x="110705" y="323321"/>
                  </a:moveTo>
                  <a:lnTo>
                    <a:pt x="110705" y="283577"/>
                  </a:lnTo>
                  <a:lnTo>
                    <a:pt x="50816" y="283577"/>
                  </a:lnTo>
                  <a:lnTo>
                    <a:pt x="50816" y="323321"/>
                  </a:lnTo>
                  <a:close/>
                  <a:moveTo>
                    <a:pt x="110705" y="260024"/>
                  </a:moveTo>
                  <a:lnTo>
                    <a:pt x="110705" y="220275"/>
                  </a:lnTo>
                  <a:lnTo>
                    <a:pt x="50816" y="220275"/>
                  </a:lnTo>
                  <a:lnTo>
                    <a:pt x="50816" y="260024"/>
                  </a:lnTo>
                  <a:close/>
                  <a:moveTo>
                    <a:pt x="110705" y="196722"/>
                  </a:moveTo>
                  <a:lnTo>
                    <a:pt x="110705" y="156979"/>
                  </a:lnTo>
                  <a:lnTo>
                    <a:pt x="50816" y="156979"/>
                  </a:lnTo>
                  <a:lnTo>
                    <a:pt x="50816" y="196722"/>
                  </a:lnTo>
                  <a:close/>
                  <a:moveTo>
                    <a:pt x="110705" y="133420"/>
                  </a:moveTo>
                  <a:lnTo>
                    <a:pt x="110705" y="93677"/>
                  </a:lnTo>
                  <a:lnTo>
                    <a:pt x="50816" y="93677"/>
                  </a:lnTo>
                  <a:lnTo>
                    <a:pt x="50816" y="133420"/>
                  </a:lnTo>
                  <a:close/>
                  <a:moveTo>
                    <a:pt x="50816" y="30380"/>
                  </a:moveTo>
                  <a:lnTo>
                    <a:pt x="50816" y="70123"/>
                  </a:lnTo>
                  <a:lnTo>
                    <a:pt x="110705" y="70123"/>
                  </a:lnTo>
                  <a:lnTo>
                    <a:pt x="110705" y="30380"/>
                  </a:lnTo>
                  <a:close/>
                  <a:moveTo>
                    <a:pt x="222699" y="24010"/>
                  </a:moveTo>
                  <a:lnTo>
                    <a:pt x="126177" y="24010"/>
                  </a:lnTo>
                  <a:lnTo>
                    <a:pt x="126177" y="1555687"/>
                  </a:lnTo>
                  <a:lnTo>
                    <a:pt x="222699" y="1555687"/>
                  </a:lnTo>
                  <a:lnTo>
                    <a:pt x="222699" y="1539968"/>
                  </a:lnTo>
                  <a:lnTo>
                    <a:pt x="222699" y="1487409"/>
                  </a:lnTo>
                  <a:lnTo>
                    <a:pt x="222699" y="1471696"/>
                  </a:lnTo>
                  <a:lnTo>
                    <a:pt x="222699" y="1419130"/>
                  </a:lnTo>
                  <a:lnTo>
                    <a:pt x="222699" y="1403418"/>
                  </a:lnTo>
                  <a:lnTo>
                    <a:pt x="222699" y="1350852"/>
                  </a:lnTo>
                  <a:lnTo>
                    <a:pt x="222699" y="1335139"/>
                  </a:lnTo>
                  <a:lnTo>
                    <a:pt x="222699" y="1282574"/>
                  </a:lnTo>
                  <a:lnTo>
                    <a:pt x="222699" y="1266861"/>
                  </a:lnTo>
                  <a:lnTo>
                    <a:pt x="222699" y="1214301"/>
                  </a:lnTo>
                  <a:lnTo>
                    <a:pt x="222699" y="1198583"/>
                  </a:lnTo>
                  <a:lnTo>
                    <a:pt x="222699" y="1146023"/>
                  </a:lnTo>
                  <a:lnTo>
                    <a:pt x="222699" y="1130304"/>
                  </a:lnTo>
                  <a:lnTo>
                    <a:pt x="222699" y="1077328"/>
                  </a:lnTo>
                  <a:lnTo>
                    <a:pt x="222699" y="1061609"/>
                  </a:lnTo>
                  <a:lnTo>
                    <a:pt x="222699" y="1008627"/>
                  </a:lnTo>
                  <a:lnTo>
                    <a:pt x="222699" y="992914"/>
                  </a:lnTo>
                  <a:lnTo>
                    <a:pt x="222699" y="939932"/>
                  </a:lnTo>
                  <a:lnTo>
                    <a:pt x="222699" y="924219"/>
                  </a:lnTo>
                  <a:lnTo>
                    <a:pt x="222699" y="871231"/>
                  </a:lnTo>
                  <a:lnTo>
                    <a:pt x="222699" y="855524"/>
                  </a:lnTo>
                  <a:lnTo>
                    <a:pt x="222699" y="802536"/>
                  </a:lnTo>
                  <a:lnTo>
                    <a:pt x="222699" y="786823"/>
                  </a:lnTo>
                  <a:lnTo>
                    <a:pt x="222699" y="733841"/>
                  </a:lnTo>
                  <a:lnTo>
                    <a:pt x="222699" y="718128"/>
                  </a:lnTo>
                  <a:lnTo>
                    <a:pt x="222699" y="665146"/>
                  </a:lnTo>
                  <a:lnTo>
                    <a:pt x="222699" y="649427"/>
                  </a:lnTo>
                  <a:lnTo>
                    <a:pt x="222699" y="596445"/>
                  </a:lnTo>
                  <a:lnTo>
                    <a:pt x="222699" y="580732"/>
                  </a:lnTo>
                  <a:lnTo>
                    <a:pt x="222699" y="527750"/>
                  </a:lnTo>
                  <a:lnTo>
                    <a:pt x="222699" y="512037"/>
                  </a:lnTo>
                  <a:lnTo>
                    <a:pt x="222699" y="459054"/>
                  </a:lnTo>
                  <a:lnTo>
                    <a:pt x="222699" y="443341"/>
                  </a:lnTo>
                  <a:lnTo>
                    <a:pt x="222699" y="390354"/>
                  </a:lnTo>
                  <a:lnTo>
                    <a:pt x="222699" y="374641"/>
                  </a:lnTo>
                  <a:lnTo>
                    <a:pt x="222699" y="321659"/>
                  </a:lnTo>
                  <a:lnTo>
                    <a:pt x="222699" y="305940"/>
                  </a:lnTo>
                  <a:lnTo>
                    <a:pt x="222699" y="252958"/>
                  </a:lnTo>
                  <a:lnTo>
                    <a:pt x="222699" y="237245"/>
                  </a:lnTo>
                  <a:lnTo>
                    <a:pt x="222699" y="184263"/>
                  </a:lnTo>
                  <a:lnTo>
                    <a:pt x="222699" y="168549"/>
                  </a:lnTo>
                  <a:lnTo>
                    <a:pt x="222699" y="115567"/>
                  </a:lnTo>
                  <a:lnTo>
                    <a:pt x="222699" y="99854"/>
                  </a:lnTo>
                  <a:close/>
                  <a:moveTo>
                    <a:pt x="390166" y="1487409"/>
                  </a:moveTo>
                  <a:lnTo>
                    <a:pt x="375440" y="1487409"/>
                  </a:lnTo>
                  <a:lnTo>
                    <a:pt x="375440" y="1539968"/>
                  </a:lnTo>
                  <a:lnTo>
                    <a:pt x="390166" y="1539968"/>
                  </a:lnTo>
                  <a:close/>
                  <a:moveTo>
                    <a:pt x="390166" y="1419130"/>
                  </a:moveTo>
                  <a:lnTo>
                    <a:pt x="375440" y="1419130"/>
                  </a:lnTo>
                  <a:lnTo>
                    <a:pt x="375440" y="1471696"/>
                  </a:lnTo>
                  <a:lnTo>
                    <a:pt x="390166" y="1471696"/>
                  </a:lnTo>
                  <a:close/>
                  <a:moveTo>
                    <a:pt x="390166" y="1350852"/>
                  </a:moveTo>
                  <a:lnTo>
                    <a:pt x="375440" y="1350852"/>
                  </a:lnTo>
                  <a:lnTo>
                    <a:pt x="375440" y="1403418"/>
                  </a:lnTo>
                  <a:lnTo>
                    <a:pt x="390166" y="1403418"/>
                  </a:lnTo>
                  <a:close/>
                  <a:moveTo>
                    <a:pt x="390166" y="1282574"/>
                  </a:moveTo>
                  <a:lnTo>
                    <a:pt x="375440" y="1282574"/>
                  </a:lnTo>
                  <a:lnTo>
                    <a:pt x="375440" y="1335139"/>
                  </a:lnTo>
                  <a:lnTo>
                    <a:pt x="390166" y="1335139"/>
                  </a:lnTo>
                  <a:close/>
                  <a:moveTo>
                    <a:pt x="390166" y="1214301"/>
                  </a:moveTo>
                  <a:lnTo>
                    <a:pt x="375440" y="1214301"/>
                  </a:lnTo>
                  <a:lnTo>
                    <a:pt x="375440" y="1266861"/>
                  </a:lnTo>
                  <a:lnTo>
                    <a:pt x="390166" y="1266861"/>
                  </a:lnTo>
                  <a:close/>
                  <a:moveTo>
                    <a:pt x="390166" y="1146023"/>
                  </a:moveTo>
                  <a:lnTo>
                    <a:pt x="375440" y="1146023"/>
                  </a:lnTo>
                  <a:lnTo>
                    <a:pt x="375440" y="1198583"/>
                  </a:lnTo>
                  <a:lnTo>
                    <a:pt x="390166" y="1198583"/>
                  </a:lnTo>
                  <a:close/>
                  <a:moveTo>
                    <a:pt x="243673" y="168549"/>
                  </a:moveTo>
                  <a:lnTo>
                    <a:pt x="258410" y="168549"/>
                  </a:lnTo>
                  <a:lnTo>
                    <a:pt x="258410" y="115984"/>
                  </a:lnTo>
                  <a:lnTo>
                    <a:pt x="243673" y="115984"/>
                  </a:lnTo>
                  <a:close/>
                  <a:moveTo>
                    <a:pt x="342500" y="168549"/>
                  </a:moveTo>
                  <a:lnTo>
                    <a:pt x="357225" y="168549"/>
                  </a:lnTo>
                  <a:lnTo>
                    <a:pt x="357225" y="115984"/>
                  </a:lnTo>
                  <a:lnTo>
                    <a:pt x="342500" y="115984"/>
                  </a:lnTo>
                  <a:close/>
                  <a:moveTo>
                    <a:pt x="309560" y="168549"/>
                  </a:moveTo>
                  <a:lnTo>
                    <a:pt x="324285" y="168549"/>
                  </a:lnTo>
                  <a:lnTo>
                    <a:pt x="324285" y="115984"/>
                  </a:lnTo>
                  <a:lnTo>
                    <a:pt x="309560" y="115984"/>
                  </a:lnTo>
                  <a:close/>
                  <a:moveTo>
                    <a:pt x="276619" y="168549"/>
                  </a:moveTo>
                  <a:lnTo>
                    <a:pt x="291345" y="168549"/>
                  </a:lnTo>
                  <a:lnTo>
                    <a:pt x="291345" y="115984"/>
                  </a:lnTo>
                  <a:lnTo>
                    <a:pt x="276619" y="115984"/>
                  </a:lnTo>
                  <a:close/>
                  <a:moveTo>
                    <a:pt x="390166" y="115984"/>
                  </a:moveTo>
                  <a:lnTo>
                    <a:pt x="375440" y="115984"/>
                  </a:lnTo>
                  <a:lnTo>
                    <a:pt x="375440" y="168549"/>
                  </a:lnTo>
                  <a:lnTo>
                    <a:pt x="390166" y="168549"/>
                  </a:lnTo>
                  <a:close/>
                  <a:moveTo>
                    <a:pt x="243673" y="237245"/>
                  </a:moveTo>
                  <a:lnTo>
                    <a:pt x="258410" y="237245"/>
                  </a:lnTo>
                  <a:lnTo>
                    <a:pt x="258410" y="184685"/>
                  </a:lnTo>
                  <a:lnTo>
                    <a:pt x="243673" y="184685"/>
                  </a:lnTo>
                  <a:close/>
                  <a:moveTo>
                    <a:pt x="342500" y="237245"/>
                  </a:moveTo>
                  <a:lnTo>
                    <a:pt x="357225" y="237245"/>
                  </a:lnTo>
                  <a:lnTo>
                    <a:pt x="357225" y="184685"/>
                  </a:lnTo>
                  <a:lnTo>
                    <a:pt x="342500" y="184685"/>
                  </a:lnTo>
                  <a:close/>
                  <a:moveTo>
                    <a:pt x="309560" y="237245"/>
                  </a:moveTo>
                  <a:lnTo>
                    <a:pt x="324285" y="237245"/>
                  </a:lnTo>
                  <a:lnTo>
                    <a:pt x="324285" y="184685"/>
                  </a:lnTo>
                  <a:lnTo>
                    <a:pt x="309560" y="184685"/>
                  </a:lnTo>
                  <a:close/>
                  <a:moveTo>
                    <a:pt x="276619" y="237245"/>
                  </a:moveTo>
                  <a:lnTo>
                    <a:pt x="291345" y="237245"/>
                  </a:lnTo>
                  <a:lnTo>
                    <a:pt x="291345" y="184685"/>
                  </a:lnTo>
                  <a:lnTo>
                    <a:pt x="276619" y="184685"/>
                  </a:lnTo>
                  <a:close/>
                  <a:moveTo>
                    <a:pt x="390166" y="184685"/>
                  </a:moveTo>
                  <a:lnTo>
                    <a:pt x="375440" y="184685"/>
                  </a:lnTo>
                  <a:lnTo>
                    <a:pt x="375440" y="237245"/>
                  </a:lnTo>
                  <a:lnTo>
                    <a:pt x="390166" y="237245"/>
                  </a:lnTo>
                  <a:close/>
                  <a:moveTo>
                    <a:pt x="243673" y="305940"/>
                  </a:moveTo>
                  <a:lnTo>
                    <a:pt x="258410" y="305940"/>
                  </a:lnTo>
                  <a:lnTo>
                    <a:pt x="258410" y="253380"/>
                  </a:lnTo>
                  <a:lnTo>
                    <a:pt x="243673" y="253380"/>
                  </a:lnTo>
                  <a:close/>
                  <a:moveTo>
                    <a:pt x="342500" y="305940"/>
                  </a:moveTo>
                  <a:lnTo>
                    <a:pt x="357225" y="305940"/>
                  </a:lnTo>
                  <a:lnTo>
                    <a:pt x="357225" y="253380"/>
                  </a:lnTo>
                  <a:lnTo>
                    <a:pt x="342500" y="253380"/>
                  </a:lnTo>
                  <a:close/>
                  <a:moveTo>
                    <a:pt x="309560" y="305940"/>
                  </a:moveTo>
                  <a:lnTo>
                    <a:pt x="324285" y="305940"/>
                  </a:lnTo>
                  <a:lnTo>
                    <a:pt x="324285" y="253380"/>
                  </a:lnTo>
                  <a:lnTo>
                    <a:pt x="309560" y="253380"/>
                  </a:lnTo>
                  <a:close/>
                  <a:moveTo>
                    <a:pt x="276619" y="305940"/>
                  </a:moveTo>
                  <a:lnTo>
                    <a:pt x="291345" y="305940"/>
                  </a:lnTo>
                  <a:lnTo>
                    <a:pt x="291345" y="253380"/>
                  </a:lnTo>
                  <a:lnTo>
                    <a:pt x="276619" y="253380"/>
                  </a:lnTo>
                  <a:close/>
                  <a:moveTo>
                    <a:pt x="390166" y="253380"/>
                  </a:moveTo>
                  <a:lnTo>
                    <a:pt x="375440" y="253380"/>
                  </a:lnTo>
                  <a:lnTo>
                    <a:pt x="375440" y="305940"/>
                  </a:lnTo>
                  <a:lnTo>
                    <a:pt x="390166" y="305940"/>
                  </a:lnTo>
                  <a:close/>
                  <a:moveTo>
                    <a:pt x="243673" y="374641"/>
                  </a:moveTo>
                  <a:lnTo>
                    <a:pt x="258410" y="374641"/>
                  </a:lnTo>
                  <a:lnTo>
                    <a:pt x="258410" y="322075"/>
                  </a:lnTo>
                  <a:lnTo>
                    <a:pt x="243673" y="322075"/>
                  </a:lnTo>
                  <a:close/>
                  <a:moveTo>
                    <a:pt x="342500" y="374641"/>
                  </a:moveTo>
                  <a:lnTo>
                    <a:pt x="357225" y="374641"/>
                  </a:lnTo>
                  <a:lnTo>
                    <a:pt x="357225" y="322075"/>
                  </a:lnTo>
                  <a:lnTo>
                    <a:pt x="342500" y="322075"/>
                  </a:lnTo>
                  <a:close/>
                  <a:moveTo>
                    <a:pt x="309560" y="374641"/>
                  </a:moveTo>
                  <a:lnTo>
                    <a:pt x="324285" y="374641"/>
                  </a:lnTo>
                  <a:lnTo>
                    <a:pt x="324285" y="322075"/>
                  </a:lnTo>
                  <a:lnTo>
                    <a:pt x="309560" y="322075"/>
                  </a:lnTo>
                  <a:close/>
                  <a:moveTo>
                    <a:pt x="276619" y="374641"/>
                  </a:moveTo>
                  <a:lnTo>
                    <a:pt x="291345" y="374641"/>
                  </a:lnTo>
                  <a:lnTo>
                    <a:pt x="291345" y="322075"/>
                  </a:lnTo>
                  <a:lnTo>
                    <a:pt x="276619" y="322075"/>
                  </a:lnTo>
                  <a:close/>
                  <a:moveTo>
                    <a:pt x="390166" y="322075"/>
                  </a:moveTo>
                  <a:lnTo>
                    <a:pt x="375440" y="322075"/>
                  </a:lnTo>
                  <a:lnTo>
                    <a:pt x="375440" y="374641"/>
                  </a:lnTo>
                  <a:lnTo>
                    <a:pt x="390166" y="374641"/>
                  </a:lnTo>
                  <a:close/>
                  <a:moveTo>
                    <a:pt x="243673" y="443341"/>
                  </a:moveTo>
                  <a:lnTo>
                    <a:pt x="258410" y="443341"/>
                  </a:lnTo>
                  <a:lnTo>
                    <a:pt x="258410" y="390776"/>
                  </a:lnTo>
                  <a:lnTo>
                    <a:pt x="243673" y="390776"/>
                  </a:lnTo>
                  <a:close/>
                  <a:moveTo>
                    <a:pt x="342500" y="443341"/>
                  </a:moveTo>
                  <a:lnTo>
                    <a:pt x="357225" y="443341"/>
                  </a:lnTo>
                  <a:lnTo>
                    <a:pt x="357225" y="390776"/>
                  </a:lnTo>
                  <a:lnTo>
                    <a:pt x="342500" y="390776"/>
                  </a:lnTo>
                  <a:close/>
                  <a:moveTo>
                    <a:pt x="309560" y="443341"/>
                  </a:moveTo>
                  <a:lnTo>
                    <a:pt x="324285" y="443341"/>
                  </a:lnTo>
                  <a:lnTo>
                    <a:pt x="324285" y="390776"/>
                  </a:lnTo>
                  <a:lnTo>
                    <a:pt x="309560" y="390776"/>
                  </a:lnTo>
                  <a:close/>
                  <a:moveTo>
                    <a:pt x="276619" y="443341"/>
                  </a:moveTo>
                  <a:lnTo>
                    <a:pt x="291345" y="443341"/>
                  </a:lnTo>
                  <a:lnTo>
                    <a:pt x="291345" y="390776"/>
                  </a:lnTo>
                  <a:lnTo>
                    <a:pt x="276619" y="390776"/>
                  </a:lnTo>
                  <a:close/>
                  <a:moveTo>
                    <a:pt x="390166" y="390776"/>
                  </a:moveTo>
                  <a:lnTo>
                    <a:pt x="375440" y="390776"/>
                  </a:lnTo>
                  <a:lnTo>
                    <a:pt x="375440" y="443341"/>
                  </a:lnTo>
                  <a:lnTo>
                    <a:pt x="390166" y="443341"/>
                  </a:lnTo>
                  <a:close/>
                  <a:moveTo>
                    <a:pt x="243673" y="512037"/>
                  </a:moveTo>
                  <a:lnTo>
                    <a:pt x="258410" y="512037"/>
                  </a:lnTo>
                  <a:lnTo>
                    <a:pt x="258410" y="459471"/>
                  </a:lnTo>
                  <a:lnTo>
                    <a:pt x="243673" y="459471"/>
                  </a:lnTo>
                  <a:close/>
                  <a:moveTo>
                    <a:pt x="342500" y="512037"/>
                  </a:moveTo>
                  <a:lnTo>
                    <a:pt x="357225" y="512037"/>
                  </a:lnTo>
                  <a:lnTo>
                    <a:pt x="357225" y="459471"/>
                  </a:lnTo>
                  <a:lnTo>
                    <a:pt x="342500" y="459471"/>
                  </a:lnTo>
                  <a:close/>
                  <a:moveTo>
                    <a:pt x="309560" y="512037"/>
                  </a:moveTo>
                  <a:lnTo>
                    <a:pt x="324285" y="512037"/>
                  </a:lnTo>
                  <a:lnTo>
                    <a:pt x="324285" y="459471"/>
                  </a:lnTo>
                  <a:lnTo>
                    <a:pt x="309560" y="459471"/>
                  </a:lnTo>
                  <a:close/>
                  <a:moveTo>
                    <a:pt x="276619" y="512037"/>
                  </a:moveTo>
                  <a:lnTo>
                    <a:pt x="291345" y="512037"/>
                  </a:lnTo>
                  <a:lnTo>
                    <a:pt x="291345" y="459471"/>
                  </a:lnTo>
                  <a:lnTo>
                    <a:pt x="276619" y="459471"/>
                  </a:lnTo>
                  <a:close/>
                  <a:moveTo>
                    <a:pt x="390166" y="459471"/>
                  </a:moveTo>
                  <a:lnTo>
                    <a:pt x="375440" y="459471"/>
                  </a:lnTo>
                  <a:lnTo>
                    <a:pt x="375440" y="512037"/>
                  </a:lnTo>
                  <a:lnTo>
                    <a:pt x="390166" y="512037"/>
                  </a:lnTo>
                  <a:close/>
                  <a:moveTo>
                    <a:pt x="243673" y="580732"/>
                  </a:moveTo>
                  <a:lnTo>
                    <a:pt x="258410" y="580732"/>
                  </a:lnTo>
                  <a:lnTo>
                    <a:pt x="258410" y="528167"/>
                  </a:lnTo>
                  <a:lnTo>
                    <a:pt x="243673" y="528167"/>
                  </a:lnTo>
                  <a:close/>
                  <a:moveTo>
                    <a:pt x="342500" y="580732"/>
                  </a:moveTo>
                  <a:lnTo>
                    <a:pt x="357225" y="580732"/>
                  </a:lnTo>
                  <a:lnTo>
                    <a:pt x="357225" y="528167"/>
                  </a:lnTo>
                  <a:lnTo>
                    <a:pt x="342500" y="528167"/>
                  </a:lnTo>
                  <a:close/>
                  <a:moveTo>
                    <a:pt x="309560" y="580732"/>
                  </a:moveTo>
                  <a:lnTo>
                    <a:pt x="324285" y="580732"/>
                  </a:lnTo>
                  <a:lnTo>
                    <a:pt x="324285" y="528167"/>
                  </a:lnTo>
                  <a:lnTo>
                    <a:pt x="309560" y="528167"/>
                  </a:lnTo>
                  <a:close/>
                  <a:moveTo>
                    <a:pt x="276619" y="580732"/>
                  </a:moveTo>
                  <a:lnTo>
                    <a:pt x="291345" y="580732"/>
                  </a:lnTo>
                  <a:lnTo>
                    <a:pt x="291345" y="528167"/>
                  </a:lnTo>
                  <a:lnTo>
                    <a:pt x="276619" y="528167"/>
                  </a:lnTo>
                  <a:close/>
                  <a:moveTo>
                    <a:pt x="390166" y="528167"/>
                  </a:moveTo>
                  <a:lnTo>
                    <a:pt x="375440" y="528167"/>
                  </a:lnTo>
                  <a:lnTo>
                    <a:pt x="375440" y="580732"/>
                  </a:lnTo>
                  <a:lnTo>
                    <a:pt x="390166" y="580732"/>
                  </a:lnTo>
                  <a:close/>
                  <a:moveTo>
                    <a:pt x="243673" y="649427"/>
                  </a:moveTo>
                  <a:lnTo>
                    <a:pt x="258410" y="649427"/>
                  </a:lnTo>
                  <a:lnTo>
                    <a:pt x="258410" y="596867"/>
                  </a:lnTo>
                  <a:lnTo>
                    <a:pt x="243673" y="596867"/>
                  </a:lnTo>
                  <a:close/>
                  <a:moveTo>
                    <a:pt x="342500" y="649427"/>
                  </a:moveTo>
                  <a:lnTo>
                    <a:pt x="357225" y="649427"/>
                  </a:lnTo>
                  <a:lnTo>
                    <a:pt x="357225" y="596867"/>
                  </a:lnTo>
                  <a:lnTo>
                    <a:pt x="342500" y="596867"/>
                  </a:lnTo>
                  <a:close/>
                  <a:moveTo>
                    <a:pt x="309560" y="649427"/>
                  </a:moveTo>
                  <a:lnTo>
                    <a:pt x="324285" y="649427"/>
                  </a:lnTo>
                  <a:lnTo>
                    <a:pt x="324285" y="596867"/>
                  </a:lnTo>
                  <a:lnTo>
                    <a:pt x="309560" y="596867"/>
                  </a:lnTo>
                  <a:close/>
                  <a:moveTo>
                    <a:pt x="276619" y="649427"/>
                  </a:moveTo>
                  <a:lnTo>
                    <a:pt x="291345" y="649427"/>
                  </a:lnTo>
                  <a:lnTo>
                    <a:pt x="291345" y="596867"/>
                  </a:lnTo>
                  <a:lnTo>
                    <a:pt x="276619" y="596867"/>
                  </a:lnTo>
                  <a:close/>
                  <a:moveTo>
                    <a:pt x="390166" y="596867"/>
                  </a:moveTo>
                  <a:lnTo>
                    <a:pt x="375440" y="596867"/>
                  </a:lnTo>
                  <a:lnTo>
                    <a:pt x="375440" y="649427"/>
                  </a:lnTo>
                  <a:lnTo>
                    <a:pt x="390166" y="649427"/>
                  </a:lnTo>
                  <a:close/>
                  <a:moveTo>
                    <a:pt x="243673" y="718128"/>
                  </a:moveTo>
                  <a:lnTo>
                    <a:pt x="258410" y="718128"/>
                  </a:lnTo>
                  <a:lnTo>
                    <a:pt x="258410" y="665562"/>
                  </a:lnTo>
                  <a:lnTo>
                    <a:pt x="243673" y="665562"/>
                  </a:lnTo>
                  <a:close/>
                  <a:moveTo>
                    <a:pt x="342500" y="718128"/>
                  </a:moveTo>
                  <a:lnTo>
                    <a:pt x="357225" y="718128"/>
                  </a:lnTo>
                  <a:lnTo>
                    <a:pt x="357225" y="665562"/>
                  </a:lnTo>
                  <a:lnTo>
                    <a:pt x="342500" y="665562"/>
                  </a:lnTo>
                  <a:close/>
                  <a:moveTo>
                    <a:pt x="309560" y="718128"/>
                  </a:moveTo>
                  <a:lnTo>
                    <a:pt x="324285" y="718128"/>
                  </a:lnTo>
                  <a:lnTo>
                    <a:pt x="324285" y="665562"/>
                  </a:lnTo>
                  <a:lnTo>
                    <a:pt x="309560" y="665562"/>
                  </a:lnTo>
                  <a:close/>
                  <a:moveTo>
                    <a:pt x="276619" y="718128"/>
                  </a:moveTo>
                  <a:lnTo>
                    <a:pt x="291345" y="718128"/>
                  </a:lnTo>
                  <a:lnTo>
                    <a:pt x="291345" y="665562"/>
                  </a:lnTo>
                  <a:lnTo>
                    <a:pt x="276619" y="665562"/>
                  </a:lnTo>
                  <a:close/>
                  <a:moveTo>
                    <a:pt x="390166" y="665562"/>
                  </a:moveTo>
                  <a:lnTo>
                    <a:pt x="375440" y="665562"/>
                  </a:lnTo>
                  <a:lnTo>
                    <a:pt x="375440" y="718128"/>
                  </a:lnTo>
                  <a:lnTo>
                    <a:pt x="390166" y="718128"/>
                  </a:lnTo>
                  <a:close/>
                  <a:moveTo>
                    <a:pt x="243673" y="786823"/>
                  </a:moveTo>
                  <a:lnTo>
                    <a:pt x="258410" y="786823"/>
                  </a:lnTo>
                  <a:lnTo>
                    <a:pt x="258410" y="734258"/>
                  </a:lnTo>
                  <a:lnTo>
                    <a:pt x="243673" y="734258"/>
                  </a:lnTo>
                  <a:close/>
                  <a:moveTo>
                    <a:pt x="342500" y="786823"/>
                  </a:moveTo>
                  <a:lnTo>
                    <a:pt x="357225" y="786823"/>
                  </a:lnTo>
                  <a:lnTo>
                    <a:pt x="357225" y="734258"/>
                  </a:lnTo>
                  <a:lnTo>
                    <a:pt x="342500" y="734258"/>
                  </a:lnTo>
                  <a:close/>
                  <a:moveTo>
                    <a:pt x="309560" y="786823"/>
                  </a:moveTo>
                  <a:lnTo>
                    <a:pt x="324285" y="786823"/>
                  </a:lnTo>
                  <a:lnTo>
                    <a:pt x="324285" y="734258"/>
                  </a:lnTo>
                  <a:lnTo>
                    <a:pt x="309560" y="734258"/>
                  </a:lnTo>
                  <a:close/>
                  <a:moveTo>
                    <a:pt x="276619" y="786823"/>
                  </a:moveTo>
                  <a:lnTo>
                    <a:pt x="291345" y="786823"/>
                  </a:lnTo>
                  <a:lnTo>
                    <a:pt x="291345" y="734258"/>
                  </a:lnTo>
                  <a:lnTo>
                    <a:pt x="276619" y="734258"/>
                  </a:lnTo>
                  <a:close/>
                  <a:moveTo>
                    <a:pt x="390166" y="734258"/>
                  </a:moveTo>
                  <a:lnTo>
                    <a:pt x="375440" y="734258"/>
                  </a:lnTo>
                  <a:lnTo>
                    <a:pt x="375440" y="786823"/>
                  </a:lnTo>
                  <a:lnTo>
                    <a:pt x="390166" y="786823"/>
                  </a:lnTo>
                  <a:close/>
                  <a:moveTo>
                    <a:pt x="243673" y="855524"/>
                  </a:moveTo>
                  <a:lnTo>
                    <a:pt x="258410" y="855524"/>
                  </a:lnTo>
                  <a:lnTo>
                    <a:pt x="258410" y="802958"/>
                  </a:lnTo>
                  <a:lnTo>
                    <a:pt x="243673" y="802958"/>
                  </a:lnTo>
                  <a:close/>
                  <a:moveTo>
                    <a:pt x="342500" y="855524"/>
                  </a:moveTo>
                  <a:lnTo>
                    <a:pt x="357225" y="855524"/>
                  </a:lnTo>
                  <a:lnTo>
                    <a:pt x="357225" y="802958"/>
                  </a:lnTo>
                  <a:lnTo>
                    <a:pt x="342500" y="802958"/>
                  </a:lnTo>
                  <a:close/>
                  <a:moveTo>
                    <a:pt x="309560" y="855524"/>
                  </a:moveTo>
                  <a:lnTo>
                    <a:pt x="324285" y="855524"/>
                  </a:lnTo>
                  <a:lnTo>
                    <a:pt x="324285" y="802958"/>
                  </a:lnTo>
                  <a:lnTo>
                    <a:pt x="309560" y="802958"/>
                  </a:lnTo>
                  <a:close/>
                  <a:moveTo>
                    <a:pt x="276619" y="855524"/>
                  </a:moveTo>
                  <a:lnTo>
                    <a:pt x="291345" y="855524"/>
                  </a:lnTo>
                  <a:lnTo>
                    <a:pt x="291345" y="802958"/>
                  </a:lnTo>
                  <a:lnTo>
                    <a:pt x="276619" y="802958"/>
                  </a:lnTo>
                  <a:close/>
                  <a:moveTo>
                    <a:pt x="390166" y="802958"/>
                  </a:moveTo>
                  <a:lnTo>
                    <a:pt x="375440" y="802958"/>
                  </a:lnTo>
                  <a:lnTo>
                    <a:pt x="375440" y="855524"/>
                  </a:lnTo>
                  <a:lnTo>
                    <a:pt x="390166" y="855524"/>
                  </a:lnTo>
                  <a:close/>
                  <a:moveTo>
                    <a:pt x="243673" y="924219"/>
                  </a:moveTo>
                  <a:lnTo>
                    <a:pt x="258410" y="924219"/>
                  </a:lnTo>
                  <a:lnTo>
                    <a:pt x="258410" y="871654"/>
                  </a:lnTo>
                  <a:lnTo>
                    <a:pt x="243673" y="871654"/>
                  </a:lnTo>
                  <a:close/>
                  <a:moveTo>
                    <a:pt x="342500" y="924219"/>
                  </a:moveTo>
                  <a:lnTo>
                    <a:pt x="357225" y="924219"/>
                  </a:lnTo>
                  <a:lnTo>
                    <a:pt x="357225" y="871654"/>
                  </a:lnTo>
                  <a:lnTo>
                    <a:pt x="342500" y="871654"/>
                  </a:lnTo>
                  <a:close/>
                  <a:moveTo>
                    <a:pt x="309560" y="924219"/>
                  </a:moveTo>
                  <a:lnTo>
                    <a:pt x="324285" y="924219"/>
                  </a:lnTo>
                  <a:lnTo>
                    <a:pt x="324285" y="871654"/>
                  </a:lnTo>
                  <a:lnTo>
                    <a:pt x="309560" y="871654"/>
                  </a:lnTo>
                  <a:close/>
                  <a:moveTo>
                    <a:pt x="276619" y="924219"/>
                  </a:moveTo>
                  <a:lnTo>
                    <a:pt x="291345" y="924219"/>
                  </a:lnTo>
                  <a:lnTo>
                    <a:pt x="291345" y="871654"/>
                  </a:lnTo>
                  <a:lnTo>
                    <a:pt x="276619" y="871654"/>
                  </a:lnTo>
                  <a:close/>
                  <a:moveTo>
                    <a:pt x="390166" y="871654"/>
                  </a:moveTo>
                  <a:lnTo>
                    <a:pt x="375440" y="871654"/>
                  </a:lnTo>
                  <a:lnTo>
                    <a:pt x="375440" y="924219"/>
                  </a:lnTo>
                  <a:lnTo>
                    <a:pt x="390166" y="924219"/>
                  </a:lnTo>
                  <a:close/>
                  <a:moveTo>
                    <a:pt x="243673" y="992914"/>
                  </a:moveTo>
                  <a:lnTo>
                    <a:pt x="258410" y="992914"/>
                  </a:lnTo>
                  <a:lnTo>
                    <a:pt x="258410" y="940349"/>
                  </a:lnTo>
                  <a:lnTo>
                    <a:pt x="243673" y="940349"/>
                  </a:lnTo>
                  <a:close/>
                  <a:moveTo>
                    <a:pt x="342500" y="992914"/>
                  </a:moveTo>
                  <a:lnTo>
                    <a:pt x="357225" y="992914"/>
                  </a:lnTo>
                  <a:lnTo>
                    <a:pt x="357225" y="940349"/>
                  </a:lnTo>
                  <a:lnTo>
                    <a:pt x="342500" y="940349"/>
                  </a:lnTo>
                  <a:close/>
                  <a:moveTo>
                    <a:pt x="309560" y="992914"/>
                  </a:moveTo>
                  <a:lnTo>
                    <a:pt x="324285" y="992914"/>
                  </a:lnTo>
                  <a:lnTo>
                    <a:pt x="324285" y="940349"/>
                  </a:lnTo>
                  <a:lnTo>
                    <a:pt x="309560" y="940349"/>
                  </a:lnTo>
                  <a:close/>
                  <a:moveTo>
                    <a:pt x="276619" y="992914"/>
                  </a:moveTo>
                  <a:lnTo>
                    <a:pt x="291345" y="992914"/>
                  </a:lnTo>
                  <a:lnTo>
                    <a:pt x="291345" y="940349"/>
                  </a:lnTo>
                  <a:lnTo>
                    <a:pt x="276619" y="940349"/>
                  </a:lnTo>
                  <a:close/>
                  <a:moveTo>
                    <a:pt x="390166" y="940349"/>
                  </a:moveTo>
                  <a:lnTo>
                    <a:pt x="375440" y="940349"/>
                  </a:lnTo>
                  <a:lnTo>
                    <a:pt x="375440" y="992914"/>
                  </a:lnTo>
                  <a:lnTo>
                    <a:pt x="390166" y="992914"/>
                  </a:lnTo>
                  <a:close/>
                  <a:moveTo>
                    <a:pt x="243673" y="1061609"/>
                  </a:moveTo>
                  <a:lnTo>
                    <a:pt x="258410" y="1061609"/>
                  </a:lnTo>
                  <a:lnTo>
                    <a:pt x="258410" y="1009050"/>
                  </a:lnTo>
                  <a:lnTo>
                    <a:pt x="243673" y="1009050"/>
                  </a:lnTo>
                  <a:close/>
                  <a:moveTo>
                    <a:pt x="342500" y="1061609"/>
                  </a:moveTo>
                  <a:lnTo>
                    <a:pt x="357225" y="1061609"/>
                  </a:lnTo>
                  <a:lnTo>
                    <a:pt x="357225" y="1009050"/>
                  </a:lnTo>
                  <a:lnTo>
                    <a:pt x="342500" y="1009050"/>
                  </a:lnTo>
                  <a:close/>
                  <a:moveTo>
                    <a:pt x="309560" y="1061609"/>
                  </a:moveTo>
                  <a:lnTo>
                    <a:pt x="324285" y="1061609"/>
                  </a:lnTo>
                  <a:lnTo>
                    <a:pt x="324285" y="1009050"/>
                  </a:lnTo>
                  <a:lnTo>
                    <a:pt x="309560" y="1009050"/>
                  </a:lnTo>
                  <a:close/>
                  <a:moveTo>
                    <a:pt x="276619" y="1061609"/>
                  </a:moveTo>
                  <a:lnTo>
                    <a:pt x="291345" y="1061609"/>
                  </a:lnTo>
                  <a:lnTo>
                    <a:pt x="291345" y="1009050"/>
                  </a:lnTo>
                  <a:lnTo>
                    <a:pt x="276619" y="1009050"/>
                  </a:lnTo>
                  <a:close/>
                  <a:moveTo>
                    <a:pt x="390166" y="1009050"/>
                  </a:moveTo>
                  <a:lnTo>
                    <a:pt x="375440" y="1009050"/>
                  </a:lnTo>
                  <a:lnTo>
                    <a:pt x="375440" y="1061609"/>
                  </a:lnTo>
                  <a:lnTo>
                    <a:pt x="390166" y="1061609"/>
                  </a:lnTo>
                  <a:close/>
                  <a:moveTo>
                    <a:pt x="243673" y="1130304"/>
                  </a:moveTo>
                  <a:lnTo>
                    <a:pt x="258410" y="1130304"/>
                  </a:lnTo>
                  <a:lnTo>
                    <a:pt x="258410" y="1077745"/>
                  </a:lnTo>
                  <a:lnTo>
                    <a:pt x="243673" y="1077745"/>
                  </a:lnTo>
                  <a:close/>
                  <a:moveTo>
                    <a:pt x="243673" y="1198583"/>
                  </a:moveTo>
                  <a:lnTo>
                    <a:pt x="258410" y="1198583"/>
                  </a:lnTo>
                  <a:lnTo>
                    <a:pt x="258410" y="1146023"/>
                  </a:lnTo>
                  <a:lnTo>
                    <a:pt x="243673" y="1146023"/>
                  </a:lnTo>
                  <a:close/>
                  <a:moveTo>
                    <a:pt x="243673" y="1266861"/>
                  </a:moveTo>
                  <a:lnTo>
                    <a:pt x="258410" y="1266861"/>
                  </a:lnTo>
                  <a:lnTo>
                    <a:pt x="258410" y="1214301"/>
                  </a:lnTo>
                  <a:lnTo>
                    <a:pt x="243673" y="1214301"/>
                  </a:lnTo>
                  <a:close/>
                  <a:moveTo>
                    <a:pt x="243673" y="1335139"/>
                  </a:moveTo>
                  <a:lnTo>
                    <a:pt x="258410" y="1335139"/>
                  </a:lnTo>
                  <a:lnTo>
                    <a:pt x="258410" y="1282574"/>
                  </a:lnTo>
                  <a:lnTo>
                    <a:pt x="243673" y="1282574"/>
                  </a:lnTo>
                  <a:close/>
                  <a:moveTo>
                    <a:pt x="243673" y="1403418"/>
                  </a:moveTo>
                  <a:lnTo>
                    <a:pt x="258410" y="1403418"/>
                  </a:lnTo>
                  <a:lnTo>
                    <a:pt x="258410" y="1350852"/>
                  </a:lnTo>
                  <a:lnTo>
                    <a:pt x="243673" y="1350852"/>
                  </a:lnTo>
                  <a:close/>
                  <a:moveTo>
                    <a:pt x="243673" y="1471696"/>
                  </a:moveTo>
                  <a:lnTo>
                    <a:pt x="258410" y="1471696"/>
                  </a:lnTo>
                  <a:lnTo>
                    <a:pt x="258410" y="1419130"/>
                  </a:lnTo>
                  <a:lnTo>
                    <a:pt x="243673" y="1419130"/>
                  </a:lnTo>
                  <a:close/>
                  <a:moveTo>
                    <a:pt x="243673" y="1539968"/>
                  </a:moveTo>
                  <a:lnTo>
                    <a:pt x="258410" y="1539968"/>
                  </a:lnTo>
                  <a:lnTo>
                    <a:pt x="258410" y="1487409"/>
                  </a:lnTo>
                  <a:lnTo>
                    <a:pt x="243673" y="1487409"/>
                  </a:lnTo>
                  <a:close/>
                  <a:moveTo>
                    <a:pt x="357225" y="1487409"/>
                  </a:moveTo>
                  <a:lnTo>
                    <a:pt x="342500" y="1487409"/>
                  </a:lnTo>
                  <a:lnTo>
                    <a:pt x="342500" y="1539968"/>
                  </a:lnTo>
                  <a:lnTo>
                    <a:pt x="357225" y="1539968"/>
                  </a:lnTo>
                  <a:close/>
                  <a:moveTo>
                    <a:pt x="357225" y="1419130"/>
                  </a:moveTo>
                  <a:lnTo>
                    <a:pt x="342500" y="1419130"/>
                  </a:lnTo>
                  <a:lnTo>
                    <a:pt x="342500" y="1471696"/>
                  </a:lnTo>
                  <a:lnTo>
                    <a:pt x="357225" y="1471696"/>
                  </a:lnTo>
                  <a:close/>
                  <a:moveTo>
                    <a:pt x="357225" y="1350852"/>
                  </a:moveTo>
                  <a:lnTo>
                    <a:pt x="342500" y="1350852"/>
                  </a:lnTo>
                  <a:lnTo>
                    <a:pt x="342500" y="1403418"/>
                  </a:lnTo>
                  <a:lnTo>
                    <a:pt x="357225" y="1403418"/>
                  </a:lnTo>
                  <a:close/>
                  <a:moveTo>
                    <a:pt x="357225" y="1282574"/>
                  </a:moveTo>
                  <a:lnTo>
                    <a:pt x="342500" y="1282574"/>
                  </a:lnTo>
                  <a:lnTo>
                    <a:pt x="342500" y="1335139"/>
                  </a:lnTo>
                  <a:lnTo>
                    <a:pt x="357225" y="1335139"/>
                  </a:lnTo>
                  <a:close/>
                  <a:moveTo>
                    <a:pt x="357225" y="1214301"/>
                  </a:moveTo>
                  <a:lnTo>
                    <a:pt x="342500" y="1214301"/>
                  </a:lnTo>
                  <a:lnTo>
                    <a:pt x="342500" y="1266861"/>
                  </a:lnTo>
                  <a:lnTo>
                    <a:pt x="357225" y="1266861"/>
                  </a:lnTo>
                  <a:close/>
                  <a:moveTo>
                    <a:pt x="357225" y="1146023"/>
                  </a:moveTo>
                  <a:lnTo>
                    <a:pt x="342500" y="1146023"/>
                  </a:lnTo>
                  <a:lnTo>
                    <a:pt x="342500" y="1198583"/>
                  </a:lnTo>
                  <a:lnTo>
                    <a:pt x="357225" y="1198583"/>
                  </a:lnTo>
                  <a:close/>
                  <a:moveTo>
                    <a:pt x="276619" y="1130304"/>
                  </a:moveTo>
                  <a:lnTo>
                    <a:pt x="291345" y="1130304"/>
                  </a:lnTo>
                  <a:lnTo>
                    <a:pt x="291345" y="1077745"/>
                  </a:lnTo>
                  <a:lnTo>
                    <a:pt x="276619" y="1077745"/>
                  </a:lnTo>
                  <a:close/>
                  <a:moveTo>
                    <a:pt x="276619" y="1198583"/>
                  </a:moveTo>
                  <a:lnTo>
                    <a:pt x="291345" y="1198583"/>
                  </a:lnTo>
                  <a:lnTo>
                    <a:pt x="291345" y="1146023"/>
                  </a:lnTo>
                  <a:lnTo>
                    <a:pt x="276619" y="1146023"/>
                  </a:lnTo>
                  <a:close/>
                  <a:moveTo>
                    <a:pt x="276619" y="1266861"/>
                  </a:moveTo>
                  <a:lnTo>
                    <a:pt x="291345" y="1266861"/>
                  </a:lnTo>
                  <a:lnTo>
                    <a:pt x="291345" y="1214301"/>
                  </a:lnTo>
                  <a:lnTo>
                    <a:pt x="276619" y="1214301"/>
                  </a:lnTo>
                  <a:close/>
                  <a:moveTo>
                    <a:pt x="276619" y="1335139"/>
                  </a:moveTo>
                  <a:lnTo>
                    <a:pt x="291345" y="1335139"/>
                  </a:lnTo>
                  <a:lnTo>
                    <a:pt x="291345" y="1282574"/>
                  </a:lnTo>
                  <a:lnTo>
                    <a:pt x="276619" y="1282574"/>
                  </a:lnTo>
                  <a:close/>
                  <a:moveTo>
                    <a:pt x="276619" y="1403418"/>
                  </a:moveTo>
                  <a:lnTo>
                    <a:pt x="291345" y="1403418"/>
                  </a:lnTo>
                  <a:lnTo>
                    <a:pt x="291345" y="1350852"/>
                  </a:lnTo>
                  <a:lnTo>
                    <a:pt x="276619" y="1350852"/>
                  </a:lnTo>
                  <a:close/>
                  <a:moveTo>
                    <a:pt x="276619" y="1471696"/>
                  </a:moveTo>
                  <a:lnTo>
                    <a:pt x="291345" y="1471696"/>
                  </a:lnTo>
                  <a:lnTo>
                    <a:pt x="291345" y="1419130"/>
                  </a:lnTo>
                  <a:lnTo>
                    <a:pt x="276619" y="1419130"/>
                  </a:lnTo>
                  <a:close/>
                  <a:moveTo>
                    <a:pt x="324285" y="1419130"/>
                  </a:moveTo>
                  <a:lnTo>
                    <a:pt x="309560" y="1419130"/>
                  </a:lnTo>
                  <a:lnTo>
                    <a:pt x="309560" y="1471696"/>
                  </a:lnTo>
                  <a:lnTo>
                    <a:pt x="324285" y="1471696"/>
                  </a:lnTo>
                  <a:close/>
                  <a:moveTo>
                    <a:pt x="324285" y="1350852"/>
                  </a:moveTo>
                  <a:lnTo>
                    <a:pt x="309560" y="1350852"/>
                  </a:lnTo>
                  <a:lnTo>
                    <a:pt x="309560" y="1403418"/>
                  </a:lnTo>
                  <a:lnTo>
                    <a:pt x="324285" y="1403418"/>
                  </a:lnTo>
                  <a:close/>
                  <a:moveTo>
                    <a:pt x="324285" y="1282574"/>
                  </a:moveTo>
                  <a:lnTo>
                    <a:pt x="309560" y="1282574"/>
                  </a:lnTo>
                  <a:lnTo>
                    <a:pt x="309560" y="1335139"/>
                  </a:lnTo>
                  <a:lnTo>
                    <a:pt x="324285" y="1335139"/>
                  </a:lnTo>
                  <a:close/>
                  <a:moveTo>
                    <a:pt x="324285" y="1214301"/>
                  </a:moveTo>
                  <a:lnTo>
                    <a:pt x="309560" y="1214301"/>
                  </a:lnTo>
                  <a:lnTo>
                    <a:pt x="309560" y="1266861"/>
                  </a:lnTo>
                  <a:lnTo>
                    <a:pt x="324285" y="1266861"/>
                  </a:lnTo>
                  <a:close/>
                  <a:moveTo>
                    <a:pt x="324285" y="1146023"/>
                  </a:moveTo>
                  <a:lnTo>
                    <a:pt x="309560" y="1146023"/>
                  </a:lnTo>
                  <a:lnTo>
                    <a:pt x="309560" y="1198583"/>
                  </a:lnTo>
                  <a:lnTo>
                    <a:pt x="324285" y="1198583"/>
                  </a:lnTo>
                  <a:close/>
                  <a:moveTo>
                    <a:pt x="309560" y="1130304"/>
                  </a:moveTo>
                  <a:lnTo>
                    <a:pt x="324285" y="1130304"/>
                  </a:lnTo>
                  <a:lnTo>
                    <a:pt x="324285" y="1077745"/>
                  </a:lnTo>
                  <a:lnTo>
                    <a:pt x="309560" y="1077745"/>
                  </a:lnTo>
                  <a:close/>
                  <a:moveTo>
                    <a:pt x="342500" y="1130304"/>
                  </a:moveTo>
                  <a:lnTo>
                    <a:pt x="357225" y="1130304"/>
                  </a:lnTo>
                  <a:lnTo>
                    <a:pt x="357225" y="1077745"/>
                  </a:lnTo>
                  <a:lnTo>
                    <a:pt x="342500" y="1077745"/>
                  </a:lnTo>
                  <a:close/>
                  <a:moveTo>
                    <a:pt x="324285" y="1487409"/>
                  </a:moveTo>
                  <a:lnTo>
                    <a:pt x="309560" y="1487409"/>
                  </a:lnTo>
                  <a:lnTo>
                    <a:pt x="309560" y="1539968"/>
                  </a:lnTo>
                  <a:lnTo>
                    <a:pt x="324285" y="1539968"/>
                  </a:lnTo>
                  <a:close/>
                  <a:moveTo>
                    <a:pt x="291345" y="1487409"/>
                  </a:moveTo>
                  <a:lnTo>
                    <a:pt x="276619" y="1487409"/>
                  </a:lnTo>
                  <a:lnTo>
                    <a:pt x="276619" y="1539968"/>
                  </a:lnTo>
                  <a:lnTo>
                    <a:pt x="291345" y="1539968"/>
                  </a:lnTo>
                  <a:close/>
                  <a:moveTo>
                    <a:pt x="390166" y="1077745"/>
                  </a:moveTo>
                  <a:lnTo>
                    <a:pt x="375440" y="1077745"/>
                  </a:lnTo>
                  <a:lnTo>
                    <a:pt x="375440" y="1130304"/>
                  </a:lnTo>
                  <a:lnTo>
                    <a:pt x="390166" y="1130304"/>
                  </a:lnTo>
                  <a:close/>
                  <a:moveTo>
                    <a:pt x="258410" y="47289"/>
                  </a:moveTo>
                  <a:lnTo>
                    <a:pt x="243673" y="47289"/>
                  </a:lnTo>
                  <a:lnTo>
                    <a:pt x="243673" y="99854"/>
                  </a:lnTo>
                  <a:lnTo>
                    <a:pt x="258410" y="99854"/>
                  </a:lnTo>
                  <a:close/>
                  <a:moveTo>
                    <a:pt x="291345" y="47289"/>
                  </a:moveTo>
                  <a:lnTo>
                    <a:pt x="276619" y="47289"/>
                  </a:lnTo>
                  <a:lnTo>
                    <a:pt x="276619" y="99854"/>
                  </a:lnTo>
                  <a:lnTo>
                    <a:pt x="291345" y="99854"/>
                  </a:lnTo>
                  <a:close/>
                  <a:moveTo>
                    <a:pt x="324285" y="47289"/>
                  </a:moveTo>
                  <a:lnTo>
                    <a:pt x="309560" y="47289"/>
                  </a:lnTo>
                  <a:lnTo>
                    <a:pt x="309560" y="99854"/>
                  </a:lnTo>
                  <a:lnTo>
                    <a:pt x="324285" y="99854"/>
                  </a:lnTo>
                  <a:close/>
                  <a:moveTo>
                    <a:pt x="357225" y="47289"/>
                  </a:moveTo>
                  <a:lnTo>
                    <a:pt x="342500" y="47289"/>
                  </a:lnTo>
                  <a:lnTo>
                    <a:pt x="342500" y="99854"/>
                  </a:lnTo>
                  <a:lnTo>
                    <a:pt x="357225" y="99854"/>
                  </a:lnTo>
                  <a:close/>
                  <a:moveTo>
                    <a:pt x="390166" y="47289"/>
                  </a:moveTo>
                  <a:lnTo>
                    <a:pt x="375440" y="47289"/>
                  </a:lnTo>
                  <a:lnTo>
                    <a:pt x="375440" y="99854"/>
                  </a:lnTo>
                  <a:lnTo>
                    <a:pt x="390166" y="99854"/>
                  </a:lnTo>
                  <a:close/>
                  <a:moveTo>
                    <a:pt x="411618" y="99854"/>
                  </a:moveTo>
                  <a:lnTo>
                    <a:pt x="411618" y="1555687"/>
                  </a:lnTo>
                  <a:lnTo>
                    <a:pt x="508140" y="1555687"/>
                  </a:lnTo>
                  <a:lnTo>
                    <a:pt x="508140" y="24010"/>
                  </a:lnTo>
                  <a:lnTo>
                    <a:pt x="411618" y="24010"/>
                  </a:lnTo>
                  <a:close/>
                  <a:moveTo>
                    <a:pt x="583501" y="30380"/>
                  </a:moveTo>
                  <a:lnTo>
                    <a:pt x="523612" y="30380"/>
                  </a:lnTo>
                  <a:lnTo>
                    <a:pt x="523612" y="70123"/>
                  </a:lnTo>
                  <a:lnTo>
                    <a:pt x="583501" y="70123"/>
                  </a:lnTo>
                  <a:close/>
                  <a:moveTo>
                    <a:pt x="583501" y="93677"/>
                  </a:moveTo>
                  <a:lnTo>
                    <a:pt x="523612" y="93677"/>
                  </a:lnTo>
                  <a:lnTo>
                    <a:pt x="523612" y="133420"/>
                  </a:lnTo>
                  <a:lnTo>
                    <a:pt x="583501" y="133420"/>
                  </a:lnTo>
                  <a:close/>
                  <a:moveTo>
                    <a:pt x="583501" y="156979"/>
                  </a:moveTo>
                  <a:lnTo>
                    <a:pt x="523612" y="156979"/>
                  </a:lnTo>
                  <a:lnTo>
                    <a:pt x="523612" y="196722"/>
                  </a:lnTo>
                  <a:lnTo>
                    <a:pt x="583501" y="196722"/>
                  </a:lnTo>
                  <a:close/>
                  <a:moveTo>
                    <a:pt x="583501" y="220275"/>
                  </a:moveTo>
                  <a:lnTo>
                    <a:pt x="523612" y="220275"/>
                  </a:lnTo>
                  <a:lnTo>
                    <a:pt x="523612" y="260024"/>
                  </a:lnTo>
                  <a:lnTo>
                    <a:pt x="583501" y="260024"/>
                  </a:lnTo>
                  <a:close/>
                  <a:moveTo>
                    <a:pt x="583501" y="283577"/>
                  </a:moveTo>
                  <a:lnTo>
                    <a:pt x="523612" y="283577"/>
                  </a:lnTo>
                  <a:lnTo>
                    <a:pt x="523612" y="323321"/>
                  </a:lnTo>
                  <a:lnTo>
                    <a:pt x="583501" y="323321"/>
                  </a:lnTo>
                  <a:close/>
                  <a:moveTo>
                    <a:pt x="583501" y="346879"/>
                  </a:moveTo>
                  <a:lnTo>
                    <a:pt x="523612" y="346879"/>
                  </a:lnTo>
                  <a:lnTo>
                    <a:pt x="523612" y="386623"/>
                  </a:lnTo>
                  <a:lnTo>
                    <a:pt x="583501" y="386623"/>
                  </a:lnTo>
                  <a:close/>
                  <a:moveTo>
                    <a:pt x="583501" y="410181"/>
                  </a:moveTo>
                  <a:lnTo>
                    <a:pt x="523612" y="410181"/>
                  </a:lnTo>
                  <a:lnTo>
                    <a:pt x="523612" y="449925"/>
                  </a:lnTo>
                  <a:lnTo>
                    <a:pt x="583501" y="449925"/>
                  </a:lnTo>
                  <a:close/>
                  <a:moveTo>
                    <a:pt x="583501" y="473484"/>
                  </a:moveTo>
                  <a:lnTo>
                    <a:pt x="523612" y="473484"/>
                  </a:lnTo>
                  <a:lnTo>
                    <a:pt x="523612" y="513222"/>
                  </a:lnTo>
                  <a:lnTo>
                    <a:pt x="583501" y="513222"/>
                  </a:lnTo>
                  <a:close/>
                  <a:moveTo>
                    <a:pt x="583501" y="536780"/>
                  </a:moveTo>
                  <a:lnTo>
                    <a:pt x="523612" y="536780"/>
                  </a:lnTo>
                  <a:lnTo>
                    <a:pt x="523612" y="576529"/>
                  </a:lnTo>
                  <a:lnTo>
                    <a:pt x="583501" y="576529"/>
                  </a:lnTo>
                  <a:close/>
                  <a:moveTo>
                    <a:pt x="583501" y="600082"/>
                  </a:moveTo>
                  <a:lnTo>
                    <a:pt x="523612" y="600082"/>
                  </a:lnTo>
                  <a:lnTo>
                    <a:pt x="523612" y="639831"/>
                  </a:lnTo>
                  <a:lnTo>
                    <a:pt x="583501" y="639831"/>
                  </a:lnTo>
                  <a:close/>
                  <a:moveTo>
                    <a:pt x="583501" y="663384"/>
                  </a:moveTo>
                  <a:lnTo>
                    <a:pt x="523612" y="663384"/>
                  </a:lnTo>
                  <a:lnTo>
                    <a:pt x="523612" y="703128"/>
                  </a:lnTo>
                  <a:lnTo>
                    <a:pt x="583501" y="703128"/>
                  </a:lnTo>
                  <a:close/>
                  <a:moveTo>
                    <a:pt x="583501" y="726681"/>
                  </a:moveTo>
                  <a:lnTo>
                    <a:pt x="523612" y="726681"/>
                  </a:lnTo>
                  <a:lnTo>
                    <a:pt x="523612" y="766430"/>
                  </a:lnTo>
                  <a:lnTo>
                    <a:pt x="583501" y="766430"/>
                  </a:lnTo>
                  <a:close/>
                  <a:moveTo>
                    <a:pt x="583501" y="789983"/>
                  </a:moveTo>
                  <a:lnTo>
                    <a:pt x="523612" y="789983"/>
                  </a:lnTo>
                  <a:lnTo>
                    <a:pt x="523612" y="829727"/>
                  </a:lnTo>
                  <a:lnTo>
                    <a:pt x="583501" y="829727"/>
                  </a:lnTo>
                  <a:close/>
                  <a:moveTo>
                    <a:pt x="583501" y="853285"/>
                  </a:moveTo>
                  <a:lnTo>
                    <a:pt x="523612" y="853285"/>
                  </a:lnTo>
                  <a:lnTo>
                    <a:pt x="523612" y="893029"/>
                  </a:lnTo>
                  <a:lnTo>
                    <a:pt x="583501" y="893029"/>
                  </a:lnTo>
                  <a:close/>
                  <a:moveTo>
                    <a:pt x="583501" y="916582"/>
                  </a:moveTo>
                  <a:lnTo>
                    <a:pt x="523612" y="916582"/>
                  </a:lnTo>
                  <a:lnTo>
                    <a:pt x="523612" y="956331"/>
                  </a:lnTo>
                  <a:lnTo>
                    <a:pt x="583501" y="956331"/>
                  </a:lnTo>
                  <a:close/>
                  <a:moveTo>
                    <a:pt x="583501" y="979889"/>
                  </a:moveTo>
                  <a:lnTo>
                    <a:pt x="523612" y="979889"/>
                  </a:lnTo>
                  <a:lnTo>
                    <a:pt x="523612" y="1019633"/>
                  </a:lnTo>
                  <a:lnTo>
                    <a:pt x="583501" y="1019633"/>
                  </a:lnTo>
                  <a:close/>
                  <a:moveTo>
                    <a:pt x="583501" y="1043186"/>
                  </a:moveTo>
                  <a:lnTo>
                    <a:pt x="523612" y="1043186"/>
                  </a:lnTo>
                  <a:lnTo>
                    <a:pt x="523612" y="1082929"/>
                  </a:lnTo>
                  <a:lnTo>
                    <a:pt x="583501" y="1082929"/>
                  </a:lnTo>
                  <a:close/>
                  <a:moveTo>
                    <a:pt x="583501" y="1106488"/>
                  </a:moveTo>
                  <a:lnTo>
                    <a:pt x="523612" y="1106488"/>
                  </a:lnTo>
                  <a:lnTo>
                    <a:pt x="523612" y="1146232"/>
                  </a:lnTo>
                  <a:lnTo>
                    <a:pt x="583501" y="1146232"/>
                  </a:lnTo>
                  <a:close/>
                  <a:moveTo>
                    <a:pt x="583501" y="1169785"/>
                  </a:moveTo>
                  <a:lnTo>
                    <a:pt x="523612" y="1169785"/>
                  </a:lnTo>
                  <a:lnTo>
                    <a:pt x="523612" y="1209533"/>
                  </a:lnTo>
                  <a:lnTo>
                    <a:pt x="583501" y="1209533"/>
                  </a:lnTo>
                  <a:close/>
                  <a:moveTo>
                    <a:pt x="583501" y="1233087"/>
                  </a:moveTo>
                  <a:lnTo>
                    <a:pt x="523612" y="1233087"/>
                  </a:lnTo>
                  <a:lnTo>
                    <a:pt x="523612" y="1272830"/>
                  </a:lnTo>
                  <a:lnTo>
                    <a:pt x="583501" y="1272830"/>
                  </a:lnTo>
                  <a:close/>
                  <a:moveTo>
                    <a:pt x="583501" y="1296389"/>
                  </a:moveTo>
                  <a:lnTo>
                    <a:pt x="523612" y="1296389"/>
                  </a:lnTo>
                  <a:lnTo>
                    <a:pt x="523612" y="1336132"/>
                  </a:lnTo>
                  <a:lnTo>
                    <a:pt x="583501" y="1336132"/>
                  </a:lnTo>
                  <a:close/>
                  <a:moveTo>
                    <a:pt x="583501" y="1359691"/>
                  </a:moveTo>
                  <a:lnTo>
                    <a:pt x="523612" y="1359691"/>
                  </a:lnTo>
                  <a:lnTo>
                    <a:pt x="523612" y="1399435"/>
                  </a:lnTo>
                  <a:lnTo>
                    <a:pt x="583501" y="1399435"/>
                  </a:lnTo>
                  <a:close/>
                  <a:moveTo>
                    <a:pt x="583501" y="1422988"/>
                  </a:moveTo>
                  <a:lnTo>
                    <a:pt x="523612" y="1422988"/>
                  </a:lnTo>
                  <a:lnTo>
                    <a:pt x="523612" y="1462737"/>
                  </a:lnTo>
                  <a:lnTo>
                    <a:pt x="583501" y="1462737"/>
                  </a:lnTo>
                  <a:lnTo>
                    <a:pt x="583501" y="1422988"/>
                  </a:lnTo>
                </a:path>
              </a:pathLst>
            </a:custGeom>
            <a:grpFill/>
            <a:ln w="548" cap="flat">
              <a:noFill/>
              <a:prstDash val="solid"/>
              <a:miter/>
            </a:ln>
          </p:spPr>
          <p:txBody>
            <a:bodyPr/>
            <a:lstStyle/>
            <a:p>
              <a:endParaRPr lang="en-US"/>
            </a:p>
          </p:txBody>
        </p:sp>
        <p:sp>
          <p:nvSpPr>
            <p:cNvPr id="526" name="Freeform: Shape 525">
              <a:extLst>
                <a:ext uri="{FF2B5EF4-FFF2-40B4-BE49-F238E27FC236}">
                  <a16:creationId xmlns:a16="http://schemas.microsoft.com/office/drawing/2014/main" id="{19C749AA-D103-B4C1-D4DD-72022BF44FF8}"/>
                </a:ext>
              </a:extLst>
            </p:cNvPr>
            <p:cNvSpPr/>
            <p:nvPr/>
          </p:nvSpPr>
          <p:spPr>
            <a:xfrm flipV="1">
              <a:off x="17783183" y="3077437"/>
              <a:ext cx="674092" cy="229265"/>
            </a:xfrm>
            <a:custGeom>
              <a:avLst/>
              <a:gdLst>
                <a:gd name="csX0" fmla="*/ 463662 w 674092"/>
                <a:gd name="csY0" fmla="*/ 126656 h 229265"/>
                <a:gd name="csX1" fmla="*/ 442193 w 674092"/>
                <a:gd name="csY1" fmla="*/ 221110 h 229265"/>
                <a:gd name="csX2" fmla="*/ 229315 w 674092"/>
                <a:gd name="csY2" fmla="*/ 221110 h 229265"/>
                <a:gd name="csX3" fmla="*/ 207847 w 674092"/>
                <a:gd name="csY3" fmla="*/ 126656 h 229265"/>
                <a:gd name="csX4" fmla="*/ -1294 w 674092"/>
                <a:gd name="csY4" fmla="*/ 126656 h 229265"/>
                <a:gd name="csX5" fmla="*/ -1294 w 674092"/>
                <a:gd name="csY5" fmla="*/ -8156 h 229265"/>
                <a:gd name="csX6" fmla="*/ 10441 w 674092"/>
                <a:gd name="csY6" fmla="*/ -8156 h 229265"/>
                <a:gd name="csX7" fmla="*/ 10441 w 674092"/>
                <a:gd name="csY7" fmla="*/ 7086 h 229265"/>
                <a:gd name="csX8" fmla="*/ 228328 w 674092"/>
                <a:gd name="csY8" fmla="*/ 7086 h 229265"/>
                <a:gd name="csX9" fmla="*/ 228328 w 674092"/>
                <a:gd name="csY9" fmla="*/ 80708 h 229265"/>
                <a:gd name="csX10" fmla="*/ 443175 w 674092"/>
                <a:gd name="csY10" fmla="*/ 80708 h 229265"/>
                <a:gd name="csX11" fmla="*/ 443175 w 674092"/>
                <a:gd name="csY11" fmla="*/ 7086 h 229265"/>
                <a:gd name="csX12" fmla="*/ 661062 w 674092"/>
                <a:gd name="csY12" fmla="*/ 7086 h 229265"/>
                <a:gd name="csX13" fmla="*/ 661062 w 674092"/>
                <a:gd name="csY13" fmla="*/ -8156 h 229265"/>
                <a:gd name="csX14" fmla="*/ 672798 w 674092"/>
                <a:gd name="csY14" fmla="*/ -8156 h 229265"/>
                <a:gd name="csX15" fmla="*/ 672798 w 674092"/>
                <a:gd name="csY15" fmla="*/ 126656 h 229265"/>
                <a:gd name="csX16" fmla="*/ 463662 w 674092"/>
                <a:gd name="csY16" fmla="*/ 126656 h 22926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Lst>
              <a:rect l="l" t="t" r="r" b="b"/>
              <a:pathLst>
                <a:path w="674092" h="229265">
                  <a:moveTo>
                    <a:pt x="463662" y="126656"/>
                  </a:moveTo>
                  <a:lnTo>
                    <a:pt x="442193" y="221110"/>
                  </a:lnTo>
                  <a:lnTo>
                    <a:pt x="229315" y="221110"/>
                  </a:lnTo>
                  <a:lnTo>
                    <a:pt x="207847" y="126656"/>
                  </a:lnTo>
                  <a:lnTo>
                    <a:pt x="-1294" y="126656"/>
                  </a:lnTo>
                  <a:lnTo>
                    <a:pt x="-1294" y="-8156"/>
                  </a:lnTo>
                  <a:lnTo>
                    <a:pt x="10441" y="-8156"/>
                  </a:lnTo>
                  <a:lnTo>
                    <a:pt x="10441" y="7086"/>
                  </a:lnTo>
                  <a:lnTo>
                    <a:pt x="228328" y="7086"/>
                  </a:lnTo>
                  <a:lnTo>
                    <a:pt x="228328" y="80708"/>
                  </a:lnTo>
                  <a:lnTo>
                    <a:pt x="443175" y="80708"/>
                  </a:lnTo>
                  <a:lnTo>
                    <a:pt x="443175" y="7086"/>
                  </a:lnTo>
                  <a:lnTo>
                    <a:pt x="661062" y="7086"/>
                  </a:lnTo>
                  <a:lnTo>
                    <a:pt x="661062" y="-8156"/>
                  </a:lnTo>
                  <a:lnTo>
                    <a:pt x="672798" y="-8156"/>
                  </a:lnTo>
                  <a:lnTo>
                    <a:pt x="672798" y="126656"/>
                  </a:lnTo>
                  <a:lnTo>
                    <a:pt x="463662" y="126656"/>
                  </a:lnTo>
                </a:path>
              </a:pathLst>
            </a:custGeom>
            <a:grpFill/>
            <a:ln w="548" cap="flat">
              <a:noFill/>
              <a:prstDash val="solid"/>
              <a:miter/>
            </a:ln>
          </p:spPr>
          <p:txBody>
            <a:bodyPr/>
            <a:lstStyle/>
            <a:p>
              <a:endParaRPr lang="en-US"/>
            </a:p>
          </p:txBody>
        </p:sp>
        <p:sp>
          <p:nvSpPr>
            <p:cNvPr id="527" name="Freeform: Shape 526">
              <a:extLst>
                <a:ext uri="{FF2B5EF4-FFF2-40B4-BE49-F238E27FC236}">
                  <a16:creationId xmlns:a16="http://schemas.microsoft.com/office/drawing/2014/main" id="{B7B94BE4-747B-F5D3-DD44-99DD094C5F0A}"/>
                </a:ext>
              </a:extLst>
            </p:cNvPr>
            <p:cNvSpPr/>
            <p:nvPr/>
          </p:nvSpPr>
          <p:spPr>
            <a:xfrm flipV="1">
              <a:off x="18409609" y="4433330"/>
              <a:ext cx="1483248" cy="490281"/>
            </a:xfrm>
            <a:custGeom>
              <a:avLst/>
              <a:gdLst>
                <a:gd name="csX0" fmla="*/ 1468469 w 1483248"/>
                <a:gd name="csY0" fmla="*/ 290863 h 490281"/>
                <a:gd name="csX1" fmla="*/ 1468469 w 1483248"/>
                <a:gd name="csY1" fmla="*/ 312727 h 490281"/>
                <a:gd name="csX2" fmla="*/ 1336867 w 1483248"/>
                <a:gd name="csY2" fmla="*/ 485702 h 490281"/>
                <a:gd name="csX3" fmla="*/ 141243 w 1483248"/>
                <a:gd name="csY3" fmla="*/ 485702 h 490281"/>
                <a:gd name="csX4" fmla="*/ 9630 w 1483248"/>
                <a:gd name="csY4" fmla="*/ 312727 h 490281"/>
                <a:gd name="csX5" fmla="*/ 9630 w 1483248"/>
                <a:gd name="csY5" fmla="*/ 290863 h 490281"/>
                <a:gd name="csX6" fmla="*/ -2572 w 1483248"/>
                <a:gd name="csY6" fmla="*/ 290863 h 490281"/>
                <a:gd name="csX7" fmla="*/ -2572 w 1483248"/>
                <a:gd name="csY7" fmla="*/ 279276 h 490281"/>
                <a:gd name="csX8" fmla="*/ 9630 w 1483248"/>
                <a:gd name="csY8" fmla="*/ 279276 h 490281"/>
                <a:gd name="csX9" fmla="*/ 9630 w 1483248"/>
                <a:gd name="csY9" fmla="*/ 184257 h 490281"/>
                <a:gd name="csX10" fmla="*/ 9630 w 1483248"/>
                <a:gd name="csY10" fmla="*/ 169581 h 490281"/>
                <a:gd name="csX11" fmla="*/ 9630 w 1483248"/>
                <a:gd name="csY11" fmla="*/ 13531 h 490281"/>
                <a:gd name="csX12" fmla="*/ 9630 w 1483248"/>
                <a:gd name="csY12" fmla="*/ 11446 h 490281"/>
                <a:gd name="csX13" fmla="*/ 9630 w 1483248"/>
                <a:gd name="csY13" fmla="*/ -1150 h 490281"/>
                <a:gd name="csX14" fmla="*/ 96649 w 1483248"/>
                <a:gd name="csY14" fmla="*/ -1150 h 490281"/>
                <a:gd name="csX15" fmla="*/ 196941 w 1483248"/>
                <a:gd name="csY15" fmla="*/ -1150 h 490281"/>
                <a:gd name="csX16" fmla="*/ 196941 w 1483248"/>
                <a:gd name="csY16" fmla="*/ -1523 h 490281"/>
                <a:gd name="csX17" fmla="*/ 249314 w 1483248"/>
                <a:gd name="csY17" fmla="*/ -1523 h 490281"/>
                <a:gd name="csX18" fmla="*/ 301682 w 1483248"/>
                <a:gd name="csY18" fmla="*/ -1523 h 490281"/>
                <a:gd name="csX19" fmla="*/ 301682 w 1483248"/>
                <a:gd name="csY19" fmla="*/ -1150 h 490281"/>
                <a:gd name="csX20" fmla="*/ 394780 w 1483248"/>
                <a:gd name="csY20" fmla="*/ -1150 h 490281"/>
                <a:gd name="csX21" fmla="*/ 492340 w 1483248"/>
                <a:gd name="csY21" fmla="*/ -1150 h 490281"/>
                <a:gd name="csX22" fmla="*/ 613699 w 1483248"/>
                <a:gd name="csY22" fmla="*/ -1150 h 490281"/>
                <a:gd name="csX23" fmla="*/ 631513 w 1483248"/>
                <a:gd name="csY23" fmla="*/ -1150 h 490281"/>
                <a:gd name="csX24" fmla="*/ 649333 w 1483248"/>
                <a:gd name="csY24" fmla="*/ -1150 h 490281"/>
                <a:gd name="csX25" fmla="*/ 667142 w 1483248"/>
                <a:gd name="csY25" fmla="*/ -1150 h 490281"/>
                <a:gd name="csX26" fmla="*/ 714484 w 1483248"/>
                <a:gd name="csY26" fmla="*/ -1150 h 490281"/>
                <a:gd name="csX27" fmla="*/ 717913 w 1483248"/>
                <a:gd name="csY27" fmla="*/ -4579 h 490281"/>
                <a:gd name="csX28" fmla="*/ 721342 w 1483248"/>
                <a:gd name="csY28" fmla="*/ -1150 h 490281"/>
                <a:gd name="csX29" fmla="*/ 768689 w 1483248"/>
                <a:gd name="csY29" fmla="*/ -1150 h 490281"/>
                <a:gd name="csX30" fmla="*/ 786498 w 1483248"/>
                <a:gd name="csY30" fmla="*/ -1150 h 490281"/>
                <a:gd name="csX31" fmla="*/ 804313 w 1483248"/>
                <a:gd name="csY31" fmla="*/ -1150 h 490281"/>
                <a:gd name="csX32" fmla="*/ 822127 w 1483248"/>
                <a:gd name="csY32" fmla="*/ -1150 h 490281"/>
                <a:gd name="csX33" fmla="*/ 985764 w 1483248"/>
                <a:gd name="csY33" fmla="*/ -1150 h 490281"/>
                <a:gd name="csX34" fmla="*/ 1083324 w 1483248"/>
                <a:gd name="csY34" fmla="*/ -1150 h 490281"/>
                <a:gd name="csX35" fmla="*/ 1187686 w 1483248"/>
                <a:gd name="csY35" fmla="*/ -1150 h 490281"/>
                <a:gd name="csX36" fmla="*/ 1187686 w 1483248"/>
                <a:gd name="csY36" fmla="*/ -1523 h 490281"/>
                <a:gd name="csX37" fmla="*/ 1240054 w 1483248"/>
                <a:gd name="csY37" fmla="*/ -1523 h 490281"/>
                <a:gd name="csX38" fmla="*/ 1292427 w 1483248"/>
                <a:gd name="csY38" fmla="*/ -1523 h 490281"/>
                <a:gd name="csX39" fmla="*/ 1292427 w 1483248"/>
                <a:gd name="csY39" fmla="*/ -1150 h 490281"/>
                <a:gd name="csX40" fmla="*/ 1381455 w 1483248"/>
                <a:gd name="csY40" fmla="*/ -1150 h 490281"/>
                <a:gd name="csX41" fmla="*/ 1468469 w 1483248"/>
                <a:gd name="csY41" fmla="*/ -1150 h 490281"/>
                <a:gd name="csX42" fmla="*/ 1468469 w 1483248"/>
                <a:gd name="csY42" fmla="*/ 11446 h 490281"/>
                <a:gd name="csX43" fmla="*/ 1468469 w 1483248"/>
                <a:gd name="csY43" fmla="*/ 13531 h 490281"/>
                <a:gd name="csX44" fmla="*/ 1468469 w 1483248"/>
                <a:gd name="csY44" fmla="*/ 169581 h 490281"/>
                <a:gd name="csX45" fmla="*/ 1468469 w 1483248"/>
                <a:gd name="csY45" fmla="*/ 184257 h 490281"/>
                <a:gd name="csX46" fmla="*/ 1468469 w 1483248"/>
                <a:gd name="csY46" fmla="*/ 279276 h 490281"/>
                <a:gd name="csX47" fmla="*/ 1480676 w 1483248"/>
                <a:gd name="csY47" fmla="*/ 279276 h 490281"/>
                <a:gd name="csX48" fmla="*/ 1480676 w 1483248"/>
                <a:gd name="csY48" fmla="*/ 290863 h 490281"/>
                <a:gd name="csX49" fmla="*/ 301682 w 1483248"/>
                <a:gd name="csY49" fmla="*/ 11446 h 490281"/>
                <a:gd name="csX50" fmla="*/ 301682 w 1483248"/>
                <a:gd name="csY50" fmla="*/ 142116 h 490281"/>
                <a:gd name="csX51" fmla="*/ 288591 w 1483248"/>
                <a:gd name="csY51" fmla="*/ 158120 h 490281"/>
                <a:gd name="csX52" fmla="*/ 288591 w 1483248"/>
                <a:gd name="csY52" fmla="*/ 169581 h 490281"/>
                <a:gd name="csX53" fmla="*/ 249314 w 1483248"/>
                <a:gd name="csY53" fmla="*/ 169581 h 490281"/>
                <a:gd name="csX54" fmla="*/ 210037 w 1483248"/>
                <a:gd name="csY54" fmla="*/ 169581 h 490281"/>
                <a:gd name="csX55" fmla="*/ 210037 w 1483248"/>
                <a:gd name="csY55" fmla="*/ 158120 h 490281"/>
                <a:gd name="csX56" fmla="*/ 196941 w 1483248"/>
                <a:gd name="csY56" fmla="*/ 142116 h 490281"/>
                <a:gd name="csX57" fmla="*/ 196941 w 1483248"/>
                <a:gd name="csY57" fmla="*/ 11446 h 490281"/>
                <a:gd name="csX58" fmla="*/ 90537 w 1483248"/>
                <a:gd name="csY58" fmla="*/ 11446 h 490281"/>
                <a:gd name="csX59" fmla="*/ 89523 w 1483248"/>
                <a:gd name="csY59" fmla="*/ 13531 h 490281"/>
                <a:gd name="csX60" fmla="*/ 86110 w 1483248"/>
                <a:gd name="csY60" fmla="*/ 13531 h 490281"/>
                <a:gd name="csX61" fmla="*/ 86110 w 1483248"/>
                <a:gd name="csY61" fmla="*/ 169581 h 490281"/>
                <a:gd name="csX62" fmla="*/ 89523 w 1483248"/>
                <a:gd name="csY62" fmla="*/ 169581 h 490281"/>
                <a:gd name="csX63" fmla="*/ 96649 w 1483248"/>
                <a:gd name="csY63" fmla="*/ 184257 h 490281"/>
                <a:gd name="csX64" fmla="*/ 86110 w 1483248"/>
                <a:gd name="csY64" fmla="*/ 184257 h 490281"/>
                <a:gd name="csX65" fmla="*/ 86110 w 1483248"/>
                <a:gd name="csY65" fmla="*/ 279276 h 490281"/>
                <a:gd name="csX66" fmla="*/ 405320 w 1483248"/>
                <a:gd name="csY66" fmla="*/ 279276 h 490281"/>
                <a:gd name="csX67" fmla="*/ 405320 w 1483248"/>
                <a:gd name="csY67" fmla="*/ 184257 h 490281"/>
                <a:gd name="csX68" fmla="*/ 394780 w 1483248"/>
                <a:gd name="csY68" fmla="*/ 184257 h 490281"/>
                <a:gd name="csX69" fmla="*/ 401907 w 1483248"/>
                <a:gd name="csY69" fmla="*/ 169581 h 490281"/>
                <a:gd name="csX70" fmla="*/ 405320 w 1483248"/>
                <a:gd name="csY70" fmla="*/ 169581 h 490281"/>
                <a:gd name="csX71" fmla="*/ 405320 w 1483248"/>
                <a:gd name="csY71" fmla="*/ 13531 h 490281"/>
                <a:gd name="csX72" fmla="*/ 401907 w 1483248"/>
                <a:gd name="csY72" fmla="*/ 13531 h 490281"/>
                <a:gd name="csX73" fmla="*/ 400892 w 1483248"/>
                <a:gd name="csY73" fmla="*/ 11446 h 490281"/>
                <a:gd name="csX74" fmla="*/ 453820 w 1483248"/>
                <a:gd name="csY74" fmla="*/ 249935 h 490281"/>
                <a:gd name="csX75" fmla="*/ 433295 w 1483248"/>
                <a:gd name="csY75" fmla="*/ 249935 h 490281"/>
                <a:gd name="csX76" fmla="*/ 433295 w 1483248"/>
                <a:gd name="csY76" fmla="*/ 264600 h 490281"/>
                <a:gd name="csX77" fmla="*/ 453820 w 1483248"/>
                <a:gd name="csY77" fmla="*/ 264600 h 490281"/>
                <a:gd name="csX78" fmla="*/ 486228 w 1483248"/>
                <a:gd name="csY78" fmla="*/ 11446 h 490281"/>
                <a:gd name="csX79" fmla="*/ 485213 w 1483248"/>
                <a:gd name="csY79" fmla="*/ 13531 h 490281"/>
                <a:gd name="csX80" fmla="*/ 481800 w 1483248"/>
                <a:gd name="csY80" fmla="*/ 13531 h 490281"/>
                <a:gd name="csX81" fmla="*/ 481800 w 1483248"/>
                <a:gd name="csY81" fmla="*/ 169581 h 490281"/>
                <a:gd name="csX82" fmla="*/ 485213 w 1483248"/>
                <a:gd name="csY82" fmla="*/ 169581 h 490281"/>
                <a:gd name="csX83" fmla="*/ 492340 w 1483248"/>
                <a:gd name="csY83" fmla="*/ 184257 h 490281"/>
                <a:gd name="csX84" fmla="*/ 481800 w 1483248"/>
                <a:gd name="csY84" fmla="*/ 184257 h 490281"/>
                <a:gd name="csX85" fmla="*/ 481800 w 1483248"/>
                <a:gd name="csY85" fmla="*/ 279276 h 490281"/>
                <a:gd name="csX86" fmla="*/ 654611 w 1483248"/>
                <a:gd name="csY86" fmla="*/ 279276 h 490281"/>
                <a:gd name="csX87" fmla="*/ 613699 w 1483248"/>
                <a:gd name="csY87" fmla="*/ 174261 h 490281"/>
                <a:gd name="csX88" fmla="*/ 613699 w 1483248"/>
                <a:gd name="csY88" fmla="*/ 11446 h 490281"/>
                <a:gd name="csX89" fmla="*/ 667142 w 1483248"/>
                <a:gd name="csY89" fmla="*/ 175956 h 490281"/>
                <a:gd name="csX90" fmla="*/ 667136 w 1483248"/>
                <a:gd name="csY90" fmla="*/ 175956 h 490281"/>
                <a:gd name="csX91" fmla="*/ 717913 w 1483248"/>
                <a:gd name="csY91" fmla="*/ 257270 h 490281"/>
                <a:gd name="csX92" fmla="*/ 768689 w 1483248"/>
                <a:gd name="csY92" fmla="*/ 175956 h 490281"/>
                <a:gd name="csX93" fmla="*/ 667142 w 1483248"/>
                <a:gd name="csY93" fmla="*/ 11446 h 490281"/>
                <a:gd name="csX94" fmla="*/ 667142 w 1483248"/>
                <a:gd name="csY94" fmla="*/ 169098 h 490281"/>
                <a:gd name="csX95" fmla="*/ 714484 w 1483248"/>
                <a:gd name="csY95" fmla="*/ 169098 h 490281"/>
                <a:gd name="csX96" fmla="*/ 714484 w 1483248"/>
                <a:gd name="csY96" fmla="*/ 11446 h 490281"/>
                <a:gd name="csX97" fmla="*/ 721342 w 1483248"/>
                <a:gd name="csY97" fmla="*/ 11446 h 490281"/>
                <a:gd name="csX98" fmla="*/ 721342 w 1483248"/>
                <a:gd name="csY98" fmla="*/ 169098 h 490281"/>
                <a:gd name="csX99" fmla="*/ 768689 w 1483248"/>
                <a:gd name="csY99" fmla="*/ 169098 h 490281"/>
                <a:gd name="csX100" fmla="*/ 768689 w 1483248"/>
                <a:gd name="csY100" fmla="*/ 11446 h 490281"/>
                <a:gd name="csX101" fmla="*/ 786498 w 1483248"/>
                <a:gd name="csY101" fmla="*/ 11446 h 490281"/>
                <a:gd name="csX102" fmla="*/ 786498 w 1483248"/>
                <a:gd name="csY102" fmla="*/ 174546 h 490281"/>
                <a:gd name="csX103" fmla="*/ 724145 w 1483248"/>
                <a:gd name="csY103" fmla="*/ 273960 h 490281"/>
                <a:gd name="csX104" fmla="*/ 717913 w 1483248"/>
                <a:gd name="csY104" fmla="*/ 276280 h 490281"/>
                <a:gd name="csX105" fmla="*/ 711686 w 1483248"/>
                <a:gd name="csY105" fmla="*/ 273960 h 490281"/>
                <a:gd name="csX106" fmla="*/ 649333 w 1483248"/>
                <a:gd name="csY106" fmla="*/ 174546 h 490281"/>
                <a:gd name="csX107" fmla="*/ 649333 w 1483248"/>
                <a:gd name="csY107" fmla="*/ 11446 h 490281"/>
                <a:gd name="csX108" fmla="*/ 631513 w 1483248"/>
                <a:gd name="csY108" fmla="*/ 11446 h 490281"/>
                <a:gd name="csX109" fmla="*/ 631513 w 1483248"/>
                <a:gd name="csY109" fmla="*/ 174393 h 490281"/>
                <a:gd name="csX110" fmla="*/ 682893 w 1483248"/>
                <a:gd name="csY110" fmla="*/ 279276 h 490281"/>
                <a:gd name="csX111" fmla="*/ 752938 w 1483248"/>
                <a:gd name="csY111" fmla="*/ 279276 h 490281"/>
                <a:gd name="csX112" fmla="*/ 804313 w 1483248"/>
                <a:gd name="csY112" fmla="*/ 174393 h 490281"/>
                <a:gd name="csX113" fmla="*/ 804313 w 1483248"/>
                <a:gd name="csY113" fmla="*/ 11446 h 490281"/>
                <a:gd name="csX114" fmla="*/ 822127 w 1483248"/>
                <a:gd name="csY114" fmla="*/ 11446 h 490281"/>
                <a:gd name="csX115" fmla="*/ 822127 w 1483248"/>
                <a:gd name="csY115" fmla="*/ 174261 h 490281"/>
                <a:gd name="csX116" fmla="*/ 781220 w 1483248"/>
                <a:gd name="csY116" fmla="*/ 279276 h 490281"/>
                <a:gd name="csX117" fmla="*/ 996304 w 1483248"/>
                <a:gd name="csY117" fmla="*/ 279276 h 490281"/>
                <a:gd name="csX118" fmla="*/ 996304 w 1483248"/>
                <a:gd name="csY118" fmla="*/ 184257 h 490281"/>
                <a:gd name="csX119" fmla="*/ 985764 w 1483248"/>
                <a:gd name="csY119" fmla="*/ 184257 h 490281"/>
                <a:gd name="csX120" fmla="*/ 992891 w 1483248"/>
                <a:gd name="csY120" fmla="*/ 169581 h 490281"/>
                <a:gd name="csX121" fmla="*/ 996304 w 1483248"/>
                <a:gd name="csY121" fmla="*/ 169581 h 490281"/>
                <a:gd name="csX122" fmla="*/ 996304 w 1483248"/>
                <a:gd name="csY122" fmla="*/ 13531 h 490281"/>
                <a:gd name="csX123" fmla="*/ 992891 w 1483248"/>
                <a:gd name="csY123" fmla="*/ 13531 h 490281"/>
                <a:gd name="csX124" fmla="*/ 991882 w 1483248"/>
                <a:gd name="csY124" fmla="*/ 11446 h 490281"/>
                <a:gd name="csX125" fmla="*/ 1044809 w 1483248"/>
                <a:gd name="csY125" fmla="*/ 249935 h 490281"/>
                <a:gd name="csX126" fmla="*/ 1024279 w 1483248"/>
                <a:gd name="csY126" fmla="*/ 249935 h 490281"/>
                <a:gd name="csX127" fmla="*/ 1024279 w 1483248"/>
                <a:gd name="csY127" fmla="*/ 264600 h 490281"/>
                <a:gd name="csX128" fmla="*/ 1044809 w 1483248"/>
                <a:gd name="csY128" fmla="*/ 264600 h 490281"/>
                <a:gd name="csX129" fmla="*/ 1391994 w 1483248"/>
                <a:gd name="csY129" fmla="*/ 184257 h 490281"/>
                <a:gd name="csX130" fmla="*/ 1381455 w 1483248"/>
                <a:gd name="csY130" fmla="*/ 184257 h 490281"/>
                <a:gd name="csX131" fmla="*/ 1388576 w 1483248"/>
                <a:gd name="csY131" fmla="*/ 169581 h 490281"/>
                <a:gd name="csX132" fmla="*/ 1391994 w 1483248"/>
                <a:gd name="csY132" fmla="*/ 169581 h 490281"/>
                <a:gd name="csX133" fmla="*/ 1391994 w 1483248"/>
                <a:gd name="csY133" fmla="*/ 13531 h 490281"/>
                <a:gd name="csX134" fmla="*/ 1388576 w 1483248"/>
                <a:gd name="csY134" fmla="*/ 13531 h 490281"/>
                <a:gd name="csX135" fmla="*/ 1387566 w 1483248"/>
                <a:gd name="csY135" fmla="*/ 11446 h 490281"/>
                <a:gd name="csX136" fmla="*/ 1292427 w 1483248"/>
                <a:gd name="csY136" fmla="*/ 11446 h 490281"/>
                <a:gd name="csX137" fmla="*/ 1292427 w 1483248"/>
                <a:gd name="csY137" fmla="*/ 142116 h 490281"/>
                <a:gd name="csX138" fmla="*/ 1279331 w 1483248"/>
                <a:gd name="csY138" fmla="*/ 158120 h 490281"/>
                <a:gd name="csX139" fmla="*/ 1279331 w 1483248"/>
                <a:gd name="csY139" fmla="*/ 169581 h 490281"/>
                <a:gd name="csX140" fmla="*/ 1240054 w 1483248"/>
                <a:gd name="csY140" fmla="*/ 169581 h 490281"/>
                <a:gd name="csX141" fmla="*/ 1200776 w 1483248"/>
                <a:gd name="csY141" fmla="*/ 169581 h 490281"/>
                <a:gd name="csX142" fmla="*/ 1200776 w 1483248"/>
                <a:gd name="csY142" fmla="*/ 158120 h 490281"/>
                <a:gd name="csX143" fmla="*/ 1187686 w 1483248"/>
                <a:gd name="csY143" fmla="*/ 142116 h 490281"/>
                <a:gd name="csX144" fmla="*/ 1187686 w 1483248"/>
                <a:gd name="csY144" fmla="*/ 11446 h 490281"/>
                <a:gd name="csX145" fmla="*/ 1077212 w 1483248"/>
                <a:gd name="csY145" fmla="*/ 11446 h 490281"/>
                <a:gd name="csX146" fmla="*/ 1076197 w 1483248"/>
                <a:gd name="csY146" fmla="*/ 13531 h 490281"/>
                <a:gd name="csX147" fmla="*/ 1072784 w 1483248"/>
                <a:gd name="csY147" fmla="*/ 13531 h 490281"/>
                <a:gd name="csX148" fmla="*/ 1072784 w 1483248"/>
                <a:gd name="csY148" fmla="*/ 169581 h 490281"/>
                <a:gd name="csX149" fmla="*/ 1076197 w 1483248"/>
                <a:gd name="csY149" fmla="*/ 169581 h 490281"/>
                <a:gd name="csX150" fmla="*/ 1083324 w 1483248"/>
                <a:gd name="csY150" fmla="*/ 184257 h 490281"/>
                <a:gd name="csX151" fmla="*/ 1072784 w 1483248"/>
                <a:gd name="csY151" fmla="*/ 184257 h 490281"/>
                <a:gd name="csX152" fmla="*/ 1072784 w 1483248"/>
                <a:gd name="csY152" fmla="*/ 279276 h 490281"/>
                <a:gd name="csX153" fmla="*/ 1391994 w 1483248"/>
                <a:gd name="csY153" fmla="*/ 279276 h 490281"/>
                <a:gd name="csX154" fmla="*/ 1391994 w 1483248"/>
                <a:gd name="csY154" fmla="*/ 184257 h 490281"/>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 ang="0">
                  <a:pos x="csX97" y="csY97"/>
                </a:cxn>
                <a:cxn ang="0">
                  <a:pos x="csX98" y="csY98"/>
                </a:cxn>
                <a:cxn ang="0">
                  <a:pos x="csX99" y="csY99"/>
                </a:cxn>
                <a:cxn ang="0">
                  <a:pos x="csX100" y="csY100"/>
                </a:cxn>
                <a:cxn ang="0">
                  <a:pos x="csX101" y="csY101"/>
                </a:cxn>
                <a:cxn ang="0">
                  <a:pos x="csX102" y="csY102"/>
                </a:cxn>
                <a:cxn ang="0">
                  <a:pos x="csX103" y="csY103"/>
                </a:cxn>
                <a:cxn ang="0">
                  <a:pos x="csX104" y="csY104"/>
                </a:cxn>
                <a:cxn ang="0">
                  <a:pos x="csX105" y="csY105"/>
                </a:cxn>
                <a:cxn ang="0">
                  <a:pos x="csX106" y="csY106"/>
                </a:cxn>
                <a:cxn ang="0">
                  <a:pos x="csX107" y="csY107"/>
                </a:cxn>
                <a:cxn ang="0">
                  <a:pos x="csX108" y="csY108"/>
                </a:cxn>
                <a:cxn ang="0">
                  <a:pos x="csX109" y="csY109"/>
                </a:cxn>
                <a:cxn ang="0">
                  <a:pos x="csX110" y="csY110"/>
                </a:cxn>
                <a:cxn ang="0">
                  <a:pos x="csX111" y="csY111"/>
                </a:cxn>
                <a:cxn ang="0">
                  <a:pos x="csX112" y="csY112"/>
                </a:cxn>
                <a:cxn ang="0">
                  <a:pos x="csX113" y="csY113"/>
                </a:cxn>
                <a:cxn ang="0">
                  <a:pos x="csX114" y="csY114"/>
                </a:cxn>
                <a:cxn ang="0">
                  <a:pos x="csX115" y="csY115"/>
                </a:cxn>
                <a:cxn ang="0">
                  <a:pos x="csX116" y="csY116"/>
                </a:cxn>
                <a:cxn ang="0">
                  <a:pos x="csX117" y="csY117"/>
                </a:cxn>
                <a:cxn ang="0">
                  <a:pos x="csX118" y="csY118"/>
                </a:cxn>
                <a:cxn ang="0">
                  <a:pos x="csX119" y="csY119"/>
                </a:cxn>
                <a:cxn ang="0">
                  <a:pos x="csX120" y="csY120"/>
                </a:cxn>
                <a:cxn ang="0">
                  <a:pos x="csX121" y="csY121"/>
                </a:cxn>
                <a:cxn ang="0">
                  <a:pos x="csX122" y="csY122"/>
                </a:cxn>
                <a:cxn ang="0">
                  <a:pos x="csX123" y="csY123"/>
                </a:cxn>
                <a:cxn ang="0">
                  <a:pos x="csX124" y="csY124"/>
                </a:cxn>
                <a:cxn ang="0">
                  <a:pos x="csX125" y="csY125"/>
                </a:cxn>
                <a:cxn ang="0">
                  <a:pos x="csX126" y="csY126"/>
                </a:cxn>
                <a:cxn ang="0">
                  <a:pos x="csX127" y="csY127"/>
                </a:cxn>
                <a:cxn ang="0">
                  <a:pos x="csX128" y="csY128"/>
                </a:cxn>
                <a:cxn ang="0">
                  <a:pos x="csX129" y="csY129"/>
                </a:cxn>
                <a:cxn ang="0">
                  <a:pos x="csX130" y="csY130"/>
                </a:cxn>
                <a:cxn ang="0">
                  <a:pos x="csX131" y="csY131"/>
                </a:cxn>
                <a:cxn ang="0">
                  <a:pos x="csX132" y="csY132"/>
                </a:cxn>
                <a:cxn ang="0">
                  <a:pos x="csX133" y="csY133"/>
                </a:cxn>
                <a:cxn ang="0">
                  <a:pos x="csX134" y="csY134"/>
                </a:cxn>
                <a:cxn ang="0">
                  <a:pos x="csX135" y="csY135"/>
                </a:cxn>
                <a:cxn ang="0">
                  <a:pos x="csX136" y="csY136"/>
                </a:cxn>
                <a:cxn ang="0">
                  <a:pos x="csX137" y="csY137"/>
                </a:cxn>
                <a:cxn ang="0">
                  <a:pos x="csX138" y="csY138"/>
                </a:cxn>
                <a:cxn ang="0">
                  <a:pos x="csX139" y="csY139"/>
                </a:cxn>
                <a:cxn ang="0">
                  <a:pos x="csX140" y="csY140"/>
                </a:cxn>
                <a:cxn ang="0">
                  <a:pos x="csX141" y="csY141"/>
                </a:cxn>
                <a:cxn ang="0">
                  <a:pos x="csX142" y="csY142"/>
                </a:cxn>
                <a:cxn ang="0">
                  <a:pos x="csX143" y="csY143"/>
                </a:cxn>
                <a:cxn ang="0">
                  <a:pos x="csX144" y="csY144"/>
                </a:cxn>
                <a:cxn ang="0">
                  <a:pos x="csX145" y="csY145"/>
                </a:cxn>
                <a:cxn ang="0">
                  <a:pos x="csX146" y="csY146"/>
                </a:cxn>
                <a:cxn ang="0">
                  <a:pos x="csX147" y="csY147"/>
                </a:cxn>
                <a:cxn ang="0">
                  <a:pos x="csX148" y="csY148"/>
                </a:cxn>
                <a:cxn ang="0">
                  <a:pos x="csX149" y="csY149"/>
                </a:cxn>
                <a:cxn ang="0">
                  <a:pos x="csX150" y="csY150"/>
                </a:cxn>
                <a:cxn ang="0">
                  <a:pos x="csX151" y="csY151"/>
                </a:cxn>
                <a:cxn ang="0">
                  <a:pos x="csX152" y="csY152"/>
                </a:cxn>
                <a:cxn ang="0">
                  <a:pos x="csX153" y="csY153"/>
                </a:cxn>
                <a:cxn ang="0">
                  <a:pos x="csX154" y="csY154"/>
                </a:cxn>
              </a:cxnLst>
              <a:rect l="l" t="t" r="r" b="b"/>
              <a:pathLst>
                <a:path w="1483248" h="490281">
                  <a:moveTo>
                    <a:pt x="1468469" y="290863"/>
                  </a:moveTo>
                  <a:lnTo>
                    <a:pt x="1468469" y="312727"/>
                  </a:lnTo>
                  <a:lnTo>
                    <a:pt x="1336867" y="485702"/>
                  </a:lnTo>
                  <a:lnTo>
                    <a:pt x="141243" y="485702"/>
                  </a:lnTo>
                  <a:lnTo>
                    <a:pt x="9630" y="312727"/>
                  </a:lnTo>
                  <a:lnTo>
                    <a:pt x="9630" y="290863"/>
                  </a:lnTo>
                  <a:lnTo>
                    <a:pt x="-2572" y="290863"/>
                  </a:lnTo>
                  <a:lnTo>
                    <a:pt x="-2572" y="279276"/>
                  </a:lnTo>
                  <a:lnTo>
                    <a:pt x="9630" y="279276"/>
                  </a:lnTo>
                  <a:lnTo>
                    <a:pt x="9630" y="184257"/>
                  </a:lnTo>
                  <a:lnTo>
                    <a:pt x="9630" y="169581"/>
                  </a:lnTo>
                  <a:lnTo>
                    <a:pt x="9630" y="13531"/>
                  </a:lnTo>
                  <a:lnTo>
                    <a:pt x="9630" y="11446"/>
                  </a:lnTo>
                  <a:lnTo>
                    <a:pt x="9630" y="-1150"/>
                  </a:lnTo>
                  <a:lnTo>
                    <a:pt x="96649" y="-1150"/>
                  </a:lnTo>
                  <a:lnTo>
                    <a:pt x="196941" y="-1150"/>
                  </a:lnTo>
                  <a:cubicBezTo>
                    <a:pt x="196941" y="-1397"/>
                    <a:pt x="196941" y="-1523"/>
                    <a:pt x="196941" y="-1523"/>
                  </a:cubicBezTo>
                  <a:lnTo>
                    <a:pt x="249314" y="-1523"/>
                  </a:lnTo>
                  <a:lnTo>
                    <a:pt x="301682" y="-1523"/>
                  </a:lnTo>
                  <a:cubicBezTo>
                    <a:pt x="301682" y="-1523"/>
                    <a:pt x="301682" y="-1397"/>
                    <a:pt x="301682" y="-1150"/>
                  </a:cubicBezTo>
                  <a:lnTo>
                    <a:pt x="394780" y="-1150"/>
                  </a:lnTo>
                  <a:lnTo>
                    <a:pt x="492340" y="-1150"/>
                  </a:lnTo>
                  <a:lnTo>
                    <a:pt x="613699" y="-1150"/>
                  </a:lnTo>
                  <a:lnTo>
                    <a:pt x="631513" y="-1150"/>
                  </a:lnTo>
                  <a:lnTo>
                    <a:pt x="649333" y="-1150"/>
                  </a:lnTo>
                  <a:lnTo>
                    <a:pt x="667142" y="-1150"/>
                  </a:lnTo>
                  <a:lnTo>
                    <a:pt x="714484" y="-1150"/>
                  </a:lnTo>
                  <a:cubicBezTo>
                    <a:pt x="714484" y="-3043"/>
                    <a:pt x="716020" y="-4579"/>
                    <a:pt x="717913" y="-4579"/>
                  </a:cubicBezTo>
                  <a:cubicBezTo>
                    <a:pt x="719811" y="-4579"/>
                    <a:pt x="721342" y="-3043"/>
                    <a:pt x="721342" y="-1150"/>
                  </a:cubicBezTo>
                  <a:lnTo>
                    <a:pt x="768689" y="-1150"/>
                  </a:lnTo>
                  <a:lnTo>
                    <a:pt x="786498" y="-1150"/>
                  </a:lnTo>
                  <a:lnTo>
                    <a:pt x="804313" y="-1150"/>
                  </a:lnTo>
                  <a:lnTo>
                    <a:pt x="822127" y="-1150"/>
                  </a:lnTo>
                  <a:lnTo>
                    <a:pt x="985764" y="-1150"/>
                  </a:lnTo>
                  <a:lnTo>
                    <a:pt x="1083324" y="-1150"/>
                  </a:lnTo>
                  <a:lnTo>
                    <a:pt x="1187686" y="-1150"/>
                  </a:lnTo>
                  <a:cubicBezTo>
                    <a:pt x="1187686" y="-1397"/>
                    <a:pt x="1187686" y="-1523"/>
                    <a:pt x="1187686" y="-1523"/>
                  </a:cubicBezTo>
                  <a:lnTo>
                    <a:pt x="1240054" y="-1523"/>
                  </a:lnTo>
                  <a:lnTo>
                    <a:pt x="1292427" y="-1523"/>
                  </a:lnTo>
                  <a:cubicBezTo>
                    <a:pt x="1292427" y="-1523"/>
                    <a:pt x="1292427" y="-1397"/>
                    <a:pt x="1292427" y="-1150"/>
                  </a:cubicBezTo>
                  <a:lnTo>
                    <a:pt x="1381455" y="-1150"/>
                  </a:lnTo>
                  <a:lnTo>
                    <a:pt x="1468469" y="-1150"/>
                  </a:lnTo>
                  <a:lnTo>
                    <a:pt x="1468469" y="11446"/>
                  </a:lnTo>
                  <a:lnTo>
                    <a:pt x="1468469" y="13531"/>
                  </a:lnTo>
                  <a:lnTo>
                    <a:pt x="1468469" y="169581"/>
                  </a:lnTo>
                  <a:lnTo>
                    <a:pt x="1468469" y="184257"/>
                  </a:lnTo>
                  <a:lnTo>
                    <a:pt x="1468469" y="279276"/>
                  </a:lnTo>
                  <a:lnTo>
                    <a:pt x="1480676" y="279276"/>
                  </a:lnTo>
                  <a:lnTo>
                    <a:pt x="1480676" y="290863"/>
                  </a:lnTo>
                  <a:close/>
                  <a:moveTo>
                    <a:pt x="301682" y="11446"/>
                  </a:moveTo>
                  <a:cubicBezTo>
                    <a:pt x="301682" y="44541"/>
                    <a:pt x="301682" y="130408"/>
                    <a:pt x="301682" y="142116"/>
                  </a:cubicBezTo>
                  <a:cubicBezTo>
                    <a:pt x="301682" y="156666"/>
                    <a:pt x="288591" y="158120"/>
                    <a:pt x="288591" y="158120"/>
                  </a:cubicBezTo>
                  <a:lnTo>
                    <a:pt x="288591" y="169581"/>
                  </a:lnTo>
                  <a:lnTo>
                    <a:pt x="249314" y="169581"/>
                  </a:lnTo>
                  <a:lnTo>
                    <a:pt x="210037" y="169581"/>
                  </a:lnTo>
                  <a:lnTo>
                    <a:pt x="210037" y="158120"/>
                  </a:lnTo>
                  <a:cubicBezTo>
                    <a:pt x="210037" y="158120"/>
                    <a:pt x="196941" y="156666"/>
                    <a:pt x="196941" y="142116"/>
                  </a:cubicBezTo>
                  <a:cubicBezTo>
                    <a:pt x="196941" y="130408"/>
                    <a:pt x="196941" y="44541"/>
                    <a:pt x="196941" y="11446"/>
                  </a:cubicBezTo>
                  <a:lnTo>
                    <a:pt x="90537" y="11446"/>
                  </a:lnTo>
                  <a:lnTo>
                    <a:pt x="89523" y="13531"/>
                  </a:lnTo>
                  <a:lnTo>
                    <a:pt x="86110" y="13531"/>
                  </a:lnTo>
                  <a:lnTo>
                    <a:pt x="86110" y="169581"/>
                  </a:lnTo>
                  <a:lnTo>
                    <a:pt x="89523" y="169581"/>
                  </a:lnTo>
                  <a:lnTo>
                    <a:pt x="96649" y="184257"/>
                  </a:lnTo>
                  <a:lnTo>
                    <a:pt x="86110" y="184257"/>
                  </a:lnTo>
                  <a:lnTo>
                    <a:pt x="86110" y="279276"/>
                  </a:lnTo>
                  <a:lnTo>
                    <a:pt x="405320" y="279276"/>
                  </a:lnTo>
                  <a:lnTo>
                    <a:pt x="405320" y="184257"/>
                  </a:lnTo>
                  <a:lnTo>
                    <a:pt x="394780" y="184257"/>
                  </a:lnTo>
                  <a:lnTo>
                    <a:pt x="401907" y="169581"/>
                  </a:lnTo>
                  <a:lnTo>
                    <a:pt x="405320" y="169581"/>
                  </a:lnTo>
                  <a:lnTo>
                    <a:pt x="405320" y="13531"/>
                  </a:lnTo>
                  <a:lnTo>
                    <a:pt x="401907" y="13531"/>
                  </a:lnTo>
                  <a:lnTo>
                    <a:pt x="400892" y="11446"/>
                  </a:lnTo>
                  <a:close/>
                  <a:moveTo>
                    <a:pt x="453820" y="249935"/>
                  </a:moveTo>
                  <a:lnTo>
                    <a:pt x="433295" y="249935"/>
                  </a:lnTo>
                  <a:lnTo>
                    <a:pt x="433295" y="264600"/>
                  </a:lnTo>
                  <a:lnTo>
                    <a:pt x="453820" y="264600"/>
                  </a:lnTo>
                  <a:close/>
                  <a:moveTo>
                    <a:pt x="486228" y="11446"/>
                  </a:moveTo>
                  <a:lnTo>
                    <a:pt x="485213" y="13531"/>
                  </a:lnTo>
                  <a:lnTo>
                    <a:pt x="481800" y="13531"/>
                  </a:lnTo>
                  <a:lnTo>
                    <a:pt x="481800" y="169581"/>
                  </a:lnTo>
                  <a:lnTo>
                    <a:pt x="485213" y="169581"/>
                  </a:lnTo>
                  <a:lnTo>
                    <a:pt x="492340" y="184257"/>
                  </a:lnTo>
                  <a:lnTo>
                    <a:pt x="481800" y="184257"/>
                  </a:lnTo>
                  <a:lnTo>
                    <a:pt x="481800" y="279276"/>
                  </a:lnTo>
                  <a:lnTo>
                    <a:pt x="654611" y="279276"/>
                  </a:lnTo>
                  <a:cubicBezTo>
                    <a:pt x="615120" y="240646"/>
                    <a:pt x="613529" y="186347"/>
                    <a:pt x="613699" y="174261"/>
                  </a:cubicBezTo>
                  <a:lnTo>
                    <a:pt x="613699" y="11446"/>
                  </a:lnTo>
                  <a:close/>
                  <a:moveTo>
                    <a:pt x="667142" y="175956"/>
                  </a:moveTo>
                  <a:cubicBezTo>
                    <a:pt x="667142" y="175956"/>
                    <a:pt x="667142" y="175956"/>
                    <a:pt x="667136" y="175956"/>
                  </a:cubicBezTo>
                  <a:cubicBezTo>
                    <a:pt x="667191" y="184630"/>
                    <a:pt x="669479" y="239193"/>
                    <a:pt x="717913" y="257270"/>
                  </a:cubicBezTo>
                  <a:cubicBezTo>
                    <a:pt x="766352" y="239193"/>
                    <a:pt x="768640" y="184636"/>
                    <a:pt x="768689" y="175956"/>
                  </a:cubicBezTo>
                  <a:close/>
                  <a:moveTo>
                    <a:pt x="667142" y="11446"/>
                  </a:moveTo>
                  <a:lnTo>
                    <a:pt x="667142" y="169098"/>
                  </a:lnTo>
                  <a:lnTo>
                    <a:pt x="714484" y="169098"/>
                  </a:lnTo>
                  <a:lnTo>
                    <a:pt x="714484" y="11446"/>
                  </a:lnTo>
                  <a:close/>
                  <a:moveTo>
                    <a:pt x="721342" y="11446"/>
                  </a:moveTo>
                  <a:lnTo>
                    <a:pt x="721342" y="169098"/>
                  </a:lnTo>
                  <a:lnTo>
                    <a:pt x="768689" y="169098"/>
                  </a:lnTo>
                  <a:lnTo>
                    <a:pt x="768689" y="11446"/>
                  </a:lnTo>
                  <a:close/>
                  <a:moveTo>
                    <a:pt x="786498" y="11446"/>
                  </a:moveTo>
                  <a:lnTo>
                    <a:pt x="786498" y="174546"/>
                  </a:lnTo>
                  <a:cubicBezTo>
                    <a:pt x="786619" y="180757"/>
                    <a:pt x="786520" y="250681"/>
                    <a:pt x="724145" y="273960"/>
                  </a:cubicBezTo>
                  <a:lnTo>
                    <a:pt x="717913" y="276280"/>
                  </a:lnTo>
                  <a:lnTo>
                    <a:pt x="711686" y="273960"/>
                  </a:lnTo>
                  <a:cubicBezTo>
                    <a:pt x="649311" y="250681"/>
                    <a:pt x="649212" y="180757"/>
                    <a:pt x="649333" y="174546"/>
                  </a:cubicBezTo>
                  <a:lnTo>
                    <a:pt x="649333" y="11446"/>
                  </a:lnTo>
                  <a:lnTo>
                    <a:pt x="631513" y="11446"/>
                  </a:lnTo>
                  <a:lnTo>
                    <a:pt x="631513" y="174393"/>
                  </a:lnTo>
                  <a:cubicBezTo>
                    <a:pt x="631376" y="183127"/>
                    <a:pt x="632215" y="245996"/>
                    <a:pt x="682893" y="279276"/>
                  </a:cubicBezTo>
                  <a:lnTo>
                    <a:pt x="752938" y="279276"/>
                  </a:lnTo>
                  <a:cubicBezTo>
                    <a:pt x="803616" y="245996"/>
                    <a:pt x="804455" y="183127"/>
                    <a:pt x="804313" y="174393"/>
                  </a:cubicBezTo>
                  <a:lnTo>
                    <a:pt x="804313" y="11446"/>
                  </a:lnTo>
                  <a:close/>
                  <a:moveTo>
                    <a:pt x="822127" y="11446"/>
                  </a:moveTo>
                  <a:lnTo>
                    <a:pt x="822127" y="174261"/>
                  </a:lnTo>
                  <a:cubicBezTo>
                    <a:pt x="822303" y="186347"/>
                    <a:pt x="820712" y="240646"/>
                    <a:pt x="781220" y="279276"/>
                  </a:cubicBezTo>
                  <a:lnTo>
                    <a:pt x="996304" y="279276"/>
                  </a:lnTo>
                  <a:lnTo>
                    <a:pt x="996304" y="184257"/>
                  </a:lnTo>
                  <a:lnTo>
                    <a:pt x="985764" y="184257"/>
                  </a:lnTo>
                  <a:lnTo>
                    <a:pt x="992891" y="169581"/>
                  </a:lnTo>
                  <a:lnTo>
                    <a:pt x="996304" y="169581"/>
                  </a:lnTo>
                  <a:lnTo>
                    <a:pt x="996304" y="13531"/>
                  </a:lnTo>
                  <a:lnTo>
                    <a:pt x="992891" y="13531"/>
                  </a:lnTo>
                  <a:lnTo>
                    <a:pt x="991882" y="11446"/>
                  </a:lnTo>
                  <a:close/>
                  <a:moveTo>
                    <a:pt x="1044809" y="249935"/>
                  </a:moveTo>
                  <a:lnTo>
                    <a:pt x="1024279" y="249935"/>
                  </a:lnTo>
                  <a:lnTo>
                    <a:pt x="1024279" y="264600"/>
                  </a:lnTo>
                  <a:lnTo>
                    <a:pt x="1044809" y="264600"/>
                  </a:lnTo>
                  <a:close/>
                  <a:moveTo>
                    <a:pt x="1391994" y="184257"/>
                  </a:moveTo>
                  <a:lnTo>
                    <a:pt x="1381455" y="184257"/>
                  </a:lnTo>
                  <a:lnTo>
                    <a:pt x="1388576" y="169581"/>
                  </a:lnTo>
                  <a:lnTo>
                    <a:pt x="1391994" y="169581"/>
                  </a:lnTo>
                  <a:lnTo>
                    <a:pt x="1391994" y="13531"/>
                  </a:lnTo>
                  <a:lnTo>
                    <a:pt x="1388576" y="13531"/>
                  </a:lnTo>
                  <a:lnTo>
                    <a:pt x="1387566" y="11446"/>
                  </a:lnTo>
                  <a:lnTo>
                    <a:pt x="1292427" y="11446"/>
                  </a:lnTo>
                  <a:cubicBezTo>
                    <a:pt x="1292427" y="44541"/>
                    <a:pt x="1292427" y="130408"/>
                    <a:pt x="1292427" y="142116"/>
                  </a:cubicBezTo>
                  <a:cubicBezTo>
                    <a:pt x="1292427" y="156666"/>
                    <a:pt x="1279331" y="158120"/>
                    <a:pt x="1279331" y="158120"/>
                  </a:cubicBezTo>
                  <a:lnTo>
                    <a:pt x="1279331" y="169581"/>
                  </a:lnTo>
                  <a:lnTo>
                    <a:pt x="1240054" y="169581"/>
                  </a:lnTo>
                  <a:lnTo>
                    <a:pt x="1200776" y="169581"/>
                  </a:lnTo>
                  <a:lnTo>
                    <a:pt x="1200776" y="158120"/>
                  </a:lnTo>
                  <a:cubicBezTo>
                    <a:pt x="1200776" y="158120"/>
                    <a:pt x="1187686" y="156666"/>
                    <a:pt x="1187686" y="142116"/>
                  </a:cubicBezTo>
                  <a:cubicBezTo>
                    <a:pt x="1187686" y="130408"/>
                    <a:pt x="1187686" y="44541"/>
                    <a:pt x="1187686" y="11446"/>
                  </a:cubicBezTo>
                  <a:lnTo>
                    <a:pt x="1077212" y="11446"/>
                  </a:lnTo>
                  <a:lnTo>
                    <a:pt x="1076197" y="13531"/>
                  </a:lnTo>
                  <a:lnTo>
                    <a:pt x="1072784" y="13531"/>
                  </a:lnTo>
                  <a:lnTo>
                    <a:pt x="1072784" y="169581"/>
                  </a:lnTo>
                  <a:lnTo>
                    <a:pt x="1076197" y="169581"/>
                  </a:lnTo>
                  <a:lnTo>
                    <a:pt x="1083324" y="184257"/>
                  </a:lnTo>
                  <a:lnTo>
                    <a:pt x="1072784" y="184257"/>
                  </a:lnTo>
                  <a:lnTo>
                    <a:pt x="1072784" y="279276"/>
                  </a:lnTo>
                  <a:lnTo>
                    <a:pt x="1391994" y="279276"/>
                  </a:lnTo>
                  <a:lnTo>
                    <a:pt x="1391994" y="184257"/>
                  </a:lnTo>
                </a:path>
              </a:pathLst>
            </a:custGeom>
            <a:grpFill/>
            <a:ln w="548" cap="flat">
              <a:noFill/>
              <a:prstDash val="solid"/>
              <a:miter/>
            </a:ln>
          </p:spPr>
          <p:txBody>
            <a:bodyPr/>
            <a:lstStyle/>
            <a:p>
              <a:endParaRPr lang="en-US"/>
            </a:p>
          </p:txBody>
        </p:sp>
        <p:sp>
          <p:nvSpPr>
            <p:cNvPr id="528" name="Freeform: Shape 527">
              <a:extLst>
                <a:ext uri="{FF2B5EF4-FFF2-40B4-BE49-F238E27FC236}">
                  <a16:creationId xmlns:a16="http://schemas.microsoft.com/office/drawing/2014/main" id="{50144338-9C64-B081-54CF-3E15FBC3C0AB}"/>
                </a:ext>
              </a:extLst>
            </p:cNvPr>
            <p:cNvSpPr/>
            <p:nvPr/>
          </p:nvSpPr>
          <p:spPr>
            <a:xfrm flipV="1">
              <a:off x="18954387" y="4766722"/>
              <a:ext cx="13792" cy="14648"/>
            </a:xfrm>
            <a:custGeom>
              <a:avLst/>
              <a:gdLst>
                <a:gd name="csX0" fmla="*/ -2337 w 13792"/>
                <a:gd name="csY0" fmla="*/ -4349 h 14648"/>
                <a:gd name="csX1" fmla="*/ 11456 w 13792"/>
                <a:gd name="csY1" fmla="*/ -4349 h 14648"/>
                <a:gd name="csX2" fmla="*/ 11456 w 13792"/>
                <a:gd name="csY2" fmla="*/ 10299 h 14648"/>
                <a:gd name="csX3" fmla="*/ -2337 w 13792"/>
                <a:gd name="csY3" fmla="*/ 10299 h 14648"/>
                <a:gd name="csX4" fmla="*/ -2337 w 13792"/>
                <a:gd name="csY4" fmla="*/ -4349 h 14648"/>
              </a:gdLst>
              <a:ahLst/>
              <a:cxnLst>
                <a:cxn ang="0">
                  <a:pos x="csX0" y="csY0"/>
                </a:cxn>
                <a:cxn ang="0">
                  <a:pos x="csX1" y="csY1"/>
                </a:cxn>
                <a:cxn ang="0">
                  <a:pos x="csX2" y="csY2"/>
                </a:cxn>
                <a:cxn ang="0">
                  <a:pos x="csX3" y="csY3"/>
                </a:cxn>
                <a:cxn ang="0">
                  <a:pos x="csX4" y="csY4"/>
                </a:cxn>
              </a:cxnLst>
              <a:rect l="l" t="t" r="r" b="b"/>
              <a:pathLst>
                <a:path w="13792" h="14648">
                  <a:moveTo>
                    <a:pt x="-2337" y="-4349"/>
                  </a:moveTo>
                  <a:lnTo>
                    <a:pt x="11456" y="-4349"/>
                  </a:lnTo>
                  <a:lnTo>
                    <a:pt x="11456" y="10299"/>
                  </a:lnTo>
                  <a:lnTo>
                    <a:pt x="-2337" y="10299"/>
                  </a:lnTo>
                  <a:lnTo>
                    <a:pt x="-2337" y="-4349"/>
                  </a:lnTo>
                </a:path>
              </a:pathLst>
            </a:custGeom>
            <a:grpFill/>
            <a:ln w="548" cap="flat">
              <a:noFill/>
              <a:prstDash val="solid"/>
              <a:miter/>
            </a:ln>
          </p:spPr>
          <p:txBody>
            <a:bodyPr/>
            <a:lstStyle/>
            <a:p>
              <a:endParaRPr lang="en-US"/>
            </a:p>
          </p:txBody>
        </p:sp>
        <p:sp>
          <p:nvSpPr>
            <p:cNvPr id="529" name="Freeform: Shape 528">
              <a:extLst>
                <a:ext uri="{FF2B5EF4-FFF2-40B4-BE49-F238E27FC236}">
                  <a16:creationId xmlns:a16="http://schemas.microsoft.com/office/drawing/2014/main" id="{94C0FCB7-52F5-A7FF-3905-015BDDDF8112}"/>
                </a:ext>
              </a:extLst>
            </p:cNvPr>
            <p:cNvSpPr/>
            <p:nvPr/>
          </p:nvSpPr>
          <p:spPr>
            <a:xfrm flipV="1">
              <a:off x="18954387" y="4749785"/>
              <a:ext cx="13792" cy="14648"/>
            </a:xfrm>
            <a:custGeom>
              <a:avLst/>
              <a:gdLst>
                <a:gd name="csX0" fmla="*/ -2337 w 13792"/>
                <a:gd name="csY0" fmla="*/ -4390 h 14648"/>
                <a:gd name="csX1" fmla="*/ 11456 w 13792"/>
                <a:gd name="csY1" fmla="*/ -4390 h 14648"/>
                <a:gd name="csX2" fmla="*/ 11456 w 13792"/>
                <a:gd name="csY2" fmla="*/ 10259 h 14648"/>
                <a:gd name="csX3" fmla="*/ -2337 w 13792"/>
                <a:gd name="csY3" fmla="*/ 10259 h 14648"/>
                <a:gd name="csX4" fmla="*/ -2337 w 13792"/>
                <a:gd name="csY4" fmla="*/ -4390 h 14648"/>
              </a:gdLst>
              <a:ahLst/>
              <a:cxnLst>
                <a:cxn ang="0">
                  <a:pos x="csX0" y="csY0"/>
                </a:cxn>
                <a:cxn ang="0">
                  <a:pos x="csX1" y="csY1"/>
                </a:cxn>
                <a:cxn ang="0">
                  <a:pos x="csX2" y="csY2"/>
                </a:cxn>
                <a:cxn ang="0">
                  <a:pos x="csX3" y="csY3"/>
                </a:cxn>
                <a:cxn ang="0">
                  <a:pos x="csX4" y="csY4"/>
                </a:cxn>
              </a:cxnLst>
              <a:rect l="l" t="t" r="r" b="b"/>
              <a:pathLst>
                <a:path w="13792" h="14648">
                  <a:moveTo>
                    <a:pt x="-2337" y="-4390"/>
                  </a:moveTo>
                  <a:lnTo>
                    <a:pt x="11456" y="-4390"/>
                  </a:lnTo>
                  <a:lnTo>
                    <a:pt x="11456" y="10259"/>
                  </a:lnTo>
                  <a:lnTo>
                    <a:pt x="-2337" y="10259"/>
                  </a:lnTo>
                  <a:lnTo>
                    <a:pt x="-2337" y="-4390"/>
                  </a:lnTo>
                </a:path>
              </a:pathLst>
            </a:custGeom>
            <a:grpFill/>
            <a:ln w="548" cap="flat">
              <a:noFill/>
              <a:prstDash val="solid"/>
              <a:miter/>
            </a:ln>
          </p:spPr>
          <p:txBody>
            <a:bodyPr/>
            <a:lstStyle/>
            <a:p>
              <a:endParaRPr lang="en-US"/>
            </a:p>
          </p:txBody>
        </p:sp>
        <p:sp>
          <p:nvSpPr>
            <p:cNvPr id="530" name="Freeform: Shape 529">
              <a:extLst>
                <a:ext uri="{FF2B5EF4-FFF2-40B4-BE49-F238E27FC236}">
                  <a16:creationId xmlns:a16="http://schemas.microsoft.com/office/drawing/2014/main" id="{C4DB8FEC-E88F-E30E-99A5-DCB2EBD8D866}"/>
                </a:ext>
              </a:extLst>
            </p:cNvPr>
            <p:cNvSpPr/>
            <p:nvPr/>
          </p:nvSpPr>
          <p:spPr>
            <a:xfrm flipV="1">
              <a:off x="18970462" y="4749785"/>
              <a:ext cx="13792" cy="14648"/>
            </a:xfrm>
            <a:custGeom>
              <a:avLst/>
              <a:gdLst>
                <a:gd name="csX0" fmla="*/ -2357 w 13792"/>
                <a:gd name="csY0" fmla="*/ -4390 h 14648"/>
                <a:gd name="csX1" fmla="*/ 11436 w 13792"/>
                <a:gd name="csY1" fmla="*/ -4390 h 14648"/>
                <a:gd name="csX2" fmla="*/ 11436 w 13792"/>
                <a:gd name="csY2" fmla="*/ 10259 h 14648"/>
                <a:gd name="csX3" fmla="*/ -2357 w 13792"/>
                <a:gd name="csY3" fmla="*/ 10259 h 14648"/>
                <a:gd name="csX4" fmla="*/ -2357 w 13792"/>
                <a:gd name="csY4" fmla="*/ -4390 h 14648"/>
              </a:gdLst>
              <a:ahLst/>
              <a:cxnLst>
                <a:cxn ang="0">
                  <a:pos x="csX0" y="csY0"/>
                </a:cxn>
                <a:cxn ang="0">
                  <a:pos x="csX1" y="csY1"/>
                </a:cxn>
                <a:cxn ang="0">
                  <a:pos x="csX2" y="csY2"/>
                </a:cxn>
                <a:cxn ang="0">
                  <a:pos x="csX3" y="csY3"/>
                </a:cxn>
                <a:cxn ang="0">
                  <a:pos x="csX4" y="csY4"/>
                </a:cxn>
              </a:cxnLst>
              <a:rect l="l" t="t" r="r" b="b"/>
              <a:pathLst>
                <a:path w="13792" h="14648">
                  <a:moveTo>
                    <a:pt x="-2357" y="-4390"/>
                  </a:moveTo>
                  <a:lnTo>
                    <a:pt x="11436" y="-4390"/>
                  </a:lnTo>
                  <a:lnTo>
                    <a:pt x="11436" y="10259"/>
                  </a:lnTo>
                  <a:lnTo>
                    <a:pt x="-2357" y="10259"/>
                  </a:lnTo>
                  <a:lnTo>
                    <a:pt x="-2357" y="-4390"/>
                  </a:lnTo>
                </a:path>
              </a:pathLst>
            </a:custGeom>
            <a:grpFill/>
            <a:ln w="548" cap="flat">
              <a:noFill/>
              <a:prstDash val="solid"/>
              <a:miter/>
            </a:ln>
          </p:spPr>
          <p:txBody>
            <a:bodyPr/>
            <a:lstStyle/>
            <a:p>
              <a:endParaRPr lang="en-US"/>
            </a:p>
          </p:txBody>
        </p:sp>
        <p:sp>
          <p:nvSpPr>
            <p:cNvPr id="531" name="Freeform: Shape 530">
              <a:extLst>
                <a:ext uri="{FF2B5EF4-FFF2-40B4-BE49-F238E27FC236}">
                  <a16:creationId xmlns:a16="http://schemas.microsoft.com/office/drawing/2014/main" id="{E14BE60F-52B3-6777-E8C5-6A5B8646707E}"/>
                </a:ext>
              </a:extLst>
            </p:cNvPr>
            <p:cNvSpPr/>
            <p:nvPr/>
          </p:nvSpPr>
          <p:spPr>
            <a:xfrm flipV="1">
              <a:off x="18970462" y="4766722"/>
              <a:ext cx="13792" cy="14648"/>
            </a:xfrm>
            <a:custGeom>
              <a:avLst/>
              <a:gdLst>
                <a:gd name="csX0" fmla="*/ -2357 w 13792"/>
                <a:gd name="csY0" fmla="*/ -4349 h 14648"/>
                <a:gd name="csX1" fmla="*/ 11436 w 13792"/>
                <a:gd name="csY1" fmla="*/ -4349 h 14648"/>
                <a:gd name="csX2" fmla="*/ 11436 w 13792"/>
                <a:gd name="csY2" fmla="*/ 10299 h 14648"/>
                <a:gd name="csX3" fmla="*/ -2357 w 13792"/>
                <a:gd name="csY3" fmla="*/ 10299 h 14648"/>
                <a:gd name="csX4" fmla="*/ -2357 w 13792"/>
                <a:gd name="csY4" fmla="*/ -4349 h 14648"/>
              </a:gdLst>
              <a:ahLst/>
              <a:cxnLst>
                <a:cxn ang="0">
                  <a:pos x="csX0" y="csY0"/>
                </a:cxn>
                <a:cxn ang="0">
                  <a:pos x="csX1" y="csY1"/>
                </a:cxn>
                <a:cxn ang="0">
                  <a:pos x="csX2" y="csY2"/>
                </a:cxn>
                <a:cxn ang="0">
                  <a:pos x="csX3" y="csY3"/>
                </a:cxn>
                <a:cxn ang="0">
                  <a:pos x="csX4" y="csY4"/>
                </a:cxn>
              </a:cxnLst>
              <a:rect l="l" t="t" r="r" b="b"/>
              <a:pathLst>
                <a:path w="13792" h="14648">
                  <a:moveTo>
                    <a:pt x="-2357" y="-4349"/>
                  </a:moveTo>
                  <a:lnTo>
                    <a:pt x="11436" y="-4349"/>
                  </a:lnTo>
                  <a:lnTo>
                    <a:pt x="11436" y="10299"/>
                  </a:lnTo>
                  <a:lnTo>
                    <a:pt x="-2357" y="10299"/>
                  </a:lnTo>
                  <a:lnTo>
                    <a:pt x="-2357" y="-4349"/>
                  </a:lnTo>
                </a:path>
              </a:pathLst>
            </a:custGeom>
            <a:grpFill/>
            <a:ln w="548" cap="flat">
              <a:noFill/>
              <a:prstDash val="solid"/>
              <a:miter/>
            </a:ln>
          </p:spPr>
          <p:txBody>
            <a:bodyPr/>
            <a:lstStyle/>
            <a:p>
              <a:endParaRPr lang="en-US"/>
            </a:p>
          </p:txBody>
        </p:sp>
        <p:sp>
          <p:nvSpPr>
            <p:cNvPr id="532" name="Freeform: Shape 531">
              <a:extLst>
                <a:ext uri="{FF2B5EF4-FFF2-40B4-BE49-F238E27FC236}">
                  <a16:creationId xmlns:a16="http://schemas.microsoft.com/office/drawing/2014/main" id="{8F23BB34-0612-E4D9-F812-2D086A2C448F}"/>
                </a:ext>
              </a:extLst>
            </p:cNvPr>
            <p:cNvSpPr/>
            <p:nvPr/>
          </p:nvSpPr>
          <p:spPr>
            <a:xfrm flipV="1">
              <a:off x="18954387" y="4783653"/>
              <a:ext cx="13792" cy="12728"/>
            </a:xfrm>
            <a:custGeom>
              <a:avLst/>
              <a:gdLst>
                <a:gd name="csX0" fmla="*/ -2337 w 13792"/>
                <a:gd name="csY0" fmla="*/ -4311 h 12728"/>
                <a:gd name="csX1" fmla="*/ 11456 w 13792"/>
                <a:gd name="csY1" fmla="*/ -4311 h 12728"/>
                <a:gd name="csX2" fmla="*/ 11456 w 13792"/>
                <a:gd name="csY2" fmla="*/ 8418 h 12728"/>
                <a:gd name="csX3" fmla="*/ -2337 w 13792"/>
                <a:gd name="csY3" fmla="*/ 8418 h 12728"/>
                <a:gd name="csX4" fmla="*/ -2337 w 13792"/>
                <a:gd name="csY4" fmla="*/ -4311 h 12728"/>
              </a:gdLst>
              <a:ahLst/>
              <a:cxnLst>
                <a:cxn ang="0">
                  <a:pos x="csX0" y="csY0"/>
                </a:cxn>
                <a:cxn ang="0">
                  <a:pos x="csX1" y="csY1"/>
                </a:cxn>
                <a:cxn ang="0">
                  <a:pos x="csX2" y="csY2"/>
                </a:cxn>
                <a:cxn ang="0">
                  <a:pos x="csX3" y="csY3"/>
                </a:cxn>
                <a:cxn ang="0">
                  <a:pos x="csX4" y="csY4"/>
                </a:cxn>
              </a:cxnLst>
              <a:rect l="l" t="t" r="r" b="b"/>
              <a:pathLst>
                <a:path w="13792" h="12728">
                  <a:moveTo>
                    <a:pt x="-2337" y="-4311"/>
                  </a:moveTo>
                  <a:lnTo>
                    <a:pt x="11456" y="-4311"/>
                  </a:lnTo>
                  <a:lnTo>
                    <a:pt x="11456" y="8418"/>
                  </a:lnTo>
                  <a:lnTo>
                    <a:pt x="-2337" y="8418"/>
                  </a:lnTo>
                  <a:lnTo>
                    <a:pt x="-2337" y="-4311"/>
                  </a:lnTo>
                </a:path>
              </a:pathLst>
            </a:custGeom>
            <a:grpFill/>
            <a:ln w="548" cap="flat">
              <a:noFill/>
              <a:prstDash val="solid"/>
              <a:miter/>
            </a:ln>
          </p:spPr>
          <p:txBody>
            <a:bodyPr/>
            <a:lstStyle/>
            <a:p>
              <a:endParaRPr lang="en-US"/>
            </a:p>
          </p:txBody>
        </p:sp>
        <p:sp>
          <p:nvSpPr>
            <p:cNvPr id="533" name="Freeform: Shape 532">
              <a:extLst>
                <a:ext uri="{FF2B5EF4-FFF2-40B4-BE49-F238E27FC236}">
                  <a16:creationId xmlns:a16="http://schemas.microsoft.com/office/drawing/2014/main" id="{163F212C-6F29-0073-3A0B-381DB79C536A}"/>
                </a:ext>
              </a:extLst>
            </p:cNvPr>
            <p:cNvSpPr/>
            <p:nvPr/>
          </p:nvSpPr>
          <p:spPr>
            <a:xfrm flipV="1">
              <a:off x="18970462" y="4783653"/>
              <a:ext cx="13792" cy="12728"/>
            </a:xfrm>
            <a:custGeom>
              <a:avLst/>
              <a:gdLst>
                <a:gd name="csX0" fmla="*/ -2357 w 13792"/>
                <a:gd name="csY0" fmla="*/ -4311 h 12728"/>
                <a:gd name="csX1" fmla="*/ 11436 w 13792"/>
                <a:gd name="csY1" fmla="*/ -4311 h 12728"/>
                <a:gd name="csX2" fmla="*/ 11436 w 13792"/>
                <a:gd name="csY2" fmla="*/ 8418 h 12728"/>
                <a:gd name="csX3" fmla="*/ -2357 w 13792"/>
                <a:gd name="csY3" fmla="*/ 8418 h 12728"/>
                <a:gd name="csX4" fmla="*/ -2357 w 13792"/>
                <a:gd name="csY4" fmla="*/ -4311 h 12728"/>
              </a:gdLst>
              <a:ahLst/>
              <a:cxnLst>
                <a:cxn ang="0">
                  <a:pos x="csX0" y="csY0"/>
                </a:cxn>
                <a:cxn ang="0">
                  <a:pos x="csX1" y="csY1"/>
                </a:cxn>
                <a:cxn ang="0">
                  <a:pos x="csX2" y="csY2"/>
                </a:cxn>
                <a:cxn ang="0">
                  <a:pos x="csX3" y="csY3"/>
                </a:cxn>
                <a:cxn ang="0">
                  <a:pos x="csX4" y="csY4"/>
                </a:cxn>
              </a:cxnLst>
              <a:rect l="l" t="t" r="r" b="b"/>
              <a:pathLst>
                <a:path w="13792" h="12728">
                  <a:moveTo>
                    <a:pt x="-2357" y="-4311"/>
                  </a:moveTo>
                  <a:lnTo>
                    <a:pt x="11436" y="-4311"/>
                  </a:lnTo>
                  <a:lnTo>
                    <a:pt x="11436" y="8418"/>
                  </a:lnTo>
                  <a:lnTo>
                    <a:pt x="-2357" y="8418"/>
                  </a:lnTo>
                  <a:lnTo>
                    <a:pt x="-2357" y="-4311"/>
                  </a:lnTo>
                </a:path>
              </a:pathLst>
            </a:custGeom>
            <a:grpFill/>
            <a:ln w="548" cap="flat">
              <a:noFill/>
              <a:prstDash val="solid"/>
              <a:miter/>
            </a:ln>
          </p:spPr>
          <p:txBody>
            <a:bodyPr/>
            <a:lstStyle/>
            <a:p>
              <a:endParaRPr lang="en-US"/>
            </a:p>
          </p:txBody>
        </p:sp>
        <p:sp>
          <p:nvSpPr>
            <p:cNvPr id="534" name="Freeform: Shape 533">
              <a:extLst>
                <a:ext uri="{FF2B5EF4-FFF2-40B4-BE49-F238E27FC236}">
                  <a16:creationId xmlns:a16="http://schemas.microsoft.com/office/drawing/2014/main" id="{A77B4CDD-A19D-A34F-2066-07966AEC3952}"/>
                </a:ext>
              </a:extLst>
            </p:cNvPr>
            <p:cNvSpPr/>
            <p:nvPr/>
          </p:nvSpPr>
          <p:spPr>
            <a:xfrm flipV="1">
              <a:off x="18970462" y="4734774"/>
              <a:ext cx="13792" cy="12728"/>
            </a:xfrm>
            <a:custGeom>
              <a:avLst/>
              <a:gdLst>
                <a:gd name="csX0" fmla="*/ -2357 w 13792"/>
                <a:gd name="csY0" fmla="*/ -4429 h 12728"/>
                <a:gd name="csX1" fmla="*/ 11436 w 13792"/>
                <a:gd name="csY1" fmla="*/ -4429 h 12728"/>
                <a:gd name="csX2" fmla="*/ 11436 w 13792"/>
                <a:gd name="csY2" fmla="*/ 8300 h 12728"/>
                <a:gd name="csX3" fmla="*/ -2357 w 13792"/>
                <a:gd name="csY3" fmla="*/ 8300 h 12728"/>
                <a:gd name="csX4" fmla="*/ -2357 w 13792"/>
                <a:gd name="csY4" fmla="*/ -4429 h 12728"/>
              </a:gdLst>
              <a:ahLst/>
              <a:cxnLst>
                <a:cxn ang="0">
                  <a:pos x="csX0" y="csY0"/>
                </a:cxn>
                <a:cxn ang="0">
                  <a:pos x="csX1" y="csY1"/>
                </a:cxn>
                <a:cxn ang="0">
                  <a:pos x="csX2" y="csY2"/>
                </a:cxn>
                <a:cxn ang="0">
                  <a:pos x="csX3" y="csY3"/>
                </a:cxn>
                <a:cxn ang="0">
                  <a:pos x="csX4" y="csY4"/>
                </a:cxn>
              </a:cxnLst>
              <a:rect l="l" t="t" r="r" b="b"/>
              <a:pathLst>
                <a:path w="13792" h="12728">
                  <a:moveTo>
                    <a:pt x="-2357" y="-4429"/>
                  </a:moveTo>
                  <a:lnTo>
                    <a:pt x="11436" y="-4429"/>
                  </a:lnTo>
                  <a:lnTo>
                    <a:pt x="11436" y="8300"/>
                  </a:lnTo>
                  <a:lnTo>
                    <a:pt x="-2357" y="8300"/>
                  </a:lnTo>
                  <a:lnTo>
                    <a:pt x="-2357" y="-4429"/>
                  </a:lnTo>
                </a:path>
              </a:pathLst>
            </a:custGeom>
            <a:grpFill/>
            <a:ln w="548" cap="flat">
              <a:noFill/>
              <a:prstDash val="solid"/>
              <a:miter/>
            </a:ln>
          </p:spPr>
          <p:txBody>
            <a:bodyPr/>
            <a:lstStyle/>
            <a:p>
              <a:endParaRPr lang="en-US"/>
            </a:p>
          </p:txBody>
        </p:sp>
        <p:sp>
          <p:nvSpPr>
            <p:cNvPr id="535" name="Freeform: Shape 534">
              <a:extLst>
                <a:ext uri="{FF2B5EF4-FFF2-40B4-BE49-F238E27FC236}">
                  <a16:creationId xmlns:a16="http://schemas.microsoft.com/office/drawing/2014/main" id="{D0533CAF-12FA-EC35-9EB1-194DF4559532}"/>
                </a:ext>
              </a:extLst>
            </p:cNvPr>
            <p:cNvSpPr/>
            <p:nvPr/>
          </p:nvSpPr>
          <p:spPr>
            <a:xfrm flipV="1">
              <a:off x="18954387" y="4734774"/>
              <a:ext cx="13792" cy="12728"/>
            </a:xfrm>
            <a:custGeom>
              <a:avLst/>
              <a:gdLst>
                <a:gd name="csX0" fmla="*/ -2337 w 13792"/>
                <a:gd name="csY0" fmla="*/ -4429 h 12728"/>
                <a:gd name="csX1" fmla="*/ 11456 w 13792"/>
                <a:gd name="csY1" fmla="*/ -4429 h 12728"/>
                <a:gd name="csX2" fmla="*/ 11456 w 13792"/>
                <a:gd name="csY2" fmla="*/ 8300 h 12728"/>
                <a:gd name="csX3" fmla="*/ -2337 w 13792"/>
                <a:gd name="csY3" fmla="*/ 8300 h 12728"/>
                <a:gd name="csX4" fmla="*/ -2337 w 13792"/>
                <a:gd name="csY4" fmla="*/ -4429 h 12728"/>
              </a:gdLst>
              <a:ahLst/>
              <a:cxnLst>
                <a:cxn ang="0">
                  <a:pos x="csX0" y="csY0"/>
                </a:cxn>
                <a:cxn ang="0">
                  <a:pos x="csX1" y="csY1"/>
                </a:cxn>
                <a:cxn ang="0">
                  <a:pos x="csX2" y="csY2"/>
                </a:cxn>
                <a:cxn ang="0">
                  <a:pos x="csX3" y="csY3"/>
                </a:cxn>
                <a:cxn ang="0">
                  <a:pos x="csX4" y="csY4"/>
                </a:cxn>
              </a:cxnLst>
              <a:rect l="l" t="t" r="r" b="b"/>
              <a:pathLst>
                <a:path w="13792" h="12728">
                  <a:moveTo>
                    <a:pt x="-2337" y="-4429"/>
                  </a:moveTo>
                  <a:lnTo>
                    <a:pt x="11456" y="-4429"/>
                  </a:lnTo>
                  <a:lnTo>
                    <a:pt x="11456" y="8300"/>
                  </a:lnTo>
                  <a:lnTo>
                    <a:pt x="-2337" y="8300"/>
                  </a:lnTo>
                  <a:lnTo>
                    <a:pt x="-2337" y="-4429"/>
                  </a:lnTo>
                </a:path>
              </a:pathLst>
            </a:custGeom>
            <a:grpFill/>
            <a:ln w="548" cap="flat">
              <a:noFill/>
              <a:prstDash val="solid"/>
              <a:miter/>
            </a:ln>
          </p:spPr>
          <p:txBody>
            <a:bodyPr/>
            <a:lstStyle/>
            <a:p>
              <a:endParaRPr lang="en-US"/>
            </a:p>
          </p:txBody>
        </p:sp>
        <p:sp>
          <p:nvSpPr>
            <p:cNvPr id="536" name="Freeform: Shape 535">
              <a:extLst>
                <a:ext uri="{FF2B5EF4-FFF2-40B4-BE49-F238E27FC236}">
                  <a16:creationId xmlns:a16="http://schemas.microsoft.com/office/drawing/2014/main" id="{C5AF6460-E1D0-E4EB-5ACA-3F5EE0F281EB}"/>
                </a:ext>
              </a:extLst>
            </p:cNvPr>
            <p:cNvSpPr/>
            <p:nvPr/>
          </p:nvSpPr>
          <p:spPr>
            <a:xfrm flipV="1">
              <a:off x="19314043" y="4766722"/>
              <a:ext cx="13792" cy="14648"/>
            </a:xfrm>
            <a:custGeom>
              <a:avLst/>
              <a:gdLst>
                <a:gd name="csX0" fmla="*/ -2783 w 13792"/>
                <a:gd name="csY0" fmla="*/ -4349 h 14648"/>
                <a:gd name="csX1" fmla="*/ 11010 w 13792"/>
                <a:gd name="csY1" fmla="*/ -4349 h 14648"/>
                <a:gd name="csX2" fmla="*/ 11010 w 13792"/>
                <a:gd name="csY2" fmla="*/ 10299 h 14648"/>
                <a:gd name="csX3" fmla="*/ -2783 w 13792"/>
                <a:gd name="csY3" fmla="*/ 10299 h 14648"/>
                <a:gd name="csX4" fmla="*/ -2783 w 13792"/>
                <a:gd name="csY4" fmla="*/ -4349 h 14648"/>
              </a:gdLst>
              <a:ahLst/>
              <a:cxnLst>
                <a:cxn ang="0">
                  <a:pos x="csX0" y="csY0"/>
                </a:cxn>
                <a:cxn ang="0">
                  <a:pos x="csX1" y="csY1"/>
                </a:cxn>
                <a:cxn ang="0">
                  <a:pos x="csX2" y="csY2"/>
                </a:cxn>
                <a:cxn ang="0">
                  <a:pos x="csX3" y="csY3"/>
                </a:cxn>
                <a:cxn ang="0">
                  <a:pos x="csX4" y="csY4"/>
                </a:cxn>
              </a:cxnLst>
              <a:rect l="l" t="t" r="r" b="b"/>
              <a:pathLst>
                <a:path w="13792" h="14648">
                  <a:moveTo>
                    <a:pt x="-2783" y="-4349"/>
                  </a:moveTo>
                  <a:lnTo>
                    <a:pt x="11010" y="-4349"/>
                  </a:lnTo>
                  <a:lnTo>
                    <a:pt x="11010" y="10299"/>
                  </a:lnTo>
                  <a:lnTo>
                    <a:pt x="-2783" y="10299"/>
                  </a:lnTo>
                  <a:lnTo>
                    <a:pt x="-2783" y="-4349"/>
                  </a:lnTo>
                </a:path>
              </a:pathLst>
            </a:custGeom>
            <a:grpFill/>
            <a:ln w="548" cap="flat">
              <a:noFill/>
              <a:prstDash val="solid"/>
              <a:miter/>
            </a:ln>
          </p:spPr>
          <p:txBody>
            <a:bodyPr/>
            <a:lstStyle/>
            <a:p>
              <a:endParaRPr lang="en-US"/>
            </a:p>
          </p:txBody>
        </p:sp>
        <p:sp>
          <p:nvSpPr>
            <p:cNvPr id="537" name="Freeform: Shape 536">
              <a:extLst>
                <a:ext uri="{FF2B5EF4-FFF2-40B4-BE49-F238E27FC236}">
                  <a16:creationId xmlns:a16="http://schemas.microsoft.com/office/drawing/2014/main" id="{191DC109-E4AF-92CF-3D78-8B50065D8CDA}"/>
                </a:ext>
              </a:extLst>
            </p:cNvPr>
            <p:cNvSpPr/>
            <p:nvPr/>
          </p:nvSpPr>
          <p:spPr>
            <a:xfrm flipV="1">
              <a:off x="19297962" y="4766722"/>
              <a:ext cx="13792" cy="14648"/>
            </a:xfrm>
            <a:custGeom>
              <a:avLst/>
              <a:gdLst>
                <a:gd name="csX0" fmla="*/ -2763 w 13792"/>
                <a:gd name="csY0" fmla="*/ -4349 h 14648"/>
                <a:gd name="csX1" fmla="*/ 11030 w 13792"/>
                <a:gd name="csY1" fmla="*/ -4349 h 14648"/>
                <a:gd name="csX2" fmla="*/ 11030 w 13792"/>
                <a:gd name="csY2" fmla="*/ 10299 h 14648"/>
                <a:gd name="csX3" fmla="*/ -2763 w 13792"/>
                <a:gd name="csY3" fmla="*/ 10299 h 14648"/>
                <a:gd name="csX4" fmla="*/ -2763 w 13792"/>
                <a:gd name="csY4" fmla="*/ -4349 h 14648"/>
              </a:gdLst>
              <a:ahLst/>
              <a:cxnLst>
                <a:cxn ang="0">
                  <a:pos x="csX0" y="csY0"/>
                </a:cxn>
                <a:cxn ang="0">
                  <a:pos x="csX1" y="csY1"/>
                </a:cxn>
                <a:cxn ang="0">
                  <a:pos x="csX2" y="csY2"/>
                </a:cxn>
                <a:cxn ang="0">
                  <a:pos x="csX3" y="csY3"/>
                </a:cxn>
                <a:cxn ang="0">
                  <a:pos x="csX4" y="csY4"/>
                </a:cxn>
              </a:cxnLst>
              <a:rect l="l" t="t" r="r" b="b"/>
              <a:pathLst>
                <a:path w="13792" h="14648">
                  <a:moveTo>
                    <a:pt x="-2763" y="-4349"/>
                  </a:moveTo>
                  <a:lnTo>
                    <a:pt x="11030" y="-4349"/>
                  </a:lnTo>
                  <a:lnTo>
                    <a:pt x="11030" y="10299"/>
                  </a:lnTo>
                  <a:lnTo>
                    <a:pt x="-2763" y="10299"/>
                  </a:lnTo>
                  <a:lnTo>
                    <a:pt x="-2763" y="-4349"/>
                  </a:lnTo>
                </a:path>
              </a:pathLst>
            </a:custGeom>
            <a:grpFill/>
            <a:ln w="548" cap="flat">
              <a:noFill/>
              <a:prstDash val="solid"/>
              <a:miter/>
            </a:ln>
          </p:spPr>
          <p:txBody>
            <a:bodyPr/>
            <a:lstStyle/>
            <a:p>
              <a:endParaRPr lang="en-US"/>
            </a:p>
          </p:txBody>
        </p:sp>
        <p:sp>
          <p:nvSpPr>
            <p:cNvPr id="538" name="Freeform: Shape 537">
              <a:extLst>
                <a:ext uri="{FF2B5EF4-FFF2-40B4-BE49-F238E27FC236}">
                  <a16:creationId xmlns:a16="http://schemas.microsoft.com/office/drawing/2014/main" id="{3DEAB95D-845B-8E83-3968-84087C0FA974}"/>
                </a:ext>
              </a:extLst>
            </p:cNvPr>
            <p:cNvSpPr/>
            <p:nvPr/>
          </p:nvSpPr>
          <p:spPr>
            <a:xfrm flipV="1">
              <a:off x="19297962" y="4749785"/>
              <a:ext cx="13792" cy="14648"/>
            </a:xfrm>
            <a:custGeom>
              <a:avLst/>
              <a:gdLst>
                <a:gd name="csX0" fmla="*/ -2763 w 13792"/>
                <a:gd name="csY0" fmla="*/ -4390 h 14648"/>
                <a:gd name="csX1" fmla="*/ 11030 w 13792"/>
                <a:gd name="csY1" fmla="*/ -4390 h 14648"/>
                <a:gd name="csX2" fmla="*/ 11030 w 13792"/>
                <a:gd name="csY2" fmla="*/ 10259 h 14648"/>
                <a:gd name="csX3" fmla="*/ -2763 w 13792"/>
                <a:gd name="csY3" fmla="*/ 10259 h 14648"/>
                <a:gd name="csX4" fmla="*/ -2763 w 13792"/>
                <a:gd name="csY4" fmla="*/ -4390 h 14648"/>
              </a:gdLst>
              <a:ahLst/>
              <a:cxnLst>
                <a:cxn ang="0">
                  <a:pos x="csX0" y="csY0"/>
                </a:cxn>
                <a:cxn ang="0">
                  <a:pos x="csX1" y="csY1"/>
                </a:cxn>
                <a:cxn ang="0">
                  <a:pos x="csX2" y="csY2"/>
                </a:cxn>
                <a:cxn ang="0">
                  <a:pos x="csX3" y="csY3"/>
                </a:cxn>
                <a:cxn ang="0">
                  <a:pos x="csX4" y="csY4"/>
                </a:cxn>
              </a:cxnLst>
              <a:rect l="l" t="t" r="r" b="b"/>
              <a:pathLst>
                <a:path w="13792" h="14648">
                  <a:moveTo>
                    <a:pt x="-2763" y="-4390"/>
                  </a:moveTo>
                  <a:lnTo>
                    <a:pt x="11030" y="-4390"/>
                  </a:lnTo>
                  <a:lnTo>
                    <a:pt x="11030" y="10259"/>
                  </a:lnTo>
                  <a:lnTo>
                    <a:pt x="-2763" y="10259"/>
                  </a:lnTo>
                  <a:lnTo>
                    <a:pt x="-2763" y="-4390"/>
                  </a:lnTo>
                </a:path>
              </a:pathLst>
            </a:custGeom>
            <a:grpFill/>
            <a:ln w="548" cap="flat">
              <a:noFill/>
              <a:prstDash val="solid"/>
              <a:miter/>
            </a:ln>
          </p:spPr>
          <p:txBody>
            <a:bodyPr/>
            <a:lstStyle/>
            <a:p>
              <a:endParaRPr lang="en-US"/>
            </a:p>
          </p:txBody>
        </p:sp>
        <p:sp>
          <p:nvSpPr>
            <p:cNvPr id="539" name="Freeform: Shape 538">
              <a:extLst>
                <a:ext uri="{FF2B5EF4-FFF2-40B4-BE49-F238E27FC236}">
                  <a16:creationId xmlns:a16="http://schemas.microsoft.com/office/drawing/2014/main" id="{8B70FE86-B401-C0C1-72F5-A1FC37540303}"/>
                </a:ext>
              </a:extLst>
            </p:cNvPr>
            <p:cNvSpPr/>
            <p:nvPr/>
          </p:nvSpPr>
          <p:spPr>
            <a:xfrm flipV="1">
              <a:off x="19314043" y="4749785"/>
              <a:ext cx="13792" cy="14648"/>
            </a:xfrm>
            <a:custGeom>
              <a:avLst/>
              <a:gdLst>
                <a:gd name="csX0" fmla="*/ -2783 w 13792"/>
                <a:gd name="csY0" fmla="*/ -4390 h 14648"/>
                <a:gd name="csX1" fmla="*/ 11010 w 13792"/>
                <a:gd name="csY1" fmla="*/ -4390 h 14648"/>
                <a:gd name="csX2" fmla="*/ 11010 w 13792"/>
                <a:gd name="csY2" fmla="*/ 10259 h 14648"/>
                <a:gd name="csX3" fmla="*/ -2783 w 13792"/>
                <a:gd name="csY3" fmla="*/ 10259 h 14648"/>
                <a:gd name="csX4" fmla="*/ -2783 w 13792"/>
                <a:gd name="csY4" fmla="*/ -4390 h 14648"/>
              </a:gdLst>
              <a:ahLst/>
              <a:cxnLst>
                <a:cxn ang="0">
                  <a:pos x="csX0" y="csY0"/>
                </a:cxn>
                <a:cxn ang="0">
                  <a:pos x="csX1" y="csY1"/>
                </a:cxn>
                <a:cxn ang="0">
                  <a:pos x="csX2" y="csY2"/>
                </a:cxn>
                <a:cxn ang="0">
                  <a:pos x="csX3" y="csY3"/>
                </a:cxn>
                <a:cxn ang="0">
                  <a:pos x="csX4" y="csY4"/>
                </a:cxn>
              </a:cxnLst>
              <a:rect l="l" t="t" r="r" b="b"/>
              <a:pathLst>
                <a:path w="13792" h="14648">
                  <a:moveTo>
                    <a:pt x="-2783" y="-4390"/>
                  </a:moveTo>
                  <a:lnTo>
                    <a:pt x="11010" y="-4390"/>
                  </a:lnTo>
                  <a:lnTo>
                    <a:pt x="11010" y="10259"/>
                  </a:lnTo>
                  <a:lnTo>
                    <a:pt x="-2783" y="10259"/>
                  </a:lnTo>
                  <a:lnTo>
                    <a:pt x="-2783" y="-4390"/>
                  </a:lnTo>
                </a:path>
              </a:pathLst>
            </a:custGeom>
            <a:grpFill/>
            <a:ln w="548" cap="flat">
              <a:noFill/>
              <a:prstDash val="solid"/>
              <a:miter/>
            </a:ln>
          </p:spPr>
          <p:txBody>
            <a:bodyPr/>
            <a:lstStyle/>
            <a:p>
              <a:endParaRPr lang="en-US"/>
            </a:p>
          </p:txBody>
        </p:sp>
        <p:sp>
          <p:nvSpPr>
            <p:cNvPr id="540" name="Freeform: Shape 539">
              <a:extLst>
                <a:ext uri="{FF2B5EF4-FFF2-40B4-BE49-F238E27FC236}">
                  <a16:creationId xmlns:a16="http://schemas.microsoft.com/office/drawing/2014/main" id="{DAA9429F-DD9D-782D-610A-792C5CA3A8E4}"/>
                </a:ext>
              </a:extLst>
            </p:cNvPr>
            <p:cNvSpPr/>
            <p:nvPr/>
          </p:nvSpPr>
          <p:spPr>
            <a:xfrm flipV="1">
              <a:off x="19314043" y="4783653"/>
              <a:ext cx="13792" cy="12728"/>
            </a:xfrm>
            <a:custGeom>
              <a:avLst/>
              <a:gdLst>
                <a:gd name="csX0" fmla="*/ -2783 w 13792"/>
                <a:gd name="csY0" fmla="*/ -4311 h 12728"/>
                <a:gd name="csX1" fmla="*/ 11010 w 13792"/>
                <a:gd name="csY1" fmla="*/ -4311 h 12728"/>
                <a:gd name="csX2" fmla="*/ 11010 w 13792"/>
                <a:gd name="csY2" fmla="*/ 8418 h 12728"/>
                <a:gd name="csX3" fmla="*/ -2783 w 13792"/>
                <a:gd name="csY3" fmla="*/ 8418 h 12728"/>
                <a:gd name="csX4" fmla="*/ -2783 w 13792"/>
                <a:gd name="csY4" fmla="*/ -4311 h 12728"/>
              </a:gdLst>
              <a:ahLst/>
              <a:cxnLst>
                <a:cxn ang="0">
                  <a:pos x="csX0" y="csY0"/>
                </a:cxn>
                <a:cxn ang="0">
                  <a:pos x="csX1" y="csY1"/>
                </a:cxn>
                <a:cxn ang="0">
                  <a:pos x="csX2" y="csY2"/>
                </a:cxn>
                <a:cxn ang="0">
                  <a:pos x="csX3" y="csY3"/>
                </a:cxn>
                <a:cxn ang="0">
                  <a:pos x="csX4" y="csY4"/>
                </a:cxn>
              </a:cxnLst>
              <a:rect l="l" t="t" r="r" b="b"/>
              <a:pathLst>
                <a:path w="13792" h="12728">
                  <a:moveTo>
                    <a:pt x="-2783" y="-4311"/>
                  </a:moveTo>
                  <a:lnTo>
                    <a:pt x="11010" y="-4311"/>
                  </a:lnTo>
                  <a:lnTo>
                    <a:pt x="11010" y="8418"/>
                  </a:lnTo>
                  <a:lnTo>
                    <a:pt x="-2783" y="8418"/>
                  </a:lnTo>
                  <a:lnTo>
                    <a:pt x="-2783" y="-4311"/>
                  </a:lnTo>
                </a:path>
              </a:pathLst>
            </a:custGeom>
            <a:grpFill/>
            <a:ln w="548" cap="flat">
              <a:noFill/>
              <a:prstDash val="solid"/>
              <a:miter/>
            </a:ln>
          </p:spPr>
          <p:txBody>
            <a:bodyPr/>
            <a:lstStyle/>
            <a:p>
              <a:endParaRPr lang="en-US"/>
            </a:p>
          </p:txBody>
        </p:sp>
        <p:sp>
          <p:nvSpPr>
            <p:cNvPr id="541" name="Freeform: Shape 540">
              <a:extLst>
                <a:ext uri="{FF2B5EF4-FFF2-40B4-BE49-F238E27FC236}">
                  <a16:creationId xmlns:a16="http://schemas.microsoft.com/office/drawing/2014/main" id="{02F99737-7667-866D-56FC-648515E4CDE1}"/>
                </a:ext>
              </a:extLst>
            </p:cNvPr>
            <p:cNvSpPr/>
            <p:nvPr/>
          </p:nvSpPr>
          <p:spPr>
            <a:xfrm flipV="1">
              <a:off x="19314043" y="4734774"/>
              <a:ext cx="13792" cy="12728"/>
            </a:xfrm>
            <a:custGeom>
              <a:avLst/>
              <a:gdLst>
                <a:gd name="csX0" fmla="*/ -2783 w 13792"/>
                <a:gd name="csY0" fmla="*/ -4429 h 12728"/>
                <a:gd name="csX1" fmla="*/ 11010 w 13792"/>
                <a:gd name="csY1" fmla="*/ -4429 h 12728"/>
                <a:gd name="csX2" fmla="*/ 11010 w 13792"/>
                <a:gd name="csY2" fmla="*/ 8300 h 12728"/>
                <a:gd name="csX3" fmla="*/ -2783 w 13792"/>
                <a:gd name="csY3" fmla="*/ 8300 h 12728"/>
                <a:gd name="csX4" fmla="*/ -2783 w 13792"/>
                <a:gd name="csY4" fmla="*/ -4429 h 12728"/>
              </a:gdLst>
              <a:ahLst/>
              <a:cxnLst>
                <a:cxn ang="0">
                  <a:pos x="csX0" y="csY0"/>
                </a:cxn>
                <a:cxn ang="0">
                  <a:pos x="csX1" y="csY1"/>
                </a:cxn>
                <a:cxn ang="0">
                  <a:pos x="csX2" y="csY2"/>
                </a:cxn>
                <a:cxn ang="0">
                  <a:pos x="csX3" y="csY3"/>
                </a:cxn>
                <a:cxn ang="0">
                  <a:pos x="csX4" y="csY4"/>
                </a:cxn>
              </a:cxnLst>
              <a:rect l="l" t="t" r="r" b="b"/>
              <a:pathLst>
                <a:path w="13792" h="12728">
                  <a:moveTo>
                    <a:pt x="-2783" y="-4429"/>
                  </a:moveTo>
                  <a:lnTo>
                    <a:pt x="11010" y="-4429"/>
                  </a:lnTo>
                  <a:lnTo>
                    <a:pt x="11010" y="8300"/>
                  </a:lnTo>
                  <a:lnTo>
                    <a:pt x="-2783" y="8300"/>
                  </a:lnTo>
                  <a:lnTo>
                    <a:pt x="-2783" y="-4429"/>
                  </a:lnTo>
                </a:path>
              </a:pathLst>
            </a:custGeom>
            <a:grpFill/>
            <a:ln w="548" cap="flat">
              <a:noFill/>
              <a:prstDash val="solid"/>
              <a:miter/>
            </a:ln>
          </p:spPr>
          <p:txBody>
            <a:bodyPr/>
            <a:lstStyle/>
            <a:p>
              <a:endParaRPr lang="en-US"/>
            </a:p>
          </p:txBody>
        </p:sp>
        <p:sp>
          <p:nvSpPr>
            <p:cNvPr id="542" name="Freeform: Shape 541">
              <a:extLst>
                <a:ext uri="{FF2B5EF4-FFF2-40B4-BE49-F238E27FC236}">
                  <a16:creationId xmlns:a16="http://schemas.microsoft.com/office/drawing/2014/main" id="{14DA55A1-D7A1-FA78-630F-061E9648C8FE}"/>
                </a:ext>
              </a:extLst>
            </p:cNvPr>
            <p:cNvSpPr/>
            <p:nvPr/>
          </p:nvSpPr>
          <p:spPr>
            <a:xfrm flipV="1">
              <a:off x="19297962" y="4783653"/>
              <a:ext cx="13792" cy="12728"/>
            </a:xfrm>
            <a:custGeom>
              <a:avLst/>
              <a:gdLst>
                <a:gd name="csX0" fmla="*/ -2763 w 13792"/>
                <a:gd name="csY0" fmla="*/ -4311 h 12728"/>
                <a:gd name="csX1" fmla="*/ 11030 w 13792"/>
                <a:gd name="csY1" fmla="*/ -4311 h 12728"/>
                <a:gd name="csX2" fmla="*/ 11030 w 13792"/>
                <a:gd name="csY2" fmla="*/ 8418 h 12728"/>
                <a:gd name="csX3" fmla="*/ -2763 w 13792"/>
                <a:gd name="csY3" fmla="*/ 8418 h 12728"/>
                <a:gd name="csX4" fmla="*/ -2763 w 13792"/>
                <a:gd name="csY4" fmla="*/ -4311 h 12728"/>
              </a:gdLst>
              <a:ahLst/>
              <a:cxnLst>
                <a:cxn ang="0">
                  <a:pos x="csX0" y="csY0"/>
                </a:cxn>
                <a:cxn ang="0">
                  <a:pos x="csX1" y="csY1"/>
                </a:cxn>
                <a:cxn ang="0">
                  <a:pos x="csX2" y="csY2"/>
                </a:cxn>
                <a:cxn ang="0">
                  <a:pos x="csX3" y="csY3"/>
                </a:cxn>
                <a:cxn ang="0">
                  <a:pos x="csX4" y="csY4"/>
                </a:cxn>
              </a:cxnLst>
              <a:rect l="l" t="t" r="r" b="b"/>
              <a:pathLst>
                <a:path w="13792" h="12728">
                  <a:moveTo>
                    <a:pt x="-2763" y="-4311"/>
                  </a:moveTo>
                  <a:lnTo>
                    <a:pt x="11030" y="-4311"/>
                  </a:lnTo>
                  <a:lnTo>
                    <a:pt x="11030" y="8418"/>
                  </a:lnTo>
                  <a:lnTo>
                    <a:pt x="-2763" y="8418"/>
                  </a:lnTo>
                  <a:lnTo>
                    <a:pt x="-2763" y="-4311"/>
                  </a:lnTo>
                </a:path>
              </a:pathLst>
            </a:custGeom>
            <a:grpFill/>
            <a:ln w="548" cap="flat">
              <a:noFill/>
              <a:prstDash val="solid"/>
              <a:miter/>
            </a:ln>
          </p:spPr>
          <p:txBody>
            <a:bodyPr/>
            <a:lstStyle/>
            <a:p>
              <a:endParaRPr lang="en-US"/>
            </a:p>
          </p:txBody>
        </p:sp>
        <p:sp>
          <p:nvSpPr>
            <p:cNvPr id="543" name="Freeform: Shape 542">
              <a:extLst>
                <a:ext uri="{FF2B5EF4-FFF2-40B4-BE49-F238E27FC236}">
                  <a16:creationId xmlns:a16="http://schemas.microsoft.com/office/drawing/2014/main" id="{0EA3955F-9D3E-B385-77A7-2BBA7E555896}"/>
                </a:ext>
              </a:extLst>
            </p:cNvPr>
            <p:cNvSpPr/>
            <p:nvPr/>
          </p:nvSpPr>
          <p:spPr>
            <a:xfrm flipV="1">
              <a:off x="19297962" y="4734774"/>
              <a:ext cx="13792" cy="12728"/>
            </a:xfrm>
            <a:custGeom>
              <a:avLst/>
              <a:gdLst>
                <a:gd name="csX0" fmla="*/ -2763 w 13792"/>
                <a:gd name="csY0" fmla="*/ -4429 h 12728"/>
                <a:gd name="csX1" fmla="*/ 11030 w 13792"/>
                <a:gd name="csY1" fmla="*/ -4429 h 12728"/>
                <a:gd name="csX2" fmla="*/ 11030 w 13792"/>
                <a:gd name="csY2" fmla="*/ 8300 h 12728"/>
                <a:gd name="csX3" fmla="*/ -2763 w 13792"/>
                <a:gd name="csY3" fmla="*/ 8300 h 12728"/>
                <a:gd name="csX4" fmla="*/ -2763 w 13792"/>
                <a:gd name="csY4" fmla="*/ -4429 h 12728"/>
              </a:gdLst>
              <a:ahLst/>
              <a:cxnLst>
                <a:cxn ang="0">
                  <a:pos x="csX0" y="csY0"/>
                </a:cxn>
                <a:cxn ang="0">
                  <a:pos x="csX1" y="csY1"/>
                </a:cxn>
                <a:cxn ang="0">
                  <a:pos x="csX2" y="csY2"/>
                </a:cxn>
                <a:cxn ang="0">
                  <a:pos x="csX3" y="csY3"/>
                </a:cxn>
                <a:cxn ang="0">
                  <a:pos x="csX4" y="csY4"/>
                </a:cxn>
              </a:cxnLst>
              <a:rect l="l" t="t" r="r" b="b"/>
              <a:pathLst>
                <a:path w="13792" h="12728">
                  <a:moveTo>
                    <a:pt x="-2763" y="-4429"/>
                  </a:moveTo>
                  <a:lnTo>
                    <a:pt x="11030" y="-4429"/>
                  </a:lnTo>
                  <a:lnTo>
                    <a:pt x="11030" y="8300"/>
                  </a:lnTo>
                  <a:lnTo>
                    <a:pt x="-2763" y="8300"/>
                  </a:lnTo>
                  <a:lnTo>
                    <a:pt x="-2763" y="-4429"/>
                  </a:lnTo>
                </a:path>
              </a:pathLst>
            </a:custGeom>
            <a:grpFill/>
            <a:ln w="548" cap="flat">
              <a:noFill/>
              <a:prstDash val="solid"/>
              <a:miter/>
            </a:ln>
          </p:spPr>
          <p:txBody>
            <a:bodyPr/>
            <a:lstStyle/>
            <a:p>
              <a:endParaRPr lang="en-US"/>
            </a:p>
          </p:txBody>
        </p:sp>
        <p:sp>
          <p:nvSpPr>
            <p:cNvPr id="544" name="Freeform: Shape 543">
              <a:extLst>
                <a:ext uri="{FF2B5EF4-FFF2-40B4-BE49-F238E27FC236}">
                  <a16:creationId xmlns:a16="http://schemas.microsoft.com/office/drawing/2014/main" id="{39BBDD96-FF59-BCAD-F3A3-4976F4FA6592}"/>
                </a:ext>
              </a:extLst>
            </p:cNvPr>
            <p:cNvSpPr/>
            <p:nvPr/>
          </p:nvSpPr>
          <p:spPr>
            <a:xfrm flipV="1">
              <a:off x="18998377" y="3853055"/>
              <a:ext cx="305713" cy="200714"/>
            </a:xfrm>
            <a:custGeom>
              <a:avLst/>
              <a:gdLst>
                <a:gd name="csX0" fmla="*/ 303141 w 305713"/>
                <a:gd name="csY0" fmla="*/ -6324 h 200714"/>
                <a:gd name="csX1" fmla="*/ 151294 w 305713"/>
                <a:gd name="csY1" fmla="*/ 142127 h 200714"/>
                <a:gd name="csX2" fmla="*/ 151387 w 305713"/>
                <a:gd name="csY2" fmla="*/ 142577 h 200714"/>
                <a:gd name="csX3" fmla="*/ 151387 w 305713"/>
                <a:gd name="csY3" fmla="*/ 162224 h 200714"/>
                <a:gd name="csX4" fmla="*/ 163057 w 305713"/>
                <a:gd name="csY4" fmla="*/ 173899 h 200714"/>
                <a:gd name="csX5" fmla="*/ 167336 w 305713"/>
                <a:gd name="csY5" fmla="*/ 173899 h 200714"/>
                <a:gd name="csX6" fmla="*/ 168477 w 305713"/>
                <a:gd name="csY6" fmla="*/ 175040 h 200714"/>
                <a:gd name="csX7" fmla="*/ 167336 w 305713"/>
                <a:gd name="csY7" fmla="*/ 176181 h 200714"/>
                <a:gd name="csX8" fmla="*/ 163057 w 305713"/>
                <a:gd name="csY8" fmla="*/ 176181 h 200714"/>
                <a:gd name="csX9" fmla="*/ 151387 w 305713"/>
                <a:gd name="csY9" fmla="*/ 187856 h 200714"/>
                <a:gd name="csX10" fmla="*/ 151387 w 305713"/>
                <a:gd name="csY10" fmla="*/ 193249 h 200714"/>
                <a:gd name="csX11" fmla="*/ 150246 w 305713"/>
                <a:gd name="csY11" fmla="*/ 194391 h 200714"/>
                <a:gd name="csX12" fmla="*/ 149099 w 305713"/>
                <a:gd name="csY12" fmla="*/ 193249 h 200714"/>
                <a:gd name="csX13" fmla="*/ 149099 w 305713"/>
                <a:gd name="csY13" fmla="*/ 187856 h 200714"/>
                <a:gd name="csX14" fmla="*/ 137435 w 305713"/>
                <a:gd name="csY14" fmla="*/ 176181 h 200714"/>
                <a:gd name="csX15" fmla="*/ 133156 w 305713"/>
                <a:gd name="csY15" fmla="*/ 176181 h 200714"/>
                <a:gd name="csX16" fmla="*/ 132015 w 305713"/>
                <a:gd name="csY16" fmla="*/ 175040 h 200714"/>
                <a:gd name="csX17" fmla="*/ 133156 w 305713"/>
                <a:gd name="csY17" fmla="*/ 173899 h 200714"/>
                <a:gd name="csX18" fmla="*/ 137435 w 305713"/>
                <a:gd name="csY18" fmla="*/ 173899 h 200714"/>
                <a:gd name="csX19" fmla="*/ 149099 w 305713"/>
                <a:gd name="csY19" fmla="*/ 162224 h 200714"/>
                <a:gd name="csX20" fmla="*/ 149099 w 305713"/>
                <a:gd name="csY20" fmla="*/ 142577 h 200714"/>
                <a:gd name="csX21" fmla="*/ 149231 w 305713"/>
                <a:gd name="csY21" fmla="*/ 142078 h 200714"/>
                <a:gd name="csX22" fmla="*/ -2572 w 305713"/>
                <a:gd name="csY22" fmla="*/ -6324 h 200714"/>
                <a:gd name="csX23" fmla="*/ 151387 w 305713"/>
                <a:gd name="csY23" fmla="*/ 164572 h 200714"/>
                <a:gd name="csX24" fmla="*/ 151387 w 305713"/>
                <a:gd name="csY24" fmla="*/ 173899 h 200714"/>
                <a:gd name="csX25" fmla="*/ 160714 w 305713"/>
                <a:gd name="csY25" fmla="*/ 173899 h 200714"/>
                <a:gd name="csX26" fmla="*/ 151387 w 305713"/>
                <a:gd name="csY26" fmla="*/ 164572 h 200714"/>
                <a:gd name="csX27" fmla="*/ 160714 w 305713"/>
                <a:gd name="csY27" fmla="*/ 176181 h 200714"/>
                <a:gd name="csX28" fmla="*/ 151387 w 305713"/>
                <a:gd name="csY28" fmla="*/ 176181 h 200714"/>
                <a:gd name="csX29" fmla="*/ 151387 w 305713"/>
                <a:gd name="csY29" fmla="*/ 185508 h 200714"/>
                <a:gd name="csX30" fmla="*/ 160714 w 305713"/>
                <a:gd name="csY30" fmla="*/ 176181 h 200714"/>
                <a:gd name="csX31" fmla="*/ 149099 w 305713"/>
                <a:gd name="csY31" fmla="*/ 185508 h 200714"/>
                <a:gd name="csX32" fmla="*/ 149099 w 305713"/>
                <a:gd name="csY32" fmla="*/ 176181 h 200714"/>
                <a:gd name="csX33" fmla="*/ 139772 w 305713"/>
                <a:gd name="csY33" fmla="*/ 176181 h 200714"/>
                <a:gd name="csX34" fmla="*/ 149099 w 305713"/>
                <a:gd name="csY34" fmla="*/ 185508 h 200714"/>
                <a:gd name="csX35" fmla="*/ 139772 w 305713"/>
                <a:gd name="csY35" fmla="*/ 173899 h 200714"/>
                <a:gd name="csX36" fmla="*/ 149099 w 305713"/>
                <a:gd name="csY36" fmla="*/ 173899 h 200714"/>
                <a:gd name="csX37" fmla="*/ 149099 w 305713"/>
                <a:gd name="csY37" fmla="*/ 164572 h 200714"/>
                <a:gd name="csX38" fmla="*/ 139772 w 305713"/>
                <a:gd name="csY38" fmla="*/ 173899 h 200714"/>
                <a:gd name="csX39" fmla="*/ 150367 w 305713"/>
                <a:gd name="csY39" fmla="*/ 77854 h 200714"/>
                <a:gd name="csX40" fmla="*/ 162941 w 305713"/>
                <a:gd name="csY40" fmla="*/ 57741 h 200714"/>
                <a:gd name="csX41" fmla="*/ 162941 w 305713"/>
                <a:gd name="csY41" fmla="*/ 6877 h 200714"/>
                <a:gd name="csX42" fmla="*/ 137797 w 305713"/>
                <a:gd name="csY42" fmla="*/ 6877 h 200714"/>
                <a:gd name="csX43" fmla="*/ 137797 w 305713"/>
                <a:gd name="csY43" fmla="*/ 57741 h 200714"/>
                <a:gd name="csX44" fmla="*/ 150367 w 305713"/>
                <a:gd name="csY44" fmla="*/ 77854 h 20071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Lst>
              <a:rect l="l" t="t" r="r" b="b"/>
              <a:pathLst>
                <a:path w="305713" h="200714">
                  <a:moveTo>
                    <a:pt x="303141" y="-6324"/>
                  </a:moveTo>
                  <a:lnTo>
                    <a:pt x="151294" y="142127"/>
                  </a:lnTo>
                  <a:cubicBezTo>
                    <a:pt x="151354" y="142264"/>
                    <a:pt x="151387" y="142418"/>
                    <a:pt x="151387" y="142577"/>
                  </a:cubicBezTo>
                  <a:lnTo>
                    <a:pt x="151387" y="162224"/>
                  </a:lnTo>
                  <a:cubicBezTo>
                    <a:pt x="157576" y="162773"/>
                    <a:pt x="162508" y="167710"/>
                    <a:pt x="163057" y="173899"/>
                  </a:cubicBezTo>
                  <a:lnTo>
                    <a:pt x="167336" y="173899"/>
                  </a:lnTo>
                  <a:cubicBezTo>
                    <a:pt x="167967" y="173899"/>
                    <a:pt x="168477" y="174409"/>
                    <a:pt x="168477" y="175040"/>
                  </a:cubicBezTo>
                  <a:cubicBezTo>
                    <a:pt x="168477" y="175671"/>
                    <a:pt x="167967" y="176181"/>
                    <a:pt x="167336" y="176181"/>
                  </a:cubicBezTo>
                  <a:lnTo>
                    <a:pt x="163057" y="176181"/>
                  </a:lnTo>
                  <a:cubicBezTo>
                    <a:pt x="162508" y="182370"/>
                    <a:pt x="157576" y="187308"/>
                    <a:pt x="151387" y="187856"/>
                  </a:cubicBezTo>
                  <a:lnTo>
                    <a:pt x="151387" y="193249"/>
                  </a:lnTo>
                  <a:cubicBezTo>
                    <a:pt x="151387" y="193880"/>
                    <a:pt x="150877" y="194391"/>
                    <a:pt x="150246" y="194391"/>
                  </a:cubicBezTo>
                  <a:cubicBezTo>
                    <a:pt x="149615" y="194391"/>
                    <a:pt x="149099" y="193880"/>
                    <a:pt x="149099" y="193249"/>
                  </a:cubicBezTo>
                  <a:lnTo>
                    <a:pt x="149099" y="187856"/>
                  </a:lnTo>
                  <a:cubicBezTo>
                    <a:pt x="142916" y="187308"/>
                    <a:pt x="137984" y="182370"/>
                    <a:pt x="137435" y="176181"/>
                  </a:cubicBezTo>
                  <a:lnTo>
                    <a:pt x="133156" y="176181"/>
                  </a:lnTo>
                  <a:cubicBezTo>
                    <a:pt x="132525" y="176181"/>
                    <a:pt x="132015" y="175671"/>
                    <a:pt x="132015" y="175040"/>
                  </a:cubicBezTo>
                  <a:cubicBezTo>
                    <a:pt x="132015" y="174409"/>
                    <a:pt x="132525" y="173899"/>
                    <a:pt x="133156" y="173899"/>
                  </a:cubicBezTo>
                  <a:lnTo>
                    <a:pt x="137435" y="173899"/>
                  </a:lnTo>
                  <a:cubicBezTo>
                    <a:pt x="137984" y="167710"/>
                    <a:pt x="142916" y="162773"/>
                    <a:pt x="149099" y="162224"/>
                  </a:cubicBezTo>
                  <a:lnTo>
                    <a:pt x="149099" y="142577"/>
                  </a:lnTo>
                  <a:cubicBezTo>
                    <a:pt x="149099" y="142396"/>
                    <a:pt x="149154" y="142231"/>
                    <a:pt x="149231" y="142078"/>
                  </a:cubicBezTo>
                  <a:lnTo>
                    <a:pt x="-2572" y="-6324"/>
                  </a:lnTo>
                  <a:close/>
                  <a:moveTo>
                    <a:pt x="151387" y="164572"/>
                  </a:moveTo>
                  <a:lnTo>
                    <a:pt x="151387" y="173899"/>
                  </a:lnTo>
                  <a:lnTo>
                    <a:pt x="160714" y="173899"/>
                  </a:lnTo>
                  <a:cubicBezTo>
                    <a:pt x="160176" y="168983"/>
                    <a:pt x="156303" y="165110"/>
                    <a:pt x="151387" y="164572"/>
                  </a:cubicBezTo>
                  <a:close/>
                  <a:moveTo>
                    <a:pt x="160714" y="176181"/>
                  </a:moveTo>
                  <a:lnTo>
                    <a:pt x="151387" y="176181"/>
                  </a:lnTo>
                  <a:lnTo>
                    <a:pt x="151387" y="185508"/>
                  </a:lnTo>
                  <a:cubicBezTo>
                    <a:pt x="156303" y="184971"/>
                    <a:pt x="160176" y="181097"/>
                    <a:pt x="160714" y="176181"/>
                  </a:cubicBezTo>
                  <a:close/>
                  <a:moveTo>
                    <a:pt x="149099" y="185508"/>
                  </a:moveTo>
                  <a:lnTo>
                    <a:pt x="149099" y="176181"/>
                  </a:lnTo>
                  <a:lnTo>
                    <a:pt x="139772" y="176181"/>
                  </a:lnTo>
                  <a:cubicBezTo>
                    <a:pt x="140316" y="181097"/>
                    <a:pt x="144189" y="184976"/>
                    <a:pt x="149099" y="185508"/>
                  </a:cubicBezTo>
                  <a:close/>
                  <a:moveTo>
                    <a:pt x="139772" y="173899"/>
                  </a:moveTo>
                  <a:lnTo>
                    <a:pt x="149099" y="173899"/>
                  </a:lnTo>
                  <a:lnTo>
                    <a:pt x="149099" y="164572"/>
                  </a:lnTo>
                  <a:cubicBezTo>
                    <a:pt x="144189" y="165104"/>
                    <a:pt x="140316" y="168983"/>
                    <a:pt x="139772" y="173899"/>
                  </a:cubicBezTo>
                  <a:close/>
                  <a:moveTo>
                    <a:pt x="150367" y="77854"/>
                  </a:moveTo>
                  <a:cubicBezTo>
                    <a:pt x="150367" y="77854"/>
                    <a:pt x="162941" y="74710"/>
                    <a:pt x="162941" y="57741"/>
                  </a:cubicBezTo>
                  <a:cubicBezTo>
                    <a:pt x="162941" y="40771"/>
                    <a:pt x="162941" y="6877"/>
                    <a:pt x="162941" y="6877"/>
                  </a:cubicBezTo>
                  <a:lnTo>
                    <a:pt x="137797" y="6877"/>
                  </a:lnTo>
                  <a:cubicBezTo>
                    <a:pt x="137797" y="6877"/>
                    <a:pt x="137797" y="40771"/>
                    <a:pt x="137797" y="57741"/>
                  </a:cubicBezTo>
                  <a:cubicBezTo>
                    <a:pt x="137797" y="74710"/>
                    <a:pt x="150367" y="77854"/>
                    <a:pt x="150367" y="77854"/>
                  </a:cubicBezTo>
                </a:path>
              </a:pathLst>
            </a:custGeom>
            <a:grpFill/>
            <a:ln w="548" cap="flat">
              <a:noFill/>
              <a:prstDash val="solid"/>
              <a:miter/>
            </a:ln>
          </p:spPr>
          <p:txBody>
            <a:bodyPr/>
            <a:lstStyle/>
            <a:p>
              <a:endParaRPr lang="en-US"/>
            </a:p>
          </p:txBody>
        </p:sp>
        <p:sp>
          <p:nvSpPr>
            <p:cNvPr id="545" name="Freeform: Shape 544">
              <a:extLst>
                <a:ext uri="{FF2B5EF4-FFF2-40B4-BE49-F238E27FC236}">
                  <a16:creationId xmlns:a16="http://schemas.microsoft.com/office/drawing/2014/main" id="{ADDB9A8F-F7AF-5493-A461-8397186C102D}"/>
                </a:ext>
              </a:extLst>
            </p:cNvPr>
            <p:cNvSpPr/>
            <p:nvPr/>
          </p:nvSpPr>
          <p:spPr>
            <a:xfrm flipV="1">
              <a:off x="18499669" y="3963183"/>
              <a:ext cx="1303129" cy="529366"/>
            </a:xfrm>
            <a:custGeom>
              <a:avLst/>
              <a:gdLst>
                <a:gd name="csX0" fmla="*/ 1246807 w 1303129"/>
                <a:gd name="csY0" fmla="*/ 64985 h 529366"/>
                <a:gd name="csX1" fmla="*/ 1300558 w 1303129"/>
                <a:gd name="csY1" fmla="*/ -5663 h 529366"/>
                <a:gd name="csX2" fmla="*/ 1300558 w 1303129"/>
                <a:gd name="csY2" fmla="*/ 76984 h 529366"/>
                <a:gd name="csX3" fmla="*/ 1246807 w 1303129"/>
                <a:gd name="csY3" fmla="*/ 142305 h 529366"/>
                <a:gd name="csX4" fmla="*/ 1265752 w 1303129"/>
                <a:gd name="csY4" fmla="*/ 119284 h 529366"/>
                <a:gd name="csX5" fmla="*/ 1265752 w 1303129"/>
                <a:gd name="csY5" fmla="*/ 358304 h 529366"/>
                <a:gd name="csX6" fmla="*/ 1271397 w 1303129"/>
                <a:gd name="csY6" fmla="*/ 358304 h 529366"/>
                <a:gd name="csX7" fmla="*/ 1271397 w 1303129"/>
                <a:gd name="csY7" fmla="*/ 367653 h 529366"/>
                <a:gd name="csX8" fmla="*/ 1265752 w 1303129"/>
                <a:gd name="csY8" fmla="*/ 367653 h 529366"/>
                <a:gd name="csX9" fmla="*/ 1265752 w 1303129"/>
                <a:gd name="csY9" fmla="*/ 523703 h 529366"/>
                <a:gd name="csX10" fmla="*/ 977787 w 1303129"/>
                <a:gd name="csY10" fmla="*/ 523703 h 529366"/>
                <a:gd name="csX11" fmla="*/ 977787 w 1303129"/>
                <a:gd name="csY11" fmla="*/ 367653 h 529366"/>
                <a:gd name="csX12" fmla="*/ 972142 w 1303129"/>
                <a:gd name="csY12" fmla="*/ 367653 h 529366"/>
                <a:gd name="csX13" fmla="*/ 972142 w 1303129"/>
                <a:gd name="csY13" fmla="*/ 358304 h 529366"/>
                <a:gd name="csX14" fmla="*/ 977787 w 1303129"/>
                <a:gd name="csY14" fmla="*/ 358304 h 529366"/>
                <a:gd name="csX15" fmla="*/ 977787 w 1303129"/>
                <a:gd name="csY15" fmla="*/ 205941 h 529366"/>
                <a:gd name="csX16" fmla="*/ 1193567 w 1303129"/>
                <a:gd name="csY16" fmla="*/ 205941 h 529366"/>
                <a:gd name="csX17" fmla="*/ 1217214 w 1303129"/>
                <a:gd name="csY17" fmla="*/ 142431 h 529366"/>
                <a:gd name="csX18" fmla="*/ 1207300 w 1303129"/>
                <a:gd name="csY18" fmla="*/ 142431 h 529366"/>
                <a:gd name="csX19" fmla="*/ 1207344 w 1303129"/>
                <a:gd name="csY19" fmla="*/ 142305 h 529366"/>
                <a:gd name="csX20" fmla="*/ 944485 w 1303129"/>
                <a:gd name="csY20" fmla="*/ 142305 h 529366"/>
                <a:gd name="csX21" fmla="*/ 944485 w 1303129"/>
                <a:gd name="csY21" fmla="*/ 335887 h 529366"/>
                <a:gd name="csX22" fmla="*/ 891952 w 1303129"/>
                <a:gd name="csY22" fmla="*/ 335887 h 529366"/>
                <a:gd name="csX23" fmla="*/ 801849 w 1303129"/>
                <a:gd name="csY23" fmla="*/ 423971 h 529366"/>
                <a:gd name="csX24" fmla="*/ 496136 w 1303129"/>
                <a:gd name="csY24" fmla="*/ 423971 h 529366"/>
                <a:gd name="csX25" fmla="*/ 406033 w 1303129"/>
                <a:gd name="csY25" fmla="*/ 335887 h 529366"/>
                <a:gd name="csX26" fmla="*/ 353501 w 1303129"/>
                <a:gd name="csY26" fmla="*/ 335887 h 529366"/>
                <a:gd name="csX27" fmla="*/ 353501 w 1303129"/>
                <a:gd name="csY27" fmla="*/ 142305 h 529366"/>
                <a:gd name="csX28" fmla="*/ 90384 w 1303129"/>
                <a:gd name="csY28" fmla="*/ 142305 h 529366"/>
                <a:gd name="csX29" fmla="*/ 90428 w 1303129"/>
                <a:gd name="csY29" fmla="*/ 142431 h 529366"/>
                <a:gd name="csX30" fmla="*/ 80514 w 1303129"/>
                <a:gd name="csY30" fmla="*/ 142431 h 529366"/>
                <a:gd name="csX31" fmla="*/ 104166 w 1303129"/>
                <a:gd name="csY31" fmla="*/ 205941 h 529366"/>
                <a:gd name="csX32" fmla="*/ 319940 w 1303129"/>
                <a:gd name="csY32" fmla="*/ 205941 h 529366"/>
                <a:gd name="csX33" fmla="*/ 319940 w 1303129"/>
                <a:gd name="csY33" fmla="*/ 358304 h 529366"/>
                <a:gd name="csX34" fmla="*/ 325586 w 1303129"/>
                <a:gd name="csY34" fmla="*/ 358304 h 529366"/>
                <a:gd name="csX35" fmla="*/ 325586 w 1303129"/>
                <a:gd name="csY35" fmla="*/ 367653 h 529366"/>
                <a:gd name="csX36" fmla="*/ 319940 w 1303129"/>
                <a:gd name="csY36" fmla="*/ 367653 h 529366"/>
                <a:gd name="csX37" fmla="*/ 319940 w 1303129"/>
                <a:gd name="csY37" fmla="*/ 523703 h 529366"/>
                <a:gd name="csX38" fmla="*/ 31981 w 1303129"/>
                <a:gd name="csY38" fmla="*/ 523703 h 529366"/>
                <a:gd name="csX39" fmla="*/ 31981 w 1303129"/>
                <a:gd name="csY39" fmla="*/ 367653 h 529366"/>
                <a:gd name="csX40" fmla="*/ 26330 w 1303129"/>
                <a:gd name="csY40" fmla="*/ 367653 h 529366"/>
                <a:gd name="csX41" fmla="*/ 26330 w 1303129"/>
                <a:gd name="csY41" fmla="*/ 358304 h 529366"/>
                <a:gd name="csX42" fmla="*/ 31981 w 1303129"/>
                <a:gd name="csY42" fmla="*/ 358304 h 529366"/>
                <a:gd name="csX43" fmla="*/ 31981 w 1303129"/>
                <a:gd name="csY43" fmla="*/ 119284 h 529366"/>
                <a:gd name="csX44" fmla="*/ 50926 w 1303129"/>
                <a:gd name="csY44" fmla="*/ 142305 h 529366"/>
                <a:gd name="csX45" fmla="*/ 50926 w 1303129"/>
                <a:gd name="csY45" fmla="*/ 142305 h 529366"/>
                <a:gd name="csX46" fmla="*/ 51183 w 1303129"/>
                <a:gd name="csY46" fmla="*/ 142305 h 529366"/>
                <a:gd name="csX47" fmla="*/ 51183 w 1303129"/>
                <a:gd name="csY47" fmla="*/ 142305 h 529366"/>
                <a:gd name="csX48" fmla="*/ -2572 w 1303129"/>
                <a:gd name="csY48" fmla="*/ 76984 h 529366"/>
                <a:gd name="csX49" fmla="*/ -2572 w 1303129"/>
                <a:gd name="csY49" fmla="*/ -5663 h 529366"/>
                <a:gd name="csX50" fmla="*/ 51183 w 1303129"/>
                <a:gd name="csY50" fmla="*/ 64985 h 529366"/>
                <a:gd name="csX51" fmla="*/ 1080224 w 1303129"/>
                <a:gd name="csY51" fmla="*/ 407627 h 529366"/>
                <a:gd name="csX52" fmla="*/ 1105982 w 1303129"/>
                <a:gd name="csY52" fmla="*/ 407627 h 529366"/>
                <a:gd name="csX53" fmla="*/ 1105982 w 1303129"/>
                <a:gd name="csY53" fmla="*/ 380091 h 529366"/>
                <a:gd name="csX54" fmla="*/ 1080224 w 1303129"/>
                <a:gd name="csY54" fmla="*/ 380091 h 529366"/>
                <a:gd name="csX55" fmla="*/ 1080224 w 1303129"/>
                <a:gd name="csY55" fmla="*/ 407627 h 529366"/>
                <a:gd name="csX56" fmla="*/ 1105982 w 1303129"/>
                <a:gd name="csY56" fmla="*/ 438708 h 529366"/>
                <a:gd name="csX57" fmla="*/ 1105982 w 1303129"/>
                <a:gd name="csY57" fmla="*/ 409909 h 529366"/>
                <a:gd name="csX58" fmla="*/ 1080224 w 1303129"/>
                <a:gd name="csY58" fmla="*/ 409909 h 529366"/>
                <a:gd name="csX59" fmla="*/ 1080224 w 1303129"/>
                <a:gd name="csY59" fmla="*/ 438708 h 529366"/>
                <a:gd name="csX60" fmla="*/ 1137557 w 1303129"/>
                <a:gd name="csY60" fmla="*/ 407627 h 529366"/>
                <a:gd name="csX61" fmla="*/ 1163310 w 1303129"/>
                <a:gd name="csY61" fmla="*/ 407627 h 529366"/>
                <a:gd name="csX62" fmla="*/ 1163310 w 1303129"/>
                <a:gd name="csY62" fmla="*/ 380091 h 529366"/>
                <a:gd name="csX63" fmla="*/ 1137557 w 1303129"/>
                <a:gd name="csY63" fmla="*/ 380091 h 529366"/>
                <a:gd name="csX64" fmla="*/ 1137557 w 1303129"/>
                <a:gd name="csY64" fmla="*/ 407627 h 529366"/>
                <a:gd name="csX65" fmla="*/ 1163310 w 1303129"/>
                <a:gd name="csY65" fmla="*/ 438708 h 529366"/>
                <a:gd name="csX66" fmla="*/ 1163310 w 1303129"/>
                <a:gd name="csY66" fmla="*/ 409909 h 529366"/>
                <a:gd name="csX67" fmla="*/ 1137557 w 1303129"/>
                <a:gd name="csY67" fmla="*/ 409909 h 529366"/>
                <a:gd name="csX68" fmla="*/ 1137557 w 1303129"/>
                <a:gd name="csY68" fmla="*/ 438708 h 529366"/>
                <a:gd name="csX69" fmla="*/ 1137557 w 1303129"/>
                <a:gd name="csY69" fmla="*/ 447245 h 529366"/>
                <a:gd name="csX70" fmla="*/ 1150433 w 1303129"/>
                <a:gd name="csY70" fmla="*/ 467851 h 529366"/>
                <a:gd name="csX71" fmla="*/ 1163310 w 1303129"/>
                <a:gd name="csY71" fmla="*/ 447245 h 529366"/>
                <a:gd name="csX72" fmla="*/ 1163310 w 1303129"/>
                <a:gd name="csY72" fmla="*/ 440990 h 529366"/>
                <a:gd name="csX73" fmla="*/ 1137557 w 1303129"/>
                <a:gd name="csY73" fmla="*/ 440990 h 529366"/>
                <a:gd name="csX74" fmla="*/ 1137557 w 1303129"/>
                <a:gd name="csY74" fmla="*/ 447245 h 529366"/>
                <a:gd name="csX75" fmla="*/ 1080224 w 1303129"/>
                <a:gd name="csY75" fmla="*/ 447245 h 529366"/>
                <a:gd name="csX76" fmla="*/ 1093100 w 1303129"/>
                <a:gd name="csY76" fmla="*/ 467851 h 529366"/>
                <a:gd name="csX77" fmla="*/ 1105982 w 1303129"/>
                <a:gd name="csY77" fmla="*/ 447245 h 529366"/>
                <a:gd name="csX78" fmla="*/ 1105982 w 1303129"/>
                <a:gd name="csY78" fmla="*/ 440990 h 529366"/>
                <a:gd name="csX79" fmla="*/ 1080224 w 1303129"/>
                <a:gd name="csY79" fmla="*/ 440990 h 529366"/>
                <a:gd name="csX80" fmla="*/ 1080224 w 1303129"/>
                <a:gd name="csY80" fmla="*/ 447245 h 529366"/>
                <a:gd name="csX81" fmla="*/ 1133793 w 1303129"/>
                <a:gd name="csY81" fmla="*/ 228260 h 529366"/>
                <a:gd name="csX82" fmla="*/ 1109746 w 1303129"/>
                <a:gd name="csY82" fmla="*/ 228260 h 529366"/>
                <a:gd name="csX83" fmla="*/ 1109746 w 1303129"/>
                <a:gd name="csY83" fmla="*/ 279920 h 529366"/>
                <a:gd name="csX84" fmla="*/ 1133793 w 1303129"/>
                <a:gd name="csY84" fmla="*/ 279920 h 529366"/>
                <a:gd name="csX85" fmla="*/ 1056544 w 1303129"/>
                <a:gd name="csY85" fmla="*/ 114604 h 529366"/>
                <a:gd name="csX86" fmla="*/ 1080882 w 1303129"/>
                <a:gd name="csY86" fmla="*/ 114604 h 529366"/>
                <a:gd name="csX87" fmla="*/ 1080882 w 1303129"/>
                <a:gd name="csY87" fmla="*/ 76298 h 529366"/>
                <a:gd name="csX88" fmla="*/ 1056544 w 1303129"/>
                <a:gd name="csY88" fmla="*/ 76298 h 529366"/>
                <a:gd name="csX89" fmla="*/ 766133 w 1303129"/>
                <a:gd name="csY89" fmla="*/ 330807 h 529366"/>
                <a:gd name="csX90" fmla="*/ 770451 w 1303129"/>
                <a:gd name="csY90" fmla="*/ 331887 h 529366"/>
                <a:gd name="csX91" fmla="*/ 774774 w 1303129"/>
                <a:gd name="csY91" fmla="*/ 330807 h 529366"/>
                <a:gd name="csX92" fmla="*/ 810512 w 1303129"/>
                <a:gd name="csY92" fmla="*/ 283772 h 529366"/>
                <a:gd name="csX93" fmla="*/ 792599 w 1303129"/>
                <a:gd name="csY93" fmla="*/ 283772 h 529366"/>
                <a:gd name="csX94" fmla="*/ 792956 w 1303129"/>
                <a:gd name="csY94" fmla="*/ 277517 h 529366"/>
                <a:gd name="csX95" fmla="*/ 792956 w 1303129"/>
                <a:gd name="csY95" fmla="*/ 84643 h 529366"/>
                <a:gd name="csX96" fmla="*/ 747945 w 1303129"/>
                <a:gd name="csY96" fmla="*/ 84643 h 529366"/>
                <a:gd name="csX97" fmla="*/ 747945 w 1303129"/>
                <a:gd name="csY97" fmla="*/ 277517 h 529366"/>
                <a:gd name="csX98" fmla="*/ 748302 w 1303129"/>
                <a:gd name="csY98" fmla="*/ 283772 h 529366"/>
                <a:gd name="csX99" fmla="*/ 730400 w 1303129"/>
                <a:gd name="csY99" fmla="*/ 283772 h 529366"/>
                <a:gd name="csX100" fmla="*/ 766133 w 1303129"/>
                <a:gd name="csY100" fmla="*/ 330807 h 529366"/>
                <a:gd name="csX101" fmla="*/ 644757 w 1303129"/>
                <a:gd name="csY101" fmla="*/ 364652 h 529366"/>
                <a:gd name="csX102" fmla="*/ 649075 w 1303129"/>
                <a:gd name="csY102" fmla="*/ 365733 h 529366"/>
                <a:gd name="csX103" fmla="*/ 653398 w 1303129"/>
                <a:gd name="csY103" fmla="*/ 364652 h 529366"/>
                <a:gd name="csX104" fmla="*/ 689137 w 1303129"/>
                <a:gd name="csY104" fmla="*/ 317617 h 529366"/>
                <a:gd name="csX105" fmla="*/ 671224 w 1303129"/>
                <a:gd name="csY105" fmla="*/ 317617 h 529366"/>
                <a:gd name="csX106" fmla="*/ 671224 w 1303129"/>
                <a:gd name="csY106" fmla="*/ 317650 h 529366"/>
                <a:gd name="csX107" fmla="*/ 671580 w 1303129"/>
                <a:gd name="csY107" fmla="*/ 311363 h 529366"/>
                <a:gd name="csX108" fmla="*/ 671580 w 1303129"/>
                <a:gd name="csY108" fmla="*/ 84643 h 529366"/>
                <a:gd name="csX109" fmla="*/ 649075 w 1303129"/>
                <a:gd name="csY109" fmla="*/ 84643 h 529366"/>
                <a:gd name="csX110" fmla="*/ 626575 w 1303129"/>
                <a:gd name="csY110" fmla="*/ 84643 h 529366"/>
                <a:gd name="csX111" fmla="*/ 626575 w 1303129"/>
                <a:gd name="csY111" fmla="*/ 311363 h 529366"/>
                <a:gd name="csX112" fmla="*/ 626932 w 1303129"/>
                <a:gd name="csY112" fmla="*/ 317650 h 529366"/>
                <a:gd name="csX113" fmla="*/ 626932 w 1303129"/>
                <a:gd name="csY113" fmla="*/ 317617 h 529366"/>
                <a:gd name="csX114" fmla="*/ 609024 w 1303129"/>
                <a:gd name="csY114" fmla="*/ 317617 h 529366"/>
                <a:gd name="csX115" fmla="*/ 644757 w 1303129"/>
                <a:gd name="csY115" fmla="*/ 364652 h 529366"/>
                <a:gd name="csX116" fmla="*/ 523211 w 1303129"/>
                <a:gd name="csY116" fmla="*/ 330807 h 529366"/>
                <a:gd name="csX117" fmla="*/ 527535 w 1303129"/>
                <a:gd name="csY117" fmla="*/ 331887 h 529366"/>
                <a:gd name="csX118" fmla="*/ 531852 w 1303129"/>
                <a:gd name="csY118" fmla="*/ 330807 h 529366"/>
                <a:gd name="csX119" fmla="*/ 567591 w 1303129"/>
                <a:gd name="csY119" fmla="*/ 283772 h 529366"/>
                <a:gd name="csX120" fmla="*/ 549683 w 1303129"/>
                <a:gd name="csY120" fmla="*/ 283772 h 529366"/>
                <a:gd name="csX121" fmla="*/ 550034 w 1303129"/>
                <a:gd name="csY121" fmla="*/ 277517 h 529366"/>
                <a:gd name="csX122" fmla="*/ 550034 w 1303129"/>
                <a:gd name="csY122" fmla="*/ 84643 h 529366"/>
                <a:gd name="csX123" fmla="*/ 505024 w 1303129"/>
                <a:gd name="csY123" fmla="*/ 84643 h 529366"/>
                <a:gd name="csX124" fmla="*/ 505024 w 1303129"/>
                <a:gd name="csY124" fmla="*/ 277517 h 529366"/>
                <a:gd name="csX125" fmla="*/ 505381 w 1303129"/>
                <a:gd name="csY125" fmla="*/ 283772 h 529366"/>
                <a:gd name="csX126" fmla="*/ 487479 w 1303129"/>
                <a:gd name="csY126" fmla="*/ 283772 h 529366"/>
                <a:gd name="csX127" fmla="*/ 523211 w 1303129"/>
                <a:gd name="csY127" fmla="*/ 330807 h 529366"/>
                <a:gd name="csX128" fmla="*/ 199453 w 1303129"/>
                <a:gd name="csY128" fmla="*/ 114604 h 529366"/>
                <a:gd name="csX129" fmla="*/ 223797 w 1303129"/>
                <a:gd name="csY129" fmla="*/ 114604 h 529366"/>
                <a:gd name="csX130" fmla="*/ 223797 w 1303129"/>
                <a:gd name="csY130" fmla="*/ 76298 h 529366"/>
                <a:gd name="csX131" fmla="*/ 199453 w 1303129"/>
                <a:gd name="csY131" fmla="*/ 76298 h 529366"/>
                <a:gd name="csX132" fmla="*/ 134418 w 1303129"/>
                <a:gd name="csY132" fmla="*/ 407627 h 529366"/>
                <a:gd name="csX133" fmla="*/ 160176 w 1303129"/>
                <a:gd name="csY133" fmla="*/ 407627 h 529366"/>
                <a:gd name="csX134" fmla="*/ 160176 w 1303129"/>
                <a:gd name="csY134" fmla="*/ 380091 h 529366"/>
                <a:gd name="csX135" fmla="*/ 134418 w 1303129"/>
                <a:gd name="csY135" fmla="*/ 380091 h 529366"/>
                <a:gd name="csX136" fmla="*/ 134418 w 1303129"/>
                <a:gd name="csY136" fmla="*/ 407627 h 529366"/>
                <a:gd name="csX137" fmla="*/ 160176 w 1303129"/>
                <a:gd name="csY137" fmla="*/ 438708 h 529366"/>
                <a:gd name="csX138" fmla="*/ 160176 w 1303129"/>
                <a:gd name="csY138" fmla="*/ 409909 h 529366"/>
                <a:gd name="csX139" fmla="*/ 134418 w 1303129"/>
                <a:gd name="csY139" fmla="*/ 409909 h 529366"/>
                <a:gd name="csX140" fmla="*/ 134418 w 1303129"/>
                <a:gd name="csY140" fmla="*/ 438708 h 529366"/>
                <a:gd name="csX141" fmla="*/ 191745 w 1303129"/>
                <a:gd name="csY141" fmla="*/ 407627 h 529366"/>
                <a:gd name="csX142" fmla="*/ 217498 w 1303129"/>
                <a:gd name="csY142" fmla="*/ 407627 h 529366"/>
                <a:gd name="csX143" fmla="*/ 217498 w 1303129"/>
                <a:gd name="csY143" fmla="*/ 380091 h 529366"/>
                <a:gd name="csX144" fmla="*/ 191745 w 1303129"/>
                <a:gd name="csY144" fmla="*/ 380091 h 529366"/>
                <a:gd name="csX145" fmla="*/ 191745 w 1303129"/>
                <a:gd name="csY145" fmla="*/ 407627 h 529366"/>
                <a:gd name="csX146" fmla="*/ 217498 w 1303129"/>
                <a:gd name="csY146" fmla="*/ 438708 h 529366"/>
                <a:gd name="csX147" fmla="*/ 217498 w 1303129"/>
                <a:gd name="csY147" fmla="*/ 409909 h 529366"/>
                <a:gd name="csX148" fmla="*/ 191745 w 1303129"/>
                <a:gd name="csY148" fmla="*/ 409909 h 529366"/>
                <a:gd name="csX149" fmla="*/ 191745 w 1303129"/>
                <a:gd name="csY149" fmla="*/ 438708 h 529366"/>
                <a:gd name="csX150" fmla="*/ 191745 w 1303129"/>
                <a:gd name="csY150" fmla="*/ 447245 h 529366"/>
                <a:gd name="csX151" fmla="*/ 204627 w 1303129"/>
                <a:gd name="csY151" fmla="*/ 467851 h 529366"/>
                <a:gd name="csX152" fmla="*/ 217498 w 1303129"/>
                <a:gd name="csY152" fmla="*/ 447245 h 529366"/>
                <a:gd name="csX153" fmla="*/ 217498 w 1303129"/>
                <a:gd name="csY153" fmla="*/ 440990 h 529366"/>
                <a:gd name="csX154" fmla="*/ 191745 w 1303129"/>
                <a:gd name="csY154" fmla="*/ 440990 h 529366"/>
                <a:gd name="csX155" fmla="*/ 191745 w 1303129"/>
                <a:gd name="csY155" fmla="*/ 447245 h 529366"/>
                <a:gd name="csX156" fmla="*/ 134418 w 1303129"/>
                <a:gd name="csY156" fmla="*/ 447245 h 529366"/>
                <a:gd name="csX157" fmla="*/ 147294 w 1303129"/>
                <a:gd name="csY157" fmla="*/ 467851 h 529366"/>
                <a:gd name="csX158" fmla="*/ 160176 w 1303129"/>
                <a:gd name="csY158" fmla="*/ 447245 h 529366"/>
                <a:gd name="csX159" fmla="*/ 160176 w 1303129"/>
                <a:gd name="csY159" fmla="*/ 440990 h 529366"/>
                <a:gd name="csX160" fmla="*/ 134418 w 1303129"/>
                <a:gd name="csY160" fmla="*/ 440990 h 529366"/>
                <a:gd name="csX161" fmla="*/ 134418 w 1303129"/>
                <a:gd name="csY161" fmla="*/ 447245 h 529366"/>
                <a:gd name="csX162" fmla="*/ 187987 w 1303129"/>
                <a:gd name="csY162" fmla="*/ 228260 h 529366"/>
                <a:gd name="csX163" fmla="*/ 163935 w 1303129"/>
                <a:gd name="csY163" fmla="*/ 228260 h 529366"/>
                <a:gd name="csX164" fmla="*/ 163935 w 1303129"/>
                <a:gd name="csY164" fmla="*/ 279920 h 529366"/>
                <a:gd name="csX165" fmla="*/ 187987 w 1303129"/>
                <a:gd name="csY165" fmla="*/ 279920 h 529366"/>
                <a:gd name="csX166" fmla="*/ 187987 w 1303129"/>
                <a:gd name="csY166" fmla="*/ 228260 h 52936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 ang="0">
                  <a:pos x="csX97" y="csY97"/>
                </a:cxn>
                <a:cxn ang="0">
                  <a:pos x="csX98" y="csY98"/>
                </a:cxn>
                <a:cxn ang="0">
                  <a:pos x="csX99" y="csY99"/>
                </a:cxn>
                <a:cxn ang="0">
                  <a:pos x="csX100" y="csY100"/>
                </a:cxn>
                <a:cxn ang="0">
                  <a:pos x="csX101" y="csY101"/>
                </a:cxn>
                <a:cxn ang="0">
                  <a:pos x="csX102" y="csY102"/>
                </a:cxn>
                <a:cxn ang="0">
                  <a:pos x="csX103" y="csY103"/>
                </a:cxn>
                <a:cxn ang="0">
                  <a:pos x="csX104" y="csY104"/>
                </a:cxn>
                <a:cxn ang="0">
                  <a:pos x="csX105" y="csY105"/>
                </a:cxn>
                <a:cxn ang="0">
                  <a:pos x="csX106" y="csY106"/>
                </a:cxn>
                <a:cxn ang="0">
                  <a:pos x="csX107" y="csY107"/>
                </a:cxn>
                <a:cxn ang="0">
                  <a:pos x="csX108" y="csY108"/>
                </a:cxn>
                <a:cxn ang="0">
                  <a:pos x="csX109" y="csY109"/>
                </a:cxn>
                <a:cxn ang="0">
                  <a:pos x="csX110" y="csY110"/>
                </a:cxn>
                <a:cxn ang="0">
                  <a:pos x="csX111" y="csY111"/>
                </a:cxn>
                <a:cxn ang="0">
                  <a:pos x="csX112" y="csY112"/>
                </a:cxn>
                <a:cxn ang="0">
                  <a:pos x="csX113" y="csY113"/>
                </a:cxn>
                <a:cxn ang="0">
                  <a:pos x="csX114" y="csY114"/>
                </a:cxn>
                <a:cxn ang="0">
                  <a:pos x="csX115" y="csY115"/>
                </a:cxn>
                <a:cxn ang="0">
                  <a:pos x="csX116" y="csY116"/>
                </a:cxn>
                <a:cxn ang="0">
                  <a:pos x="csX117" y="csY117"/>
                </a:cxn>
                <a:cxn ang="0">
                  <a:pos x="csX118" y="csY118"/>
                </a:cxn>
                <a:cxn ang="0">
                  <a:pos x="csX119" y="csY119"/>
                </a:cxn>
                <a:cxn ang="0">
                  <a:pos x="csX120" y="csY120"/>
                </a:cxn>
                <a:cxn ang="0">
                  <a:pos x="csX121" y="csY121"/>
                </a:cxn>
                <a:cxn ang="0">
                  <a:pos x="csX122" y="csY122"/>
                </a:cxn>
                <a:cxn ang="0">
                  <a:pos x="csX123" y="csY123"/>
                </a:cxn>
                <a:cxn ang="0">
                  <a:pos x="csX124" y="csY124"/>
                </a:cxn>
                <a:cxn ang="0">
                  <a:pos x="csX125" y="csY125"/>
                </a:cxn>
                <a:cxn ang="0">
                  <a:pos x="csX126" y="csY126"/>
                </a:cxn>
                <a:cxn ang="0">
                  <a:pos x="csX127" y="csY127"/>
                </a:cxn>
                <a:cxn ang="0">
                  <a:pos x="csX128" y="csY128"/>
                </a:cxn>
                <a:cxn ang="0">
                  <a:pos x="csX129" y="csY129"/>
                </a:cxn>
                <a:cxn ang="0">
                  <a:pos x="csX130" y="csY130"/>
                </a:cxn>
                <a:cxn ang="0">
                  <a:pos x="csX131" y="csY131"/>
                </a:cxn>
                <a:cxn ang="0">
                  <a:pos x="csX132" y="csY132"/>
                </a:cxn>
                <a:cxn ang="0">
                  <a:pos x="csX133" y="csY133"/>
                </a:cxn>
                <a:cxn ang="0">
                  <a:pos x="csX134" y="csY134"/>
                </a:cxn>
                <a:cxn ang="0">
                  <a:pos x="csX135" y="csY135"/>
                </a:cxn>
                <a:cxn ang="0">
                  <a:pos x="csX136" y="csY136"/>
                </a:cxn>
                <a:cxn ang="0">
                  <a:pos x="csX137" y="csY137"/>
                </a:cxn>
                <a:cxn ang="0">
                  <a:pos x="csX138" y="csY138"/>
                </a:cxn>
                <a:cxn ang="0">
                  <a:pos x="csX139" y="csY139"/>
                </a:cxn>
                <a:cxn ang="0">
                  <a:pos x="csX140" y="csY140"/>
                </a:cxn>
                <a:cxn ang="0">
                  <a:pos x="csX141" y="csY141"/>
                </a:cxn>
                <a:cxn ang="0">
                  <a:pos x="csX142" y="csY142"/>
                </a:cxn>
                <a:cxn ang="0">
                  <a:pos x="csX143" y="csY143"/>
                </a:cxn>
                <a:cxn ang="0">
                  <a:pos x="csX144" y="csY144"/>
                </a:cxn>
                <a:cxn ang="0">
                  <a:pos x="csX145" y="csY145"/>
                </a:cxn>
                <a:cxn ang="0">
                  <a:pos x="csX146" y="csY146"/>
                </a:cxn>
                <a:cxn ang="0">
                  <a:pos x="csX147" y="csY147"/>
                </a:cxn>
                <a:cxn ang="0">
                  <a:pos x="csX148" y="csY148"/>
                </a:cxn>
                <a:cxn ang="0">
                  <a:pos x="csX149" y="csY149"/>
                </a:cxn>
                <a:cxn ang="0">
                  <a:pos x="csX150" y="csY150"/>
                </a:cxn>
                <a:cxn ang="0">
                  <a:pos x="csX151" y="csY151"/>
                </a:cxn>
                <a:cxn ang="0">
                  <a:pos x="csX152" y="csY152"/>
                </a:cxn>
                <a:cxn ang="0">
                  <a:pos x="csX153" y="csY153"/>
                </a:cxn>
                <a:cxn ang="0">
                  <a:pos x="csX154" y="csY154"/>
                </a:cxn>
                <a:cxn ang="0">
                  <a:pos x="csX155" y="csY155"/>
                </a:cxn>
                <a:cxn ang="0">
                  <a:pos x="csX156" y="csY156"/>
                </a:cxn>
                <a:cxn ang="0">
                  <a:pos x="csX157" y="csY157"/>
                </a:cxn>
                <a:cxn ang="0">
                  <a:pos x="csX158" y="csY158"/>
                </a:cxn>
                <a:cxn ang="0">
                  <a:pos x="csX159" y="csY159"/>
                </a:cxn>
                <a:cxn ang="0">
                  <a:pos x="csX160" y="csY160"/>
                </a:cxn>
                <a:cxn ang="0">
                  <a:pos x="csX161" y="csY161"/>
                </a:cxn>
                <a:cxn ang="0">
                  <a:pos x="csX162" y="csY162"/>
                </a:cxn>
                <a:cxn ang="0">
                  <a:pos x="csX163" y="csY163"/>
                </a:cxn>
                <a:cxn ang="0">
                  <a:pos x="csX164" y="csY164"/>
                </a:cxn>
                <a:cxn ang="0">
                  <a:pos x="csX165" y="csY165"/>
                </a:cxn>
                <a:cxn ang="0">
                  <a:pos x="csX166" y="csY166"/>
                </a:cxn>
              </a:cxnLst>
              <a:rect l="l" t="t" r="r" b="b"/>
              <a:pathLst>
                <a:path w="1303129" h="529366">
                  <a:moveTo>
                    <a:pt x="1246807" y="64985"/>
                  </a:moveTo>
                  <a:lnTo>
                    <a:pt x="1300558" y="-5663"/>
                  </a:lnTo>
                  <a:lnTo>
                    <a:pt x="1300558" y="76984"/>
                  </a:lnTo>
                  <a:lnTo>
                    <a:pt x="1246807" y="142305"/>
                  </a:lnTo>
                  <a:lnTo>
                    <a:pt x="1265752" y="119284"/>
                  </a:lnTo>
                  <a:lnTo>
                    <a:pt x="1265752" y="358304"/>
                  </a:lnTo>
                  <a:lnTo>
                    <a:pt x="1271397" y="358304"/>
                  </a:lnTo>
                  <a:lnTo>
                    <a:pt x="1271397" y="367653"/>
                  </a:lnTo>
                  <a:lnTo>
                    <a:pt x="1265752" y="367653"/>
                  </a:lnTo>
                  <a:lnTo>
                    <a:pt x="1265752" y="523703"/>
                  </a:lnTo>
                  <a:lnTo>
                    <a:pt x="977787" y="523703"/>
                  </a:lnTo>
                  <a:lnTo>
                    <a:pt x="977787" y="367653"/>
                  </a:lnTo>
                  <a:lnTo>
                    <a:pt x="972142" y="367653"/>
                  </a:lnTo>
                  <a:lnTo>
                    <a:pt x="972142" y="358304"/>
                  </a:lnTo>
                  <a:lnTo>
                    <a:pt x="977787" y="358304"/>
                  </a:lnTo>
                  <a:lnTo>
                    <a:pt x="977787" y="205941"/>
                  </a:lnTo>
                  <a:lnTo>
                    <a:pt x="1193567" y="205941"/>
                  </a:lnTo>
                  <a:lnTo>
                    <a:pt x="1217214" y="142431"/>
                  </a:lnTo>
                  <a:lnTo>
                    <a:pt x="1207300" y="142431"/>
                  </a:lnTo>
                  <a:lnTo>
                    <a:pt x="1207344" y="142305"/>
                  </a:lnTo>
                  <a:lnTo>
                    <a:pt x="944485" y="142305"/>
                  </a:lnTo>
                  <a:lnTo>
                    <a:pt x="944485" y="335887"/>
                  </a:lnTo>
                  <a:lnTo>
                    <a:pt x="891952" y="335887"/>
                  </a:lnTo>
                  <a:lnTo>
                    <a:pt x="801849" y="423971"/>
                  </a:lnTo>
                  <a:lnTo>
                    <a:pt x="496136" y="423971"/>
                  </a:lnTo>
                  <a:lnTo>
                    <a:pt x="406033" y="335887"/>
                  </a:lnTo>
                  <a:lnTo>
                    <a:pt x="353501" y="335887"/>
                  </a:lnTo>
                  <a:lnTo>
                    <a:pt x="353501" y="142305"/>
                  </a:lnTo>
                  <a:lnTo>
                    <a:pt x="90384" y="142305"/>
                  </a:lnTo>
                  <a:lnTo>
                    <a:pt x="90428" y="142431"/>
                  </a:lnTo>
                  <a:lnTo>
                    <a:pt x="80514" y="142431"/>
                  </a:lnTo>
                  <a:lnTo>
                    <a:pt x="104166" y="205941"/>
                  </a:lnTo>
                  <a:lnTo>
                    <a:pt x="319940" y="205941"/>
                  </a:lnTo>
                  <a:lnTo>
                    <a:pt x="319940" y="358304"/>
                  </a:lnTo>
                  <a:lnTo>
                    <a:pt x="325586" y="358304"/>
                  </a:lnTo>
                  <a:lnTo>
                    <a:pt x="325586" y="367653"/>
                  </a:lnTo>
                  <a:lnTo>
                    <a:pt x="319940" y="367653"/>
                  </a:lnTo>
                  <a:lnTo>
                    <a:pt x="319940" y="523703"/>
                  </a:lnTo>
                  <a:lnTo>
                    <a:pt x="31981" y="523703"/>
                  </a:lnTo>
                  <a:lnTo>
                    <a:pt x="31981" y="367653"/>
                  </a:lnTo>
                  <a:lnTo>
                    <a:pt x="26330" y="367653"/>
                  </a:lnTo>
                  <a:lnTo>
                    <a:pt x="26330" y="358304"/>
                  </a:lnTo>
                  <a:lnTo>
                    <a:pt x="31981" y="358304"/>
                  </a:lnTo>
                  <a:lnTo>
                    <a:pt x="31981" y="119284"/>
                  </a:lnTo>
                  <a:lnTo>
                    <a:pt x="50926" y="142305"/>
                  </a:lnTo>
                  <a:lnTo>
                    <a:pt x="50926" y="142305"/>
                  </a:lnTo>
                  <a:lnTo>
                    <a:pt x="51183" y="142305"/>
                  </a:lnTo>
                  <a:lnTo>
                    <a:pt x="51183" y="142305"/>
                  </a:lnTo>
                  <a:lnTo>
                    <a:pt x="-2572" y="76984"/>
                  </a:lnTo>
                  <a:lnTo>
                    <a:pt x="-2572" y="-5663"/>
                  </a:lnTo>
                  <a:lnTo>
                    <a:pt x="51183" y="64985"/>
                  </a:lnTo>
                  <a:close/>
                  <a:moveTo>
                    <a:pt x="1080224" y="407627"/>
                  </a:moveTo>
                  <a:lnTo>
                    <a:pt x="1105982" y="407627"/>
                  </a:lnTo>
                  <a:cubicBezTo>
                    <a:pt x="1105982" y="392808"/>
                    <a:pt x="1105982" y="380091"/>
                    <a:pt x="1105982" y="380091"/>
                  </a:cubicBezTo>
                  <a:lnTo>
                    <a:pt x="1080224" y="380091"/>
                  </a:lnTo>
                  <a:cubicBezTo>
                    <a:pt x="1080224" y="380091"/>
                    <a:pt x="1080224" y="392808"/>
                    <a:pt x="1080224" y="407627"/>
                  </a:cubicBezTo>
                  <a:close/>
                  <a:moveTo>
                    <a:pt x="1105982" y="438708"/>
                  </a:moveTo>
                  <a:cubicBezTo>
                    <a:pt x="1105982" y="430472"/>
                    <a:pt x="1105982" y="419856"/>
                    <a:pt x="1105982" y="409909"/>
                  </a:cubicBezTo>
                  <a:lnTo>
                    <a:pt x="1080224" y="409909"/>
                  </a:lnTo>
                  <a:cubicBezTo>
                    <a:pt x="1080224" y="419856"/>
                    <a:pt x="1080224" y="430472"/>
                    <a:pt x="1080224" y="438708"/>
                  </a:cubicBezTo>
                  <a:close/>
                  <a:moveTo>
                    <a:pt x="1137557" y="407627"/>
                  </a:moveTo>
                  <a:lnTo>
                    <a:pt x="1163310" y="407627"/>
                  </a:lnTo>
                  <a:cubicBezTo>
                    <a:pt x="1163310" y="392808"/>
                    <a:pt x="1163310" y="380091"/>
                    <a:pt x="1163310" y="380091"/>
                  </a:cubicBezTo>
                  <a:lnTo>
                    <a:pt x="1137557" y="380091"/>
                  </a:lnTo>
                  <a:cubicBezTo>
                    <a:pt x="1137557" y="380091"/>
                    <a:pt x="1137557" y="392808"/>
                    <a:pt x="1137557" y="407627"/>
                  </a:cubicBezTo>
                  <a:close/>
                  <a:moveTo>
                    <a:pt x="1163310" y="438708"/>
                  </a:moveTo>
                  <a:cubicBezTo>
                    <a:pt x="1163310" y="430472"/>
                    <a:pt x="1163310" y="419856"/>
                    <a:pt x="1163310" y="409909"/>
                  </a:cubicBezTo>
                  <a:lnTo>
                    <a:pt x="1137557" y="409909"/>
                  </a:lnTo>
                  <a:cubicBezTo>
                    <a:pt x="1137557" y="419856"/>
                    <a:pt x="1137557" y="430472"/>
                    <a:pt x="1137557" y="438708"/>
                  </a:cubicBezTo>
                  <a:close/>
                  <a:moveTo>
                    <a:pt x="1137557" y="447245"/>
                  </a:moveTo>
                  <a:cubicBezTo>
                    <a:pt x="1137557" y="464631"/>
                    <a:pt x="1150433" y="467851"/>
                    <a:pt x="1150433" y="467851"/>
                  </a:cubicBezTo>
                  <a:cubicBezTo>
                    <a:pt x="1150433" y="467851"/>
                    <a:pt x="1163310" y="464631"/>
                    <a:pt x="1163310" y="447245"/>
                  </a:cubicBezTo>
                  <a:cubicBezTo>
                    <a:pt x="1163310" y="445472"/>
                    <a:pt x="1163310" y="443349"/>
                    <a:pt x="1163310" y="440990"/>
                  </a:cubicBezTo>
                  <a:lnTo>
                    <a:pt x="1137557" y="440990"/>
                  </a:lnTo>
                  <a:cubicBezTo>
                    <a:pt x="1137557" y="443349"/>
                    <a:pt x="1137557" y="445472"/>
                    <a:pt x="1137557" y="447245"/>
                  </a:cubicBezTo>
                  <a:close/>
                  <a:moveTo>
                    <a:pt x="1080224" y="447245"/>
                  </a:moveTo>
                  <a:cubicBezTo>
                    <a:pt x="1080224" y="464631"/>
                    <a:pt x="1093100" y="467851"/>
                    <a:pt x="1093100" y="467851"/>
                  </a:cubicBezTo>
                  <a:cubicBezTo>
                    <a:pt x="1093100" y="467851"/>
                    <a:pt x="1105982" y="464631"/>
                    <a:pt x="1105982" y="447245"/>
                  </a:cubicBezTo>
                  <a:cubicBezTo>
                    <a:pt x="1105982" y="445472"/>
                    <a:pt x="1105982" y="443349"/>
                    <a:pt x="1105982" y="440990"/>
                  </a:cubicBezTo>
                  <a:lnTo>
                    <a:pt x="1080224" y="440990"/>
                  </a:lnTo>
                  <a:cubicBezTo>
                    <a:pt x="1080224" y="443349"/>
                    <a:pt x="1080224" y="445472"/>
                    <a:pt x="1080224" y="447245"/>
                  </a:cubicBezTo>
                  <a:close/>
                  <a:moveTo>
                    <a:pt x="1133793" y="228260"/>
                  </a:moveTo>
                  <a:lnTo>
                    <a:pt x="1109746" y="228260"/>
                  </a:lnTo>
                  <a:lnTo>
                    <a:pt x="1109746" y="279920"/>
                  </a:lnTo>
                  <a:lnTo>
                    <a:pt x="1133793" y="279920"/>
                  </a:lnTo>
                  <a:close/>
                  <a:moveTo>
                    <a:pt x="1056544" y="114604"/>
                  </a:moveTo>
                  <a:lnTo>
                    <a:pt x="1080882" y="114604"/>
                  </a:lnTo>
                  <a:lnTo>
                    <a:pt x="1080882" y="76298"/>
                  </a:lnTo>
                  <a:lnTo>
                    <a:pt x="1056544" y="76298"/>
                  </a:lnTo>
                  <a:close/>
                  <a:moveTo>
                    <a:pt x="766133" y="330807"/>
                  </a:moveTo>
                  <a:lnTo>
                    <a:pt x="770451" y="331887"/>
                  </a:lnTo>
                  <a:lnTo>
                    <a:pt x="774774" y="330807"/>
                  </a:lnTo>
                  <a:cubicBezTo>
                    <a:pt x="786460" y="327882"/>
                    <a:pt x="807912" y="314369"/>
                    <a:pt x="810512" y="283772"/>
                  </a:cubicBezTo>
                  <a:lnTo>
                    <a:pt x="792599" y="283772"/>
                  </a:lnTo>
                  <a:cubicBezTo>
                    <a:pt x="792824" y="281808"/>
                    <a:pt x="792956" y="279734"/>
                    <a:pt x="792956" y="277517"/>
                  </a:cubicBezTo>
                  <a:cubicBezTo>
                    <a:pt x="792956" y="247139"/>
                    <a:pt x="792956" y="84643"/>
                    <a:pt x="792956" y="84643"/>
                  </a:cubicBezTo>
                  <a:lnTo>
                    <a:pt x="747945" y="84643"/>
                  </a:lnTo>
                  <a:cubicBezTo>
                    <a:pt x="747945" y="84643"/>
                    <a:pt x="747945" y="247139"/>
                    <a:pt x="747945" y="277517"/>
                  </a:cubicBezTo>
                  <a:cubicBezTo>
                    <a:pt x="747945" y="279734"/>
                    <a:pt x="748083" y="281808"/>
                    <a:pt x="748302" y="283772"/>
                  </a:cubicBezTo>
                  <a:lnTo>
                    <a:pt x="730400" y="283772"/>
                  </a:lnTo>
                  <a:cubicBezTo>
                    <a:pt x="733000" y="314369"/>
                    <a:pt x="754452" y="327882"/>
                    <a:pt x="766133" y="330807"/>
                  </a:cubicBezTo>
                  <a:close/>
                  <a:moveTo>
                    <a:pt x="644757" y="364652"/>
                  </a:moveTo>
                  <a:lnTo>
                    <a:pt x="649075" y="365733"/>
                  </a:lnTo>
                  <a:lnTo>
                    <a:pt x="653398" y="364652"/>
                  </a:lnTo>
                  <a:cubicBezTo>
                    <a:pt x="665084" y="361733"/>
                    <a:pt x="686531" y="348220"/>
                    <a:pt x="689137" y="317617"/>
                  </a:cubicBezTo>
                  <a:lnTo>
                    <a:pt x="671224" y="317617"/>
                  </a:lnTo>
                  <a:cubicBezTo>
                    <a:pt x="671224" y="317628"/>
                    <a:pt x="671224" y="317639"/>
                    <a:pt x="671224" y="317650"/>
                  </a:cubicBezTo>
                  <a:cubicBezTo>
                    <a:pt x="671448" y="315675"/>
                    <a:pt x="671580" y="313596"/>
                    <a:pt x="671580" y="311363"/>
                  </a:cubicBezTo>
                  <a:cubicBezTo>
                    <a:pt x="671580" y="280985"/>
                    <a:pt x="671580" y="84643"/>
                    <a:pt x="671580" y="84643"/>
                  </a:cubicBezTo>
                  <a:lnTo>
                    <a:pt x="649075" y="84643"/>
                  </a:lnTo>
                  <a:lnTo>
                    <a:pt x="626575" y="84643"/>
                  </a:lnTo>
                  <a:cubicBezTo>
                    <a:pt x="626575" y="84643"/>
                    <a:pt x="626575" y="280985"/>
                    <a:pt x="626575" y="311363"/>
                  </a:cubicBezTo>
                  <a:cubicBezTo>
                    <a:pt x="626575" y="313596"/>
                    <a:pt x="626707" y="315675"/>
                    <a:pt x="626932" y="317650"/>
                  </a:cubicBezTo>
                  <a:cubicBezTo>
                    <a:pt x="626932" y="317639"/>
                    <a:pt x="626932" y="317628"/>
                    <a:pt x="626932" y="317617"/>
                  </a:cubicBezTo>
                  <a:lnTo>
                    <a:pt x="609024" y="317617"/>
                  </a:lnTo>
                  <a:cubicBezTo>
                    <a:pt x="611619" y="348220"/>
                    <a:pt x="633071" y="361733"/>
                    <a:pt x="644757" y="364652"/>
                  </a:cubicBezTo>
                  <a:close/>
                  <a:moveTo>
                    <a:pt x="523211" y="330807"/>
                  </a:moveTo>
                  <a:lnTo>
                    <a:pt x="527535" y="331887"/>
                  </a:lnTo>
                  <a:lnTo>
                    <a:pt x="531852" y="330807"/>
                  </a:lnTo>
                  <a:cubicBezTo>
                    <a:pt x="543539" y="327882"/>
                    <a:pt x="564985" y="314369"/>
                    <a:pt x="567591" y="283772"/>
                  </a:cubicBezTo>
                  <a:lnTo>
                    <a:pt x="549683" y="283772"/>
                  </a:lnTo>
                  <a:cubicBezTo>
                    <a:pt x="549908" y="281808"/>
                    <a:pt x="550034" y="279734"/>
                    <a:pt x="550034" y="277517"/>
                  </a:cubicBezTo>
                  <a:cubicBezTo>
                    <a:pt x="550034" y="247139"/>
                    <a:pt x="550034" y="84643"/>
                    <a:pt x="550034" y="84643"/>
                  </a:cubicBezTo>
                  <a:lnTo>
                    <a:pt x="505024" y="84643"/>
                  </a:lnTo>
                  <a:cubicBezTo>
                    <a:pt x="505024" y="84643"/>
                    <a:pt x="505024" y="247139"/>
                    <a:pt x="505024" y="277517"/>
                  </a:cubicBezTo>
                  <a:cubicBezTo>
                    <a:pt x="505024" y="279734"/>
                    <a:pt x="505161" y="281808"/>
                    <a:pt x="505381" y="283772"/>
                  </a:cubicBezTo>
                  <a:lnTo>
                    <a:pt x="487479" y="283772"/>
                  </a:lnTo>
                  <a:cubicBezTo>
                    <a:pt x="490074" y="314369"/>
                    <a:pt x="511525" y="327882"/>
                    <a:pt x="523211" y="330807"/>
                  </a:cubicBezTo>
                  <a:close/>
                  <a:moveTo>
                    <a:pt x="199453" y="114604"/>
                  </a:moveTo>
                  <a:lnTo>
                    <a:pt x="223797" y="114604"/>
                  </a:lnTo>
                  <a:lnTo>
                    <a:pt x="223797" y="76298"/>
                  </a:lnTo>
                  <a:lnTo>
                    <a:pt x="199453" y="76298"/>
                  </a:lnTo>
                  <a:close/>
                  <a:moveTo>
                    <a:pt x="134418" y="407627"/>
                  </a:moveTo>
                  <a:lnTo>
                    <a:pt x="160176" y="407627"/>
                  </a:lnTo>
                  <a:cubicBezTo>
                    <a:pt x="160176" y="392808"/>
                    <a:pt x="160176" y="380091"/>
                    <a:pt x="160176" y="380091"/>
                  </a:cubicBezTo>
                  <a:lnTo>
                    <a:pt x="134418" y="380091"/>
                  </a:lnTo>
                  <a:cubicBezTo>
                    <a:pt x="134418" y="380091"/>
                    <a:pt x="134418" y="392808"/>
                    <a:pt x="134418" y="407627"/>
                  </a:cubicBezTo>
                  <a:close/>
                  <a:moveTo>
                    <a:pt x="160176" y="438708"/>
                  </a:moveTo>
                  <a:cubicBezTo>
                    <a:pt x="160176" y="430472"/>
                    <a:pt x="160176" y="419856"/>
                    <a:pt x="160176" y="409909"/>
                  </a:cubicBezTo>
                  <a:lnTo>
                    <a:pt x="134418" y="409909"/>
                  </a:lnTo>
                  <a:cubicBezTo>
                    <a:pt x="134418" y="419856"/>
                    <a:pt x="134418" y="430472"/>
                    <a:pt x="134418" y="438708"/>
                  </a:cubicBezTo>
                  <a:close/>
                  <a:moveTo>
                    <a:pt x="191745" y="407627"/>
                  </a:moveTo>
                  <a:lnTo>
                    <a:pt x="217498" y="407627"/>
                  </a:lnTo>
                  <a:cubicBezTo>
                    <a:pt x="217498" y="392808"/>
                    <a:pt x="217498" y="380091"/>
                    <a:pt x="217498" y="380091"/>
                  </a:cubicBezTo>
                  <a:lnTo>
                    <a:pt x="191745" y="380091"/>
                  </a:lnTo>
                  <a:cubicBezTo>
                    <a:pt x="191745" y="380091"/>
                    <a:pt x="191745" y="392808"/>
                    <a:pt x="191745" y="407627"/>
                  </a:cubicBezTo>
                  <a:close/>
                  <a:moveTo>
                    <a:pt x="217498" y="438708"/>
                  </a:moveTo>
                  <a:cubicBezTo>
                    <a:pt x="217498" y="430472"/>
                    <a:pt x="217498" y="419856"/>
                    <a:pt x="217498" y="409909"/>
                  </a:cubicBezTo>
                  <a:lnTo>
                    <a:pt x="191745" y="409909"/>
                  </a:lnTo>
                  <a:cubicBezTo>
                    <a:pt x="191745" y="419856"/>
                    <a:pt x="191745" y="430472"/>
                    <a:pt x="191745" y="438708"/>
                  </a:cubicBezTo>
                  <a:close/>
                  <a:moveTo>
                    <a:pt x="191745" y="447245"/>
                  </a:moveTo>
                  <a:cubicBezTo>
                    <a:pt x="191745" y="464631"/>
                    <a:pt x="204627" y="467851"/>
                    <a:pt x="204627" y="467851"/>
                  </a:cubicBezTo>
                  <a:cubicBezTo>
                    <a:pt x="204627" y="467851"/>
                    <a:pt x="217498" y="464631"/>
                    <a:pt x="217498" y="447245"/>
                  </a:cubicBezTo>
                  <a:cubicBezTo>
                    <a:pt x="217498" y="445472"/>
                    <a:pt x="217498" y="443349"/>
                    <a:pt x="217498" y="440990"/>
                  </a:cubicBezTo>
                  <a:lnTo>
                    <a:pt x="191745" y="440990"/>
                  </a:lnTo>
                  <a:cubicBezTo>
                    <a:pt x="191745" y="443349"/>
                    <a:pt x="191745" y="445472"/>
                    <a:pt x="191745" y="447245"/>
                  </a:cubicBezTo>
                  <a:close/>
                  <a:moveTo>
                    <a:pt x="134418" y="447245"/>
                  </a:moveTo>
                  <a:cubicBezTo>
                    <a:pt x="134418" y="464631"/>
                    <a:pt x="147294" y="467851"/>
                    <a:pt x="147294" y="467851"/>
                  </a:cubicBezTo>
                  <a:cubicBezTo>
                    <a:pt x="147294" y="467851"/>
                    <a:pt x="160176" y="464631"/>
                    <a:pt x="160176" y="447245"/>
                  </a:cubicBezTo>
                  <a:cubicBezTo>
                    <a:pt x="160176" y="445472"/>
                    <a:pt x="160176" y="443349"/>
                    <a:pt x="160176" y="440990"/>
                  </a:cubicBezTo>
                  <a:lnTo>
                    <a:pt x="134418" y="440990"/>
                  </a:lnTo>
                  <a:cubicBezTo>
                    <a:pt x="134418" y="443349"/>
                    <a:pt x="134418" y="445472"/>
                    <a:pt x="134418" y="447245"/>
                  </a:cubicBezTo>
                  <a:close/>
                  <a:moveTo>
                    <a:pt x="187987" y="228260"/>
                  </a:moveTo>
                  <a:lnTo>
                    <a:pt x="163935" y="228260"/>
                  </a:lnTo>
                  <a:lnTo>
                    <a:pt x="163935" y="279920"/>
                  </a:lnTo>
                  <a:lnTo>
                    <a:pt x="187987" y="279920"/>
                  </a:lnTo>
                  <a:lnTo>
                    <a:pt x="187987" y="228260"/>
                  </a:lnTo>
                </a:path>
              </a:pathLst>
            </a:custGeom>
            <a:grpFill/>
            <a:ln w="548" cap="flat">
              <a:noFill/>
              <a:prstDash val="solid"/>
              <a:miter/>
            </a:ln>
          </p:spPr>
          <p:txBody>
            <a:bodyPr/>
            <a:lstStyle/>
            <a:p>
              <a:endParaRPr lang="en-US"/>
            </a:p>
          </p:txBody>
        </p:sp>
        <p:sp>
          <p:nvSpPr>
            <p:cNvPr id="546" name="Freeform: Shape 545">
              <a:extLst>
                <a:ext uri="{FF2B5EF4-FFF2-40B4-BE49-F238E27FC236}">
                  <a16:creationId xmlns:a16="http://schemas.microsoft.com/office/drawing/2014/main" id="{DAB0F8C7-1123-B858-C2EC-372B4081D530}"/>
                </a:ext>
              </a:extLst>
            </p:cNvPr>
            <p:cNvSpPr/>
            <p:nvPr/>
          </p:nvSpPr>
          <p:spPr>
            <a:xfrm flipV="1">
              <a:off x="19452371" y="4195675"/>
              <a:ext cx="257213" cy="141922"/>
            </a:xfrm>
            <a:custGeom>
              <a:avLst/>
              <a:gdLst>
                <a:gd name="csX0" fmla="*/ 235565 w 257213"/>
                <a:gd name="csY0" fmla="*/ 44224 h 141922"/>
                <a:gd name="csX1" fmla="*/ 18907 w 257213"/>
                <a:gd name="csY1" fmla="*/ 44224 h 141922"/>
                <a:gd name="csX2" fmla="*/ 18907 w 257213"/>
                <a:gd name="csY2" fmla="*/ 136352 h 141922"/>
                <a:gd name="csX3" fmla="*/ -3105 w 257213"/>
                <a:gd name="csY3" fmla="*/ 136352 h 141922"/>
                <a:gd name="csX4" fmla="*/ -3105 w 257213"/>
                <a:gd name="csY4" fmla="*/ 44224 h 141922"/>
                <a:gd name="csX5" fmla="*/ -3105 w 257213"/>
                <a:gd name="csY5" fmla="*/ -5570 h 141922"/>
                <a:gd name="csX6" fmla="*/ 254109 w 257213"/>
                <a:gd name="csY6" fmla="*/ -5570 h 141922"/>
                <a:gd name="csX7" fmla="*/ 235565 w 257213"/>
                <a:gd name="csY7" fmla="*/ 44224 h 14192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257213" h="141922">
                  <a:moveTo>
                    <a:pt x="235565" y="44224"/>
                  </a:moveTo>
                  <a:lnTo>
                    <a:pt x="18907" y="44224"/>
                  </a:lnTo>
                  <a:lnTo>
                    <a:pt x="18907" y="136352"/>
                  </a:lnTo>
                  <a:lnTo>
                    <a:pt x="-3105" y="136352"/>
                  </a:lnTo>
                  <a:lnTo>
                    <a:pt x="-3105" y="44224"/>
                  </a:lnTo>
                  <a:lnTo>
                    <a:pt x="-3105" y="-5570"/>
                  </a:lnTo>
                  <a:lnTo>
                    <a:pt x="254109" y="-5570"/>
                  </a:lnTo>
                  <a:lnTo>
                    <a:pt x="235565" y="44224"/>
                  </a:lnTo>
                </a:path>
              </a:pathLst>
            </a:custGeom>
            <a:grpFill/>
            <a:ln w="548" cap="flat">
              <a:noFill/>
              <a:prstDash val="solid"/>
              <a:miter/>
            </a:ln>
          </p:spPr>
          <p:txBody>
            <a:bodyPr/>
            <a:lstStyle/>
            <a:p>
              <a:endParaRPr lang="en-US"/>
            </a:p>
          </p:txBody>
        </p:sp>
        <p:sp>
          <p:nvSpPr>
            <p:cNvPr id="547" name="Freeform: Shape 546">
              <a:extLst>
                <a:ext uri="{FF2B5EF4-FFF2-40B4-BE49-F238E27FC236}">
                  <a16:creationId xmlns:a16="http://schemas.microsoft.com/office/drawing/2014/main" id="{C1D53B55-0179-A9E0-D60C-1E020E4ADC62}"/>
                </a:ext>
              </a:extLst>
            </p:cNvPr>
            <p:cNvSpPr/>
            <p:nvPr/>
          </p:nvSpPr>
          <p:spPr>
            <a:xfrm flipV="1">
              <a:off x="19472599" y="3908846"/>
              <a:ext cx="302821" cy="47479"/>
            </a:xfrm>
            <a:custGeom>
              <a:avLst/>
              <a:gdLst>
                <a:gd name="csX0" fmla="*/ 299664 w 302821"/>
                <a:gd name="csY0" fmla="*/ 41105 h 47479"/>
                <a:gd name="csX1" fmla="*/ 240219 w 302821"/>
                <a:gd name="csY1" fmla="*/ 41105 h 47479"/>
                <a:gd name="csX2" fmla="*/ 240219 w 302821"/>
                <a:gd name="csY2" fmla="*/ 25074 h 47479"/>
                <a:gd name="csX3" fmla="*/ 215722 w 302821"/>
                <a:gd name="csY3" fmla="*/ 25074 h 47479"/>
                <a:gd name="csX4" fmla="*/ 215722 w 302821"/>
                <a:gd name="csY4" fmla="*/ 41105 h 47479"/>
                <a:gd name="csX5" fmla="*/ 160501 w 302821"/>
                <a:gd name="csY5" fmla="*/ 41105 h 47479"/>
                <a:gd name="csX6" fmla="*/ 160501 w 302821"/>
                <a:gd name="csY6" fmla="*/ 25074 h 47479"/>
                <a:gd name="csX7" fmla="*/ 136004 w 302821"/>
                <a:gd name="csY7" fmla="*/ 25074 h 47479"/>
                <a:gd name="csX8" fmla="*/ 136004 w 302821"/>
                <a:gd name="csY8" fmla="*/ 41105 h 47479"/>
                <a:gd name="csX9" fmla="*/ 80778 w 302821"/>
                <a:gd name="csY9" fmla="*/ 41105 h 47479"/>
                <a:gd name="csX10" fmla="*/ 80778 w 302821"/>
                <a:gd name="csY10" fmla="*/ 25074 h 47479"/>
                <a:gd name="csX11" fmla="*/ 56287 w 302821"/>
                <a:gd name="csY11" fmla="*/ 25074 h 47479"/>
                <a:gd name="csX12" fmla="*/ 56287 w 302821"/>
                <a:gd name="csY12" fmla="*/ 41105 h 47479"/>
                <a:gd name="csX13" fmla="*/ -3158 w 302821"/>
                <a:gd name="csY13" fmla="*/ 41105 h 47479"/>
                <a:gd name="csX14" fmla="*/ -3158 w 302821"/>
                <a:gd name="csY14" fmla="*/ -6374 h 47479"/>
                <a:gd name="csX15" fmla="*/ 299664 w 302821"/>
                <a:gd name="csY15" fmla="*/ -6374 h 47479"/>
                <a:gd name="csX16" fmla="*/ 299664 w 302821"/>
                <a:gd name="csY16" fmla="*/ 41105 h 4747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Lst>
              <a:rect l="l" t="t" r="r" b="b"/>
              <a:pathLst>
                <a:path w="302821" h="47479">
                  <a:moveTo>
                    <a:pt x="299664" y="41105"/>
                  </a:moveTo>
                  <a:lnTo>
                    <a:pt x="240219" y="41105"/>
                  </a:lnTo>
                  <a:lnTo>
                    <a:pt x="240219" y="25074"/>
                  </a:lnTo>
                  <a:lnTo>
                    <a:pt x="215722" y="25074"/>
                  </a:lnTo>
                  <a:lnTo>
                    <a:pt x="215722" y="41105"/>
                  </a:lnTo>
                  <a:lnTo>
                    <a:pt x="160501" y="41105"/>
                  </a:lnTo>
                  <a:lnTo>
                    <a:pt x="160501" y="25074"/>
                  </a:lnTo>
                  <a:lnTo>
                    <a:pt x="136004" y="25074"/>
                  </a:lnTo>
                  <a:lnTo>
                    <a:pt x="136004" y="41105"/>
                  </a:lnTo>
                  <a:lnTo>
                    <a:pt x="80778" y="41105"/>
                  </a:lnTo>
                  <a:lnTo>
                    <a:pt x="80778" y="25074"/>
                  </a:lnTo>
                  <a:lnTo>
                    <a:pt x="56287" y="25074"/>
                  </a:lnTo>
                  <a:lnTo>
                    <a:pt x="56287" y="41105"/>
                  </a:lnTo>
                  <a:lnTo>
                    <a:pt x="-3158" y="41105"/>
                  </a:lnTo>
                  <a:lnTo>
                    <a:pt x="-3158" y="-6374"/>
                  </a:lnTo>
                  <a:lnTo>
                    <a:pt x="299664" y="-6374"/>
                  </a:lnTo>
                  <a:lnTo>
                    <a:pt x="299664" y="41105"/>
                  </a:lnTo>
                </a:path>
              </a:pathLst>
            </a:custGeom>
            <a:grpFill/>
            <a:ln w="548" cap="flat">
              <a:noFill/>
              <a:prstDash val="solid"/>
              <a:miter/>
            </a:ln>
          </p:spPr>
          <p:txBody>
            <a:bodyPr/>
            <a:lstStyle/>
            <a:p>
              <a:endParaRPr lang="en-US"/>
            </a:p>
          </p:txBody>
        </p:sp>
        <p:sp>
          <p:nvSpPr>
            <p:cNvPr id="548" name="Freeform: Shape 547">
              <a:extLst>
                <a:ext uri="{FF2B5EF4-FFF2-40B4-BE49-F238E27FC236}">
                  <a16:creationId xmlns:a16="http://schemas.microsoft.com/office/drawing/2014/main" id="{53EECBA2-1B78-677D-1BF7-500197071470}"/>
                </a:ext>
              </a:extLst>
            </p:cNvPr>
            <p:cNvSpPr/>
            <p:nvPr/>
          </p:nvSpPr>
          <p:spPr>
            <a:xfrm flipV="1">
              <a:off x="18592383" y="4195675"/>
              <a:ext cx="255177" cy="138734"/>
            </a:xfrm>
            <a:custGeom>
              <a:avLst/>
              <a:gdLst>
                <a:gd name="csX0" fmla="*/ 235189 w 255177"/>
                <a:gd name="csY0" fmla="*/ 41033 h 138734"/>
                <a:gd name="csX1" fmla="*/ 16353 w 255177"/>
                <a:gd name="csY1" fmla="*/ 41033 h 138734"/>
                <a:gd name="csX2" fmla="*/ -2038 w 255177"/>
                <a:gd name="csY2" fmla="*/ -5574 h 138734"/>
                <a:gd name="csX3" fmla="*/ 253140 w 255177"/>
                <a:gd name="csY3" fmla="*/ -5574 h 138734"/>
                <a:gd name="csX4" fmla="*/ 253140 w 255177"/>
                <a:gd name="csY4" fmla="*/ 41033 h 138734"/>
                <a:gd name="csX5" fmla="*/ 253140 w 255177"/>
                <a:gd name="csY5" fmla="*/ 133161 h 138734"/>
                <a:gd name="csX6" fmla="*/ 235189 w 255177"/>
                <a:gd name="csY6" fmla="*/ 133161 h 138734"/>
                <a:gd name="csX7" fmla="*/ 235189 w 255177"/>
                <a:gd name="csY7" fmla="*/ 41033 h 13873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255177" h="138734">
                  <a:moveTo>
                    <a:pt x="235189" y="41033"/>
                  </a:moveTo>
                  <a:lnTo>
                    <a:pt x="16353" y="41033"/>
                  </a:lnTo>
                  <a:lnTo>
                    <a:pt x="-2038" y="-5574"/>
                  </a:lnTo>
                  <a:lnTo>
                    <a:pt x="253140" y="-5574"/>
                  </a:lnTo>
                  <a:lnTo>
                    <a:pt x="253140" y="41033"/>
                  </a:lnTo>
                  <a:lnTo>
                    <a:pt x="253140" y="133161"/>
                  </a:lnTo>
                  <a:lnTo>
                    <a:pt x="235189" y="133161"/>
                  </a:lnTo>
                  <a:lnTo>
                    <a:pt x="235189" y="41033"/>
                  </a:lnTo>
                </a:path>
              </a:pathLst>
            </a:custGeom>
            <a:grpFill/>
            <a:ln w="548" cap="flat">
              <a:noFill/>
              <a:prstDash val="solid"/>
              <a:miter/>
            </a:ln>
          </p:spPr>
          <p:txBody>
            <a:bodyPr/>
            <a:lstStyle/>
            <a:p>
              <a:endParaRPr lang="en-US"/>
            </a:p>
          </p:txBody>
        </p:sp>
        <p:sp>
          <p:nvSpPr>
            <p:cNvPr id="549" name="Freeform: Shape 548">
              <a:extLst>
                <a:ext uri="{FF2B5EF4-FFF2-40B4-BE49-F238E27FC236}">
                  <a16:creationId xmlns:a16="http://schemas.microsoft.com/office/drawing/2014/main" id="{79C9E578-3909-722F-3EC9-8C1E220FA9D5}"/>
                </a:ext>
              </a:extLst>
            </p:cNvPr>
            <p:cNvSpPr/>
            <p:nvPr/>
          </p:nvSpPr>
          <p:spPr>
            <a:xfrm flipV="1">
              <a:off x="19698338" y="3910086"/>
              <a:ext cx="9101" cy="7933"/>
            </a:xfrm>
            <a:custGeom>
              <a:avLst/>
              <a:gdLst>
                <a:gd name="csX0" fmla="*/ -3256 w 9101"/>
                <a:gd name="csY0" fmla="*/ 1515 h 7933"/>
                <a:gd name="csX1" fmla="*/ -3256 w 9101"/>
                <a:gd name="csY1" fmla="*/ -6418 h 7933"/>
                <a:gd name="csX2" fmla="*/ 5846 w 9101"/>
                <a:gd name="csY2" fmla="*/ -6418 h 7933"/>
              </a:gdLst>
              <a:ahLst/>
              <a:cxnLst>
                <a:cxn ang="0">
                  <a:pos x="csX0" y="csY0"/>
                </a:cxn>
                <a:cxn ang="0">
                  <a:pos x="csX1" y="csY1"/>
                </a:cxn>
                <a:cxn ang="0">
                  <a:pos x="csX2" y="csY2"/>
                </a:cxn>
              </a:cxnLst>
              <a:rect l="l" t="t" r="r" b="b"/>
              <a:pathLst>
                <a:path w="9101" h="7933">
                  <a:moveTo>
                    <a:pt x="-3256" y="1515"/>
                  </a:moveTo>
                  <a:lnTo>
                    <a:pt x="-3256" y="-6418"/>
                  </a:lnTo>
                  <a:lnTo>
                    <a:pt x="5846" y="-6418"/>
                  </a:lnTo>
                  <a:close/>
                </a:path>
              </a:pathLst>
            </a:custGeom>
            <a:grpFill/>
            <a:ln w="548" cap="flat">
              <a:noFill/>
              <a:prstDash val="solid"/>
              <a:miter/>
            </a:ln>
          </p:spPr>
          <p:txBody>
            <a:bodyPr/>
            <a:lstStyle/>
            <a:p>
              <a:endParaRPr lang="en-US"/>
            </a:p>
          </p:txBody>
        </p:sp>
        <p:sp>
          <p:nvSpPr>
            <p:cNvPr id="550" name="Freeform: Shape 549">
              <a:extLst>
                <a:ext uri="{FF2B5EF4-FFF2-40B4-BE49-F238E27FC236}">
                  <a16:creationId xmlns:a16="http://schemas.microsoft.com/office/drawing/2014/main" id="{53EAF5FA-6391-0328-B2B9-32C6DF962F8E}"/>
                </a:ext>
              </a:extLst>
            </p:cNvPr>
            <p:cNvSpPr/>
            <p:nvPr/>
          </p:nvSpPr>
          <p:spPr>
            <a:xfrm flipV="1">
              <a:off x="19540587" y="3910092"/>
              <a:ext cx="9091" cy="7927"/>
            </a:xfrm>
            <a:custGeom>
              <a:avLst/>
              <a:gdLst>
                <a:gd name="csX0" fmla="*/ 6031 w 9091"/>
                <a:gd name="csY0" fmla="*/ 1509 h 7927"/>
                <a:gd name="csX1" fmla="*/ -3060 w 9091"/>
                <a:gd name="csY1" fmla="*/ -6418 h 7927"/>
                <a:gd name="csX2" fmla="*/ 6031 w 9091"/>
                <a:gd name="csY2" fmla="*/ -6418 h 7927"/>
              </a:gdLst>
              <a:ahLst/>
              <a:cxnLst>
                <a:cxn ang="0">
                  <a:pos x="csX0" y="csY0"/>
                </a:cxn>
                <a:cxn ang="0">
                  <a:pos x="csX1" y="csY1"/>
                </a:cxn>
                <a:cxn ang="0">
                  <a:pos x="csX2" y="csY2"/>
                </a:cxn>
              </a:cxnLst>
              <a:rect l="l" t="t" r="r" b="b"/>
              <a:pathLst>
                <a:path w="9091" h="7927">
                  <a:moveTo>
                    <a:pt x="6031" y="1509"/>
                  </a:moveTo>
                  <a:lnTo>
                    <a:pt x="-3060" y="-6418"/>
                  </a:lnTo>
                  <a:lnTo>
                    <a:pt x="6031" y="-6418"/>
                  </a:lnTo>
                  <a:close/>
                </a:path>
              </a:pathLst>
            </a:custGeom>
            <a:grpFill/>
            <a:ln w="548" cap="flat">
              <a:noFill/>
              <a:prstDash val="solid"/>
              <a:miter/>
            </a:ln>
          </p:spPr>
          <p:txBody>
            <a:bodyPr/>
            <a:lstStyle/>
            <a:p>
              <a:endParaRPr lang="en-US"/>
            </a:p>
          </p:txBody>
        </p:sp>
        <p:sp>
          <p:nvSpPr>
            <p:cNvPr id="551" name="Freeform: Shape 550">
              <a:extLst>
                <a:ext uri="{FF2B5EF4-FFF2-40B4-BE49-F238E27FC236}">
                  <a16:creationId xmlns:a16="http://schemas.microsoft.com/office/drawing/2014/main" id="{FF7E6C17-C3D6-BFA1-46C7-B5E7DF242162}"/>
                </a:ext>
              </a:extLst>
            </p:cNvPr>
            <p:cNvSpPr/>
            <p:nvPr/>
          </p:nvSpPr>
          <p:spPr>
            <a:xfrm flipV="1">
              <a:off x="19558972" y="3845281"/>
              <a:ext cx="130076" cy="72738"/>
            </a:xfrm>
            <a:custGeom>
              <a:avLst/>
              <a:gdLst>
                <a:gd name="csX0" fmla="*/ 56490 w 130076"/>
                <a:gd name="csY0" fmla="*/ -6496 h 72738"/>
                <a:gd name="csX1" fmla="*/ 67271 w 130076"/>
                <a:gd name="csY1" fmla="*/ -6496 h 72738"/>
                <a:gd name="csX2" fmla="*/ 67271 w 130076"/>
                <a:gd name="csY2" fmla="*/ 9535 h 72738"/>
                <a:gd name="csX3" fmla="*/ 126919 w 130076"/>
                <a:gd name="csY3" fmla="*/ 9535 h 72738"/>
                <a:gd name="csX4" fmla="*/ 61883 w 130076"/>
                <a:gd name="csY4" fmla="*/ 66242 h 72738"/>
                <a:gd name="csX5" fmla="*/ -3158 w 130076"/>
                <a:gd name="csY5" fmla="*/ 9535 h 72738"/>
                <a:gd name="csX6" fmla="*/ 56490 w 130076"/>
                <a:gd name="csY6" fmla="*/ 9535 h 72738"/>
                <a:gd name="csX7" fmla="*/ 56490 w 130076"/>
                <a:gd name="csY7" fmla="*/ -6496 h 7273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130076" h="72738">
                  <a:moveTo>
                    <a:pt x="56490" y="-6496"/>
                  </a:moveTo>
                  <a:lnTo>
                    <a:pt x="67271" y="-6496"/>
                  </a:lnTo>
                  <a:lnTo>
                    <a:pt x="67271" y="9535"/>
                  </a:lnTo>
                  <a:lnTo>
                    <a:pt x="126919" y="9535"/>
                  </a:lnTo>
                  <a:lnTo>
                    <a:pt x="61883" y="66242"/>
                  </a:lnTo>
                  <a:lnTo>
                    <a:pt x="-3158" y="9535"/>
                  </a:lnTo>
                  <a:lnTo>
                    <a:pt x="56490" y="9535"/>
                  </a:lnTo>
                  <a:lnTo>
                    <a:pt x="56490" y="-6496"/>
                  </a:lnTo>
                </a:path>
              </a:pathLst>
            </a:custGeom>
            <a:grpFill/>
            <a:ln w="548" cap="flat">
              <a:noFill/>
              <a:prstDash val="solid"/>
              <a:miter/>
            </a:ln>
          </p:spPr>
          <p:txBody>
            <a:bodyPr/>
            <a:lstStyle/>
            <a:p>
              <a:endParaRPr lang="en-US"/>
            </a:p>
          </p:txBody>
        </p:sp>
        <p:sp>
          <p:nvSpPr>
            <p:cNvPr id="552" name="Freeform: Shape 551">
              <a:extLst>
                <a:ext uri="{FF2B5EF4-FFF2-40B4-BE49-F238E27FC236}">
                  <a16:creationId xmlns:a16="http://schemas.microsoft.com/office/drawing/2014/main" id="{BC2A52F4-8FBB-EC6C-458C-E37C796225D4}"/>
                </a:ext>
              </a:extLst>
            </p:cNvPr>
            <p:cNvSpPr/>
            <p:nvPr/>
          </p:nvSpPr>
          <p:spPr>
            <a:xfrm flipV="1">
              <a:off x="18526794" y="3908846"/>
              <a:ext cx="302816" cy="47479"/>
            </a:xfrm>
            <a:custGeom>
              <a:avLst/>
              <a:gdLst>
                <a:gd name="csX0" fmla="*/ 300830 w 302816"/>
                <a:gd name="csY0" fmla="*/ 41105 h 47479"/>
                <a:gd name="csX1" fmla="*/ 241385 w 302816"/>
                <a:gd name="csY1" fmla="*/ 41105 h 47479"/>
                <a:gd name="csX2" fmla="*/ 241385 w 302816"/>
                <a:gd name="csY2" fmla="*/ 25074 h 47479"/>
                <a:gd name="csX3" fmla="*/ 216894 w 302816"/>
                <a:gd name="csY3" fmla="*/ 25074 h 47479"/>
                <a:gd name="csX4" fmla="*/ 216894 w 302816"/>
                <a:gd name="csY4" fmla="*/ 41105 h 47479"/>
                <a:gd name="csX5" fmla="*/ 161668 w 302816"/>
                <a:gd name="csY5" fmla="*/ 41105 h 47479"/>
                <a:gd name="csX6" fmla="*/ 161668 w 302816"/>
                <a:gd name="csY6" fmla="*/ 25074 h 47479"/>
                <a:gd name="csX7" fmla="*/ 137171 w 302816"/>
                <a:gd name="csY7" fmla="*/ 25074 h 47479"/>
                <a:gd name="csX8" fmla="*/ 137171 w 302816"/>
                <a:gd name="csY8" fmla="*/ 41105 h 47479"/>
                <a:gd name="csX9" fmla="*/ 81950 w 302816"/>
                <a:gd name="csY9" fmla="*/ 41105 h 47479"/>
                <a:gd name="csX10" fmla="*/ 81950 w 302816"/>
                <a:gd name="csY10" fmla="*/ 25074 h 47479"/>
                <a:gd name="csX11" fmla="*/ 57454 w 302816"/>
                <a:gd name="csY11" fmla="*/ 25074 h 47479"/>
                <a:gd name="csX12" fmla="*/ 57454 w 302816"/>
                <a:gd name="csY12" fmla="*/ 41105 h 47479"/>
                <a:gd name="csX13" fmla="*/ -1986 w 302816"/>
                <a:gd name="csY13" fmla="*/ 41105 h 47479"/>
                <a:gd name="csX14" fmla="*/ -1986 w 302816"/>
                <a:gd name="csY14" fmla="*/ -6374 h 47479"/>
                <a:gd name="csX15" fmla="*/ 300830 w 302816"/>
                <a:gd name="csY15" fmla="*/ -6374 h 47479"/>
                <a:gd name="csX16" fmla="*/ 300830 w 302816"/>
                <a:gd name="csY16" fmla="*/ 41105 h 4747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Lst>
              <a:rect l="l" t="t" r="r" b="b"/>
              <a:pathLst>
                <a:path w="302816" h="47479">
                  <a:moveTo>
                    <a:pt x="300830" y="41105"/>
                  </a:moveTo>
                  <a:lnTo>
                    <a:pt x="241385" y="41105"/>
                  </a:lnTo>
                  <a:lnTo>
                    <a:pt x="241385" y="25074"/>
                  </a:lnTo>
                  <a:lnTo>
                    <a:pt x="216894" y="25074"/>
                  </a:lnTo>
                  <a:lnTo>
                    <a:pt x="216894" y="41105"/>
                  </a:lnTo>
                  <a:lnTo>
                    <a:pt x="161668" y="41105"/>
                  </a:lnTo>
                  <a:lnTo>
                    <a:pt x="161668" y="25074"/>
                  </a:lnTo>
                  <a:lnTo>
                    <a:pt x="137171" y="25074"/>
                  </a:lnTo>
                  <a:lnTo>
                    <a:pt x="137171" y="41105"/>
                  </a:lnTo>
                  <a:lnTo>
                    <a:pt x="81950" y="41105"/>
                  </a:lnTo>
                  <a:lnTo>
                    <a:pt x="81950" y="25074"/>
                  </a:lnTo>
                  <a:lnTo>
                    <a:pt x="57454" y="25074"/>
                  </a:lnTo>
                  <a:lnTo>
                    <a:pt x="57454" y="41105"/>
                  </a:lnTo>
                  <a:lnTo>
                    <a:pt x="-1986" y="41105"/>
                  </a:lnTo>
                  <a:lnTo>
                    <a:pt x="-1986" y="-6374"/>
                  </a:lnTo>
                  <a:lnTo>
                    <a:pt x="300830" y="-6374"/>
                  </a:lnTo>
                  <a:lnTo>
                    <a:pt x="300830" y="41105"/>
                  </a:lnTo>
                </a:path>
              </a:pathLst>
            </a:custGeom>
            <a:grpFill/>
            <a:ln w="548" cap="flat">
              <a:noFill/>
              <a:prstDash val="solid"/>
              <a:miter/>
            </a:ln>
          </p:spPr>
          <p:txBody>
            <a:bodyPr/>
            <a:lstStyle/>
            <a:p>
              <a:endParaRPr lang="en-US"/>
            </a:p>
          </p:txBody>
        </p:sp>
        <p:sp>
          <p:nvSpPr>
            <p:cNvPr id="553" name="Freeform: Shape 552">
              <a:extLst>
                <a:ext uri="{FF2B5EF4-FFF2-40B4-BE49-F238E27FC236}">
                  <a16:creationId xmlns:a16="http://schemas.microsoft.com/office/drawing/2014/main" id="{95F5F0E0-B655-D829-9FCE-EE8855342219}"/>
                </a:ext>
              </a:extLst>
            </p:cNvPr>
            <p:cNvSpPr/>
            <p:nvPr/>
          </p:nvSpPr>
          <p:spPr>
            <a:xfrm flipV="1">
              <a:off x="18594770" y="3910086"/>
              <a:ext cx="9101" cy="7933"/>
            </a:xfrm>
            <a:custGeom>
              <a:avLst/>
              <a:gdLst>
                <a:gd name="csX0" fmla="*/ 7214 w 9101"/>
                <a:gd name="csY0" fmla="*/ 1515 h 7933"/>
                <a:gd name="csX1" fmla="*/ -1888 w 9101"/>
                <a:gd name="csY1" fmla="*/ -6418 h 7933"/>
                <a:gd name="csX2" fmla="*/ 7214 w 9101"/>
                <a:gd name="csY2" fmla="*/ -6418 h 7933"/>
              </a:gdLst>
              <a:ahLst/>
              <a:cxnLst>
                <a:cxn ang="0">
                  <a:pos x="csX0" y="csY0"/>
                </a:cxn>
                <a:cxn ang="0">
                  <a:pos x="csX1" y="csY1"/>
                </a:cxn>
                <a:cxn ang="0">
                  <a:pos x="csX2" y="csY2"/>
                </a:cxn>
              </a:cxnLst>
              <a:rect l="l" t="t" r="r" b="b"/>
              <a:pathLst>
                <a:path w="9101" h="7933">
                  <a:moveTo>
                    <a:pt x="7214" y="1515"/>
                  </a:moveTo>
                  <a:lnTo>
                    <a:pt x="-1888" y="-6418"/>
                  </a:lnTo>
                  <a:lnTo>
                    <a:pt x="7214" y="-6418"/>
                  </a:lnTo>
                  <a:close/>
                </a:path>
              </a:pathLst>
            </a:custGeom>
            <a:grpFill/>
            <a:ln w="548" cap="flat">
              <a:noFill/>
              <a:prstDash val="solid"/>
              <a:miter/>
            </a:ln>
          </p:spPr>
          <p:txBody>
            <a:bodyPr/>
            <a:lstStyle/>
            <a:p>
              <a:endParaRPr lang="en-US"/>
            </a:p>
          </p:txBody>
        </p:sp>
        <p:sp>
          <p:nvSpPr>
            <p:cNvPr id="554" name="Freeform: Shape 553">
              <a:extLst>
                <a:ext uri="{FF2B5EF4-FFF2-40B4-BE49-F238E27FC236}">
                  <a16:creationId xmlns:a16="http://schemas.microsoft.com/office/drawing/2014/main" id="{F84B77A7-F4BB-DEC9-19F9-C3A37C848ED9}"/>
                </a:ext>
              </a:extLst>
            </p:cNvPr>
            <p:cNvSpPr/>
            <p:nvPr/>
          </p:nvSpPr>
          <p:spPr>
            <a:xfrm flipV="1">
              <a:off x="18752531" y="3910092"/>
              <a:ext cx="9096" cy="7927"/>
            </a:xfrm>
            <a:custGeom>
              <a:avLst/>
              <a:gdLst>
                <a:gd name="csX0" fmla="*/ -2084 w 9096"/>
                <a:gd name="csY0" fmla="*/ 1509 h 7927"/>
                <a:gd name="csX1" fmla="*/ -2084 w 9096"/>
                <a:gd name="csY1" fmla="*/ -6418 h 7927"/>
                <a:gd name="csX2" fmla="*/ 7013 w 9096"/>
                <a:gd name="csY2" fmla="*/ -6418 h 7927"/>
              </a:gdLst>
              <a:ahLst/>
              <a:cxnLst>
                <a:cxn ang="0">
                  <a:pos x="csX0" y="csY0"/>
                </a:cxn>
                <a:cxn ang="0">
                  <a:pos x="csX1" y="csY1"/>
                </a:cxn>
                <a:cxn ang="0">
                  <a:pos x="csX2" y="csY2"/>
                </a:cxn>
              </a:cxnLst>
              <a:rect l="l" t="t" r="r" b="b"/>
              <a:pathLst>
                <a:path w="9096" h="7927">
                  <a:moveTo>
                    <a:pt x="-2084" y="1509"/>
                  </a:moveTo>
                  <a:lnTo>
                    <a:pt x="-2084" y="-6418"/>
                  </a:lnTo>
                  <a:lnTo>
                    <a:pt x="7013" y="-6418"/>
                  </a:lnTo>
                  <a:close/>
                </a:path>
              </a:pathLst>
            </a:custGeom>
            <a:grpFill/>
            <a:ln w="548" cap="flat">
              <a:noFill/>
              <a:prstDash val="solid"/>
              <a:miter/>
            </a:ln>
          </p:spPr>
          <p:txBody>
            <a:bodyPr/>
            <a:lstStyle/>
            <a:p>
              <a:endParaRPr lang="en-US"/>
            </a:p>
          </p:txBody>
        </p:sp>
        <p:sp>
          <p:nvSpPr>
            <p:cNvPr id="555" name="Freeform: Shape 554">
              <a:extLst>
                <a:ext uri="{FF2B5EF4-FFF2-40B4-BE49-F238E27FC236}">
                  <a16:creationId xmlns:a16="http://schemas.microsoft.com/office/drawing/2014/main" id="{A670ACD7-16CC-25D9-F414-09E498F5CF63}"/>
                </a:ext>
              </a:extLst>
            </p:cNvPr>
            <p:cNvSpPr/>
            <p:nvPr/>
          </p:nvSpPr>
          <p:spPr>
            <a:xfrm flipV="1">
              <a:off x="18613160" y="3845281"/>
              <a:ext cx="130077" cy="72738"/>
            </a:xfrm>
            <a:custGeom>
              <a:avLst/>
              <a:gdLst>
                <a:gd name="csX0" fmla="*/ 57662 w 130077"/>
                <a:gd name="csY0" fmla="*/ -6496 h 72738"/>
                <a:gd name="csX1" fmla="*/ 68443 w 130077"/>
                <a:gd name="csY1" fmla="*/ -6496 h 72738"/>
                <a:gd name="csX2" fmla="*/ 68443 w 130077"/>
                <a:gd name="csY2" fmla="*/ 9535 h 72738"/>
                <a:gd name="csX3" fmla="*/ 128091 w 130077"/>
                <a:gd name="csY3" fmla="*/ 9535 h 72738"/>
                <a:gd name="csX4" fmla="*/ 63055 w 130077"/>
                <a:gd name="csY4" fmla="*/ 66242 h 72738"/>
                <a:gd name="csX5" fmla="*/ -1986 w 130077"/>
                <a:gd name="csY5" fmla="*/ 9535 h 72738"/>
                <a:gd name="csX6" fmla="*/ 57662 w 130077"/>
                <a:gd name="csY6" fmla="*/ 9535 h 72738"/>
                <a:gd name="csX7" fmla="*/ 57662 w 130077"/>
                <a:gd name="csY7" fmla="*/ -6496 h 7273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130077" h="72738">
                  <a:moveTo>
                    <a:pt x="57662" y="-6496"/>
                  </a:moveTo>
                  <a:lnTo>
                    <a:pt x="68443" y="-6496"/>
                  </a:lnTo>
                  <a:lnTo>
                    <a:pt x="68443" y="9535"/>
                  </a:lnTo>
                  <a:lnTo>
                    <a:pt x="128091" y="9535"/>
                  </a:lnTo>
                  <a:lnTo>
                    <a:pt x="63055" y="66242"/>
                  </a:lnTo>
                  <a:lnTo>
                    <a:pt x="-1986" y="9535"/>
                  </a:lnTo>
                  <a:lnTo>
                    <a:pt x="57662" y="9535"/>
                  </a:lnTo>
                  <a:lnTo>
                    <a:pt x="57662" y="-6496"/>
                  </a:lnTo>
                </a:path>
              </a:pathLst>
            </a:custGeom>
            <a:grpFill/>
            <a:ln w="548" cap="flat">
              <a:noFill/>
              <a:prstDash val="solid"/>
              <a:miter/>
            </a:ln>
          </p:spPr>
          <p:txBody>
            <a:bodyPr/>
            <a:lstStyle/>
            <a:p>
              <a:endParaRPr lang="en-US"/>
            </a:p>
          </p:txBody>
        </p:sp>
      </p:grpSp>
      <p:sp>
        <p:nvSpPr>
          <p:cNvPr id="556" name="Slide Number">
            <a:extLst>
              <a:ext uri="{FF2B5EF4-FFF2-40B4-BE49-F238E27FC236}">
                <a16:creationId xmlns:a16="http://schemas.microsoft.com/office/drawing/2014/main" id="{2D452E05-85ED-EE87-809E-2431315C73CA}"/>
              </a:ext>
            </a:extLst>
          </p:cNvPr>
          <p:cNvSpPr>
            <a:spLocks noChangeArrowheads="1"/>
          </p:cNvSpPr>
          <p:nvPr>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4</a:t>
            </a:fld>
            <a:endParaRPr lang="en-US" sz="900" b="0">
              <a:solidFill>
                <a:schemeClr val="tx1"/>
              </a:solidFill>
              <a:latin typeface="+mn-lt"/>
              <a:ea typeface="+mn-ea"/>
              <a:cs typeface="Arial" panose="020B0604020202020204" pitchFamily="34" charset="0"/>
            </a:endParaRPr>
          </a:p>
        </p:txBody>
      </p:sp>
      <p:pic>
        <p:nvPicPr>
          <p:cNvPr id="557" name="Picture 556">
            <a:extLst>
              <a:ext uri="{FF2B5EF4-FFF2-40B4-BE49-F238E27FC236}">
                <a16:creationId xmlns:a16="http://schemas.microsoft.com/office/drawing/2014/main" id="{72C9A7E8-824C-A2CF-DD41-1C93829AE2EB}"/>
              </a:ext>
            </a:extLst>
          </p:cNvPr>
          <p:cNvPicPr>
            <a:picLocks noChangeAspect="1"/>
          </p:cNvPicPr>
          <p:nvPr/>
        </p:nvPicPr>
        <p:blipFill>
          <a:blip r:embed="rId7"/>
          <a:srcRect l="13114" t="38701" r="12969" b="36443"/>
          <a:stretch>
            <a:fillRect/>
          </a:stretch>
        </p:blipFill>
        <p:spPr bwMode="ltGray">
          <a:xfrm>
            <a:off x="554736" y="6254067"/>
            <a:ext cx="1211306" cy="246221"/>
          </a:xfrm>
          <a:prstGeom prst="rect">
            <a:avLst/>
          </a:prstGeom>
        </p:spPr>
      </p:pic>
      <p:pic>
        <p:nvPicPr>
          <p:cNvPr id="17" name="Picture 16">
            <a:extLst>
              <a:ext uri="{FF2B5EF4-FFF2-40B4-BE49-F238E27FC236}">
                <a16:creationId xmlns:a16="http://schemas.microsoft.com/office/drawing/2014/main" id="{E59A43A0-B8EB-E7C2-03EE-96236D555352}"/>
              </a:ext>
            </a:extLst>
          </p:cNvPr>
          <p:cNvPicPr>
            <a:picLocks noChangeAspect="1"/>
          </p:cNvPicPr>
          <p:nvPr/>
        </p:nvPicPr>
        <p:blipFill>
          <a:blip r:embed="rId8"/>
          <a:stretch>
            <a:fillRect/>
          </a:stretch>
        </p:blipFill>
        <p:spPr>
          <a:xfrm>
            <a:off x="0" y="736600"/>
            <a:ext cx="12192000" cy="5517467"/>
          </a:xfrm>
          <a:prstGeom prst="rect">
            <a:avLst/>
          </a:prstGeom>
        </p:spPr>
      </p:pic>
    </p:spTree>
    <p:extLst>
      <p:ext uri="{BB962C8B-B14F-4D97-AF65-F5344CB8AC3E}">
        <p14:creationId xmlns:p14="http://schemas.microsoft.com/office/powerpoint/2010/main" val="37433405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5119FA-42B3-AAD5-0AFD-16D01F2A699B}"/>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E25DFF0-783B-A725-B16E-1FCE3F70521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91" imgH="290" progId="TCLayout.ActiveDocument.1">
                  <p:embed/>
                </p:oleObj>
              </mc:Choice>
              <mc:Fallback>
                <p:oleObj name="think-cell Slide" r:id="rId6" imgW="291" imgH="290" progId="TCLayout.ActiveDocument.1">
                  <p:embed/>
                  <p:pic>
                    <p:nvPicPr>
                      <p:cNvPr id="5" name="think-cell data - do not delete" hidden="1">
                        <a:extLst>
                          <a:ext uri="{FF2B5EF4-FFF2-40B4-BE49-F238E27FC236}">
                            <a16:creationId xmlns:a16="http://schemas.microsoft.com/office/drawing/2014/main" id="{9E25DFF0-783B-A725-B16E-1FCE3F70521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66576FEB-5643-9E6C-6704-902B5C4B23F1}"/>
              </a:ext>
            </a:extLst>
          </p:cNvPr>
          <p:cNvSpPr>
            <a:spLocks noGrp="1"/>
          </p:cNvSpPr>
          <p:nvPr>
            <p:ph type="title"/>
            <p:custDataLst>
              <p:tags r:id="rId2"/>
            </p:custDataLst>
          </p:nvPr>
        </p:nvSpPr>
        <p:spPr>
          <a:xfrm>
            <a:off x="554736" y="172212"/>
            <a:ext cx="6967728" cy="769441"/>
          </a:xfrm>
        </p:spPr>
        <p:txBody>
          <a:bodyPr vert="horz">
            <a:noAutofit/>
          </a:bodyPr>
          <a:lstStyle/>
          <a:p>
            <a:r>
              <a:rPr lang="en-US"/>
              <a:t>Background</a:t>
            </a:r>
          </a:p>
        </p:txBody>
      </p:sp>
      <p:sp>
        <p:nvSpPr>
          <p:cNvPr id="10" name="TextBox 9">
            <a:extLst>
              <a:ext uri="{FF2B5EF4-FFF2-40B4-BE49-F238E27FC236}">
                <a16:creationId xmlns:a16="http://schemas.microsoft.com/office/drawing/2014/main" id="{ACB0CE72-CAD0-44A4-D34D-95EB777D195D}"/>
              </a:ext>
            </a:extLst>
          </p:cNvPr>
          <p:cNvSpPr txBox="1">
            <a:spLocks/>
          </p:cNvSpPr>
          <p:nvPr>
            <p:custDataLst>
              <p:tags r:id="rId3"/>
            </p:custDataLst>
          </p:nvPr>
        </p:nvSpPr>
        <p:spPr>
          <a:xfrm>
            <a:off x="554736" y="1212941"/>
            <a:ext cx="6967728" cy="3618939"/>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2000"/>
              </a:spcBef>
            </a:pPr>
            <a:r>
              <a:rPr lang="en-US" sz="1800"/>
              <a:t>Kenya is executing a fundamental shift in its economic architecture. Historically a consumer of finished imports and exporter of raw agricultural commodities, the country is rapidly moving up the value chain. Anchored under the </a:t>
            </a:r>
            <a:r>
              <a:rPr lang="en-US" sz="1800" b="1">
                <a:solidFill>
                  <a:schemeClr val="accent1"/>
                </a:solidFill>
              </a:rPr>
              <a:t>Bottom-Up Economic Transformation Agenda (BETA)</a:t>
            </a:r>
            <a:r>
              <a:rPr lang="en-US" sz="1800"/>
              <a:t>, the Ministry of Investments, Trade and Industry (MITI)—in partnership with local governments—is rolling out </a:t>
            </a:r>
            <a:r>
              <a:rPr lang="en-US" sz="1800" b="1">
                <a:solidFill>
                  <a:schemeClr val="accent1"/>
                </a:solidFill>
              </a:rPr>
              <a:t>County Aggregation and Industrial Parks (CAIPs)</a:t>
            </a:r>
            <a:r>
              <a:rPr lang="en-US" sz="1800"/>
              <a:t> across all 47 counties. </a:t>
            </a:r>
          </a:p>
          <a:p>
            <a:pPr>
              <a:spcBef>
                <a:spcPts val="2000"/>
              </a:spcBef>
            </a:pPr>
            <a:r>
              <a:rPr lang="en-US" sz="1800">
                <a:cs typeface="Arial"/>
              </a:rPr>
              <a:t>This project aims to drive manufacturing from 7.6% to 15% of GDP by 2027. For institutional investors, private equity firms, and global anchor tenants, CAIPs offer a highly de-risked, heavily subsidized entry point into East Africa’s largest breadbasket </a:t>
            </a:r>
            <a:br>
              <a:rPr lang="en-US" sz="1800" dirty="0"/>
            </a:br>
            <a:r>
              <a:rPr lang="en-US" sz="1800">
                <a:cs typeface="Arial"/>
              </a:rPr>
              <a:t>and manufacturing hub. </a:t>
            </a:r>
          </a:p>
        </p:txBody>
      </p:sp>
      <p:sp>
        <p:nvSpPr>
          <p:cNvPr id="11" name="Slide Number">
            <a:extLst>
              <a:ext uri="{FF2B5EF4-FFF2-40B4-BE49-F238E27FC236}">
                <a16:creationId xmlns:a16="http://schemas.microsoft.com/office/drawing/2014/main" id="{93319447-4870-44E9-0D33-72D1A6FCE1F7}"/>
              </a:ext>
            </a:extLst>
          </p:cNvPr>
          <p:cNvSpPr>
            <a:spLocks noChangeArrowheads="1"/>
          </p:cNvSpPr>
          <p:nvPr>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610744" rtl="0" fontAlgn="auto">
                <a:spcBef>
                  <a:spcPts val="0"/>
                </a:spcBef>
                <a:spcAft>
                  <a:spcPts val="0"/>
                </a:spcAft>
                <a:defRPr/>
              </a:pPr>
              <a:t>5</a:t>
            </a:fld>
            <a:endParaRPr lang="en-US" sz="900" b="0">
              <a:solidFill>
                <a:schemeClr val="bg1"/>
              </a:solidFill>
              <a:latin typeface="+mn-lt"/>
              <a:ea typeface="+mn-ea"/>
              <a:cs typeface="Arial" panose="020B0604020202020204" pitchFamily="34" charset="0"/>
            </a:endParaRPr>
          </a:p>
        </p:txBody>
      </p:sp>
      <p:pic>
        <p:nvPicPr>
          <p:cNvPr id="14" name="Picture 5">
            <a:extLst>
              <a:ext uri="{FF2B5EF4-FFF2-40B4-BE49-F238E27FC236}">
                <a16:creationId xmlns:a16="http://schemas.microsoft.com/office/drawing/2014/main" id="{6DF3A727-70BD-1B6A-675D-1621F0336144}"/>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p:blipFill>
        <p:spPr bwMode="ltGray">
          <a:xfrm>
            <a:off x="10936538" y="183978"/>
            <a:ext cx="712156" cy="361189"/>
          </a:xfrm>
          <a:prstGeom prst="rect">
            <a:avLst/>
          </a:prstGeom>
        </p:spPr>
      </p:pic>
      <p:pic>
        <p:nvPicPr>
          <p:cNvPr id="3" name="Picture 2">
            <a:extLst>
              <a:ext uri="{FF2B5EF4-FFF2-40B4-BE49-F238E27FC236}">
                <a16:creationId xmlns:a16="http://schemas.microsoft.com/office/drawing/2014/main" id="{B72AD4A2-0BCC-7DB1-EFB4-5BD750E05D08}"/>
              </a:ext>
            </a:extLst>
          </p:cNvPr>
          <p:cNvPicPr>
            <a:picLocks/>
          </p:cNvPicPr>
          <p:nvPr/>
        </p:nvPicPr>
        <p:blipFill>
          <a:blip r:embed="rId9"/>
          <a:srcRect t="9074" b="9074"/>
          <a:stretch/>
        </p:blipFill>
        <p:spPr>
          <a:xfrm>
            <a:off x="7778114" y="0"/>
            <a:ext cx="4352925" cy="6858000"/>
          </a:xfrm>
          <a:prstGeom prst="rect">
            <a:avLst/>
          </a:prstGeom>
        </p:spPr>
      </p:pic>
    </p:spTree>
    <p:extLst>
      <p:ext uri="{BB962C8B-B14F-4D97-AF65-F5344CB8AC3E}">
        <p14:creationId xmlns:p14="http://schemas.microsoft.com/office/powerpoint/2010/main" val="39876599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EF706E-EA82-9777-A80C-B5BCD4079A2A}"/>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5E4BB3A-C674-0EFB-675A-A40CD5B145C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291" imgH="290" progId="TCLayout.ActiveDocument.1">
                  <p:embed/>
                </p:oleObj>
              </mc:Choice>
              <mc:Fallback>
                <p:oleObj name="think-cell Slide" r:id="rId9" imgW="291" imgH="290" progId="TCLayout.ActiveDocument.1">
                  <p:embed/>
                  <p:pic>
                    <p:nvPicPr>
                      <p:cNvPr id="5" name="think-cell data - do not delete" hidden="1">
                        <a:extLst>
                          <a:ext uri="{FF2B5EF4-FFF2-40B4-BE49-F238E27FC236}">
                            <a16:creationId xmlns:a16="http://schemas.microsoft.com/office/drawing/2014/main" id="{D5E4BB3A-C674-0EFB-675A-A40CD5B145CD}"/>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157A56D5-4EE3-65AA-63EF-40A7A82D6F90}"/>
              </a:ext>
            </a:extLst>
          </p:cNvPr>
          <p:cNvSpPr>
            <a:spLocks noGrp="1"/>
          </p:cNvSpPr>
          <p:nvPr>
            <p:ph type="title"/>
            <p:custDataLst>
              <p:tags r:id="rId2"/>
            </p:custDataLst>
          </p:nvPr>
        </p:nvSpPr>
        <p:spPr>
          <a:xfrm>
            <a:off x="554736" y="172212"/>
            <a:ext cx="7918704" cy="384721"/>
          </a:xfrm>
          <a:noFill/>
          <a:ln/>
          <a:extLst>
            <a:ext uri="{909E8E84-426E-40DD-AFC4-6F175D3DCCD1}">
              <a14:hiddenFill xmlns:a14="http://schemas.microsoft.com/office/drawing/2010/main">
                <a:solidFill>
                  <a:srgbClr val="FFFFFF"/>
                </a:solidFill>
              </a14:hiddenFill>
            </a:ext>
          </a:extLst>
        </p:spPr>
        <p:txBody>
          <a:bodyPr vert="horz">
            <a:noAutofit/>
          </a:bodyPr>
          <a:lstStyle/>
          <a:p>
            <a:r>
              <a:rPr lang="en-US"/>
              <a:t>Macro investment opportunity</a:t>
            </a:r>
          </a:p>
        </p:txBody>
      </p:sp>
      <p:sp>
        <p:nvSpPr>
          <p:cNvPr id="15" name="object 4">
            <a:extLst>
              <a:ext uri="{FF2B5EF4-FFF2-40B4-BE49-F238E27FC236}">
                <a16:creationId xmlns:a16="http://schemas.microsoft.com/office/drawing/2014/main" id="{B1041862-5AEA-3A0C-6B0B-02DA00CF70DC}"/>
              </a:ext>
            </a:extLst>
          </p:cNvPr>
          <p:cNvSpPr>
            <a:spLocks/>
          </p:cNvSpPr>
          <p:nvPr/>
        </p:nvSpPr>
        <p:spPr>
          <a:xfrm>
            <a:off x="0" y="736599"/>
            <a:ext cx="8782050" cy="619761"/>
          </a:xfrm>
          <a:prstGeom prst="rect">
            <a:avLst/>
          </a:prstGeom>
          <a:solidFill>
            <a:schemeClr val="bg1">
              <a:lumMod val="95000"/>
            </a:schemeClr>
          </a:solidFill>
          <a:effectLst/>
        </p:spPr>
        <p:txBody>
          <a:bodyPr wrap="square" lIns="0" tIns="0" rIns="0" bIns="0" rtlCol="0">
            <a:noAutofit/>
          </a:bodyPr>
          <a:lstStyle/>
          <a:p>
            <a:endParaRPr/>
          </a:p>
        </p:txBody>
      </p:sp>
      <p:sp>
        <p:nvSpPr>
          <p:cNvPr id="16" name="TextBox 15">
            <a:extLst>
              <a:ext uri="{FF2B5EF4-FFF2-40B4-BE49-F238E27FC236}">
                <a16:creationId xmlns:a16="http://schemas.microsoft.com/office/drawing/2014/main" id="{6EE6DD0F-C28B-C2F5-3D50-4DFD9D82FE21}"/>
              </a:ext>
            </a:extLst>
          </p:cNvPr>
          <p:cNvSpPr txBox="1">
            <a:spLocks/>
          </p:cNvSpPr>
          <p:nvPr>
            <p:custDataLst>
              <p:tags r:id="rId3"/>
            </p:custDataLst>
          </p:nvPr>
        </p:nvSpPr>
        <p:spPr>
          <a:xfrm>
            <a:off x="554736" y="831036"/>
            <a:ext cx="7918704"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1000"/>
              </a:spcBef>
            </a:pPr>
            <a:r>
              <a:rPr lang="en-US" sz="1400"/>
              <a:t>Kenya is uniquely positioned as the commercial and logistical gateway to East </a:t>
            </a:r>
            <a:br>
              <a:rPr lang="en-US" sz="1400"/>
            </a:br>
            <a:r>
              <a:rPr lang="en-US" sz="1400"/>
              <a:t>and Central Africa. </a:t>
            </a:r>
          </a:p>
        </p:txBody>
      </p:sp>
      <p:sp>
        <p:nvSpPr>
          <p:cNvPr id="18" name="TextBox 17">
            <a:extLst>
              <a:ext uri="{FF2B5EF4-FFF2-40B4-BE49-F238E27FC236}">
                <a16:creationId xmlns:a16="http://schemas.microsoft.com/office/drawing/2014/main" id="{E1FE9CF2-3504-23EB-83FC-FEC65EF1CC94}"/>
              </a:ext>
            </a:extLst>
          </p:cNvPr>
          <p:cNvSpPr txBox="1">
            <a:spLocks/>
          </p:cNvSpPr>
          <p:nvPr>
            <p:custDataLst>
              <p:tags r:id="rId4"/>
            </p:custDataLst>
          </p:nvPr>
        </p:nvSpPr>
        <p:spPr>
          <a:xfrm>
            <a:off x="554736" y="1432120"/>
            <a:ext cx="7918704"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500"/>
              </a:spcBef>
            </a:pPr>
            <a:r>
              <a:rPr lang="en-US" sz="1400"/>
              <a:t>Investing here provides frictionless access to several massive, integrated trade blocs:</a:t>
            </a:r>
          </a:p>
        </p:txBody>
      </p:sp>
      <p:sp>
        <p:nvSpPr>
          <p:cNvPr id="19" name="TextBox 18">
            <a:extLst>
              <a:ext uri="{FF2B5EF4-FFF2-40B4-BE49-F238E27FC236}">
                <a16:creationId xmlns:a16="http://schemas.microsoft.com/office/drawing/2014/main" id="{47F255B8-C466-4673-25EF-C1F44D23B162}"/>
              </a:ext>
            </a:extLst>
          </p:cNvPr>
          <p:cNvSpPr txBox="1">
            <a:spLocks/>
          </p:cNvSpPr>
          <p:nvPr>
            <p:custDataLst>
              <p:tags r:id="rId5"/>
            </p:custDataLst>
          </p:nvPr>
        </p:nvSpPr>
        <p:spPr>
          <a:xfrm>
            <a:off x="554736" y="3741653"/>
            <a:ext cx="7918704" cy="116955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spcBef>
                <a:spcPts val="500"/>
              </a:spcBef>
            </a:pPr>
            <a:r>
              <a:rPr lang="en-US" sz="1400"/>
              <a:t>Infrastructure-Mombasa Port, SGR, roads, airports – operational</a:t>
            </a:r>
          </a:p>
          <a:p>
            <a:pPr lvl="1">
              <a:spcBef>
                <a:spcPts val="500"/>
              </a:spcBef>
            </a:pPr>
            <a:r>
              <a:rPr lang="en-US" sz="1400"/>
              <a:t>Energy-87% green energy (geothermal, wind, solar) – reliable and cost-competitive</a:t>
            </a:r>
          </a:p>
          <a:p>
            <a:pPr lvl="1">
              <a:spcBef>
                <a:spcPts val="500"/>
              </a:spcBef>
            </a:pPr>
            <a:r>
              <a:rPr lang="en-US" sz="1400"/>
              <a:t>Workforce-Young, Multilingual, tech savvy, entrepreneurial, growing annually</a:t>
            </a:r>
          </a:p>
          <a:p>
            <a:pPr lvl="1">
              <a:spcBef>
                <a:spcPts val="500"/>
              </a:spcBef>
            </a:pPr>
            <a:r>
              <a:rPr lang="en-US" sz="1400"/>
              <a:t>Policy stability-Pro-business reforms, investment protection, profit repatriation</a:t>
            </a:r>
          </a:p>
        </p:txBody>
      </p:sp>
      <p:sp>
        <p:nvSpPr>
          <p:cNvPr id="20" name="Rectangle 19">
            <a:extLst>
              <a:ext uri="{FF2B5EF4-FFF2-40B4-BE49-F238E27FC236}">
                <a16:creationId xmlns:a16="http://schemas.microsoft.com/office/drawing/2014/main" id="{2D17E20B-86B4-AB16-06D3-079C920B26BF}"/>
              </a:ext>
            </a:extLst>
          </p:cNvPr>
          <p:cNvSpPr/>
          <p:nvPr/>
        </p:nvSpPr>
        <p:spPr>
          <a:xfrm>
            <a:off x="554736" y="1796395"/>
            <a:ext cx="1769650" cy="1792625"/>
          </a:xfrm>
          <a:prstGeom prst="rect">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1" name="Rectangle 20">
            <a:extLst>
              <a:ext uri="{FF2B5EF4-FFF2-40B4-BE49-F238E27FC236}">
                <a16:creationId xmlns:a16="http://schemas.microsoft.com/office/drawing/2014/main" id="{AD54A54C-8DA6-E746-EA0E-0D7DA90E175C}"/>
              </a:ext>
            </a:extLst>
          </p:cNvPr>
          <p:cNvSpPr/>
          <p:nvPr/>
        </p:nvSpPr>
        <p:spPr>
          <a:xfrm>
            <a:off x="2419604" y="1796395"/>
            <a:ext cx="1769650" cy="1792625"/>
          </a:xfrm>
          <a:prstGeom prst="rect">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2" name="Rectangle 21">
            <a:extLst>
              <a:ext uri="{FF2B5EF4-FFF2-40B4-BE49-F238E27FC236}">
                <a16:creationId xmlns:a16="http://schemas.microsoft.com/office/drawing/2014/main" id="{2B88D170-EDF9-4869-57B2-42D178130929}"/>
              </a:ext>
            </a:extLst>
          </p:cNvPr>
          <p:cNvSpPr/>
          <p:nvPr/>
        </p:nvSpPr>
        <p:spPr>
          <a:xfrm>
            <a:off x="4284472" y="1796395"/>
            <a:ext cx="1769650" cy="1792625"/>
          </a:xfrm>
          <a:prstGeom prst="rect">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3" name="Rectangle 22">
            <a:extLst>
              <a:ext uri="{FF2B5EF4-FFF2-40B4-BE49-F238E27FC236}">
                <a16:creationId xmlns:a16="http://schemas.microsoft.com/office/drawing/2014/main" id="{108A19B6-FDC5-B349-81F7-606CA113BC56}"/>
              </a:ext>
            </a:extLst>
          </p:cNvPr>
          <p:cNvSpPr/>
          <p:nvPr/>
        </p:nvSpPr>
        <p:spPr>
          <a:xfrm>
            <a:off x="6149340" y="1796395"/>
            <a:ext cx="2164080" cy="1792625"/>
          </a:xfrm>
          <a:prstGeom prst="rect">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8" name="TextBox 27">
            <a:extLst>
              <a:ext uri="{FF2B5EF4-FFF2-40B4-BE49-F238E27FC236}">
                <a16:creationId xmlns:a16="http://schemas.microsoft.com/office/drawing/2014/main" id="{BACF4636-6779-682E-0F79-83726AB12ED8}"/>
              </a:ext>
            </a:extLst>
          </p:cNvPr>
          <p:cNvSpPr txBox="1">
            <a:spLocks/>
          </p:cNvSpPr>
          <p:nvPr/>
        </p:nvSpPr>
        <p:spPr>
          <a:xfrm>
            <a:off x="631673" y="1884794"/>
            <a:ext cx="1615776" cy="87716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solidFill>
                  <a:schemeClr val="accent1"/>
                </a:solidFill>
                <a:latin typeface="Arial" panose="020B0604020202020204" pitchFamily="34" charset="0"/>
                <a:sym typeface=""/>
              </a:rPr>
              <a:t>East African Community (EAC)</a:t>
            </a:r>
          </a:p>
          <a:p>
            <a:r>
              <a:rPr lang="en-US" sz="1200">
                <a:solidFill>
                  <a:srgbClr val="000000"/>
                </a:solidFill>
                <a:latin typeface="Arial" panose="020B0604020202020204" pitchFamily="34" charset="0"/>
                <a:sym typeface=""/>
              </a:rPr>
              <a:t>A market of over 300 million consumers.</a:t>
            </a:r>
          </a:p>
        </p:txBody>
      </p:sp>
      <p:sp>
        <p:nvSpPr>
          <p:cNvPr id="29" name="TextBox 28">
            <a:extLst>
              <a:ext uri="{FF2B5EF4-FFF2-40B4-BE49-F238E27FC236}">
                <a16:creationId xmlns:a16="http://schemas.microsoft.com/office/drawing/2014/main" id="{C9CD84B8-029C-0856-DF03-3A29E89E176F}"/>
              </a:ext>
            </a:extLst>
          </p:cNvPr>
          <p:cNvSpPr txBox="1">
            <a:spLocks/>
          </p:cNvSpPr>
          <p:nvPr/>
        </p:nvSpPr>
        <p:spPr>
          <a:xfrm>
            <a:off x="2496541" y="1884794"/>
            <a:ext cx="1615776" cy="127727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solidFill>
                  <a:schemeClr val="accent1"/>
                </a:solidFill>
                <a:latin typeface="Arial" panose="020B0604020202020204" pitchFamily="34" charset="0"/>
                <a:sym typeface=""/>
              </a:rPr>
              <a:t>AfCFTA (African Continental Free Trade Area)</a:t>
            </a:r>
          </a:p>
          <a:p>
            <a:r>
              <a:rPr lang="en-US" sz="1200">
                <a:solidFill>
                  <a:srgbClr val="000000"/>
                </a:solidFill>
                <a:latin typeface="Arial" panose="020B0604020202020204" pitchFamily="34" charset="0"/>
                <a:sym typeface=""/>
              </a:rPr>
              <a:t>Unlocking a single continental market of 1.3 billion people.</a:t>
            </a:r>
          </a:p>
        </p:txBody>
      </p:sp>
      <p:sp>
        <p:nvSpPr>
          <p:cNvPr id="30" name="TextBox 29">
            <a:extLst>
              <a:ext uri="{FF2B5EF4-FFF2-40B4-BE49-F238E27FC236}">
                <a16:creationId xmlns:a16="http://schemas.microsoft.com/office/drawing/2014/main" id="{62E60298-FB16-14B3-C36E-890803BC49B0}"/>
              </a:ext>
            </a:extLst>
          </p:cNvPr>
          <p:cNvSpPr txBox="1">
            <a:spLocks/>
          </p:cNvSpPr>
          <p:nvPr/>
        </p:nvSpPr>
        <p:spPr>
          <a:xfrm>
            <a:off x="4361409" y="1884794"/>
            <a:ext cx="1615776" cy="103105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solidFill>
                  <a:schemeClr val="accent1"/>
                </a:solidFill>
                <a:latin typeface="Arial" panose="020B0604020202020204" pitchFamily="34" charset="0"/>
                <a:sym typeface=""/>
              </a:rPr>
              <a:t>COMESA</a:t>
            </a:r>
          </a:p>
          <a:p>
            <a:r>
              <a:rPr lang="en-US" sz="1200">
                <a:solidFill>
                  <a:srgbClr val="000000"/>
                </a:solidFill>
                <a:latin typeface="Arial" panose="020B0604020202020204" pitchFamily="34" charset="0"/>
                <a:sym typeface=""/>
              </a:rPr>
              <a:t>Across 21 member countries consisting of over 600 million consumers</a:t>
            </a:r>
          </a:p>
        </p:txBody>
      </p:sp>
      <p:sp>
        <p:nvSpPr>
          <p:cNvPr id="31" name="TextBox 30">
            <a:extLst>
              <a:ext uri="{FF2B5EF4-FFF2-40B4-BE49-F238E27FC236}">
                <a16:creationId xmlns:a16="http://schemas.microsoft.com/office/drawing/2014/main" id="{52C5A939-F466-61EE-651C-64876B9EAEF4}"/>
              </a:ext>
            </a:extLst>
          </p:cNvPr>
          <p:cNvSpPr txBox="1">
            <a:spLocks/>
          </p:cNvSpPr>
          <p:nvPr/>
        </p:nvSpPr>
        <p:spPr>
          <a:xfrm>
            <a:off x="6243426" y="1884794"/>
            <a:ext cx="1975910" cy="161582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solidFill>
                  <a:schemeClr val="accent1"/>
                </a:solidFill>
                <a:latin typeface="Arial" panose="020B0604020202020204" pitchFamily="34" charset="0"/>
                <a:sym typeface=""/>
              </a:rPr>
              <a:t>Global Export Passports</a:t>
            </a:r>
          </a:p>
          <a:p>
            <a:pPr>
              <a:buNone/>
            </a:pPr>
            <a:r>
              <a:rPr lang="en-US" sz="1200">
                <a:solidFill>
                  <a:srgbClr val="000000"/>
                </a:solidFill>
                <a:latin typeface="Arial" panose="020B0604020202020204" pitchFamily="34" charset="0"/>
                <a:sym typeface=""/>
              </a:rPr>
              <a:t>Continued preferential duty-free access to US markets via AGOA and European markets via the EU-Kenya Economic Partnership Agreement (EPA).</a:t>
            </a:r>
          </a:p>
        </p:txBody>
      </p:sp>
      <p:sp>
        <p:nvSpPr>
          <p:cNvPr id="32" name="object 4">
            <a:extLst>
              <a:ext uri="{FF2B5EF4-FFF2-40B4-BE49-F238E27FC236}">
                <a16:creationId xmlns:a16="http://schemas.microsoft.com/office/drawing/2014/main" id="{64721F8A-4DFC-8F63-2C1A-340AC13CE21D}"/>
              </a:ext>
            </a:extLst>
          </p:cNvPr>
          <p:cNvSpPr>
            <a:spLocks/>
          </p:cNvSpPr>
          <p:nvPr/>
        </p:nvSpPr>
        <p:spPr>
          <a:xfrm>
            <a:off x="0" y="5063838"/>
            <a:ext cx="8782050" cy="1057564"/>
          </a:xfrm>
          <a:prstGeom prst="rect">
            <a:avLst/>
          </a:prstGeom>
          <a:solidFill>
            <a:schemeClr val="accent1"/>
          </a:solidFill>
          <a:effectLst/>
        </p:spPr>
        <p:txBody>
          <a:bodyPr wrap="square" lIns="0" tIns="0" rIns="0" bIns="0" rtlCol="0">
            <a:noAutofit/>
          </a:bodyPr>
          <a:lstStyle/>
          <a:p>
            <a:pPr>
              <a:buClr>
                <a:schemeClr val="bg1"/>
              </a:buClr>
            </a:pPr>
            <a:endParaRPr>
              <a:solidFill>
                <a:schemeClr val="bg1"/>
              </a:solidFill>
            </a:endParaRPr>
          </a:p>
        </p:txBody>
      </p:sp>
      <p:sp>
        <p:nvSpPr>
          <p:cNvPr id="9" name="TextBox 8">
            <a:extLst>
              <a:ext uri="{FF2B5EF4-FFF2-40B4-BE49-F238E27FC236}">
                <a16:creationId xmlns:a16="http://schemas.microsoft.com/office/drawing/2014/main" id="{A3B0B370-9FE2-A4D3-A0B4-8DBD9ED219FD}"/>
              </a:ext>
            </a:extLst>
          </p:cNvPr>
          <p:cNvSpPr txBox="1">
            <a:spLocks/>
          </p:cNvSpPr>
          <p:nvPr>
            <p:custDataLst>
              <p:tags r:id="rId6"/>
            </p:custDataLst>
          </p:nvPr>
        </p:nvSpPr>
        <p:spPr>
          <a:xfrm>
            <a:off x="554736" y="5161733"/>
            <a:ext cx="7918704" cy="86177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1000"/>
              </a:spcBef>
              <a:buClr>
                <a:schemeClr val="tx2"/>
              </a:buClr>
            </a:pPr>
            <a:r>
              <a:rPr lang="en-US" sz="1400" b="1">
                <a:solidFill>
                  <a:schemeClr val="tx2"/>
                </a:solidFill>
              </a:rPr>
              <a:t>The Structural Gap</a:t>
            </a:r>
            <a:r>
              <a:rPr lang="en-US" sz="1400">
                <a:solidFill>
                  <a:schemeClr val="tx2"/>
                </a:solidFill>
              </a:rPr>
              <a:t>: Despite producing world-class tea, coffee, avocados, horticulture, and livestock, Kenya loses 20% to 40% of its total yield annually to post-harvest losses due to poor cold-chain infrastructure and fragmented supply networks. CAIPs eliminate this bottleneck by co-locating aggregation directly with industrial-scale processing.</a:t>
            </a:r>
          </a:p>
        </p:txBody>
      </p:sp>
      <p:sp>
        <p:nvSpPr>
          <p:cNvPr id="39" name="Slide Number">
            <a:extLst>
              <a:ext uri="{FF2B5EF4-FFF2-40B4-BE49-F238E27FC236}">
                <a16:creationId xmlns:a16="http://schemas.microsoft.com/office/drawing/2014/main" id="{32F99A8A-334C-2759-BD86-F44AF11EC9E6}"/>
              </a:ext>
            </a:extLst>
          </p:cNvPr>
          <p:cNvSpPr>
            <a:spLocks noChangeArrowheads="1"/>
          </p:cNvSpPr>
          <p:nvPr>
            <p:custDataLst>
              <p:tags r:id="rId7"/>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610744" rtl="0" fontAlgn="auto">
                <a:spcBef>
                  <a:spcPts val="0"/>
                </a:spcBef>
                <a:spcAft>
                  <a:spcPts val="0"/>
                </a:spcAft>
                <a:defRPr/>
              </a:pPr>
              <a:t>6</a:t>
            </a:fld>
            <a:endParaRPr lang="en-US" sz="900" b="0">
              <a:solidFill>
                <a:schemeClr val="bg1"/>
              </a:solidFill>
              <a:latin typeface="+mn-lt"/>
              <a:ea typeface="+mn-ea"/>
              <a:cs typeface="Arial" panose="020B0604020202020204" pitchFamily="34" charset="0"/>
            </a:endParaRPr>
          </a:p>
        </p:txBody>
      </p:sp>
      <p:pic>
        <p:nvPicPr>
          <p:cNvPr id="42" name="Picture 5">
            <a:extLst>
              <a:ext uri="{FF2B5EF4-FFF2-40B4-BE49-F238E27FC236}">
                <a16:creationId xmlns:a16="http://schemas.microsoft.com/office/drawing/2014/main" id="{A70D6BFF-FDAC-4B55-F136-234C2064D236}"/>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p:blipFill>
        <p:spPr bwMode="ltGray">
          <a:xfrm>
            <a:off x="10936538" y="183978"/>
            <a:ext cx="712156" cy="361189"/>
          </a:xfrm>
          <a:prstGeom prst="rect">
            <a:avLst/>
          </a:prstGeom>
        </p:spPr>
      </p:pic>
      <p:pic>
        <p:nvPicPr>
          <p:cNvPr id="41" name="Picture 40">
            <a:extLst>
              <a:ext uri="{FF2B5EF4-FFF2-40B4-BE49-F238E27FC236}">
                <a16:creationId xmlns:a16="http://schemas.microsoft.com/office/drawing/2014/main" id="{8448A2F1-21F0-D294-16BC-5282A15F5D97}"/>
              </a:ext>
            </a:extLst>
          </p:cNvPr>
          <p:cNvPicPr>
            <a:picLocks/>
          </p:cNvPicPr>
          <p:nvPr/>
        </p:nvPicPr>
        <p:blipFill>
          <a:blip r:embed="rId12"/>
          <a:srcRect t="2288" b="2288"/>
          <a:stretch/>
        </p:blipFill>
        <p:spPr>
          <a:xfrm>
            <a:off x="8782050" y="8709"/>
            <a:ext cx="3409950" cy="6858000"/>
          </a:xfrm>
          <a:prstGeom prst="rect">
            <a:avLst/>
          </a:prstGeom>
        </p:spPr>
      </p:pic>
    </p:spTree>
    <p:extLst>
      <p:ext uri="{BB962C8B-B14F-4D97-AF65-F5344CB8AC3E}">
        <p14:creationId xmlns:p14="http://schemas.microsoft.com/office/powerpoint/2010/main" val="44596000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FB78F3-9F53-88DF-4185-19DFBC2B3CD3}"/>
            </a:ext>
          </a:extLst>
        </p:cNvPr>
        <p:cNvGrpSpPr/>
        <p:nvPr/>
      </p:nvGrpSpPr>
      <p:grpSpPr>
        <a:xfrm>
          <a:off x="0" y="0"/>
          <a:ext cx="0" cy="0"/>
          <a:chOff x="0" y="0"/>
          <a:chExt cx="0" cy="0"/>
        </a:xfrm>
      </p:grpSpPr>
      <p:pic>
        <p:nvPicPr>
          <p:cNvPr id="7" name="Picture 6">
            <a:extLst>
              <a:ext uri="{FF2B5EF4-FFF2-40B4-BE49-F238E27FC236}">
                <a16:creationId xmlns:a16="http://schemas.microsoft.com/office/drawing/2014/main" id="{0102CD7A-E934-BD7A-A897-97E686D93AAF}"/>
              </a:ext>
            </a:extLst>
          </p:cNvPr>
          <p:cNvPicPr>
            <a:picLocks/>
          </p:cNvPicPr>
          <p:nvPr/>
        </p:nvPicPr>
        <p:blipFill rotWithShape="1">
          <a:blip r:embed="rId8"/>
          <a:srcRect r="64286"/>
          <a:stretch>
            <a:fillRect/>
          </a:stretch>
        </p:blipFill>
        <p:spPr>
          <a:xfrm>
            <a:off x="7201990" y="0"/>
            <a:ext cx="4990010" cy="6858000"/>
          </a:xfrm>
          <a:prstGeom prst="rect">
            <a:avLst/>
          </a:prstGeom>
        </p:spPr>
      </p:pic>
      <p:graphicFrame>
        <p:nvGraphicFramePr>
          <p:cNvPr id="5" name="think-cell data - do not delete" hidden="1">
            <a:extLst>
              <a:ext uri="{FF2B5EF4-FFF2-40B4-BE49-F238E27FC236}">
                <a16:creationId xmlns:a16="http://schemas.microsoft.com/office/drawing/2014/main" id="{0D096BC9-1E8E-1FAE-1EE7-CE3CF45B84F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291" imgH="290" progId="TCLayout.ActiveDocument.1">
                  <p:embed/>
                </p:oleObj>
              </mc:Choice>
              <mc:Fallback>
                <p:oleObj name="think-cell Slide" r:id="rId9" imgW="291" imgH="290" progId="TCLayout.ActiveDocument.1">
                  <p:embed/>
                  <p:pic>
                    <p:nvPicPr>
                      <p:cNvPr id="5" name="think-cell data - do not delete" hidden="1">
                        <a:extLst>
                          <a:ext uri="{FF2B5EF4-FFF2-40B4-BE49-F238E27FC236}">
                            <a16:creationId xmlns:a16="http://schemas.microsoft.com/office/drawing/2014/main" id="{0D096BC9-1E8E-1FAE-1EE7-CE3CF45B84F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9622F822-1CC2-3EFC-ABA6-5814802A41EA}"/>
              </a:ext>
            </a:extLst>
          </p:cNvPr>
          <p:cNvSpPr>
            <a:spLocks noGrp="1"/>
          </p:cNvSpPr>
          <p:nvPr>
            <p:ph type="title"/>
            <p:custDataLst>
              <p:tags r:id="rId2"/>
            </p:custDataLst>
          </p:nvPr>
        </p:nvSpPr>
        <p:spPr>
          <a:xfrm>
            <a:off x="554736" y="172212"/>
            <a:ext cx="10197084" cy="384721"/>
          </a:xfrm>
        </p:spPr>
        <p:txBody>
          <a:bodyPr vert="horz">
            <a:noAutofit/>
          </a:bodyPr>
          <a:lstStyle/>
          <a:p>
            <a:r>
              <a:rPr lang="en-US"/>
              <a:t>CAIPs architecture &amp; design (1/2)</a:t>
            </a:r>
          </a:p>
        </p:txBody>
      </p:sp>
      <p:sp>
        <p:nvSpPr>
          <p:cNvPr id="10" name="TextBox 9">
            <a:extLst>
              <a:ext uri="{FF2B5EF4-FFF2-40B4-BE49-F238E27FC236}">
                <a16:creationId xmlns:a16="http://schemas.microsoft.com/office/drawing/2014/main" id="{2A3C44E0-6862-ECB1-CCD5-928ADBDC27CB}"/>
              </a:ext>
            </a:extLst>
          </p:cNvPr>
          <p:cNvSpPr txBox="1">
            <a:spLocks/>
          </p:cNvSpPr>
          <p:nvPr/>
        </p:nvSpPr>
        <p:spPr>
          <a:xfrm>
            <a:off x="554734" y="1006896"/>
            <a:ext cx="5274564" cy="155427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t>Each County Aggregation and Industrial Park is a custom-engineered, state-of-the-art facility constructed on a dedicated, public utility land.</a:t>
            </a:r>
          </a:p>
          <a:p>
            <a:r>
              <a:rPr lang="en-US"/>
              <a:t>The layout relies on a master-planned Hub-and-Spoke model that separates first-mile agricultural sorting from high-value manufacturing:</a:t>
            </a:r>
          </a:p>
        </p:txBody>
      </p:sp>
      <p:sp>
        <p:nvSpPr>
          <p:cNvPr id="11" name="Rectangle: Rounded Corners 10">
            <a:extLst>
              <a:ext uri="{FF2B5EF4-FFF2-40B4-BE49-F238E27FC236}">
                <a16:creationId xmlns:a16="http://schemas.microsoft.com/office/drawing/2014/main" id="{EB54E729-70A3-405B-71FC-4D24FC7791C0}"/>
              </a:ext>
            </a:extLst>
          </p:cNvPr>
          <p:cNvSpPr>
            <a:spLocks/>
          </p:cNvSpPr>
          <p:nvPr/>
        </p:nvSpPr>
        <p:spPr>
          <a:xfrm>
            <a:off x="554734" y="2765518"/>
            <a:ext cx="5274564" cy="668995"/>
          </a:xfrm>
          <a:prstGeom prst="roundRect">
            <a:avLst/>
          </a:prstGeom>
          <a:solidFill>
            <a:schemeClr val="accent2">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a:solidFill>
                  <a:schemeClr val="accent1"/>
                </a:solidFill>
              </a:rPr>
              <a:t>Local farms &amp; cooperatives </a:t>
            </a:r>
          </a:p>
        </p:txBody>
      </p:sp>
      <p:sp>
        <p:nvSpPr>
          <p:cNvPr id="12" name="Rectangle: Rounded Corners 11">
            <a:extLst>
              <a:ext uri="{FF2B5EF4-FFF2-40B4-BE49-F238E27FC236}">
                <a16:creationId xmlns:a16="http://schemas.microsoft.com/office/drawing/2014/main" id="{CA18F44A-9705-BAF5-CED2-73068215C9FE}"/>
              </a:ext>
            </a:extLst>
          </p:cNvPr>
          <p:cNvSpPr>
            <a:spLocks/>
          </p:cNvSpPr>
          <p:nvPr/>
        </p:nvSpPr>
        <p:spPr>
          <a:xfrm>
            <a:off x="554734" y="4109819"/>
            <a:ext cx="5274564" cy="668995"/>
          </a:xfrm>
          <a:prstGeom prst="roundRect">
            <a:avLst/>
          </a:prstGeom>
          <a:solidFill>
            <a:schemeClr val="accent2">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a:solidFill>
                  <a:schemeClr val="accent1"/>
                </a:solidFill>
              </a:rPr>
              <a:t>Aggregation Zone (The Spoke)</a:t>
            </a:r>
            <a:br>
              <a:rPr lang="en-US" sz="1600" b="1">
                <a:solidFill>
                  <a:schemeClr val="accent1"/>
                </a:solidFill>
              </a:rPr>
            </a:br>
            <a:endParaRPr lang="en-US" sz="1600" b="1">
              <a:solidFill>
                <a:schemeClr val="accent1"/>
              </a:solidFill>
            </a:endParaRPr>
          </a:p>
        </p:txBody>
      </p:sp>
      <p:sp>
        <p:nvSpPr>
          <p:cNvPr id="13" name="Rectangle: Rounded Corners 12">
            <a:extLst>
              <a:ext uri="{FF2B5EF4-FFF2-40B4-BE49-F238E27FC236}">
                <a16:creationId xmlns:a16="http://schemas.microsoft.com/office/drawing/2014/main" id="{090EB8A4-893C-A375-4975-6CD3CF40445F}"/>
              </a:ext>
            </a:extLst>
          </p:cNvPr>
          <p:cNvSpPr>
            <a:spLocks/>
          </p:cNvSpPr>
          <p:nvPr/>
        </p:nvSpPr>
        <p:spPr>
          <a:xfrm>
            <a:off x="554734" y="5369932"/>
            <a:ext cx="5274564" cy="668995"/>
          </a:xfrm>
          <a:prstGeom prst="roundRect">
            <a:avLst/>
          </a:prstGeom>
          <a:solidFill>
            <a:schemeClr val="accent2">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a:solidFill>
                  <a:schemeClr val="accent1"/>
                </a:solidFill>
              </a:rPr>
              <a:t>Industrial Park (The Hub)</a:t>
            </a:r>
            <a:br>
              <a:rPr lang="en-US" sz="1600" b="1">
                <a:solidFill>
                  <a:schemeClr val="accent1"/>
                </a:solidFill>
              </a:rPr>
            </a:br>
            <a:endParaRPr lang="en-US" sz="1600" b="1">
              <a:solidFill>
                <a:schemeClr val="accent1"/>
              </a:solidFill>
            </a:endParaRPr>
          </a:p>
        </p:txBody>
      </p:sp>
      <p:cxnSp>
        <p:nvCxnSpPr>
          <p:cNvPr id="23" name="Straight Arrow Connector 22">
            <a:extLst>
              <a:ext uri="{FF2B5EF4-FFF2-40B4-BE49-F238E27FC236}">
                <a16:creationId xmlns:a16="http://schemas.microsoft.com/office/drawing/2014/main" id="{49A39468-14BC-486B-BBF9-2936E3290A1E}"/>
              </a:ext>
            </a:extLst>
          </p:cNvPr>
          <p:cNvCxnSpPr>
            <a:cxnSpLocks/>
          </p:cNvCxnSpPr>
          <p:nvPr/>
        </p:nvCxnSpPr>
        <p:spPr>
          <a:xfrm>
            <a:off x="3192016" y="3434513"/>
            <a:ext cx="0" cy="675306"/>
          </a:xfrm>
          <a:prstGeom prst="straightConnector1">
            <a:avLst/>
          </a:prstGeom>
          <a:ln w="12700" cap="flat">
            <a:solidFill>
              <a:srgbClr val="7F7F7F"/>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8E844BEB-7ECE-7A47-3FD7-5CEA915296B0}"/>
              </a:ext>
            </a:extLst>
          </p:cNvPr>
          <p:cNvCxnSpPr>
            <a:cxnSpLocks/>
          </p:cNvCxnSpPr>
          <p:nvPr/>
        </p:nvCxnSpPr>
        <p:spPr>
          <a:xfrm>
            <a:off x="3192016" y="4778814"/>
            <a:ext cx="0" cy="591118"/>
          </a:xfrm>
          <a:prstGeom prst="straightConnector1">
            <a:avLst/>
          </a:prstGeom>
          <a:ln w="12700" cap="flat">
            <a:solidFill>
              <a:srgbClr val="7F7F7F"/>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A4DAB777-569A-49DE-F53E-F51436ED16DE}"/>
              </a:ext>
            </a:extLst>
          </p:cNvPr>
          <p:cNvSpPr txBox="1"/>
          <p:nvPr/>
        </p:nvSpPr>
        <p:spPr>
          <a:xfrm>
            <a:off x="3373444" y="3649056"/>
            <a:ext cx="2015207" cy="246221"/>
          </a:xfrm>
          <a:prstGeom prst="rect">
            <a:avLst/>
          </a:prstGeom>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i="1"/>
              <a:t>(First Mile Logistics)</a:t>
            </a:r>
          </a:p>
        </p:txBody>
      </p:sp>
      <p:sp>
        <p:nvSpPr>
          <p:cNvPr id="29" name="TextBox 28">
            <a:extLst>
              <a:ext uri="{FF2B5EF4-FFF2-40B4-BE49-F238E27FC236}">
                <a16:creationId xmlns:a16="http://schemas.microsoft.com/office/drawing/2014/main" id="{6283E843-6A7F-5D1F-9490-72EFBC9BC841}"/>
              </a:ext>
            </a:extLst>
          </p:cNvPr>
          <p:cNvSpPr txBox="1"/>
          <p:nvPr/>
        </p:nvSpPr>
        <p:spPr>
          <a:xfrm>
            <a:off x="3373444" y="4951262"/>
            <a:ext cx="1800015" cy="246221"/>
          </a:xfrm>
          <a:prstGeom prst="rect">
            <a:avLst/>
          </a:prstGeom>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i="1"/>
              <a:t>(Internal Transfer)</a:t>
            </a:r>
          </a:p>
        </p:txBody>
      </p:sp>
      <p:sp>
        <p:nvSpPr>
          <p:cNvPr id="31" name="TextBox 30">
            <a:extLst>
              <a:ext uri="{FF2B5EF4-FFF2-40B4-BE49-F238E27FC236}">
                <a16:creationId xmlns:a16="http://schemas.microsoft.com/office/drawing/2014/main" id="{54D58E69-9BB2-FCDD-BD7A-25709C0ADEF3}"/>
              </a:ext>
            </a:extLst>
          </p:cNvPr>
          <p:cNvSpPr txBox="1"/>
          <p:nvPr/>
        </p:nvSpPr>
        <p:spPr>
          <a:xfrm>
            <a:off x="1160016" y="5735551"/>
            <a:ext cx="4064000"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b="1"/>
              <a:t>Processing</a:t>
            </a:r>
            <a:r>
              <a:rPr lang="en-US"/>
              <a:t> | Manufacturing </a:t>
            </a:r>
          </a:p>
        </p:txBody>
      </p:sp>
      <p:sp>
        <p:nvSpPr>
          <p:cNvPr id="32" name="TextBox 31">
            <a:extLst>
              <a:ext uri="{FF2B5EF4-FFF2-40B4-BE49-F238E27FC236}">
                <a16:creationId xmlns:a16="http://schemas.microsoft.com/office/drawing/2014/main" id="{323CB7C7-3163-4A07-030A-7DC1CBDD3F11}"/>
              </a:ext>
            </a:extLst>
          </p:cNvPr>
          <p:cNvSpPr txBox="1"/>
          <p:nvPr/>
        </p:nvSpPr>
        <p:spPr>
          <a:xfrm>
            <a:off x="1160016" y="4467461"/>
            <a:ext cx="4064000"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a:t>Cold Storage | Sorting/Labs</a:t>
            </a:r>
          </a:p>
        </p:txBody>
      </p:sp>
      <p:grpSp>
        <p:nvGrpSpPr>
          <p:cNvPr id="42" name="Group 41">
            <a:extLst>
              <a:ext uri="{FF2B5EF4-FFF2-40B4-BE49-F238E27FC236}">
                <a16:creationId xmlns:a16="http://schemas.microsoft.com/office/drawing/2014/main" id="{E1B10B52-3215-652F-CAE5-36D2C4BB443F}"/>
              </a:ext>
            </a:extLst>
          </p:cNvPr>
          <p:cNvGrpSpPr>
            <a:grpSpLocks/>
          </p:cNvGrpSpPr>
          <p:nvPr/>
        </p:nvGrpSpPr>
        <p:grpSpPr>
          <a:xfrm>
            <a:off x="653161" y="2828863"/>
            <a:ext cx="561277" cy="529300"/>
            <a:chOff x="-1531240" y="2765518"/>
            <a:chExt cx="945977" cy="892082"/>
          </a:xfrm>
        </p:grpSpPr>
        <p:sp>
          <p:nvSpPr>
            <p:cNvPr id="27" name="object 6">
              <a:extLst>
                <a:ext uri="{FF2B5EF4-FFF2-40B4-BE49-F238E27FC236}">
                  <a16:creationId xmlns:a16="http://schemas.microsoft.com/office/drawing/2014/main" id="{8C741586-0473-70FA-9227-F6711C57AA7C}"/>
                </a:ext>
              </a:extLst>
            </p:cNvPr>
            <p:cNvSpPr/>
            <p:nvPr/>
          </p:nvSpPr>
          <p:spPr>
            <a:xfrm>
              <a:off x="-1531240" y="2765518"/>
              <a:ext cx="945977" cy="892082"/>
            </a:xfrm>
            <a:custGeom>
              <a:avLst/>
              <a:gdLst/>
              <a:ahLst/>
              <a:cxnLst/>
              <a:rect l="l" t="t" r="r" b="b"/>
              <a:pathLst>
                <a:path w="969644" h="914400">
                  <a:moveTo>
                    <a:pt x="880237" y="0"/>
                  </a:moveTo>
                  <a:lnTo>
                    <a:pt x="218363" y="0"/>
                  </a:lnTo>
                  <a:lnTo>
                    <a:pt x="168294" y="5768"/>
                  </a:lnTo>
                  <a:lnTo>
                    <a:pt x="122332" y="22200"/>
                  </a:lnTo>
                  <a:lnTo>
                    <a:pt x="81788" y="47986"/>
                  </a:lnTo>
                  <a:lnTo>
                    <a:pt x="47972" y="81813"/>
                  </a:lnTo>
                  <a:lnTo>
                    <a:pt x="22194" y="122371"/>
                  </a:lnTo>
                  <a:lnTo>
                    <a:pt x="5767" y="168350"/>
                  </a:lnTo>
                  <a:lnTo>
                    <a:pt x="0" y="218440"/>
                  </a:lnTo>
                  <a:lnTo>
                    <a:pt x="0" y="825373"/>
                  </a:lnTo>
                  <a:lnTo>
                    <a:pt x="6997" y="860018"/>
                  </a:lnTo>
                  <a:lnTo>
                    <a:pt x="26081" y="888317"/>
                  </a:lnTo>
                  <a:lnTo>
                    <a:pt x="54387" y="907401"/>
                  </a:lnTo>
                  <a:lnTo>
                    <a:pt x="89052" y="914400"/>
                  </a:lnTo>
                  <a:lnTo>
                    <a:pt x="750900" y="914400"/>
                  </a:lnTo>
                  <a:lnTo>
                    <a:pt x="800961" y="908631"/>
                  </a:lnTo>
                  <a:lnTo>
                    <a:pt x="846920" y="892199"/>
                  </a:lnTo>
                  <a:lnTo>
                    <a:pt x="887465" y="866413"/>
                  </a:lnTo>
                  <a:lnTo>
                    <a:pt x="921283" y="832586"/>
                  </a:lnTo>
                  <a:lnTo>
                    <a:pt x="947064" y="792028"/>
                  </a:lnTo>
                  <a:lnTo>
                    <a:pt x="963495" y="746049"/>
                  </a:lnTo>
                  <a:lnTo>
                    <a:pt x="969263" y="695959"/>
                  </a:lnTo>
                  <a:lnTo>
                    <a:pt x="969263" y="89153"/>
                  </a:lnTo>
                  <a:lnTo>
                    <a:pt x="962265" y="54435"/>
                  </a:lnTo>
                  <a:lnTo>
                    <a:pt x="943181" y="26098"/>
                  </a:lnTo>
                  <a:lnTo>
                    <a:pt x="914882" y="7000"/>
                  </a:lnTo>
                  <a:lnTo>
                    <a:pt x="880237" y="0"/>
                  </a:lnTo>
                  <a:close/>
                </a:path>
              </a:pathLst>
            </a:custGeom>
            <a:solidFill>
              <a:srgbClr val="D41117"/>
            </a:solidFill>
          </p:spPr>
          <p:txBody>
            <a:bodyPr wrap="square" lIns="0" tIns="0" rIns="0" bIns="0" rtlCol="0"/>
            <a:lstStyle/>
            <a:p>
              <a:endParaRPr sz="1400"/>
            </a:p>
          </p:txBody>
        </p:sp>
        <p:pic>
          <p:nvPicPr>
            <p:cNvPr id="35" name="CustomIcon">
              <a:extLst>
                <a:ext uri="{FF2B5EF4-FFF2-40B4-BE49-F238E27FC236}">
                  <a16:creationId xmlns:a16="http://schemas.microsoft.com/office/drawing/2014/main" id="{D09EF06A-8BFE-7CAA-BBB3-F221735A0964}"/>
                </a:ext>
              </a:extLst>
            </p:cNvPr>
            <p:cNvPicPr>
              <a:picLocks noChangeAspect="1"/>
            </p:cNvPicPr>
            <p:nvPr>
              <p:custDataLst>
                <p:tags r:id="rId6"/>
              </p:custDataLst>
            </p:nvPr>
          </p:nvPicPr>
          <p:blipFill>
            <a:blip>
              <a:extLst>
                <a:ext uri="{96DAC541-7B7A-43D3-8B79-37D633B846F1}">
                  <asvg:svgBlip xmlns:asvg="http://schemas.microsoft.com/office/drawing/2016/SVG/main" r:embed="rId11"/>
                </a:ext>
              </a:extLst>
            </a:blip>
            <a:stretch>
              <a:fillRect/>
            </a:stretch>
          </p:blipFill>
          <p:spPr>
            <a:xfrm>
              <a:off x="-1363052" y="2906759"/>
              <a:ext cx="609600" cy="609600"/>
            </a:xfrm>
            <a:prstGeom prst="rect">
              <a:avLst/>
            </a:prstGeom>
          </p:spPr>
        </p:pic>
      </p:grpSp>
      <p:sp>
        <p:nvSpPr>
          <p:cNvPr id="40" name="object 6">
            <a:extLst>
              <a:ext uri="{FF2B5EF4-FFF2-40B4-BE49-F238E27FC236}">
                <a16:creationId xmlns:a16="http://schemas.microsoft.com/office/drawing/2014/main" id="{DCBCFE48-CFE8-F64F-CF65-AA1CD46EF658}"/>
              </a:ext>
            </a:extLst>
          </p:cNvPr>
          <p:cNvSpPr/>
          <p:nvPr/>
        </p:nvSpPr>
        <p:spPr>
          <a:xfrm>
            <a:off x="653161" y="4179666"/>
            <a:ext cx="561277" cy="529300"/>
          </a:xfrm>
          <a:custGeom>
            <a:avLst/>
            <a:gdLst/>
            <a:ahLst/>
            <a:cxnLst/>
            <a:rect l="l" t="t" r="r" b="b"/>
            <a:pathLst>
              <a:path w="969644" h="914400">
                <a:moveTo>
                  <a:pt x="880237" y="0"/>
                </a:moveTo>
                <a:lnTo>
                  <a:pt x="218363" y="0"/>
                </a:lnTo>
                <a:lnTo>
                  <a:pt x="168294" y="5768"/>
                </a:lnTo>
                <a:lnTo>
                  <a:pt x="122332" y="22200"/>
                </a:lnTo>
                <a:lnTo>
                  <a:pt x="81788" y="47986"/>
                </a:lnTo>
                <a:lnTo>
                  <a:pt x="47972" y="81813"/>
                </a:lnTo>
                <a:lnTo>
                  <a:pt x="22194" y="122371"/>
                </a:lnTo>
                <a:lnTo>
                  <a:pt x="5767" y="168350"/>
                </a:lnTo>
                <a:lnTo>
                  <a:pt x="0" y="218440"/>
                </a:lnTo>
                <a:lnTo>
                  <a:pt x="0" y="825373"/>
                </a:lnTo>
                <a:lnTo>
                  <a:pt x="6997" y="860018"/>
                </a:lnTo>
                <a:lnTo>
                  <a:pt x="26081" y="888317"/>
                </a:lnTo>
                <a:lnTo>
                  <a:pt x="54387" y="907401"/>
                </a:lnTo>
                <a:lnTo>
                  <a:pt x="89052" y="914400"/>
                </a:lnTo>
                <a:lnTo>
                  <a:pt x="750900" y="914400"/>
                </a:lnTo>
                <a:lnTo>
                  <a:pt x="800961" y="908631"/>
                </a:lnTo>
                <a:lnTo>
                  <a:pt x="846920" y="892199"/>
                </a:lnTo>
                <a:lnTo>
                  <a:pt x="887465" y="866413"/>
                </a:lnTo>
                <a:lnTo>
                  <a:pt x="921283" y="832586"/>
                </a:lnTo>
                <a:lnTo>
                  <a:pt x="947064" y="792028"/>
                </a:lnTo>
                <a:lnTo>
                  <a:pt x="963495" y="746049"/>
                </a:lnTo>
                <a:lnTo>
                  <a:pt x="969263" y="695959"/>
                </a:lnTo>
                <a:lnTo>
                  <a:pt x="969263" y="89153"/>
                </a:lnTo>
                <a:lnTo>
                  <a:pt x="962265" y="54435"/>
                </a:lnTo>
                <a:lnTo>
                  <a:pt x="943181" y="26098"/>
                </a:lnTo>
                <a:lnTo>
                  <a:pt x="914882" y="7000"/>
                </a:lnTo>
                <a:lnTo>
                  <a:pt x="880237" y="0"/>
                </a:lnTo>
                <a:close/>
              </a:path>
            </a:pathLst>
          </a:custGeom>
          <a:solidFill>
            <a:srgbClr val="D41117"/>
          </a:solidFill>
        </p:spPr>
        <p:txBody>
          <a:bodyPr wrap="square" lIns="0" tIns="0" rIns="0" bIns="0" rtlCol="0"/>
          <a:lstStyle/>
          <a:p>
            <a:endParaRPr sz="1400"/>
          </a:p>
        </p:txBody>
      </p:sp>
      <p:grpSp>
        <p:nvGrpSpPr>
          <p:cNvPr id="44" name="Group 43">
            <a:extLst>
              <a:ext uri="{FF2B5EF4-FFF2-40B4-BE49-F238E27FC236}">
                <a16:creationId xmlns:a16="http://schemas.microsoft.com/office/drawing/2014/main" id="{2DCD192E-316A-2D34-1172-104BAD8AD851}"/>
              </a:ext>
            </a:extLst>
          </p:cNvPr>
          <p:cNvGrpSpPr>
            <a:grpSpLocks/>
          </p:cNvGrpSpPr>
          <p:nvPr/>
        </p:nvGrpSpPr>
        <p:grpSpPr>
          <a:xfrm>
            <a:off x="653161" y="5439779"/>
            <a:ext cx="561277" cy="529300"/>
            <a:chOff x="-1531240" y="5074372"/>
            <a:chExt cx="945977" cy="892082"/>
          </a:xfrm>
        </p:grpSpPr>
        <p:sp>
          <p:nvSpPr>
            <p:cNvPr id="41" name="object 6">
              <a:extLst>
                <a:ext uri="{FF2B5EF4-FFF2-40B4-BE49-F238E27FC236}">
                  <a16:creationId xmlns:a16="http://schemas.microsoft.com/office/drawing/2014/main" id="{1806DB19-A912-D137-8ADD-DDD375BFFFEF}"/>
                </a:ext>
              </a:extLst>
            </p:cNvPr>
            <p:cNvSpPr/>
            <p:nvPr/>
          </p:nvSpPr>
          <p:spPr>
            <a:xfrm>
              <a:off x="-1531240" y="5074372"/>
              <a:ext cx="945977" cy="892082"/>
            </a:xfrm>
            <a:custGeom>
              <a:avLst/>
              <a:gdLst/>
              <a:ahLst/>
              <a:cxnLst/>
              <a:rect l="l" t="t" r="r" b="b"/>
              <a:pathLst>
                <a:path w="969644" h="914400">
                  <a:moveTo>
                    <a:pt x="880237" y="0"/>
                  </a:moveTo>
                  <a:lnTo>
                    <a:pt x="218363" y="0"/>
                  </a:lnTo>
                  <a:lnTo>
                    <a:pt x="168294" y="5768"/>
                  </a:lnTo>
                  <a:lnTo>
                    <a:pt x="122332" y="22200"/>
                  </a:lnTo>
                  <a:lnTo>
                    <a:pt x="81788" y="47986"/>
                  </a:lnTo>
                  <a:lnTo>
                    <a:pt x="47972" y="81813"/>
                  </a:lnTo>
                  <a:lnTo>
                    <a:pt x="22194" y="122371"/>
                  </a:lnTo>
                  <a:lnTo>
                    <a:pt x="5767" y="168350"/>
                  </a:lnTo>
                  <a:lnTo>
                    <a:pt x="0" y="218440"/>
                  </a:lnTo>
                  <a:lnTo>
                    <a:pt x="0" y="825373"/>
                  </a:lnTo>
                  <a:lnTo>
                    <a:pt x="6997" y="860018"/>
                  </a:lnTo>
                  <a:lnTo>
                    <a:pt x="26081" y="888317"/>
                  </a:lnTo>
                  <a:lnTo>
                    <a:pt x="54387" y="907401"/>
                  </a:lnTo>
                  <a:lnTo>
                    <a:pt x="89052" y="914400"/>
                  </a:lnTo>
                  <a:lnTo>
                    <a:pt x="750900" y="914400"/>
                  </a:lnTo>
                  <a:lnTo>
                    <a:pt x="800961" y="908631"/>
                  </a:lnTo>
                  <a:lnTo>
                    <a:pt x="846920" y="892199"/>
                  </a:lnTo>
                  <a:lnTo>
                    <a:pt x="887465" y="866413"/>
                  </a:lnTo>
                  <a:lnTo>
                    <a:pt x="921283" y="832586"/>
                  </a:lnTo>
                  <a:lnTo>
                    <a:pt x="947064" y="792028"/>
                  </a:lnTo>
                  <a:lnTo>
                    <a:pt x="963495" y="746049"/>
                  </a:lnTo>
                  <a:lnTo>
                    <a:pt x="969263" y="695959"/>
                  </a:lnTo>
                  <a:lnTo>
                    <a:pt x="969263" y="89153"/>
                  </a:lnTo>
                  <a:lnTo>
                    <a:pt x="962265" y="54435"/>
                  </a:lnTo>
                  <a:lnTo>
                    <a:pt x="943181" y="26098"/>
                  </a:lnTo>
                  <a:lnTo>
                    <a:pt x="914882" y="7000"/>
                  </a:lnTo>
                  <a:lnTo>
                    <a:pt x="880237" y="0"/>
                  </a:lnTo>
                  <a:close/>
                </a:path>
              </a:pathLst>
            </a:custGeom>
            <a:solidFill>
              <a:srgbClr val="D41117"/>
            </a:solidFill>
          </p:spPr>
          <p:txBody>
            <a:bodyPr wrap="square" lIns="0" tIns="0" rIns="0" bIns="0" rtlCol="0"/>
            <a:lstStyle/>
            <a:p>
              <a:endParaRPr sz="1400"/>
            </a:p>
          </p:txBody>
        </p:sp>
        <p:pic>
          <p:nvPicPr>
            <p:cNvPr id="39" name="CustomIcon">
              <a:extLst>
                <a:ext uri="{FF2B5EF4-FFF2-40B4-BE49-F238E27FC236}">
                  <a16:creationId xmlns:a16="http://schemas.microsoft.com/office/drawing/2014/main" id="{57FFCCCA-AA89-8429-6DB9-53DD173359FB}"/>
                </a:ext>
              </a:extLst>
            </p:cNvPr>
            <p:cNvPicPr>
              <a:picLocks noChangeAspect="1"/>
            </p:cNvPicPr>
            <p:nvPr>
              <p:custDataLst>
                <p:tags r:id="rId5"/>
              </p:custDataLst>
            </p:nvPr>
          </p:nvPicPr>
          <p:blipFill>
            <a:blip>
              <a:extLst>
                <a:ext uri="{96DAC541-7B7A-43D3-8B79-37D633B846F1}">
                  <asvg:svgBlip xmlns:asvg="http://schemas.microsoft.com/office/drawing/2016/SVG/main" r:embed="rId12"/>
                </a:ext>
              </a:extLst>
            </a:blip>
            <a:stretch>
              <a:fillRect/>
            </a:stretch>
          </p:blipFill>
          <p:spPr>
            <a:xfrm>
              <a:off x="-1363052" y="5215613"/>
              <a:ext cx="609600" cy="609600"/>
            </a:xfrm>
            <a:prstGeom prst="rect">
              <a:avLst/>
            </a:prstGeom>
          </p:spPr>
        </p:pic>
      </p:grpSp>
      <p:pic>
        <p:nvPicPr>
          <p:cNvPr id="46" name="CustomIcon">
            <a:extLst>
              <a:ext uri="{FF2B5EF4-FFF2-40B4-BE49-F238E27FC236}">
                <a16:creationId xmlns:a16="http://schemas.microsoft.com/office/drawing/2014/main" id="{E9E857CF-3CF6-7843-0CA0-7FD1D38CC815}"/>
              </a:ext>
            </a:extLst>
          </p:cNvPr>
          <p:cNvPicPr>
            <a:picLocks/>
          </p:cNvPicPr>
          <p:nvPr>
            <p:custDataLst>
              <p:tags r:id="rId3"/>
            </p:custDataLst>
          </p:nvPr>
        </p:nvPicPr>
        <p:blipFill>
          <a:blip>
            <a:extLst>
              <a:ext uri="{96DAC541-7B7A-43D3-8B79-37D633B846F1}">
                <asvg:svgBlip xmlns:asvg="http://schemas.microsoft.com/office/drawing/2016/SVG/main" r:embed="rId13"/>
              </a:ext>
            </a:extLst>
          </a:blip>
          <a:stretch>
            <a:fillRect/>
          </a:stretch>
        </p:blipFill>
        <p:spPr>
          <a:xfrm>
            <a:off x="752952" y="4263469"/>
            <a:ext cx="361694" cy="361695"/>
          </a:xfrm>
          <a:prstGeom prst="rect">
            <a:avLst/>
          </a:prstGeom>
        </p:spPr>
      </p:pic>
      <p:sp>
        <p:nvSpPr>
          <p:cNvPr id="56" name="Slide Number">
            <a:extLst>
              <a:ext uri="{FF2B5EF4-FFF2-40B4-BE49-F238E27FC236}">
                <a16:creationId xmlns:a16="http://schemas.microsoft.com/office/drawing/2014/main" id="{75536C24-06FD-8C33-CD18-412137747EFF}"/>
              </a:ext>
            </a:extLst>
          </p:cNvPr>
          <p:cNvSpPr>
            <a:spLocks noChangeArrowheads="1"/>
          </p:cNvSpPr>
          <p:nvPr>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610744" rtl="0" fontAlgn="auto">
                <a:spcBef>
                  <a:spcPts val="0"/>
                </a:spcBef>
                <a:spcAft>
                  <a:spcPts val="0"/>
                </a:spcAft>
                <a:defRPr/>
              </a:pPr>
              <a:t>7</a:t>
            </a:fld>
            <a:endParaRPr lang="en-US" sz="900" b="0">
              <a:solidFill>
                <a:schemeClr val="bg1"/>
              </a:solidFill>
              <a:latin typeface="+mn-lt"/>
              <a:ea typeface="+mn-ea"/>
              <a:cs typeface="Arial" panose="020B0604020202020204" pitchFamily="34" charset="0"/>
            </a:endParaRPr>
          </a:p>
        </p:txBody>
      </p:sp>
      <p:pic>
        <p:nvPicPr>
          <p:cNvPr id="57" name="Picture 5">
            <a:extLst>
              <a:ext uri="{FF2B5EF4-FFF2-40B4-BE49-F238E27FC236}">
                <a16:creationId xmlns:a16="http://schemas.microsoft.com/office/drawing/2014/main" id="{2B1A282B-FD76-1171-7189-686C3C6416B2}"/>
              </a:ext>
            </a:extLst>
          </p:cNvPr>
          <p:cNvPicPr>
            <a:picLocks noChangeAspect="1"/>
          </p:cNvPicPr>
          <p:nvPr/>
        </p:nvPicPr>
        <p:blipFill>
          <a:blip r:embed="rId14" cstate="print">
            <a:extLst>
              <a:ext uri="{28A0092B-C50C-407E-A947-70E740481C1C}">
                <a14:useLocalDpi xmlns:a14="http://schemas.microsoft.com/office/drawing/2010/main" val="0"/>
              </a:ext>
            </a:extLst>
          </a:blip>
          <a:srcRect/>
          <a:stretch/>
        </p:blipFill>
        <p:spPr bwMode="ltGray">
          <a:xfrm>
            <a:off x="10936538" y="183978"/>
            <a:ext cx="712156" cy="361189"/>
          </a:xfrm>
          <a:prstGeom prst="rect">
            <a:avLst/>
          </a:prstGeom>
        </p:spPr>
      </p:pic>
    </p:spTree>
    <p:extLst>
      <p:ext uri="{BB962C8B-B14F-4D97-AF65-F5344CB8AC3E}">
        <p14:creationId xmlns:p14="http://schemas.microsoft.com/office/powerpoint/2010/main" val="190695538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49EB20-4CC1-BA41-56C6-A716C973DC02}"/>
            </a:ext>
          </a:extLst>
        </p:cNvPr>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997DCD7A-6017-2CF5-8B74-120CC89541F8}"/>
              </a:ext>
            </a:extLst>
          </p:cNvPr>
          <p:cNvGraphicFramePr>
            <a:graphicFrameLocks noChangeAspect="1"/>
          </p:cNvGraphicFramePr>
          <p:nvPr>
            <p:custDataLst>
              <p:tags r:id="rId1"/>
            </p:custDataLst>
            <p:extLst>
              <p:ext uri="{D42A27DB-BD31-4B8C-83A1-F6EECF244321}">
                <p14:modId xmlns:p14="http://schemas.microsoft.com/office/powerpoint/2010/main" val="41440007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291" imgH="290" progId="TCLayout.ActiveDocument.1">
                  <p:embed/>
                </p:oleObj>
              </mc:Choice>
              <mc:Fallback>
                <p:oleObj name="think-cell Slide" r:id="rId12" imgW="291" imgH="290" progId="TCLayout.ActiveDocument.1">
                  <p:embed/>
                  <p:pic>
                    <p:nvPicPr>
                      <p:cNvPr id="5" name="Object 6" hidden="1">
                        <a:extLst>
                          <a:ext uri="{FF2B5EF4-FFF2-40B4-BE49-F238E27FC236}">
                            <a16:creationId xmlns:a16="http://schemas.microsoft.com/office/drawing/2014/main" id="{997DCD7A-6017-2CF5-8B74-120CC89541F8}"/>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52" name="Rectangle: Top Corners Rounded 51">
            <a:extLst>
              <a:ext uri="{FF2B5EF4-FFF2-40B4-BE49-F238E27FC236}">
                <a16:creationId xmlns:a16="http://schemas.microsoft.com/office/drawing/2014/main" id="{C78AE08E-C6BE-2CD3-A578-20DC1407847F}"/>
              </a:ext>
            </a:extLst>
          </p:cNvPr>
          <p:cNvSpPr/>
          <p:nvPr/>
        </p:nvSpPr>
        <p:spPr>
          <a:xfrm rot="5400000">
            <a:off x="2658722" y="-1547694"/>
            <a:ext cx="569386" cy="5886830"/>
          </a:xfrm>
          <a:prstGeom prst="round2SameRect">
            <a:avLst>
              <a:gd name="adj1" fmla="val 50000"/>
              <a:gd name="adj2" fmla="val 0"/>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3" name="Rectangle: Top Corners Rounded 52">
            <a:extLst>
              <a:ext uri="{FF2B5EF4-FFF2-40B4-BE49-F238E27FC236}">
                <a16:creationId xmlns:a16="http://schemas.microsoft.com/office/drawing/2014/main" id="{6341DF99-793D-DB74-4AED-E4D3939F9B24}"/>
              </a:ext>
            </a:extLst>
          </p:cNvPr>
          <p:cNvSpPr/>
          <p:nvPr/>
        </p:nvSpPr>
        <p:spPr>
          <a:xfrm rot="16200000" flipH="1">
            <a:off x="8963892" y="-1547694"/>
            <a:ext cx="569386" cy="5886830"/>
          </a:xfrm>
          <a:prstGeom prst="round2SameRect">
            <a:avLst>
              <a:gd name="adj1" fmla="val 50000"/>
              <a:gd name="adj2" fmla="val 0"/>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 name="2. Slide Title">
            <a:extLst>
              <a:ext uri="{FF2B5EF4-FFF2-40B4-BE49-F238E27FC236}">
                <a16:creationId xmlns:a16="http://schemas.microsoft.com/office/drawing/2014/main" id="{E767827F-67B1-1D60-BB78-DE4761BA3A30}"/>
              </a:ext>
            </a:extLst>
          </p:cNvPr>
          <p:cNvSpPr>
            <a:spLocks noGrp="1"/>
          </p:cNvSpPr>
          <p:nvPr>
            <p:ph type="title"/>
            <p:custDataLst>
              <p:tags r:id="rId2"/>
            </p:custDataLst>
          </p:nvPr>
        </p:nvSpPr>
        <p:spPr>
          <a:xfrm>
            <a:off x="554736" y="172212"/>
            <a:ext cx="5065776" cy="769441"/>
          </a:xfrm>
          <a:noFill/>
          <a:ln/>
          <a:extLst>
            <a:ext uri="{909E8E84-426E-40DD-AFC4-6F175D3DCCD1}">
              <a14:hiddenFill xmlns:a14="http://schemas.microsoft.com/office/drawing/2010/main">
                <a:solidFill>
                  <a:srgbClr val="FFFFFF"/>
                </a:solidFill>
              </a14:hiddenFill>
            </a:ext>
          </a:extLst>
        </p:spPr>
        <p:txBody>
          <a:bodyPr vert="horz">
            <a:noAutofit/>
          </a:bodyPr>
          <a:lstStyle/>
          <a:p>
            <a:r>
              <a:rPr lang="en-US"/>
              <a:t>CAIPs architecture &amp; design (2/2)</a:t>
            </a:r>
          </a:p>
        </p:txBody>
      </p:sp>
      <p:sp>
        <p:nvSpPr>
          <p:cNvPr id="32" name="TextBox 31">
            <a:extLst>
              <a:ext uri="{FF2B5EF4-FFF2-40B4-BE49-F238E27FC236}">
                <a16:creationId xmlns:a16="http://schemas.microsoft.com/office/drawing/2014/main" id="{3832B851-6AB9-FF3D-4C67-668EE1FACFC4}"/>
              </a:ext>
            </a:extLst>
          </p:cNvPr>
          <p:cNvSpPr txBox="1">
            <a:spLocks/>
          </p:cNvSpPr>
          <p:nvPr/>
        </p:nvSpPr>
        <p:spPr>
          <a:xfrm>
            <a:off x="554736" y="1241833"/>
            <a:ext cx="5065776" cy="30777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b="1">
                <a:solidFill>
                  <a:schemeClr val="bg1"/>
                </a:solidFill>
                <a:latin typeface="Arial" panose="020B0604020202020204" pitchFamily="34" charset="0"/>
                <a:sym typeface=""/>
              </a:rPr>
              <a:t>The Aggregation Zone (Spoke)</a:t>
            </a:r>
          </a:p>
        </p:txBody>
      </p:sp>
      <p:sp>
        <p:nvSpPr>
          <p:cNvPr id="37" name="TextBox 36">
            <a:extLst>
              <a:ext uri="{FF2B5EF4-FFF2-40B4-BE49-F238E27FC236}">
                <a16:creationId xmlns:a16="http://schemas.microsoft.com/office/drawing/2014/main" id="{75FF5F26-095A-BED3-5496-294B03F3EBCC}"/>
              </a:ext>
            </a:extLst>
          </p:cNvPr>
          <p:cNvSpPr txBox="1">
            <a:spLocks/>
          </p:cNvSpPr>
          <p:nvPr/>
        </p:nvSpPr>
        <p:spPr>
          <a:xfrm>
            <a:off x="6562724" y="1241833"/>
            <a:ext cx="5074539" cy="30777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b="1">
                <a:solidFill>
                  <a:schemeClr val="bg1"/>
                </a:solidFill>
                <a:latin typeface="Arial" panose="020B0604020202020204" pitchFamily="34" charset="0"/>
                <a:sym typeface=""/>
              </a:rPr>
              <a:t>The Industrial Zone (Hub)</a:t>
            </a:r>
          </a:p>
        </p:txBody>
      </p:sp>
      <p:sp>
        <p:nvSpPr>
          <p:cNvPr id="16" name="object 6">
            <a:extLst>
              <a:ext uri="{FF2B5EF4-FFF2-40B4-BE49-F238E27FC236}">
                <a16:creationId xmlns:a16="http://schemas.microsoft.com/office/drawing/2014/main" id="{01108D5E-051C-0695-AE1F-76CC9DBA7B98}"/>
              </a:ext>
            </a:extLst>
          </p:cNvPr>
          <p:cNvSpPr/>
          <p:nvPr/>
        </p:nvSpPr>
        <p:spPr>
          <a:xfrm>
            <a:off x="554735" y="1881637"/>
            <a:ext cx="578740" cy="545768"/>
          </a:xfrm>
          <a:custGeom>
            <a:avLst/>
            <a:gdLst/>
            <a:ahLst/>
            <a:cxnLst/>
            <a:rect l="l" t="t" r="r" b="b"/>
            <a:pathLst>
              <a:path w="969644" h="914400">
                <a:moveTo>
                  <a:pt x="880237" y="0"/>
                </a:moveTo>
                <a:lnTo>
                  <a:pt x="218363" y="0"/>
                </a:lnTo>
                <a:lnTo>
                  <a:pt x="168294" y="5768"/>
                </a:lnTo>
                <a:lnTo>
                  <a:pt x="122332" y="22200"/>
                </a:lnTo>
                <a:lnTo>
                  <a:pt x="81788" y="47986"/>
                </a:lnTo>
                <a:lnTo>
                  <a:pt x="47972" y="81813"/>
                </a:lnTo>
                <a:lnTo>
                  <a:pt x="22194" y="122371"/>
                </a:lnTo>
                <a:lnTo>
                  <a:pt x="5767" y="168350"/>
                </a:lnTo>
                <a:lnTo>
                  <a:pt x="0" y="218440"/>
                </a:lnTo>
                <a:lnTo>
                  <a:pt x="0" y="825373"/>
                </a:lnTo>
                <a:lnTo>
                  <a:pt x="6997" y="860018"/>
                </a:lnTo>
                <a:lnTo>
                  <a:pt x="26081" y="888317"/>
                </a:lnTo>
                <a:lnTo>
                  <a:pt x="54387" y="907401"/>
                </a:lnTo>
                <a:lnTo>
                  <a:pt x="89052" y="914400"/>
                </a:lnTo>
                <a:lnTo>
                  <a:pt x="750900" y="914400"/>
                </a:lnTo>
                <a:lnTo>
                  <a:pt x="800961" y="908631"/>
                </a:lnTo>
                <a:lnTo>
                  <a:pt x="846920" y="892199"/>
                </a:lnTo>
                <a:lnTo>
                  <a:pt x="887465" y="866413"/>
                </a:lnTo>
                <a:lnTo>
                  <a:pt x="921283" y="832586"/>
                </a:lnTo>
                <a:lnTo>
                  <a:pt x="947064" y="792028"/>
                </a:lnTo>
                <a:lnTo>
                  <a:pt x="963495" y="746049"/>
                </a:lnTo>
                <a:lnTo>
                  <a:pt x="969263" y="695959"/>
                </a:lnTo>
                <a:lnTo>
                  <a:pt x="969263" y="89153"/>
                </a:lnTo>
                <a:lnTo>
                  <a:pt x="962265" y="54435"/>
                </a:lnTo>
                <a:lnTo>
                  <a:pt x="943181" y="26098"/>
                </a:lnTo>
                <a:lnTo>
                  <a:pt x="914882" y="7000"/>
                </a:lnTo>
                <a:lnTo>
                  <a:pt x="880237" y="0"/>
                </a:lnTo>
                <a:close/>
              </a:path>
            </a:pathLst>
          </a:custGeom>
          <a:solidFill>
            <a:srgbClr val="D41117"/>
          </a:solidFill>
        </p:spPr>
        <p:txBody>
          <a:bodyPr wrap="square" lIns="0" tIns="0" rIns="0" bIns="0" rtlCol="0"/>
          <a:lstStyle/>
          <a:p>
            <a:endParaRPr sz="1400"/>
          </a:p>
        </p:txBody>
      </p:sp>
      <p:sp>
        <p:nvSpPr>
          <p:cNvPr id="33" name="TextBox 32">
            <a:extLst>
              <a:ext uri="{FF2B5EF4-FFF2-40B4-BE49-F238E27FC236}">
                <a16:creationId xmlns:a16="http://schemas.microsoft.com/office/drawing/2014/main" id="{4E84FAC2-AD06-7A65-31A3-B9DA81DE0BBC}"/>
              </a:ext>
            </a:extLst>
          </p:cNvPr>
          <p:cNvSpPr txBox="1">
            <a:spLocks/>
          </p:cNvSpPr>
          <p:nvPr/>
        </p:nvSpPr>
        <p:spPr>
          <a:xfrm>
            <a:off x="1314450" y="1881637"/>
            <a:ext cx="4306062" cy="60016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a:solidFill>
                  <a:schemeClr val="accent1"/>
                </a:solidFill>
                <a:latin typeface="Arial" panose="020B0604020202020204" pitchFamily="34" charset="0"/>
                <a:sym typeface=""/>
              </a:rPr>
              <a:t>Primary Collection</a:t>
            </a:r>
          </a:p>
          <a:p>
            <a:r>
              <a:rPr lang="en-US">
                <a:solidFill>
                  <a:srgbClr val="000000"/>
                </a:solidFill>
                <a:latin typeface="Arial" panose="020B0604020202020204" pitchFamily="34" charset="0"/>
                <a:sym typeface=""/>
              </a:rPr>
              <a:t>Modern sorting, grading, and testing centers. </a:t>
            </a:r>
          </a:p>
        </p:txBody>
      </p:sp>
      <p:cxnSp>
        <p:nvCxnSpPr>
          <p:cNvPr id="44" name="Straight Connector 43">
            <a:extLst>
              <a:ext uri="{FF2B5EF4-FFF2-40B4-BE49-F238E27FC236}">
                <a16:creationId xmlns:a16="http://schemas.microsoft.com/office/drawing/2014/main" id="{DC134DA7-23C9-E065-6CFB-9EED27030C70}"/>
              </a:ext>
            </a:extLst>
          </p:cNvPr>
          <p:cNvCxnSpPr>
            <a:cxnSpLocks/>
          </p:cNvCxnSpPr>
          <p:nvPr/>
        </p:nvCxnSpPr>
        <p:spPr>
          <a:xfrm>
            <a:off x="554736" y="2663397"/>
            <a:ext cx="5065776" cy="0"/>
          </a:xfrm>
          <a:prstGeom prst="line">
            <a:avLst/>
          </a:prstGeom>
          <a:ln w="6350" cap="flat">
            <a:solidFill>
              <a:srgbClr val="D0D0D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5E0D35A4-6BCA-312E-C2A0-5A0809802204}"/>
              </a:ext>
            </a:extLst>
          </p:cNvPr>
          <p:cNvCxnSpPr>
            <a:cxnSpLocks/>
          </p:cNvCxnSpPr>
          <p:nvPr/>
        </p:nvCxnSpPr>
        <p:spPr>
          <a:xfrm>
            <a:off x="554736" y="4119196"/>
            <a:ext cx="5065776" cy="0"/>
          </a:xfrm>
          <a:prstGeom prst="line">
            <a:avLst/>
          </a:prstGeom>
          <a:ln w="6350" cap="flat">
            <a:solidFill>
              <a:srgbClr val="D0D0D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961F607C-8F41-F0FB-1233-2912928D299E}"/>
              </a:ext>
            </a:extLst>
          </p:cNvPr>
          <p:cNvCxnSpPr>
            <a:cxnSpLocks/>
          </p:cNvCxnSpPr>
          <p:nvPr/>
        </p:nvCxnSpPr>
        <p:spPr>
          <a:xfrm>
            <a:off x="554736" y="5328774"/>
            <a:ext cx="5065776" cy="0"/>
          </a:xfrm>
          <a:prstGeom prst="line">
            <a:avLst/>
          </a:prstGeom>
          <a:ln w="6350" cap="flat">
            <a:solidFill>
              <a:srgbClr val="D0D0D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EA19A74A-F525-CCC0-75AA-8E59A70E489D}"/>
              </a:ext>
            </a:extLst>
          </p:cNvPr>
          <p:cNvCxnSpPr>
            <a:cxnSpLocks/>
          </p:cNvCxnSpPr>
          <p:nvPr/>
        </p:nvCxnSpPr>
        <p:spPr>
          <a:xfrm>
            <a:off x="6562724" y="2827545"/>
            <a:ext cx="5074539" cy="0"/>
          </a:xfrm>
          <a:prstGeom prst="line">
            <a:avLst/>
          </a:prstGeom>
          <a:ln w="6350" cap="flat">
            <a:solidFill>
              <a:srgbClr val="D0D0D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9FEDCAAE-45C5-2D05-C695-43EC04070176}"/>
              </a:ext>
            </a:extLst>
          </p:cNvPr>
          <p:cNvCxnSpPr>
            <a:cxnSpLocks/>
          </p:cNvCxnSpPr>
          <p:nvPr/>
        </p:nvCxnSpPr>
        <p:spPr>
          <a:xfrm>
            <a:off x="6562724" y="4119196"/>
            <a:ext cx="5074539" cy="0"/>
          </a:xfrm>
          <a:prstGeom prst="line">
            <a:avLst/>
          </a:prstGeom>
          <a:ln w="6350" cap="flat">
            <a:solidFill>
              <a:srgbClr val="D0D0D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DFFDCBCA-CDAD-860C-5B46-D1E9FD01DB8A}"/>
              </a:ext>
            </a:extLst>
          </p:cNvPr>
          <p:cNvCxnSpPr>
            <a:cxnSpLocks/>
          </p:cNvCxnSpPr>
          <p:nvPr/>
        </p:nvCxnSpPr>
        <p:spPr>
          <a:xfrm>
            <a:off x="6562724" y="5410847"/>
            <a:ext cx="5074539" cy="0"/>
          </a:xfrm>
          <a:prstGeom prst="line">
            <a:avLst/>
          </a:prstGeom>
          <a:ln w="6350" cap="flat">
            <a:solidFill>
              <a:srgbClr val="D0D0D0"/>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CCAA0614-CC38-D7F1-2F12-1E12A2E6B5EB}"/>
              </a:ext>
            </a:extLst>
          </p:cNvPr>
          <p:cNvSpPr txBox="1"/>
          <p:nvPr/>
        </p:nvSpPr>
        <p:spPr>
          <a:xfrm>
            <a:off x="1314450" y="2844993"/>
            <a:ext cx="4306062" cy="109260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a:solidFill>
                  <a:schemeClr val="accent1"/>
                </a:solidFill>
                <a:latin typeface="Arial" panose="020B0604020202020204" pitchFamily="34" charset="0"/>
                <a:sym typeface=""/>
              </a:rPr>
              <a:t>Cold Chain Infrastructure</a:t>
            </a:r>
          </a:p>
          <a:p>
            <a:r>
              <a:rPr lang="en-US">
                <a:solidFill>
                  <a:srgbClr val="000000"/>
                </a:solidFill>
                <a:latin typeface="Arial" panose="020B0604020202020204" pitchFamily="34" charset="0"/>
                <a:sym typeface=""/>
              </a:rPr>
              <a:t>Multi-chamber cold-storage warehouses powered by subsidized renewable energy grids to neutralize post-harvest decay.</a:t>
            </a:r>
          </a:p>
        </p:txBody>
      </p:sp>
      <p:sp>
        <p:nvSpPr>
          <p:cNvPr id="60" name="object 6">
            <a:extLst>
              <a:ext uri="{FF2B5EF4-FFF2-40B4-BE49-F238E27FC236}">
                <a16:creationId xmlns:a16="http://schemas.microsoft.com/office/drawing/2014/main" id="{333C345A-33FC-64F1-D0D6-85097717BB60}"/>
              </a:ext>
            </a:extLst>
          </p:cNvPr>
          <p:cNvSpPr/>
          <p:nvPr/>
        </p:nvSpPr>
        <p:spPr>
          <a:xfrm>
            <a:off x="554735" y="2844993"/>
            <a:ext cx="578740" cy="545768"/>
          </a:xfrm>
          <a:custGeom>
            <a:avLst/>
            <a:gdLst/>
            <a:ahLst/>
            <a:cxnLst/>
            <a:rect l="l" t="t" r="r" b="b"/>
            <a:pathLst>
              <a:path w="969644" h="914400">
                <a:moveTo>
                  <a:pt x="880237" y="0"/>
                </a:moveTo>
                <a:lnTo>
                  <a:pt x="218363" y="0"/>
                </a:lnTo>
                <a:lnTo>
                  <a:pt x="168294" y="5768"/>
                </a:lnTo>
                <a:lnTo>
                  <a:pt x="122332" y="22200"/>
                </a:lnTo>
                <a:lnTo>
                  <a:pt x="81788" y="47986"/>
                </a:lnTo>
                <a:lnTo>
                  <a:pt x="47972" y="81813"/>
                </a:lnTo>
                <a:lnTo>
                  <a:pt x="22194" y="122371"/>
                </a:lnTo>
                <a:lnTo>
                  <a:pt x="5767" y="168350"/>
                </a:lnTo>
                <a:lnTo>
                  <a:pt x="0" y="218440"/>
                </a:lnTo>
                <a:lnTo>
                  <a:pt x="0" y="825373"/>
                </a:lnTo>
                <a:lnTo>
                  <a:pt x="6997" y="860018"/>
                </a:lnTo>
                <a:lnTo>
                  <a:pt x="26081" y="888317"/>
                </a:lnTo>
                <a:lnTo>
                  <a:pt x="54387" y="907401"/>
                </a:lnTo>
                <a:lnTo>
                  <a:pt x="89052" y="914400"/>
                </a:lnTo>
                <a:lnTo>
                  <a:pt x="750900" y="914400"/>
                </a:lnTo>
                <a:lnTo>
                  <a:pt x="800961" y="908631"/>
                </a:lnTo>
                <a:lnTo>
                  <a:pt x="846920" y="892199"/>
                </a:lnTo>
                <a:lnTo>
                  <a:pt x="887465" y="866413"/>
                </a:lnTo>
                <a:lnTo>
                  <a:pt x="921283" y="832586"/>
                </a:lnTo>
                <a:lnTo>
                  <a:pt x="947064" y="792028"/>
                </a:lnTo>
                <a:lnTo>
                  <a:pt x="963495" y="746049"/>
                </a:lnTo>
                <a:lnTo>
                  <a:pt x="969263" y="695959"/>
                </a:lnTo>
                <a:lnTo>
                  <a:pt x="969263" y="89153"/>
                </a:lnTo>
                <a:lnTo>
                  <a:pt x="962265" y="54435"/>
                </a:lnTo>
                <a:lnTo>
                  <a:pt x="943181" y="26098"/>
                </a:lnTo>
                <a:lnTo>
                  <a:pt x="914882" y="7000"/>
                </a:lnTo>
                <a:lnTo>
                  <a:pt x="880237" y="0"/>
                </a:lnTo>
                <a:close/>
              </a:path>
            </a:pathLst>
          </a:custGeom>
          <a:solidFill>
            <a:srgbClr val="D41117"/>
          </a:solidFill>
        </p:spPr>
        <p:txBody>
          <a:bodyPr wrap="square" lIns="0" tIns="0" rIns="0" bIns="0" rtlCol="0"/>
          <a:lstStyle/>
          <a:p>
            <a:endParaRPr sz="1400"/>
          </a:p>
        </p:txBody>
      </p:sp>
      <p:sp>
        <p:nvSpPr>
          <p:cNvPr id="35" name="TextBox 34">
            <a:extLst>
              <a:ext uri="{FF2B5EF4-FFF2-40B4-BE49-F238E27FC236}">
                <a16:creationId xmlns:a16="http://schemas.microsoft.com/office/drawing/2014/main" id="{1BCC1545-0C73-18AD-E7A0-A81538425D2D}"/>
              </a:ext>
            </a:extLst>
          </p:cNvPr>
          <p:cNvSpPr txBox="1"/>
          <p:nvPr/>
        </p:nvSpPr>
        <p:spPr>
          <a:xfrm>
            <a:off x="1314450" y="4300792"/>
            <a:ext cx="4306062" cy="84638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a:solidFill>
                  <a:schemeClr val="accent1"/>
                </a:solidFill>
                <a:latin typeface="Arial" panose="020B0604020202020204" pitchFamily="34" charset="0"/>
                <a:sym typeface=""/>
              </a:rPr>
              <a:t>Common User Facilities</a:t>
            </a:r>
          </a:p>
          <a:p>
            <a:r>
              <a:rPr lang="en-US">
                <a:solidFill>
                  <a:srgbClr val="000000"/>
                </a:solidFill>
                <a:latin typeface="Arial" panose="020B0604020202020204" pitchFamily="34" charset="0"/>
                <a:sym typeface=""/>
              </a:rPr>
              <a:t>Shared logistics docks, weighbridges, and container yards to compress handling costs.</a:t>
            </a:r>
          </a:p>
        </p:txBody>
      </p:sp>
      <p:sp>
        <p:nvSpPr>
          <p:cNvPr id="63" name="object 6">
            <a:extLst>
              <a:ext uri="{FF2B5EF4-FFF2-40B4-BE49-F238E27FC236}">
                <a16:creationId xmlns:a16="http://schemas.microsoft.com/office/drawing/2014/main" id="{E38A89D0-45BB-9557-E377-888FD1A8D8FB}"/>
              </a:ext>
            </a:extLst>
          </p:cNvPr>
          <p:cNvSpPr/>
          <p:nvPr/>
        </p:nvSpPr>
        <p:spPr>
          <a:xfrm>
            <a:off x="554735" y="4300792"/>
            <a:ext cx="578740" cy="545768"/>
          </a:xfrm>
          <a:custGeom>
            <a:avLst/>
            <a:gdLst/>
            <a:ahLst/>
            <a:cxnLst/>
            <a:rect l="l" t="t" r="r" b="b"/>
            <a:pathLst>
              <a:path w="969644" h="914400">
                <a:moveTo>
                  <a:pt x="880237" y="0"/>
                </a:moveTo>
                <a:lnTo>
                  <a:pt x="218363" y="0"/>
                </a:lnTo>
                <a:lnTo>
                  <a:pt x="168294" y="5768"/>
                </a:lnTo>
                <a:lnTo>
                  <a:pt x="122332" y="22200"/>
                </a:lnTo>
                <a:lnTo>
                  <a:pt x="81788" y="47986"/>
                </a:lnTo>
                <a:lnTo>
                  <a:pt x="47972" y="81813"/>
                </a:lnTo>
                <a:lnTo>
                  <a:pt x="22194" y="122371"/>
                </a:lnTo>
                <a:lnTo>
                  <a:pt x="5767" y="168350"/>
                </a:lnTo>
                <a:lnTo>
                  <a:pt x="0" y="218440"/>
                </a:lnTo>
                <a:lnTo>
                  <a:pt x="0" y="825373"/>
                </a:lnTo>
                <a:lnTo>
                  <a:pt x="6997" y="860018"/>
                </a:lnTo>
                <a:lnTo>
                  <a:pt x="26081" y="888317"/>
                </a:lnTo>
                <a:lnTo>
                  <a:pt x="54387" y="907401"/>
                </a:lnTo>
                <a:lnTo>
                  <a:pt x="89052" y="914400"/>
                </a:lnTo>
                <a:lnTo>
                  <a:pt x="750900" y="914400"/>
                </a:lnTo>
                <a:lnTo>
                  <a:pt x="800961" y="908631"/>
                </a:lnTo>
                <a:lnTo>
                  <a:pt x="846920" y="892199"/>
                </a:lnTo>
                <a:lnTo>
                  <a:pt x="887465" y="866413"/>
                </a:lnTo>
                <a:lnTo>
                  <a:pt x="921283" y="832586"/>
                </a:lnTo>
                <a:lnTo>
                  <a:pt x="947064" y="792028"/>
                </a:lnTo>
                <a:lnTo>
                  <a:pt x="963495" y="746049"/>
                </a:lnTo>
                <a:lnTo>
                  <a:pt x="969263" y="695959"/>
                </a:lnTo>
                <a:lnTo>
                  <a:pt x="969263" y="89153"/>
                </a:lnTo>
                <a:lnTo>
                  <a:pt x="962265" y="54435"/>
                </a:lnTo>
                <a:lnTo>
                  <a:pt x="943181" y="26098"/>
                </a:lnTo>
                <a:lnTo>
                  <a:pt x="914882" y="7000"/>
                </a:lnTo>
                <a:lnTo>
                  <a:pt x="880237" y="0"/>
                </a:lnTo>
                <a:close/>
              </a:path>
            </a:pathLst>
          </a:custGeom>
          <a:solidFill>
            <a:srgbClr val="D41117"/>
          </a:solidFill>
        </p:spPr>
        <p:txBody>
          <a:bodyPr wrap="square" lIns="0" tIns="0" rIns="0" bIns="0" rtlCol="0"/>
          <a:lstStyle/>
          <a:p>
            <a:endParaRPr sz="1400"/>
          </a:p>
        </p:txBody>
      </p:sp>
      <p:sp>
        <p:nvSpPr>
          <p:cNvPr id="38" name="TextBox 37">
            <a:extLst>
              <a:ext uri="{FF2B5EF4-FFF2-40B4-BE49-F238E27FC236}">
                <a16:creationId xmlns:a16="http://schemas.microsoft.com/office/drawing/2014/main" id="{ADAC28EC-0909-884D-08B9-4F374922A262}"/>
              </a:ext>
            </a:extLst>
          </p:cNvPr>
          <p:cNvSpPr txBox="1">
            <a:spLocks/>
          </p:cNvSpPr>
          <p:nvPr/>
        </p:nvSpPr>
        <p:spPr>
          <a:xfrm>
            <a:off x="7331201" y="1881637"/>
            <a:ext cx="4306062" cy="84638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a:solidFill>
                  <a:schemeClr val="accent1"/>
                </a:solidFill>
                <a:latin typeface="Arial" panose="020B0604020202020204" pitchFamily="34" charset="0"/>
                <a:sym typeface=""/>
              </a:rPr>
              <a:t>Ready-to-Use Warehouses</a:t>
            </a:r>
          </a:p>
          <a:p>
            <a:r>
              <a:rPr lang="en-US">
                <a:solidFill>
                  <a:srgbClr val="000000"/>
                </a:solidFill>
                <a:latin typeface="Arial" panose="020B0604020202020204" pitchFamily="34" charset="0"/>
                <a:sym typeface=""/>
              </a:rPr>
              <a:t>Industrial sheds optimized for processing plants. </a:t>
            </a:r>
          </a:p>
        </p:txBody>
      </p:sp>
      <p:sp>
        <p:nvSpPr>
          <p:cNvPr id="69" name="object 6">
            <a:extLst>
              <a:ext uri="{FF2B5EF4-FFF2-40B4-BE49-F238E27FC236}">
                <a16:creationId xmlns:a16="http://schemas.microsoft.com/office/drawing/2014/main" id="{CAE44E6D-BD38-3B70-4EA5-98628B005C6B}"/>
              </a:ext>
            </a:extLst>
          </p:cNvPr>
          <p:cNvSpPr/>
          <p:nvPr/>
        </p:nvSpPr>
        <p:spPr>
          <a:xfrm>
            <a:off x="6562724" y="1881637"/>
            <a:ext cx="578740" cy="545768"/>
          </a:xfrm>
          <a:custGeom>
            <a:avLst/>
            <a:gdLst/>
            <a:ahLst/>
            <a:cxnLst/>
            <a:rect l="l" t="t" r="r" b="b"/>
            <a:pathLst>
              <a:path w="969644" h="914400">
                <a:moveTo>
                  <a:pt x="880237" y="0"/>
                </a:moveTo>
                <a:lnTo>
                  <a:pt x="218363" y="0"/>
                </a:lnTo>
                <a:lnTo>
                  <a:pt x="168294" y="5768"/>
                </a:lnTo>
                <a:lnTo>
                  <a:pt x="122332" y="22200"/>
                </a:lnTo>
                <a:lnTo>
                  <a:pt x="81788" y="47986"/>
                </a:lnTo>
                <a:lnTo>
                  <a:pt x="47972" y="81813"/>
                </a:lnTo>
                <a:lnTo>
                  <a:pt x="22194" y="122371"/>
                </a:lnTo>
                <a:lnTo>
                  <a:pt x="5767" y="168350"/>
                </a:lnTo>
                <a:lnTo>
                  <a:pt x="0" y="218440"/>
                </a:lnTo>
                <a:lnTo>
                  <a:pt x="0" y="825373"/>
                </a:lnTo>
                <a:lnTo>
                  <a:pt x="6997" y="860018"/>
                </a:lnTo>
                <a:lnTo>
                  <a:pt x="26081" y="888317"/>
                </a:lnTo>
                <a:lnTo>
                  <a:pt x="54387" y="907401"/>
                </a:lnTo>
                <a:lnTo>
                  <a:pt x="89052" y="914400"/>
                </a:lnTo>
                <a:lnTo>
                  <a:pt x="750900" y="914400"/>
                </a:lnTo>
                <a:lnTo>
                  <a:pt x="800961" y="908631"/>
                </a:lnTo>
                <a:lnTo>
                  <a:pt x="846920" y="892199"/>
                </a:lnTo>
                <a:lnTo>
                  <a:pt x="887465" y="866413"/>
                </a:lnTo>
                <a:lnTo>
                  <a:pt x="921283" y="832586"/>
                </a:lnTo>
                <a:lnTo>
                  <a:pt x="947064" y="792028"/>
                </a:lnTo>
                <a:lnTo>
                  <a:pt x="963495" y="746049"/>
                </a:lnTo>
                <a:lnTo>
                  <a:pt x="969263" y="695959"/>
                </a:lnTo>
                <a:lnTo>
                  <a:pt x="969263" y="89153"/>
                </a:lnTo>
                <a:lnTo>
                  <a:pt x="962265" y="54435"/>
                </a:lnTo>
                <a:lnTo>
                  <a:pt x="943181" y="26098"/>
                </a:lnTo>
                <a:lnTo>
                  <a:pt x="914882" y="7000"/>
                </a:lnTo>
                <a:lnTo>
                  <a:pt x="880237" y="0"/>
                </a:lnTo>
                <a:close/>
              </a:path>
            </a:pathLst>
          </a:custGeom>
          <a:solidFill>
            <a:srgbClr val="D41117"/>
          </a:solidFill>
        </p:spPr>
        <p:txBody>
          <a:bodyPr wrap="square" lIns="0" tIns="0" rIns="0" bIns="0" rtlCol="0"/>
          <a:lstStyle/>
          <a:p>
            <a:endParaRPr sz="1400"/>
          </a:p>
        </p:txBody>
      </p:sp>
      <p:sp>
        <p:nvSpPr>
          <p:cNvPr id="39" name="TextBox 38">
            <a:extLst>
              <a:ext uri="{FF2B5EF4-FFF2-40B4-BE49-F238E27FC236}">
                <a16:creationId xmlns:a16="http://schemas.microsoft.com/office/drawing/2014/main" id="{AF070FA1-6962-7C3D-5EAA-499A30BD259A}"/>
              </a:ext>
            </a:extLst>
          </p:cNvPr>
          <p:cNvSpPr txBox="1">
            <a:spLocks/>
          </p:cNvSpPr>
          <p:nvPr/>
        </p:nvSpPr>
        <p:spPr>
          <a:xfrm>
            <a:off x="7331201" y="2927067"/>
            <a:ext cx="4306062" cy="109260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a:solidFill>
                  <a:schemeClr val="accent1"/>
                </a:solidFill>
                <a:latin typeface="Arial" panose="020B0604020202020204" pitchFamily="34" charset="0"/>
                <a:sym typeface=""/>
              </a:rPr>
              <a:t>Build-to-Suit Plots</a:t>
            </a:r>
          </a:p>
          <a:p>
            <a:r>
              <a:rPr lang="en-US">
                <a:solidFill>
                  <a:srgbClr val="000000"/>
                </a:solidFill>
                <a:latin typeface="Arial" panose="020B0604020202020204" pitchFamily="34" charset="0"/>
                <a:sym typeface=""/>
              </a:rPr>
              <a:t>Open, serviced industrial plots complete with high-voltage 3-phase power, high-volume water hookups, and high-speed fiber connectivity.</a:t>
            </a:r>
          </a:p>
        </p:txBody>
      </p:sp>
      <p:sp>
        <p:nvSpPr>
          <p:cNvPr id="72" name="object 6">
            <a:extLst>
              <a:ext uri="{FF2B5EF4-FFF2-40B4-BE49-F238E27FC236}">
                <a16:creationId xmlns:a16="http://schemas.microsoft.com/office/drawing/2014/main" id="{FD8F9468-CE81-68F9-25F6-001845EC50F4}"/>
              </a:ext>
            </a:extLst>
          </p:cNvPr>
          <p:cNvSpPr/>
          <p:nvPr/>
        </p:nvSpPr>
        <p:spPr>
          <a:xfrm>
            <a:off x="6562724" y="2927067"/>
            <a:ext cx="578740" cy="545768"/>
          </a:xfrm>
          <a:custGeom>
            <a:avLst/>
            <a:gdLst/>
            <a:ahLst/>
            <a:cxnLst/>
            <a:rect l="l" t="t" r="r" b="b"/>
            <a:pathLst>
              <a:path w="969644" h="914400">
                <a:moveTo>
                  <a:pt x="880237" y="0"/>
                </a:moveTo>
                <a:lnTo>
                  <a:pt x="218363" y="0"/>
                </a:lnTo>
                <a:lnTo>
                  <a:pt x="168294" y="5768"/>
                </a:lnTo>
                <a:lnTo>
                  <a:pt x="122332" y="22200"/>
                </a:lnTo>
                <a:lnTo>
                  <a:pt x="81788" y="47986"/>
                </a:lnTo>
                <a:lnTo>
                  <a:pt x="47972" y="81813"/>
                </a:lnTo>
                <a:lnTo>
                  <a:pt x="22194" y="122371"/>
                </a:lnTo>
                <a:lnTo>
                  <a:pt x="5767" y="168350"/>
                </a:lnTo>
                <a:lnTo>
                  <a:pt x="0" y="218440"/>
                </a:lnTo>
                <a:lnTo>
                  <a:pt x="0" y="825373"/>
                </a:lnTo>
                <a:lnTo>
                  <a:pt x="6997" y="860018"/>
                </a:lnTo>
                <a:lnTo>
                  <a:pt x="26081" y="888317"/>
                </a:lnTo>
                <a:lnTo>
                  <a:pt x="54387" y="907401"/>
                </a:lnTo>
                <a:lnTo>
                  <a:pt x="89052" y="914400"/>
                </a:lnTo>
                <a:lnTo>
                  <a:pt x="750900" y="914400"/>
                </a:lnTo>
                <a:lnTo>
                  <a:pt x="800961" y="908631"/>
                </a:lnTo>
                <a:lnTo>
                  <a:pt x="846920" y="892199"/>
                </a:lnTo>
                <a:lnTo>
                  <a:pt x="887465" y="866413"/>
                </a:lnTo>
                <a:lnTo>
                  <a:pt x="921283" y="832586"/>
                </a:lnTo>
                <a:lnTo>
                  <a:pt x="947064" y="792028"/>
                </a:lnTo>
                <a:lnTo>
                  <a:pt x="963495" y="746049"/>
                </a:lnTo>
                <a:lnTo>
                  <a:pt x="969263" y="695959"/>
                </a:lnTo>
                <a:lnTo>
                  <a:pt x="969263" y="89153"/>
                </a:lnTo>
                <a:lnTo>
                  <a:pt x="962265" y="54435"/>
                </a:lnTo>
                <a:lnTo>
                  <a:pt x="943181" y="26098"/>
                </a:lnTo>
                <a:lnTo>
                  <a:pt x="914882" y="7000"/>
                </a:lnTo>
                <a:lnTo>
                  <a:pt x="880237" y="0"/>
                </a:lnTo>
                <a:close/>
              </a:path>
            </a:pathLst>
          </a:custGeom>
          <a:solidFill>
            <a:srgbClr val="D41117"/>
          </a:solidFill>
        </p:spPr>
        <p:txBody>
          <a:bodyPr wrap="square" lIns="0" tIns="0" rIns="0" bIns="0" rtlCol="0"/>
          <a:lstStyle/>
          <a:p>
            <a:endParaRPr sz="1400"/>
          </a:p>
        </p:txBody>
      </p:sp>
      <p:sp>
        <p:nvSpPr>
          <p:cNvPr id="40" name="TextBox 39">
            <a:extLst>
              <a:ext uri="{FF2B5EF4-FFF2-40B4-BE49-F238E27FC236}">
                <a16:creationId xmlns:a16="http://schemas.microsoft.com/office/drawing/2014/main" id="{86A13B4F-3B20-021F-EFAB-028EFBE70C61}"/>
              </a:ext>
            </a:extLst>
          </p:cNvPr>
          <p:cNvSpPr txBox="1">
            <a:spLocks/>
          </p:cNvSpPr>
          <p:nvPr/>
        </p:nvSpPr>
        <p:spPr>
          <a:xfrm>
            <a:off x="7331201" y="4218718"/>
            <a:ext cx="4306062" cy="109260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a:solidFill>
                  <a:schemeClr val="accent1"/>
                </a:solidFill>
                <a:latin typeface="Arial" panose="020B0604020202020204" pitchFamily="34" charset="0"/>
                <a:sym typeface=""/>
              </a:rPr>
              <a:t>Effluent Treatment</a:t>
            </a:r>
          </a:p>
          <a:p>
            <a:r>
              <a:rPr lang="en-US">
                <a:solidFill>
                  <a:srgbClr val="000000"/>
                </a:solidFill>
                <a:latin typeface="Arial" panose="020B0604020202020204" pitchFamily="34" charset="0"/>
                <a:sym typeface=""/>
              </a:rPr>
              <a:t>Centralized, eco-friendly industrial wastewater treatment plants to ensure seamless environmental compliance.</a:t>
            </a:r>
          </a:p>
        </p:txBody>
      </p:sp>
      <p:sp>
        <p:nvSpPr>
          <p:cNvPr id="75" name="object 6">
            <a:extLst>
              <a:ext uri="{FF2B5EF4-FFF2-40B4-BE49-F238E27FC236}">
                <a16:creationId xmlns:a16="http://schemas.microsoft.com/office/drawing/2014/main" id="{5DCFF6A4-61FE-91CD-9E9B-4BDD4FEE8ACE}"/>
              </a:ext>
            </a:extLst>
          </p:cNvPr>
          <p:cNvSpPr/>
          <p:nvPr/>
        </p:nvSpPr>
        <p:spPr>
          <a:xfrm>
            <a:off x="6562724" y="4218718"/>
            <a:ext cx="578740" cy="545768"/>
          </a:xfrm>
          <a:custGeom>
            <a:avLst/>
            <a:gdLst/>
            <a:ahLst/>
            <a:cxnLst/>
            <a:rect l="l" t="t" r="r" b="b"/>
            <a:pathLst>
              <a:path w="969644" h="914400">
                <a:moveTo>
                  <a:pt x="880237" y="0"/>
                </a:moveTo>
                <a:lnTo>
                  <a:pt x="218363" y="0"/>
                </a:lnTo>
                <a:lnTo>
                  <a:pt x="168294" y="5768"/>
                </a:lnTo>
                <a:lnTo>
                  <a:pt x="122332" y="22200"/>
                </a:lnTo>
                <a:lnTo>
                  <a:pt x="81788" y="47986"/>
                </a:lnTo>
                <a:lnTo>
                  <a:pt x="47972" y="81813"/>
                </a:lnTo>
                <a:lnTo>
                  <a:pt x="22194" y="122371"/>
                </a:lnTo>
                <a:lnTo>
                  <a:pt x="5767" y="168350"/>
                </a:lnTo>
                <a:lnTo>
                  <a:pt x="0" y="218440"/>
                </a:lnTo>
                <a:lnTo>
                  <a:pt x="0" y="825373"/>
                </a:lnTo>
                <a:lnTo>
                  <a:pt x="6997" y="860018"/>
                </a:lnTo>
                <a:lnTo>
                  <a:pt x="26081" y="888317"/>
                </a:lnTo>
                <a:lnTo>
                  <a:pt x="54387" y="907401"/>
                </a:lnTo>
                <a:lnTo>
                  <a:pt x="89052" y="914400"/>
                </a:lnTo>
                <a:lnTo>
                  <a:pt x="750900" y="914400"/>
                </a:lnTo>
                <a:lnTo>
                  <a:pt x="800961" y="908631"/>
                </a:lnTo>
                <a:lnTo>
                  <a:pt x="846920" y="892199"/>
                </a:lnTo>
                <a:lnTo>
                  <a:pt x="887465" y="866413"/>
                </a:lnTo>
                <a:lnTo>
                  <a:pt x="921283" y="832586"/>
                </a:lnTo>
                <a:lnTo>
                  <a:pt x="947064" y="792028"/>
                </a:lnTo>
                <a:lnTo>
                  <a:pt x="963495" y="746049"/>
                </a:lnTo>
                <a:lnTo>
                  <a:pt x="969263" y="695959"/>
                </a:lnTo>
                <a:lnTo>
                  <a:pt x="969263" y="89153"/>
                </a:lnTo>
                <a:lnTo>
                  <a:pt x="962265" y="54435"/>
                </a:lnTo>
                <a:lnTo>
                  <a:pt x="943181" y="26098"/>
                </a:lnTo>
                <a:lnTo>
                  <a:pt x="914882" y="7000"/>
                </a:lnTo>
                <a:lnTo>
                  <a:pt x="880237" y="0"/>
                </a:lnTo>
                <a:close/>
              </a:path>
            </a:pathLst>
          </a:custGeom>
          <a:solidFill>
            <a:srgbClr val="D41117"/>
          </a:solidFill>
        </p:spPr>
        <p:txBody>
          <a:bodyPr wrap="square" lIns="0" tIns="0" rIns="0" bIns="0" rtlCol="0"/>
          <a:lstStyle/>
          <a:p>
            <a:endParaRPr sz="1400"/>
          </a:p>
        </p:txBody>
      </p:sp>
      <p:sp>
        <p:nvSpPr>
          <p:cNvPr id="41" name="TextBox 40">
            <a:extLst>
              <a:ext uri="{FF2B5EF4-FFF2-40B4-BE49-F238E27FC236}">
                <a16:creationId xmlns:a16="http://schemas.microsoft.com/office/drawing/2014/main" id="{5C3545A1-B66A-486A-C846-C31076D202CA}"/>
              </a:ext>
            </a:extLst>
          </p:cNvPr>
          <p:cNvSpPr txBox="1">
            <a:spLocks/>
          </p:cNvSpPr>
          <p:nvPr/>
        </p:nvSpPr>
        <p:spPr>
          <a:xfrm>
            <a:off x="7331201" y="5644756"/>
            <a:ext cx="4306062" cy="27699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a:solidFill>
                  <a:schemeClr val="accent1"/>
                </a:solidFill>
                <a:latin typeface="Arial" panose="020B0604020202020204" pitchFamily="34" charset="0"/>
                <a:sym typeface=""/>
              </a:rPr>
              <a:t>Innovation and incubation centers.</a:t>
            </a:r>
          </a:p>
        </p:txBody>
      </p:sp>
      <p:sp>
        <p:nvSpPr>
          <p:cNvPr id="36" name="TextBox 35">
            <a:extLst>
              <a:ext uri="{FF2B5EF4-FFF2-40B4-BE49-F238E27FC236}">
                <a16:creationId xmlns:a16="http://schemas.microsoft.com/office/drawing/2014/main" id="{6F1DAC7C-ABAF-8CED-0BAE-657452025C69}"/>
              </a:ext>
            </a:extLst>
          </p:cNvPr>
          <p:cNvSpPr txBox="1"/>
          <p:nvPr/>
        </p:nvSpPr>
        <p:spPr>
          <a:xfrm>
            <a:off x="1314450" y="5644756"/>
            <a:ext cx="4306062" cy="27699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a:solidFill>
                  <a:schemeClr val="accent1"/>
                </a:solidFill>
                <a:latin typeface="Arial" panose="020B0604020202020204" pitchFamily="34" charset="0"/>
                <a:sym typeface=""/>
              </a:rPr>
              <a:t>Quarantine and quality assurance</a:t>
            </a:r>
          </a:p>
        </p:txBody>
      </p:sp>
      <p:sp>
        <p:nvSpPr>
          <p:cNvPr id="66" name="object 6">
            <a:extLst>
              <a:ext uri="{FF2B5EF4-FFF2-40B4-BE49-F238E27FC236}">
                <a16:creationId xmlns:a16="http://schemas.microsoft.com/office/drawing/2014/main" id="{03DFF9FA-458D-79D8-E629-CE27EC48977C}"/>
              </a:ext>
            </a:extLst>
          </p:cNvPr>
          <p:cNvSpPr/>
          <p:nvPr/>
        </p:nvSpPr>
        <p:spPr>
          <a:xfrm>
            <a:off x="554735" y="5510371"/>
            <a:ext cx="578740" cy="545768"/>
          </a:xfrm>
          <a:custGeom>
            <a:avLst/>
            <a:gdLst/>
            <a:ahLst/>
            <a:cxnLst/>
            <a:rect l="l" t="t" r="r" b="b"/>
            <a:pathLst>
              <a:path w="969644" h="914400">
                <a:moveTo>
                  <a:pt x="880237" y="0"/>
                </a:moveTo>
                <a:lnTo>
                  <a:pt x="218363" y="0"/>
                </a:lnTo>
                <a:lnTo>
                  <a:pt x="168294" y="5768"/>
                </a:lnTo>
                <a:lnTo>
                  <a:pt x="122332" y="22200"/>
                </a:lnTo>
                <a:lnTo>
                  <a:pt x="81788" y="47986"/>
                </a:lnTo>
                <a:lnTo>
                  <a:pt x="47972" y="81813"/>
                </a:lnTo>
                <a:lnTo>
                  <a:pt x="22194" y="122371"/>
                </a:lnTo>
                <a:lnTo>
                  <a:pt x="5767" y="168350"/>
                </a:lnTo>
                <a:lnTo>
                  <a:pt x="0" y="218440"/>
                </a:lnTo>
                <a:lnTo>
                  <a:pt x="0" y="825373"/>
                </a:lnTo>
                <a:lnTo>
                  <a:pt x="6997" y="860018"/>
                </a:lnTo>
                <a:lnTo>
                  <a:pt x="26081" y="888317"/>
                </a:lnTo>
                <a:lnTo>
                  <a:pt x="54387" y="907401"/>
                </a:lnTo>
                <a:lnTo>
                  <a:pt x="89052" y="914400"/>
                </a:lnTo>
                <a:lnTo>
                  <a:pt x="750900" y="914400"/>
                </a:lnTo>
                <a:lnTo>
                  <a:pt x="800961" y="908631"/>
                </a:lnTo>
                <a:lnTo>
                  <a:pt x="846920" y="892199"/>
                </a:lnTo>
                <a:lnTo>
                  <a:pt x="887465" y="866413"/>
                </a:lnTo>
                <a:lnTo>
                  <a:pt x="921283" y="832586"/>
                </a:lnTo>
                <a:lnTo>
                  <a:pt x="947064" y="792028"/>
                </a:lnTo>
                <a:lnTo>
                  <a:pt x="963495" y="746049"/>
                </a:lnTo>
                <a:lnTo>
                  <a:pt x="969263" y="695959"/>
                </a:lnTo>
                <a:lnTo>
                  <a:pt x="969263" y="89153"/>
                </a:lnTo>
                <a:lnTo>
                  <a:pt x="962265" y="54435"/>
                </a:lnTo>
                <a:lnTo>
                  <a:pt x="943181" y="26098"/>
                </a:lnTo>
                <a:lnTo>
                  <a:pt x="914882" y="7000"/>
                </a:lnTo>
                <a:lnTo>
                  <a:pt x="880237" y="0"/>
                </a:lnTo>
                <a:close/>
              </a:path>
            </a:pathLst>
          </a:custGeom>
          <a:solidFill>
            <a:srgbClr val="D41117"/>
          </a:solidFill>
        </p:spPr>
        <p:txBody>
          <a:bodyPr wrap="square" lIns="0" tIns="0" rIns="0" bIns="0" rtlCol="0"/>
          <a:lstStyle/>
          <a:p>
            <a:endParaRPr sz="1400"/>
          </a:p>
        </p:txBody>
      </p:sp>
      <p:sp>
        <p:nvSpPr>
          <p:cNvPr id="78" name="object 6">
            <a:extLst>
              <a:ext uri="{FF2B5EF4-FFF2-40B4-BE49-F238E27FC236}">
                <a16:creationId xmlns:a16="http://schemas.microsoft.com/office/drawing/2014/main" id="{CBD3D58C-2151-5E75-C961-D2CB100BC930}"/>
              </a:ext>
            </a:extLst>
          </p:cNvPr>
          <p:cNvSpPr/>
          <p:nvPr/>
        </p:nvSpPr>
        <p:spPr>
          <a:xfrm>
            <a:off x="6562724" y="5510371"/>
            <a:ext cx="578740" cy="545768"/>
          </a:xfrm>
          <a:custGeom>
            <a:avLst/>
            <a:gdLst/>
            <a:ahLst/>
            <a:cxnLst/>
            <a:rect l="l" t="t" r="r" b="b"/>
            <a:pathLst>
              <a:path w="969644" h="914400">
                <a:moveTo>
                  <a:pt x="880237" y="0"/>
                </a:moveTo>
                <a:lnTo>
                  <a:pt x="218363" y="0"/>
                </a:lnTo>
                <a:lnTo>
                  <a:pt x="168294" y="5768"/>
                </a:lnTo>
                <a:lnTo>
                  <a:pt x="122332" y="22200"/>
                </a:lnTo>
                <a:lnTo>
                  <a:pt x="81788" y="47986"/>
                </a:lnTo>
                <a:lnTo>
                  <a:pt x="47972" y="81813"/>
                </a:lnTo>
                <a:lnTo>
                  <a:pt x="22194" y="122371"/>
                </a:lnTo>
                <a:lnTo>
                  <a:pt x="5767" y="168350"/>
                </a:lnTo>
                <a:lnTo>
                  <a:pt x="0" y="218440"/>
                </a:lnTo>
                <a:lnTo>
                  <a:pt x="0" y="825373"/>
                </a:lnTo>
                <a:lnTo>
                  <a:pt x="6997" y="860018"/>
                </a:lnTo>
                <a:lnTo>
                  <a:pt x="26081" y="888317"/>
                </a:lnTo>
                <a:lnTo>
                  <a:pt x="54387" y="907401"/>
                </a:lnTo>
                <a:lnTo>
                  <a:pt x="89052" y="914400"/>
                </a:lnTo>
                <a:lnTo>
                  <a:pt x="750900" y="914400"/>
                </a:lnTo>
                <a:lnTo>
                  <a:pt x="800961" y="908631"/>
                </a:lnTo>
                <a:lnTo>
                  <a:pt x="846920" y="892199"/>
                </a:lnTo>
                <a:lnTo>
                  <a:pt x="887465" y="866413"/>
                </a:lnTo>
                <a:lnTo>
                  <a:pt x="921283" y="832586"/>
                </a:lnTo>
                <a:lnTo>
                  <a:pt x="947064" y="792028"/>
                </a:lnTo>
                <a:lnTo>
                  <a:pt x="963495" y="746049"/>
                </a:lnTo>
                <a:lnTo>
                  <a:pt x="969263" y="695959"/>
                </a:lnTo>
                <a:lnTo>
                  <a:pt x="969263" y="89153"/>
                </a:lnTo>
                <a:lnTo>
                  <a:pt x="962265" y="54435"/>
                </a:lnTo>
                <a:lnTo>
                  <a:pt x="943181" y="26098"/>
                </a:lnTo>
                <a:lnTo>
                  <a:pt x="914882" y="7000"/>
                </a:lnTo>
                <a:lnTo>
                  <a:pt x="880237" y="0"/>
                </a:lnTo>
                <a:close/>
              </a:path>
            </a:pathLst>
          </a:custGeom>
          <a:solidFill>
            <a:srgbClr val="D41117"/>
          </a:solidFill>
        </p:spPr>
        <p:txBody>
          <a:bodyPr wrap="square" lIns="0" tIns="0" rIns="0" bIns="0" rtlCol="0"/>
          <a:lstStyle/>
          <a:p>
            <a:endParaRPr sz="1400"/>
          </a:p>
        </p:txBody>
      </p:sp>
      <p:pic>
        <p:nvPicPr>
          <p:cNvPr id="88" name="CustomIcon">
            <a:extLst>
              <a:ext uri="{FF2B5EF4-FFF2-40B4-BE49-F238E27FC236}">
                <a16:creationId xmlns:a16="http://schemas.microsoft.com/office/drawing/2014/main" id="{26AD7451-319D-EF7D-BCCF-4541B3FEE073}"/>
              </a:ext>
            </a:extLst>
          </p:cNvPr>
          <p:cNvPicPr>
            <a:picLocks/>
          </p:cNvPicPr>
          <p:nvPr>
            <p:custDataLst>
              <p:tags r:id="rId3"/>
            </p:custDataLst>
          </p:nvPr>
        </p:nvPicPr>
        <p:blipFill>
          <a:blip>
            <a:extLst>
              <a:ext uri="{96DAC541-7B7A-43D3-8B79-37D633B846F1}">
                <asvg:svgBlip xmlns:asvg="http://schemas.microsoft.com/office/drawing/2016/SVG/main" r:embed="rId14"/>
              </a:ext>
            </a:extLst>
          </a:blip>
          <a:stretch>
            <a:fillRect/>
          </a:stretch>
        </p:blipFill>
        <p:spPr>
          <a:xfrm>
            <a:off x="682389" y="1992805"/>
            <a:ext cx="323432" cy="323433"/>
          </a:xfrm>
          <a:prstGeom prst="rect">
            <a:avLst/>
          </a:prstGeom>
        </p:spPr>
      </p:pic>
      <p:pic>
        <p:nvPicPr>
          <p:cNvPr id="90" name="CustomIcon">
            <a:extLst>
              <a:ext uri="{FF2B5EF4-FFF2-40B4-BE49-F238E27FC236}">
                <a16:creationId xmlns:a16="http://schemas.microsoft.com/office/drawing/2014/main" id="{7E50943B-3BC8-8D5A-310F-9C3CB6392889}"/>
              </a:ext>
            </a:extLst>
          </p:cNvPr>
          <p:cNvPicPr>
            <a:picLocks/>
          </p:cNvPicPr>
          <p:nvPr>
            <p:custDataLst>
              <p:tags r:id="rId4"/>
            </p:custDataLst>
          </p:nvPr>
        </p:nvPicPr>
        <p:blipFill>
          <a:blip>
            <a:extLst>
              <a:ext uri="{96DAC541-7B7A-43D3-8B79-37D633B846F1}">
                <asvg:svgBlip xmlns:asvg="http://schemas.microsoft.com/office/drawing/2016/SVG/main" r:embed="rId15"/>
              </a:ext>
            </a:extLst>
          </a:blip>
          <a:stretch>
            <a:fillRect/>
          </a:stretch>
        </p:blipFill>
        <p:spPr>
          <a:xfrm>
            <a:off x="682389" y="2956161"/>
            <a:ext cx="323432" cy="323433"/>
          </a:xfrm>
          <a:prstGeom prst="rect">
            <a:avLst/>
          </a:prstGeom>
        </p:spPr>
      </p:pic>
      <p:pic>
        <p:nvPicPr>
          <p:cNvPr id="94" name="CustomIcon">
            <a:extLst>
              <a:ext uri="{FF2B5EF4-FFF2-40B4-BE49-F238E27FC236}">
                <a16:creationId xmlns:a16="http://schemas.microsoft.com/office/drawing/2014/main" id="{9B1247A7-6707-36DF-3C50-F885FC5BF7FC}"/>
              </a:ext>
            </a:extLst>
          </p:cNvPr>
          <p:cNvPicPr>
            <a:picLocks/>
          </p:cNvPicPr>
          <p:nvPr>
            <p:custDataLst>
              <p:tags r:id="rId5"/>
            </p:custDataLst>
          </p:nvPr>
        </p:nvPicPr>
        <p:blipFill>
          <a:blip>
            <a:extLst>
              <a:ext uri="{96DAC541-7B7A-43D3-8B79-37D633B846F1}">
                <asvg:svgBlip xmlns:asvg="http://schemas.microsoft.com/office/drawing/2016/SVG/main" r:embed="rId16"/>
              </a:ext>
            </a:extLst>
          </a:blip>
          <a:stretch>
            <a:fillRect/>
          </a:stretch>
        </p:blipFill>
        <p:spPr>
          <a:xfrm>
            <a:off x="682389" y="4411960"/>
            <a:ext cx="323432" cy="323433"/>
          </a:xfrm>
          <a:prstGeom prst="rect">
            <a:avLst/>
          </a:prstGeom>
        </p:spPr>
      </p:pic>
      <p:pic>
        <p:nvPicPr>
          <p:cNvPr id="96" name="CustomIcon">
            <a:extLst>
              <a:ext uri="{FF2B5EF4-FFF2-40B4-BE49-F238E27FC236}">
                <a16:creationId xmlns:a16="http://schemas.microsoft.com/office/drawing/2014/main" id="{77FFDDB9-42CF-E2D7-BC0B-FE047B6D2183}"/>
              </a:ext>
            </a:extLst>
          </p:cNvPr>
          <p:cNvPicPr>
            <a:picLocks/>
          </p:cNvPicPr>
          <p:nvPr>
            <p:custDataLst>
              <p:tags r:id="rId6"/>
            </p:custDataLst>
          </p:nvPr>
        </p:nvPicPr>
        <p:blipFill>
          <a:blip>
            <a:extLst>
              <a:ext uri="{96DAC541-7B7A-43D3-8B79-37D633B846F1}">
                <asvg:svgBlip xmlns:asvg="http://schemas.microsoft.com/office/drawing/2016/SVG/main" r:embed="rId17"/>
              </a:ext>
            </a:extLst>
          </a:blip>
          <a:stretch>
            <a:fillRect/>
          </a:stretch>
        </p:blipFill>
        <p:spPr>
          <a:xfrm>
            <a:off x="682389" y="5621539"/>
            <a:ext cx="323432" cy="323433"/>
          </a:xfrm>
          <a:prstGeom prst="rect">
            <a:avLst/>
          </a:prstGeom>
        </p:spPr>
      </p:pic>
      <p:pic>
        <p:nvPicPr>
          <p:cNvPr id="98" name="CustomIcon">
            <a:extLst>
              <a:ext uri="{FF2B5EF4-FFF2-40B4-BE49-F238E27FC236}">
                <a16:creationId xmlns:a16="http://schemas.microsoft.com/office/drawing/2014/main" id="{AECD859C-4358-8056-F97F-DBDB42B18B23}"/>
              </a:ext>
            </a:extLst>
          </p:cNvPr>
          <p:cNvPicPr>
            <a:picLocks/>
          </p:cNvPicPr>
          <p:nvPr>
            <p:custDataLst>
              <p:tags r:id="rId7"/>
            </p:custDataLst>
          </p:nvPr>
        </p:nvPicPr>
        <p:blipFill>
          <a:blip>
            <a:extLst>
              <a:ext uri="{96DAC541-7B7A-43D3-8B79-37D633B846F1}">
                <asvg:svgBlip xmlns:asvg="http://schemas.microsoft.com/office/drawing/2016/SVG/main" r:embed="rId18"/>
              </a:ext>
            </a:extLst>
          </a:blip>
          <a:stretch>
            <a:fillRect/>
          </a:stretch>
        </p:blipFill>
        <p:spPr>
          <a:xfrm>
            <a:off x="6690378" y="1992805"/>
            <a:ext cx="323432" cy="323433"/>
          </a:xfrm>
          <a:prstGeom prst="rect">
            <a:avLst/>
          </a:prstGeom>
        </p:spPr>
      </p:pic>
      <p:pic>
        <p:nvPicPr>
          <p:cNvPr id="100" name="CustomIcon">
            <a:extLst>
              <a:ext uri="{FF2B5EF4-FFF2-40B4-BE49-F238E27FC236}">
                <a16:creationId xmlns:a16="http://schemas.microsoft.com/office/drawing/2014/main" id="{F8D06F62-326C-F2B3-448A-92D716E801CA}"/>
              </a:ext>
            </a:extLst>
          </p:cNvPr>
          <p:cNvPicPr>
            <a:picLocks/>
          </p:cNvPicPr>
          <p:nvPr>
            <p:custDataLst>
              <p:tags r:id="rId8"/>
            </p:custDataLst>
          </p:nvPr>
        </p:nvPicPr>
        <p:blipFill>
          <a:blip>
            <a:extLst>
              <a:ext uri="{96DAC541-7B7A-43D3-8B79-37D633B846F1}">
                <asvg:svgBlip xmlns:asvg="http://schemas.microsoft.com/office/drawing/2016/SVG/main" r:embed="rId19"/>
              </a:ext>
            </a:extLst>
          </a:blip>
          <a:stretch>
            <a:fillRect/>
          </a:stretch>
        </p:blipFill>
        <p:spPr>
          <a:xfrm>
            <a:off x="6690378" y="3038235"/>
            <a:ext cx="323432" cy="323433"/>
          </a:xfrm>
          <a:prstGeom prst="rect">
            <a:avLst/>
          </a:prstGeom>
        </p:spPr>
      </p:pic>
      <p:pic>
        <p:nvPicPr>
          <p:cNvPr id="102" name="CustomIcon">
            <a:extLst>
              <a:ext uri="{FF2B5EF4-FFF2-40B4-BE49-F238E27FC236}">
                <a16:creationId xmlns:a16="http://schemas.microsoft.com/office/drawing/2014/main" id="{382448C3-7629-2889-1601-99F5B16E7A17}"/>
              </a:ext>
            </a:extLst>
          </p:cNvPr>
          <p:cNvPicPr>
            <a:picLocks/>
          </p:cNvPicPr>
          <p:nvPr>
            <p:custDataLst>
              <p:tags r:id="rId9"/>
            </p:custDataLst>
          </p:nvPr>
        </p:nvPicPr>
        <p:blipFill>
          <a:blip>
            <a:extLst>
              <a:ext uri="{96DAC541-7B7A-43D3-8B79-37D633B846F1}">
                <asvg:svgBlip xmlns:asvg="http://schemas.microsoft.com/office/drawing/2016/SVG/main" r:embed="rId20"/>
              </a:ext>
            </a:extLst>
          </a:blip>
          <a:stretch>
            <a:fillRect/>
          </a:stretch>
        </p:blipFill>
        <p:spPr>
          <a:xfrm>
            <a:off x="6690378" y="4329886"/>
            <a:ext cx="323432" cy="323433"/>
          </a:xfrm>
          <a:prstGeom prst="rect">
            <a:avLst/>
          </a:prstGeom>
        </p:spPr>
      </p:pic>
      <p:pic>
        <p:nvPicPr>
          <p:cNvPr id="106" name="CustomIcon">
            <a:extLst>
              <a:ext uri="{FF2B5EF4-FFF2-40B4-BE49-F238E27FC236}">
                <a16:creationId xmlns:a16="http://schemas.microsoft.com/office/drawing/2014/main" id="{BEA276CF-24AF-B267-64B5-BEFCD9822BFC}"/>
              </a:ext>
            </a:extLst>
          </p:cNvPr>
          <p:cNvPicPr>
            <a:picLocks/>
          </p:cNvPicPr>
          <p:nvPr>
            <p:custDataLst>
              <p:tags r:id="rId10"/>
            </p:custDataLst>
          </p:nvPr>
        </p:nvPicPr>
        <p:blipFill>
          <a:blip>
            <a:extLst>
              <a:ext uri="{96DAC541-7B7A-43D3-8B79-37D633B846F1}">
                <asvg:svgBlip xmlns:asvg="http://schemas.microsoft.com/office/drawing/2016/SVG/main" r:embed="rId21"/>
              </a:ext>
            </a:extLst>
          </a:blip>
          <a:stretch>
            <a:fillRect/>
          </a:stretch>
        </p:blipFill>
        <p:spPr>
          <a:xfrm>
            <a:off x="6690378" y="5621539"/>
            <a:ext cx="323432" cy="323433"/>
          </a:xfrm>
          <a:prstGeom prst="rect">
            <a:avLst/>
          </a:prstGeom>
        </p:spPr>
      </p:pic>
    </p:spTree>
    <p:extLst>
      <p:ext uri="{BB962C8B-B14F-4D97-AF65-F5344CB8AC3E}">
        <p14:creationId xmlns:p14="http://schemas.microsoft.com/office/powerpoint/2010/main" val="124828796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E49135-6D93-0595-D1B7-01358697906A}"/>
            </a:ext>
          </a:extLst>
        </p:cNvPr>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CDC5D878-B9B2-49A2-76BF-9E94271D872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91" imgH="290" progId="TCLayout.ActiveDocument.1">
                  <p:embed/>
                </p:oleObj>
              </mc:Choice>
              <mc:Fallback>
                <p:oleObj name="think-cell Slide" r:id="rId4" imgW="291" imgH="290" progId="TCLayout.ActiveDocument.1">
                  <p:embed/>
                  <p:pic>
                    <p:nvPicPr>
                      <p:cNvPr id="5" name="Object 6" hidden="1">
                        <a:extLst>
                          <a:ext uri="{FF2B5EF4-FFF2-40B4-BE49-F238E27FC236}">
                            <a16:creationId xmlns:a16="http://schemas.microsoft.com/office/drawing/2014/main" id="{CDC5D878-B9B2-49A2-76BF-9E94271D872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object 4">
            <a:extLst>
              <a:ext uri="{FF2B5EF4-FFF2-40B4-BE49-F238E27FC236}">
                <a16:creationId xmlns:a16="http://schemas.microsoft.com/office/drawing/2014/main" id="{6BDED8A7-13CC-4EB0-FAB5-9FF1DA96D8CA}"/>
              </a:ext>
            </a:extLst>
          </p:cNvPr>
          <p:cNvSpPr>
            <a:spLocks/>
          </p:cNvSpPr>
          <p:nvPr/>
        </p:nvSpPr>
        <p:spPr>
          <a:xfrm>
            <a:off x="0" y="895271"/>
            <a:ext cx="12192000" cy="619761"/>
          </a:xfrm>
          <a:prstGeom prst="rect">
            <a:avLst/>
          </a:prstGeom>
          <a:solidFill>
            <a:schemeClr val="bg1">
              <a:lumMod val="95000"/>
            </a:schemeClr>
          </a:solidFill>
          <a:effectLst/>
        </p:spPr>
        <p:txBody>
          <a:bodyPr wrap="square" lIns="0" tIns="0" rIns="0" bIns="0" rtlCol="0">
            <a:noAutofit/>
          </a:bodyPr>
          <a:lstStyle/>
          <a:p>
            <a:endParaRPr/>
          </a:p>
        </p:txBody>
      </p:sp>
      <p:sp>
        <p:nvSpPr>
          <p:cNvPr id="4" name="2. Slide Title">
            <a:extLst>
              <a:ext uri="{FF2B5EF4-FFF2-40B4-BE49-F238E27FC236}">
                <a16:creationId xmlns:a16="http://schemas.microsoft.com/office/drawing/2014/main" id="{58EFCEE8-6BBF-828A-F64D-3E2A1C9CDBF6}"/>
              </a:ext>
            </a:extLst>
          </p:cNvPr>
          <p:cNvSpPr>
            <a:spLocks noGrp="1"/>
          </p:cNvSpPr>
          <p:nvPr>
            <p:ph type="title"/>
            <p:custDataLst>
              <p:tags r:id="rId2"/>
            </p:custDataLst>
          </p:nvPr>
        </p:nvSpPr>
        <p:spPr/>
        <p:txBody>
          <a:bodyPr vert="horz">
            <a:noAutofit/>
          </a:bodyPr>
          <a:lstStyle/>
          <a:p>
            <a:r>
              <a:rPr lang="en-US"/>
              <a:t>Targeted value chains (1/2)</a:t>
            </a:r>
          </a:p>
        </p:txBody>
      </p:sp>
      <p:sp>
        <p:nvSpPr>
          <p:cNvPr id="9" name="TextBox 8">
            <a:extLst>
              <a:ext uri="{FF2B5EF4-FFF2-40B4-BE49-F238E27FC236}">
                <a16:creationId xmlns:a16="http://schemas.microsoft.com/office/drawing/2014/main" id="{218BDD6E-9932-BCF7-F0FB-FEA8DDF56156}"/>
              </a:ext>
            </a:extLst>
          </p:cNvPr>
          <p:cNvSpPr txBox="1">
            <a:spLocks/>
          </p:cNvSpPr>
          <p:nvPr/>
        </p:nvSpPr>
        <p:spPr>
          <a:xfrm>
            <a:off x="554736" y="989708"/>
            <a:ext cx="11080052" cy="43088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t>The CAIP roll-out does not take a one-size-fits-all approach. Each park is strictly optimized around the specific ecological and agricultural competitive advantages of its host county:</a:t>
            </a:r>
          </a:p>
        </p:txBody>
      </p:sp>
      <p:graphicFrame>
        <p:nvGraphicFramePr>
          <p:cNvPr id="10" name="Table 9" hidden="1">
            <a:extLst>
              <a:ext uri="{FF2B5EF4-FFF2-40B4-BE49-F238E27FC236}">
                <a16:creationId xmlns:a16="http://schemas.microsoft.com/office/drawing/2014/main" id="{9F65C23D-D045-3485-36E5-339EA86F9C82}"/>
              </a:ext>
            </a:extLst>
          </p:cNvPr>
          <p:cNvGraphicFramePr>
            <a:graphicFrameLocks noGrp="1"/>
          </p:cNvGraphicFramePr>
          <p:nvPr/>
        </p:nvGraphicFramePr>
        <p:xfrm>
          <a:off x="554736" y="2093559"/>
          <a:ext cx="11080052" cy="4155851"/>
        </p:xfrm>
        <a:graphic>
          <a:graphicData uri="http://schemas.openxmlformats.org/drawingml/2006/table">
            <a:tbl>
              <a:tblPr firstRow="1" firstCol="1" bandRow="1">
                <a:tableStyleId>{5C22544A-7EE6-4342-B048-85BDC9FD1C3A}</a:tableStyleId>
              </a:tblPr>
              <a:tblGrid>
                <a:gridCol w="675284">
                  <a:extLst>
                    <a:ext uri="{9D8B030D-6E8A-4147-A177-3AD203B41FA5}">
                      <a16:colId xmlns:a16="http://schemas.microsoft.com/office/drawing/2014/main" val="3412539321"/>
                    </a:ext>
                  </a:extLst>
                </a:gridCol>
                <a:gridCol w="1847576">
                  <a:extLst>
                    <a:ext uri="{9D8B030D-6E8A-4147-A177-3AD203B41FA5}">
                      <a16:colId xmlns:a16="http://schemas.microsoft.com/office/drawing/2014/main" val="1880973378"/>
                    </a:ext>
                  </a:extLst>
                </a:gridCol>
                <a:gridCol w="8557192">
                  <a:extLst>
                    <a:ext uri="{9D8B030D-6E8A-4147-A177-3AD203B41FA5}">
                      <a16:colId xmlns:a16="http://schemas.microsoft.com/office/drawing/2014/main" val="3486079481"/>
                    </a:ext>
                  </a:extLst>
                </a:gridCol>
              </a:tblGrid>
              <a:tr h="845050">
                <a:tc>
                  <a:txBody>
                    <a:bodyPr/>
                    <a:lstStyle/>
                    <a:p>
                      <a:pPr marL="0" marR="0">
                        <a:lnSpc>
                          <a:spcPct val="115000"/>
                        </a:lnSpc>
                        <a:spcAft>
                          <a:spcPts val="330"/>
                        </a:spcAft>
                        <a:buNone/>
                        <a:tabLst>
                          <a:tab pos="4156710" algn="ctr"/>
                          <a:tab pos="6209030" algn="ctr"/>
                          <a:tab pos="11074400" algn="r"/>
                        </a:tabLst>
                      </a:pPr>
                      <a:r>
                        <a:rPr lang="en-US" sz="1300" kern="0">
                          <a:effectLst/>
                        </a:rPr>
                        <a:t>No.</a:t>
                      </a: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marL="0" marR="0">
                        <a:lnSpc>
                          <a:spcPct val="115000"/>
                        </a:lnSpc>
                        <a:spcAft>
                          <a:spcPts val="330"/>
                        </a:spcAft>
                        <a:buNone/>
                        <a:tabLst>
                          <a:tab pos="4156710" algn="ctr"/>
                          <a:tab pos="6209030" algn="ctr"/>
                          <a:tab pos="11074400" algn="r"/>
                        </a:tabLst>
                      </a:pPr>
                      <a:r>
                        <a:rPr lang="en-US" sz="1300" kern="0">
                          <a:effectLst/>
                        </a:rPr>
                        <a:t>County</a:t>
                      </a: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marL="0" marR="0">
                        <a:lnSpc>
                          <a:spcPct val="115000"/>
                        </a:lnSpc>
                        <a:spcAft>
                          <a:spcPts val="330"/>
                        </a:spcAft>
                        <a:buNone/>
                        <a:tabLst>
                          <a:tab pos="4156710" algn="ctr"/>
                          <a:tab pos="6209030" algn="ctr"/>
                          <a:tab pos="11074400" algn="r"/>
                        </a:tabLst>
                      </a:pPr>
                      <a:r>
                        <a:rPr lang="en-US" sz="1300" kern="0">
                          <a:effectLst/>
                        </a:rPr>
                        <a:t>Investment </a:t>
                      </a:r>
                    </a:p>
                    <a:p>
                      <a:pPr marL="0" marR="0">
                        <a:lnSpc>
                          <a:spcPct val="115000"/>
                        </a:lnSpc>
                        <a:spcAft>
                          <a:spcPts val="330"/>
                        </a:spcAft>
                        <a:buNone/>
                        <a:tabLst>
                          <a:tab pos="4156710" algn="ctr"/>
                          <a:tab pos="6209030" algn="ctr"/>
                          <a:tab pos="11074400" algn="r"/>
                        </a:tabLst>
                      </a:pPr>
                      <a:r>
                        <a:rPr lang="en-US" sz="1300" kern="0">
                          <a:effectLst/>
                        </a:rPr>
                        <a:t>Priority Value Chains</a:t>
                      </a:r>
                      <a:endParaRPr lang="en-US" sz="1200" kern="100">
                        <a:effectLst/>
                      </a:endParaRPr>
                    </a:p>
                  </a:txBody>
                  <a:tcPr marL="68580" marR="68580" marT="0" marB="0"/>
                </a:tc>
                <a:extLst>
                  <a:ext uri="{0D108BD9-81ED-4DB2-BD59-A6C34878D82A}">
                    <a16:rowId xmlns:a16="http://schemas.microsoft.com/office/drawing/2014/main" val="986440372"/>
                  </a:ext>
                </a:extLst>
              </a:tr>
              <a:tr h="534817">
                <a:tc>
                  <a:txBody>
                    <a:bodyPr/>
                    <a:lstStyle/>
                    <a:p>
                      <a:pPr marL="0" marR="0">
                        <a:lnSpc>
                          <a:spcPct val="115000"/>
                        </a:lnSpc>
                        <a:spcAft>
                          <a:spcPts val="330"/>
                        </a:spcAft>
                        <a:buNone/>
                        <a:tabLst>
                          <a:tab pos="4156710" algn="ctr"/>
                          <a:tab pos="6209030" algn="ctr"/>
                          <a:tab pos="11074400" algn="r"/>
                        </a:tabLst>
                      </a:pPr>
                      <a:r>
                        <a:rPr lang="en-US" sz="1300" kern="0">
                          <a:effectLst/>
                        </a:rPr>
                        <a:t>1</a:t>
                      </a: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marL="0" marR="0">
                        <a:lnSpc>
                          <a:spcPct val="115000"/>
                        </a:lnSpc>
                        <a:spcAft>
                          <a:spcPts val="800"/>
                        </a:spcAft>
                        <a:buNone/>
                      </a:pPr>
                      <a:r>
                        <a:rPr lang="en-US" sz="1300" kern="0">
                          <a:effectLst/>
                        </a:rPr>
                        <a:t>Meru</a:t>
                      </a: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marL="0" marR="0" algn="just">
                        <a:lnSpc>
                          <a:spcPct val="115000"/>
                        </a:lnSpc>
                        <a:spcAft>
                          <a:spcPts val="800"/>
                        </a:spcAft>
                        <a:buNone/>
                      </a:pPr>
                      <a:r>
                        <a:rPr lang="en-US" sz="1300" kern="100">
                          <a:effectLst/>
                        </a:rPr>
                        <a:t>Macadamia, Irish Potatoes, Miraa, Avocado, Bananas and Coffee</a:t>
                      </a: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86093679"/>
                  </a:ext>
                </a:extLst>
              </a:tr>
              <a:tr h="534817">
                <a:tc>
                  <a:txBody>
                    <a:bodyPr/>
                    <a:lstStyle/>
                    <a:p>
                      <a:pPr marL="0" marR="0">
                        <a:lnSpc>
                          <a:spcPct val="115000"/>
                        </a:lnSpc>
                        <a:spcAft>
                          <a:spcPts val="330"/>
                        </a:spcAft>
                        <a:buNone/>
                        <a:tabLst>
                          <a:tab pos="4156710" algn="ctr"/>
                          <a:tab pos="6209030" algn="ctr"/>
                          <a:tab pos="11074400" algn="r"/>
                        </a:tabLst>
                      </a:pPr>
                      <a:r>
                        <a:rPr lang="en-US" sz="1300" kern="0">
                          <a:effectLst/>
                        </a:rPr>
                        <a:t>2</a:t>
                      </a: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marL="0" marR="0">
                        <a:lnSpc>
                          <a:spcPct val="115000"/>
                        </a:lnSpc>
                        <a:spcAft>
                          <a:spcPts val="800"/>
                        </a:spcAft>
                        <a:buNone/>
                      </a:pPr>
                      <a:r>
                        <a:rPr lang="en-US" sz="1300" kern="0">
                          <a:effectLst/>
                        </a:rPr>
                        <a:t>Migori</a:t>
                      </a: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marL="0" marR="0">
                        <a:lnSpc>
                          <a:spcPct val="115000"/>
                        </a:lnSpc>
                        <a:spcAft>
                          <a:spcPts val="330"/>
                        </a:spcAft>
                        <a:buNone/>
                        <a:tabLst>
                          <a:tab pos="4156710" algn="ctr"/>
                          <a:tab pos="6209030" algn="ctr"/>
                          <a:tab pos="11074400" algn="r"/>
                        </a:tabLst>
                      </a:pPr>
                      <a:r>
                        <a:rPr lang="en-US" sz="1300" kern="0">
                          <a:effectLst/>
                        </a:rPr>
                        <a:t>Meat  and Leather, Fish, Livestock, Rice and Mining (Gold and Copper)</a:t>
                      </a: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4160905502"/>
                  </a:ext>
                </a:extLst>
              </a:tr>
              <a:tr h="534817">
                <a:tc>
                  <a:txBody>
                    <a:bodyPr/>
                    <a:lstStyle/>
                    <a:p>
                      <a:pPr marL="0" marR="0">
                        <a:lnSpc>
                          <a:spcPct val="115000"/>
                        </a:lnSpc>
                        <a:spcAft>
                          <a:spcPts val="330"/>
                        </a:spcAft>
                        <a:buNone/>
                        <a:tabLst>
                          <a:tab pos="4156710" algn="ctr"/>
                          <a:tab pos="6209030" algn="ctr"/>
                          <a:tab pos="11074400" algn="r"/>
                        </a:tabLst>
                      </a:pPr>
                      <a:r>
                        <a:rPr lang="en-US" sz="1300" kern="0">
                          <a:effectLst/>
                        </a:rPr>
                        <a:t>3</a:t>
                      </a: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marL="0" marR="0">
                        <a:lnSpc>
                          <a:spcPct val="115000"/>
                        </a:lnSpc>
                        <a:spcAft>
                          <a:spcPts val="800"/>
                        </a:spcAft>
                        <a:buNone/>
                      </a:pPr>
                      <a:r>
                        <a:rPr lang="en-US" sz="1300" kern="0">
                          <a:effectLst/>
                        </a:rPr>
                        <a:t>Kirinyaga</a:t>
                      </a: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marL="0" marR="0">
                        <a:lnSpc>
                          <a:spcPct val="115000"/>
                        </a:lnSpc>
                        <a:spcAft>
                          <a:spcPts val="330"/>
                        </a:spcAft>
                        <a:buNone/>
                        <a:tabLst>
                          <a:tab pos="4156710" algn="ctr"/>
                          <a:tab pos="6209030" algn="ctr"/>
                          <a:tab pos="11074400" algn="r"/>
                        </a:tabLst>
                      </a:pPr>
                      <a:r>
                        <a:rPr lang="en-US" sz="1300" kern="0">
                          <a:effectLst/>
                        </a:rPr>
                        <a:t>Tomato, Avocado, Coffee, Macadamia,  and Banana</a:t>
                      </a: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049848994"/>
                  </a:ext>
                </a:extLst>
              </a:tr>
              <a:tr h="1171533">
                <a:tc>
                  <a:txBody>
                    <a:bodyPr/>
                    <a:lstStyle/>
                    <a:p>
                      <a:pPr marL="0" marR="0">
                        <a:lnSpc>
                          <a:spcPct val="115000"/>
                        </a:lnSpc>
                        <a:spcAft>
                          <a:spcPts val="330"/>
                        </a:spcAft>
                        <a:buNone/>
                        <a:tabLst>
                          <a:tab pos="4156710" algn="ctr"/>
                          <a:tab pos="6209030" algn="ctr"/>
                          <a:tab pos="11074400" algn="r"/>
                        </a:tabLst>
                      </a:pPr>
                      <a:r>
                        <a:rPr lang="en-US" sz="1300" kern="0">
                          <a:effectLst/>
                        </a:rPr>
                        <a:t>4</a:t>
                      </a: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marL="0" marR="0">
                        <a:lnSpc>
                          <a:spcPct val="115000"/>
                        </a:lnSpc>
                        <a:spcAft>
                          <a:spcPts val="800"/>
                        </a:spcAft>
                        <a:buNone/>
                      </a:pPr>
                      <a:r>
                        <a:rPr lang="en-US" sz="1300" kern="0">
                          <a:effectLst/>
                        </a:rPr>
                        <a:t>Kakamega</a:t>
                      </a:r>
                      <a:endParaRPr lang="en-US" sz="1200" kern="100">
                        <a:effectLst/>
                      </a:endParaRPr>
                    </a:p>
                    <a:p>
                      <a:pPr marL="0" marR="0">
                        <a:lnSpc>
                          <a:spcPct val="115000"/>
                        </a:lnSpc>
                        <a:spcAft>
                          <a:spcPts val="330"/>
                        </a:spcAft>
                        <a:buNone/>
                        <a:tabLst>
                          <a:tab pos="4156710" algn="ctr"/>
                          <a:tab pos="6209030" algn="ctr"/>
                          <a:tab pos="11074400" algn="r"/>
                        </a:tabLst>
                      </a:pPr>
                      <a:r>
                        <a:rPr lang="en-US" sz="1300" kern="0">
                          <a:effectLst/>
                        </a:rPr>
                        <a:t> </a:t>
                      </a: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marL="0" marR="0">
                        <a:lnSpc>
                          <a:spcPct val="115000"/>
                        </a:lnSpc>
                        <a:spcAft>
                          <a:spcPts val="330"/>
                        </a:spcAft>
                        <a:buNone/>
                        <a:tabLst>
                          <a:tab pos="4156710" algn="ctr"/>
                          <a:tab pos="6209030" algn="ctr"/>
                          <a:tab pos="11074400" algn="r"/>
                        </a:tabLst>
                      </a:pPr>
                      <a:r>
                        <a:rPr lang="en-US" sz="1300" kern="0">
                          <a:effectLst/>
                        </a:rPr>
                        <a:t>Sugarcane, Maize, Avocado, Sunflower  Palm Oil (Edible Oils), Bananas, Coffee, Milk  and Poultry</a:t>
                      </a: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314559520"/>
                  </a:ext>
                </a:extLst>
              </a:tr>
              <a:tr h="534817">
                <a:tc>
                  <a:txBody>
                    <a:bodyPr/>
                    <a:lstStyle/>
                    <a:p>
                      <a:pPr marL="0" marR="0">
                        <a:lnSpc>
                          <a:spcPct val="115000"/>
                        </a:lnSpc>
                        <a:spcAft>
                          <a:spcPts val="330"/>
                        </a:spcAft>
                        <a:buNone/>
                        <a:tabLst>
                          <a:tab pos="4156710" algn="ctr"/>
                          <a:tab pos="6209030" algn="ctr"/>
                          <a:tab pos="11074400" algn="r"/>
                        </a:tabLst>
                      </a:pPr>
                      <a:r>
                        <a:rPr lang="en-US" sz="1300" kern="0">
                          <a:effectLst/>
                        </a:rPr>
                        <a:t>5</a:t>
                      </a: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marL="0" marR="0">
                        <a:lnSpc>
                          <a:spcPct val="115000"/>
                        </a:lnSpc>
                        <a:spcAft>
                          <a:spcPts val="800"/>
                        </a:spcAft>
                        <a:buNone/>
                      </a:pPr>
                      <a:r>
                        <a:rPr lang="en-US" sz="1300" kern="0">
                          <a:effectLst/>
                        </a:rPr>
                        <a:t>Kisii</a:t>
                      </a: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marL="0" marR="0">
                        <a:lnSpc>
                          <a:spcPct val="115000"/>
                        </a:lnSpc>
                        <a:spcAft>
                          <a:spcPts val="330"/>
                        </a:spcAft>
                        <a:buNone/>
                        <a:tabLst>
                          <a:tab pos="4156710" algn="ctr"/>
                          <a:tab pos="6209030" algn="ctr"/>
                          <a:tab pos="11074400" algn="r"/>
                        </a:tabLst>
                      </a:pPr>
                      <a:r>
                        <a:rPr lang="en-US" sz="1300" kern="0">
                          <a:effectLst/>
                        </a:rPr>
                        <a:t>Bananas; Avocado; Indigenous Vegetables; Dairy;  and Chicken</a:t>
                      </a: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757820758"/>
                  </a:ext>
                </a:extLst>
              </a:tr>
            </a:tbl>
          </a:graphicData>
        </a:graphic>
      </p:graphicFrame>
      <p:sp>
        <p:nvSpPr>
          <p:cNvPr id="13" name="TextBox 12">
            <a:extLst>
              <a:ext uri="{FF2B5EF4-FFF2-40B4-BE49-F238E27FC236}">
                <a16:creationId xmlns:a16="http://schemas.microsoft.com/office/drawing/2014/main" id="{083D4D02-2B4A-8519-EBF2-CB7744651343}"/>
              </a:ext>
            </a:extLst>
          </p:cNvPr>
          <p:cNvSpPr txBox="1"/>
          <p:nvPr/>
        </p:nvSpPr>
        <p:spPr>
          <a:xfrm>
            <a:off x="554736" y="1576474"/>
            <a:ext cx="407372" cy="215444"/>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solidFill>
                  <a:schemeClr val="bg1"/>
                </a:solidFill>
              </a:rPr>
              <a:t>No.</a:t>
            </a:r>
          </a:p>
        </p:txBody>
      </p:sp>
      <p:sp>
        <p:nvSpPr>
          <p:cNvPr id="14" name="TextBox 13">
            <a:extLst>
              <a:ext uri="{FF2B5EF4-FFF2-40B4-BE49-F238E27FC236}">
                <a16:creationId xmlns:a16="http://schemas.microsoft.com/office/drawing/2014/main" id="{AEC70027-FBE0-77B7-6076-ACF1004ED9F6}"/>
              </a:ext>
            </a:extLst>
          </p:cNvPr>
          <p:cNvSpPr txBox="1"/>
          <p:nvPr/>
        </p:nvSpPr>
        <p:spPr>
          <a:xfrm>
            <a:off x="1179552" y="1576474"/>
            <a:ext cx="956589" cy="215444"/>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solidFill>
                  <a:schemeClr val="bg1"/>
                </a:solidFill>
              </a:rPr>
              <a:t>County</a:t>
            </a:r>
          </a:p>
        </p:txBody>
      </p:sp>
      <p:sp>
        <p:nvSpPr>
          <p:cNvPr id="15" name="TextBox 14">
            <a:extLst>
              <a:ext uri="{FF2B5EF4-FFF2-40B4-BE49-F238E27FC236}">
                <a16:creationId xmlns:a16="http://schemas.microsoft.com/office/drawing/2014/main" id="{9B5142DA-0822-101E-7A77-F195DA04E436}"/>
              </a:ext>
            </a:extLst>
          </p:cNvPr>
          <p:cNvSpPr txBox="1"/>
          <p:nvPr/>
        </p:nvSpPr>
        <p:spPr>
          <a:xfrm>
            <a:off x="2353586" y="1576474"/>
            <a:ext cx="9281202" cy="215444"/>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solidFill>
                  <a:schemeClr val="bg1"/>
                </a:solidFill>
              </a:rPr>
              <a:t>Investment - Priority Value Chains</a:t>
            </a:r>
          </a:p>
        </p:txBody>
      </p:sp>
      <p:pic>
        <p:nvPicPr>
          <p:cNvPr id="16" name="Picture 15">
            <a:extLst>
              <a:ext uri="{FF2B5EF4-FFF2-40B4-BE49-F238E27FC236}">
                <a16:creationId xmlns:a16="http://schemas.microsoft.com/office/drawing/2014/main" id="{8EF6ED0D-99B9-3B8E-56CB-2B5C07B05360}"/>
              </a:ext>
            </a:extLst>
          </p:cNvPr>
          <p:cNvPicPr>
            <a:picLocks noChangeAspect="1"/>
          </p:cNvPicPr>
          <p:nvPr/>
        </p:nvPicPr>
        <p:blipFill>
          <a:blip r:embed="rId6"/>
          <a:srcRect/>
          <a:stretch/>
        </p:blipFill>
        <p:spPr>
          <a:xfrm>
            <a:off x="0" y="1545152"/>
            <a:ext cx="12192000" cy="4461933"/>
          </a:xfrm>
          <a:prstGeom prst="rect">
            <a:avLst/>
          </a:prstGeom>
        </p:spPr>
      </p:pic>
    </p:spTree>
    <p:extLst>
      <p:ext uri="{BB962C8B-B14F-4D97-AF65-F5344CB8AC3E}">
        <p14:creationId xmlns:p14="http://schemas.microsoft.com/office/powerpoint/2010/main" val="418645440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CTFIXED" val="Yes"/>
  <p:tag name="THINKCELLUNDODONOTDELETE" val="0"/>
  <p:tag name="TSCLIENT" val="True"/>
  <p:tag name="TEMPLATELASTEDITED" val="2021-12-13 05:24 PM"/>
  <p:tag name="TCCONTRASTACCENTS" val="4|5|6|7|8|9"/>
  <p:tag name="TCLIGHTACCENTS" val="4|5|6|7|8|9"/>
  <p:tag name="DSS_ID" val="b5cc7d2f-6b97-47d7-a1cb-4a7be646e7a6"/>
  <p:tag name="LINKEDPICTURESLINKREMOVED" val="True"/>
  <p:tag name="THINKCELLPRESENTATIONDONOTDELETE" val="&lt;?xml version=&quot;1.0&quot; encoding=&quot;UTF-16&quot; standalone=&quot;yes&quot;?&gt;&lt;root reqver=&quot;28224&quot;&gt;&lt;version val=&quot;3574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9&quot;&gt;&lt;elem m_fUsage=&quot;1.66248903619000021337E+00&quot;&gt;&lt;m_msothmcolidx val=&quot;0&quot;/&gt;&lt;m_rgb r=&quot;FF&quot; g=&quot;29&quot; b=&quot;29&quot;/&gt;&lt;/elem&gt;&lt;elem m_fUsage=&quot;9.61908210000000152284E-01&quot;&gt;&lt;m_msothmcolidx val=&quot;0&quot;/&gt;&lt;m_rgb r=&quot;A1&quot; g=&quot;7D&quot; b=&quot;75&quot;/&gt;&lt;/elem&gt;&lt;elem m_fUsage=&quot;9.61251407382510358879E-01&quot;&gt;&lt;m_msothmcolidx val=&quot;0&quot;/&gt;&lt;m_rgb r=&quot;FF&quot; g=&quot;D8&quot; b=&quot;28&quot;/&gt;&lt;/elem&gt;&lt;elem m_fUsage=&quot;9.00000000000000022204E-01&quot;&gt;&lt;m_msothmcolidx val=&quot;0&quot;/&gt;&lt;m_rgb r=&quot;A8&quot; g=&quot;38&quot; b=&quot;00&quot;/&gt;&lt;/elem&gt;&lt;elem m_fUsage=&quot;8.72919536481000180039E-01&quot;&gt;&lt;m_msothmcolidx val=&quot;0&quot;/&gt;&lt;m_rgb r=&quot;EB&quot; g=&quot;7A&quot; b=&quot;3A&quot;/&gt;&lt;/elem&gt;&lt;elem m_fUsage=&quot;8.61991132094649281647E-01&quot;&gt;&lt;m_msothmcolidx val=&quot;0&quot;/&gt;&lt;m_rgb r=&quot;7A&quot; g=&quot;96&quot; b=&quot;FF&quot;/&gt;&lt;/elem&gt;&lt;elem m_fUsage=&quot;8.10000000000000053291E-01&quot;&gt;&lt;m_msothmcolidx val=&quot;0&quot;/&gt;&lt;m_rgb r=&quot;FB&quot; g=&quot;D9&quot; b=&quot;D9&quot;/&gt;&lt;/elem&gt;&lt;elem m_fUsage=&quot;7.29000000000000092371E-01&quot;&gt;&lt;m_msothmcolidx val=&quot;0&quot;/&gt;&lt;m_rgb r=&quot;B6&quot; g=&quot;AC&quot; b=&quot;25&quot;/&gt;&lt;/elem&gt;&lt;elem m_fUsage=&quot;3.87420489000000145552E-01&quot;&gt;&lt;m_msothmcolidx val=&quot;0&quot;/&gt;&lt;m_rgb r=&quot;E8&quot; g=&quot;B0&quot; b=&quot;08&quot;/&gt;&lt;/elem&gt;&lt;/m_vecMRU&gt;&lt;/m_mruColor&gt;&lt;m_eweekdayFirstOfWeek val=&quot;2&quot;/&gt;&lt;m_eweekdayFirstOfWorkweek val=&quot;2&quot;/&gt;&lt;m_eweekdayFirstOfWeekend val=&quot;7&quot;/&gt;&lt;/CPresentation&gt;&lt;/root&gt;"/>
  <p:tag name="ICONFILLBACKGROUND" val="Color [A=255, R=214, G=17, B=24]"/>
  <p:tag name="ICONFILLBACKGROUNDTHEME" val="Accent 1"/>
  <p:tag name="ICONENCLOSURE" val="False"/>
  <p:tag name="MTBTACCENT" val="Accent1ColorBoldText"/>
  <p:tag name="ICONLINEFILL" val="Color [A=255, R=255, G=154, B=109]"/>
  <p:tag name="ICONLINEFILLTHEME" val="Accent 4"/>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10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6.xml><?xml version="1.0" encoding="utf-8"?>
<p:tagLst xmlns:a="http://schemas.openxmlformats.org/drawingml/2006/main" xmlns:r="http://schemas.openxmlformats.org/officeDocument/2006/relationships" xmlns:p="http://schemas.openxmlformats.org/presentationml/2006/main">
  <p:tag name="SHAPENAME" val="5. Source"/>
</p:tagLst>
</file>

<file path=ppt/tags/tag1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5. Source"/>
</p:tagLst>
</file>

<file path=ppt/tags/tag1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ZRYLYSbLzP8DsqQ5_IDvMg"/>
</p:tagLst>
</file>

<file path=ppt/tags/tag11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5.xml><?xml version="1.0" encoding="utf-8"?>
<p:tagLst xmlns:a="http://schemas.openxmlformats.org/drawingml/2006/main" xmlns:r="http://schemas.openxmlformats.org/officeDocument/2006/relationships" xmlns:p="http://schemas.openxmlformats.org/presentationml/2006/main">
  <p:tag name="SHAPENAME" val="4. Footnote"/>
</p:tagLst>
</file>

<file path=ppt/tags/tag116.xml><?xml version="1.0" encoding="utf-8"?>
<p:tagLst xmlns:a="http://schemas.openxmlformats.org/drawingml/2006/main" xmlns:r="http://schemas.openxmlformats.org/officeDocument/2006/relationships" xmlns:p="http://schemas.openxmlformats.org/presentationml/2006/main">
  <p:tag name="NAME" val="ACET"/>
</p:tagLst>
</file>

<file path=ppt/tags/tag117.xml><?xml version="1.0" encoding="utf-8"?>
<p:tagLst xmlns:a="http://schemas.openxmlformats.org/drawingml/2006/main" xmlns:r="http://schemas.openxmlformats.org/officeDocument/2006/relationships" xmlns:p="http://schemas.openxmlformats.org/presentationml/2006/main">
  <p:tag name="NAME" val="Moon"/>
</p:tagLst>
</file>

<file path=ppt/tags/tag118.xml><?xml version="1.0" encoding="utf-8"?>
<p:tagLst xmlns:a="http://schemas.openxmlformats.org/drawingml/2006/main" xmlns:r="http://schemas.openxmlformats.org/officeDocument/2006/relationships" xmlns:p="http://schemas.openxmlformats.org/presentationml/2006/main">
  <p:tag name="NAME" val="Moon"/>
</p:tagLst>
</file>

<file path=ppt/tags/tag119.xml><?xml version="1.0" encoding="utf-8"?>
<p:tagLst xmlns:a="http://schemas.openxmlformats.org/drawingml/2006/main" xmlns:r="http://schemas.openxmlformats.org/officeDocument/2006/relationships" xmlns:p="http://schemas.openxmlformats.org/presentationml/2006/main">
  <p:tag name="NAME" val="Moon"/>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NAME" val="Moon"/>
</p:tagLst>
</file>

<file path=ppt/tags/tag121.xml><?xml version="1.0" encoding="utf-8"?>
<p:tagLst xmlns:a="http://schemas.openxmlformats.org/drawingml/2006/main" xmlns:r="http://schemas.openxmlformats.org/officeDocument/2006/relationships" xmlns:p="http://schemas.openxmlformats.org/presentationml/2006/main">
  <p:tag name="NAME" val="Moon"/>
</p:tagLst>
</file>

<file path=ppt/tags/tag122.xml><?xml version="1.0" encoding="utf-8"?>
<p:tagLst xmlns:a="http://schemas.openxmlformats.org/drawingml/2006/main" xmlns:r="http://schemas.openxmlformats.org/officeDocument/2006/relationships" xmlns:p="http://schemas.openxmlformats.org/presentationml/2006/main">
  <p:tag name="ANGLE" val="5"/>
</p:tagLst>
</file>

<file path=ppt/tags/tag123.xml><?xml version="1.0" encoding="utf-8"?>
<p:tagLst xmlns:a="http://schemas.openxmlformats.org/drawingml/2006/main" xmlns:r="http://schemas.openxmlformats.org/officeDocument/2006/relationships" xmlns:p="http://schemas.openxmlformats.org/presentationml/2006/main">
  <p:tag name="ANGLE" val="5"/>
</p:tagLst>
</file>

<file path=ppt/tags/tag124.xml><?xml version="1.0" encoding="utf-8"?>
<p:tagLst xmlns:a="http://schemas.openxmlformats.org/drawingml/2006/main" xmlns:r="http://schemas.openxmlformats.org/officeDocument/2006/relationships" xmlns:p="http://schemas.openxmlformats.org/presentationml/2006/main">
  <p:tag name="ANGLE" val="4"/>
</p:tagLst>
</file>

<file path=ppt/tags/tag125.xml><?xml version="1.0" encoding="utf-8"?>
<p:tagLst xmlns:a="http://schemas.openxmlformats.org/drawingml/2006/main" xmlns:r="http://schemas.openxmlformats.org/officeDocument/2006/relationships" xmlns:p="http://schemas.openxmlformats.org/presentationml/2006/main">
  <p:tag name="ANGLE" val="4"/>
</p:tagLst>
</file>

<file path=ppt/tags/tag126.xml><?xml version="1.0" encoding="utf-8"?>
<p:tagLst xmlns:a="http://schemas.openxmlformats.org/drawingml/2006/main" xmlns:r="http://schemas.openxmlformats.org/officeDocument/2006/relationships" xmlns:p="http://schemas.openxmlformats.org/presentationml/2006/main">
  <p:tag name="ANGLE" val="3"/>
</p:tagLst>
</file>

<file path=ppt/tags/tag127.xml><?xml version="1.0" encoding="utf-8"?>
<p:tagLst xmlns:a="http://schemas.openxmlformats.org/drawingml/2006/main" xmlns:r="http://schemas.openxmlformats.org/officeDocument/2006/relationships" xmlns:p="http://schemas.openxmlformats.org/presentationml/2006/main">
  <p:tag name="ANGLE" val="3"/>
</p:tagLst>
</file>

<file path=ppt/tags/tag128.xml><?xml version="1.0" encoding="utf-8"?>
<p:tagLst xmlns:a="http://schemas.openxmlformats.org/drawingml/2006/main" xmlns:r="http://schemas.openxmlformats.org/officeDocument/2006/relationships" xmlns:p="http://schemas.openxmlformats.org/presentationml/2006/main">
  <p:tag name="ANGLE" val="2"/>
</p:tagLst>
</file>

<file path=ppt/tags/tag129.xml><?xml version="1.0" encoding="utf-8"?>
<p:tagLst xmlns:a="http://schemas.openxmlformats.org/drawingml/2006/main" xmlns:r="http://schemas.openxmlformats.org/officeDocument/2006/relationships" xmlns:p="http://schemas.openxmlformats.org/presentationml/2006/main">
  <p:tag name="ANGLE" val="2"/>
</p:tagLst>
</file>

<file path=ppt/tags/tag13.xml><?xml version="1.0" encoding="utf-8"?>
<p:tagLst xmlns:a="http://schemas.openxmlformats.org/drawingml/2006/main" xmlns:r="http://schemas.openxmlformats.org/officeDocument/2006/relationships" xmlns:p="http://schemas.openxmlformats.org/presentationml/2006/main">
  <p:tag name="ANGLE" val="5"/>
</p:tagLst>
</file>

<file path=ppt/tags/tag130.xml><?xml version="1.0" encoding="utf-8"?>
<p:tagLst xmlns:a="http://schemas.openxmlformats.org/drawingml/2006/main" xmlns:r="http://schemas.openxmlformats.org/officeDocument/2006/relationships" xmlns:p="http://schemas.openxmlformats.org/presentationml/2006/main">
  <p:tag name="ANGLE" val="1"/>
</p:tagLst>
</file>

<file path=ppt/tags/tag131.xml><?xml version="1.0" encoding="utf-8"?>
<p:tagLst xmlns:a="http://schemas.openxmlformats.org/drawingml/2006/main" xmlns:r="http://schemas.openxmlformats.org/officeDocument/2006/relationships" xmlns:p="http://schemas.openxmlformats.org/presentationml/2006/main">
  <p:tag name="ANGLE" val="1"/>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13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35.xml><?xml version="1.0" encoding="utf-8"?>
<p:tagLst xmlns:a="http://schemas.openxmlformats.org/drawingml/2006/main" xmlns:r="http://schemas.openxmlformats.org/officeDocument/2006/relationships" xmlns:p="http://schemas.openxmlformats.org/presentationml/2006/main">
  <p:tag name="SHAPENAME" val="Subtitle"/>
</p:tagLst>
</file>

<file path=ppt/tags/tag136.xml><?xml version="1.0" encoding="utf-8"?>
<p:tagLst xmlns:a="http://schemas.openxmlformats.org/drawingml/2006/main" xmlns:r="http://schemas.openxmlformats.org/officeDocument/2006/relationships" xmlns:p="http://schemas.openxmlformats.org/presentationml/2006/main">
  <p:tag name="SHAPENAME" val="Titl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1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xml><?xml version="1.0" encoding="utf-8"?>
<p:tagLst xmlns:a="http://schemas.openxmlformats.org/drawingml/2006/main" xmlns:r="http://schemas.openxmlformats.org/officeDocument/2006/relationships" xmlns:p="http://schemas.openxmlformats.org/presentationml/2006/main">
  <p:tag name="ANGLE" val="5"/>
</p:tagLst>
</file>

<file path=ppt/tags/tag14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2.xml><?xml version="1.0" encoding="utf-8"?>
<p:tagLst xmlns:a="http://schemas.openxmlformats.org/drawingml/2006/main" xmlns:r="http://schemas.openxmlformats.org/officeDocument/2006/relationships" xmlns:p="http://schemas.openxmlformats.org/presentationml/2006/main">
  <p:tag name="SHAPENAME" val="5. Source"/>
</p:tagLst>
</file>

<file path=ppt/tags/tag1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1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9.xml><?xml version="1.0" encoding="utf-8"?>
<p:tagLst xmlns:a="http://schemas.openxmlformats.org/drawingml/2006/main" xmlns:r="http://schemas.openxmlformats.org/officeDocument/2006/relationships" xmlns:p="http://schemas.openxmlformats.org/presentationml/2006/main">
  <p:tag name="SHAPENAME" val="5. Source"/>
</p:tagLst>
</file>

<file path=ppt/tags/tag15.xml><?xml version="1.0" encoding="utf-8"?>
<p:tagLst xmlns:a="http://schemas.openxmlformats.org/drawingml/2006/main" xmlns:r="http://schemas.openxmlformats.org/officeDocument/2006/relationships" xmlns:p="http://schemas.openxmlformats.org/presentationml/2006/main">
  <p:tag name="ANGLE" val="4"/>
</p:tagLst>
</file>

<file path=ppt/tags/tag1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FWrJZYiK81Dqg3AKqhPXmQ"/>
</p:tagLst>
</file>

<file path=ppt/tags/tag1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5.xml><?xml version="1.0" encoding="utf-8"?>
<p:tagLst xmlns:a="http://schemas.openxmlformats.org/drawingml/2006/main" xmlns:r="http://schemas.openxmlformats.org/officeDocument/2006/relationships" xmlns:p="http://schemas.openxmlformats.org/presentationml/2006/main">
  <p:tag name="SHAPENAME" val="5. Source"/>
</p:tagLst>
</file>

<file path=ppt/tags/tag1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TqRLcqlXddAIBcoL4_FmkA"/>
</p:tagLst>
</file>

<file path=ppt/tags/tag15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xml><?xml version="1.0" encoding="utf-8"?>
<p:tagLst xmlns:a="http://schemas.openxmlformats.org/drawingml/2006/main" xmlns:r="http://schemas.openxmlformats.org/officeDocument/2006/relationships" xmlns:p="http://schemas.openxmlformats.org/presentationml/2006/main">
  <p:tag name="ANGLE" val="4"/>
</p:tagLst>
</file>

<file path=ppt/tags/tag16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1.xml><?xml version="1.0" encoding="utf-8"?>
<p:tagLst xmlns:a="http://schemas.openxmlformats.org/drawingml/2006/main" xmlns:r="http://schemas.openxmlformats.org/officeDocument/2006/relationships" xmlns:p="http://schemas.openxmlformats.org/presentationml/2006/main">
  <p:tag name="SHAPENAME" val="5. Source"/>
</p:tagLst>
</file>

<file path=ppt/tags/tag16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zFTi586bxaRXNGLyq6cjUQ"/>
</p:tagLst>
</file>

<file path=ppt/tags/tag16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7.xml><?xml version="1.0" encoding="utf-8"?>
<p:tagLst xmlns:a="http://schemas.openxmlformats.org/drawingml/2006/main" xmlns:r="http://schemas.openxmlformats.org/officeDocument/2006/relationships" xmlns:p="http://schemas.openxmlformats.org/presentationml/2006/main">
  <p:tag name="SHAPENAME" val="5. Source"/>
</p:tagLst>
</file>

<file path=ppt/tags/tag1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ANGLE" val="3"/>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fRnDxEIFDMpZ7XFucXEwcQ"/>
</p:tagLst>
</file>

<file path=ppt/tags/tag1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4.xml><?xml version="1.0" encoding="utf-8"?>
<p:tagLst xmlns:a="http://schemas.openxmlformats.org/drawingml/2006/main" xmlns:r="http://schemas.openxmlformats.org/officeDocument/2006/relationships" xmlns:p="http://schemas.openxmlformats.org/presentationml/2006/main">
  <p:tag name="SHAPENAME" val="5. Source"/>
</p:tagLst>
</file>

<file path=ppt/tags/tag17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Mlpk7TYHRxaIHe6.SUx9jg"/>
</p:tagLst>
</file>

<file path=ppt/tags/tag17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xml><?xml version="1.0" encoding="utf-8"?>
<p:tagLst xmlns:a="http://schemas.openxmlformats.org/drawingml/2006/main" xmlns:r="http://schemas.openxmlformats.org/officeDocument/2006/relationships" xmlns:p="http://schemas.openxmlformats.org/presentationml/2006/main">
  <p:tag name="ANGLE" val="3"/>
</p:tagLst>
</file>

<file path=ppt/tags/tag1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2.xml><?xml version="1.0" encoding="utf-8"?>
<p:tagLst xmlns:a="http://schemas.openxmlformats.org/drawingml/2006/main" xmlns:r="http://schemas.openxmlformats.org/officeDocument/2006/relationships" xmlns:p="http://schemas.openxmlformats.org/presentationml/2006/main">
  <p:tag name="SHAPENAME" val="5. Source"/>
</p:tagLst>
</file>

<file path=ppt/tags/tag1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yA0evTD9FXplcSqw.av8MA"/>
</p:tagLst>
</file>

<file path=ppt/tags/tag18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xml><?xml version="1.0" encoding="utf-8"?>
<p:tagLst xmlns:a="http://schemas.openxmlformats.org/drawingml/2006/main" xmlns:r="http://schemas.openxmlformats.org/officeDocument/2006/relationships" xmlns:p="http://schemas.openxmlformats.org/presentationml/2006/main">
  <p:tag name="ANGLE" val="2"/>
</p:tagLst>
</file>

<file path=ppt/tags/tag190.xml><?xml version="1.0" encoding="utf-8"?>
<p:tagLst xmlns:a="http://schemas.openxmlformats.org/drawingml/2006/main" xmlns:r="http://schemas.openxmlformats.org/officeDocument/2006/relationships" xmlns:p="http://schemas.openxmlformats.org/presentationml/2006/main">
  <p:tag name="SHAPENAME" val="5. Source"/>
</p:tagLst>
</file>

<file path=ppt/tags/tag1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19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9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8.xml><?xml version="1.0" encoding="utf-8"?>
<p:tagLst xmlns:a="http://schemas.openxmlformats.org/drawingml/2006/main" xmlns:r="http://schemas.openxmlformats.org/officeDocument/2006/relationships" xmlns:p="http://schemas.openxmlformats.org/presentationml/2006/main">
  <p:tag name="SHAPENAME" val="5. Source"/>
</p:tagLst>
</file>

<file path=ppt/tags/tag19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2"/>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2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0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5.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6.xml><?xml version="1.0" encoding="utf-8"?>
<p:tagLst xmlns:a="http://schemas.openxmlformats.org/drawingml/2006/main" xmlns:r="http://schemas.openxmlformats.org/officeDocument/2006/relationships" xmlns:p="http://schemas.openxmlformats.org/presentationml/2006/main">
  <p:tag name="SHAPENAME" val="5. Source"/>
</p:tagLst>
</file>

<file path=ppt/tags/tag2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21.xml><?xml version="1.0" encoding="utf-8"?>
<p:tagLst xmlns:a="http://schemas.openxmlformats.org/drawingml/2006/main" xmlns:r="http://schemas.openxmlformats.org/officeDocument/2006/relationships" xmlns:p="http://schemas.openxmlformats.org/presentationml/2006/main">
  <p:tag name="ANGLE" val="1"/>
</p:tagLst>
</file>

<file path=ppt/tags/tag21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1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4.xml><?xml version="1.0" encoding="utf-8"?>
<p:tagLst xmlns:a="http://schemas.openxmlformats.org/drawingml/2006/main" xmlns:r="http://schemas.openxmlformats.org/officeDocument/2006/relationships" xmlns:p="http://schemas.openxmlformats.org/presentationml/2006/main">
  <p:tag name="SHAPENAME" val="5. Source"/>
</p:tagLst>
</file>

<file path=ppt/tags/tag2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21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xml><?xml version="1.0" encoding="utf-8"?>
<p:tagLst xmlns:a="http://schemas.openxmlformats.org/drawingml/2006/main" xmlns:r="http://schemas.openxmlformats.org/officeDocument/2006/relationships" xmlns:p="http://schemas.openxmlformats.org/presentationml/2006/main">
  <p:tag name="ANGLE" val="1"/>
</p:tagLst>
</file>

<file path=ppt/tags/tag2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2.xml><?xml version="1.0" encoding="utf-8"?>
<p:tagLst xmlns:a="http://schemas.openxmlformats.org/drawingml/2006/main" xmlns:r="http://schemas.openxmlformats.org/officeDocument/2006/relationships" xmlns:p="http://schemas.openxmlformats.org/presentationml/2006/main">
  <p:tag name="SHAPENAME" val="5. Source"/>
</p:tagLst>
</file>

<file path=ppt/tags/tag22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22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2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8.xml><?xml version="1.0" encoding="utf-8"?>
<p:tagLst xmlns:a="http://schemas.openxmlformats.org/drawingml/2006/main" xmlns:r="http://schemas.openxmlformats.org/officeDocument/2006/relationships" xmlns:p="http://schemas.openxmlformats.org/presentationml/2006/main">
  <p:tag name="SHAPENAME" val="5. Source"/>
</p:tagLst>
</file>

<file path=ppt/tags/tag2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23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3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6.xml><?xml version="1.0" encoding="utf-8"?>
<p:tagLst xmlns:a="http://schemas.openxmlformats.org/drawingml/2006/main" xmlns:r="http://schemas.openxmlformats.org/officeDocument/2006/relationships" xmlns:p="http://schemas.openxmlformats.org/presentationml/2006/main">
  <p:tag name="SHAPENAME" val="5. Source"/>
</p:tagLst>
</file>

<file path=ppt/tags/tag2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9.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Rw4BZlnvKEO9ZCIa9.28.w"/>
</p:tagLst>
</file>

<file path=ppt/tags/tag2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4.xml><?xml version="1.0" encoding="utf-8"?>
<p:tagLst xmlns:a="http://schemas.openxmlformats.org/drawingml/2006/main" xmlns:r="http://schemas.openxmlformats.org/officeDocument/2006/relationships" xmlns:p="http://schemas.openxmlformats.org/presentationml/2006/main">
  <p:tag name="SHAPENAME" val="5. Source"/>
</p:tagLst>
</file>

<file path=ppt/tags/tag24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8.xml><?xml version="1.0" encoding="utf-8"?>
<p:tagLst xmlns:a="http://schemas.openxmlformats.org/drawingml/2006/main" xmlns:r="http://schemas.openxmlformats.org/officeDocument/2006/relationships" xmlns:p="http://schemas.openxmlformats.org/presentationml/2006/main">
  <p:tag name="SHAPENAME" val="5. Source"/>
</p:tagLst>
</file>

<file path=ppt/tags/tag2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SHAPENAME" val="5. Sourc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54.xml><?xml version="1.0" encoding="utf-8"?>
<p:tagLst xmlns:a="http://schemas.openxmlformats.org/drawingml/2006/main" xmlns:r="http://schemas.openxmlformats.org/officeDocument/2006/relationships" xmlns:p="http://schemas.openxmlformats.org/presentationml/2006/main">
  <p:tag name="SHAPENAME" val="4. Footnote"/>
</p:tagLst>
</file>

<file path=ppt/tags/tag2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6.xml><?xml version="1.0" encoding="utf-8"?>
<p:tagLst xmlns:a="http://schemas.openxmlformats.org/drawingml/2006/main" xmlns:r="http://schemas.openxmlformats.org/officeDocument/2006/relationships" xmlns:p="http://schemas.openxmlformats.org/presentationml/2006/main">
  <p:tag name="NAME" val="ACET"/>
</p:tagLst>
</file>

<file path=ppt/tags/tag257.xml><?xml version="1.0" encoding="utf-8"?>
<p:tagLst xmlns:a="http://schemas.openxmlformats.org/drawingml/2006/main" xmlns:r="http://schemas.openxmlformats.org/officeDocument/2006/relationships" xmlns:p="http://schemas.openxmlformats.org/presentationml/2006/main">
  <p:tag name="NAME" val="Moon"/>
</p:tagLst>
</file>

<file path=ppt/tags/tag258.xml><?xml version="1.0" encoding="utf-8"?>
<p:tagLst xmlns:a="http://schemas.openxmlformats.org/drawingml/2006/main" xmlns:r="http://schemas.openxmlformats.org/officeDocument/2006/relationships" xmlns:p="http://schemas.openxmlformats.org/presentationml/2006/main">
  <p:tag name="NAME" val="Moon"/>
</p:tagLst>
</file>

<file path=ppt/tags/tag259.xml><?xml version="1.0" encoding="utf-8"?>
<p:tagLst xmlns:a="http://schemas.openxmlformats.org/drawingml/2006/main" xmlns:r="http://schemas.openxmlformats.org/officeDocument/2006/relationships" xmlns:p="http://schemas.openxmlformats.org/presentationml/2006/main">
  <p:tag name="NAME" val="Moon"/>
</p:tagLst>
</file>

<file path=ppt/tags/tag2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60.xml><?xml version="1.0" encoding="utf-8"?>
<p:tagLst xmlns:a="http://schemas.openxmlformats.org/drawingml/2006/main" xmlns:r="http://schemas.openxmlformats.org/officeDocument/2006/relationships" xmlns:p="http://schemas.openxmlformats.org/presentationml/2006/main">
  <p:tag name="NAME" val="Moon"/>
</p:tagLst>
</file>

<file path=ppt/tags/tag261.xml><?xml version="1.0" encoding="utf-8"?>
<p:tagLst xmlns:a="http://schemas.openxmlformats.org/drawingml/2006/main" xmlns:r="http://schemas.openxmlformats.org/officeDocument/2006/relationships" xmlns:p="http://schemas.openxmlformats.org/presentationml/2006/main">
  <p:tag name="NAME" val="Moon"/>
</p:tagLst>
</file>

<file path=ppt/tags/tag262.xml><?xml version="1.0" encoding="utf-8"?>
<p:tagLst xmlns:a="http://schemas.openxmlformats.org/drawingml/2006/main" xmlns:r="http://schemas.openxmlformats.org/officeDocument/2006/relationships" xmlns:p="http://schemas.openxmlformats.org/presentationml/2006/main">
  <p:tag name="ANGLE" val="5"/>
</p:tagLst>
</file>

<file path=ppt/tags/tag263.xml><?xml version="1.0" encoding="utf-8"?>
<p:tagLst xmlns:a="http://schemas.openxmlformats.org/drawingml/2006/main" xmlns:r="http://schemas.openxmlformats.org/officeDocument/2006/relationships" xmlns:p="http://schemas.openxmlformats.org/presentationml/2006/main">
  <p:tag name="ANGLE" val="5"/>
</p:tagLst>
</file>

<file path=ppt/tags/tag264.xml><?xml version="1.0" encoding="utf-8"?>
<p:tagLst xmlns:a="http://schemas.openxmlformats.org/drawingml/2006/main" xmlns:r="http://schemas.openxmlformats.org/officeDocument/2006/relationships" xmlns:p="http://schemas.openxmlformats.org/presentationml/2006/main">
  <p:tag name="ANGLE" val="4"/>
</p:tagLst>
</file>

<file path=ppt/tags/tag265.xml><?xml version="1.0" encoding="utf-8"?>
<p:tagLst xmlns:a="http://schemas.openxmlformats.org/drawingml/2006/main" xmlns:r="http://schemas.openxmlformats.org/officeDocument/2006/relationships" xmlns:p="http://schemas.openxmlformats.org/presentationml/2006/main">
  <p:tag name="ANGLE" val="4"/>
</p:tagLst>
</file>

<file path=ppt/tags/tag266.xml><?xml version="1.0" encoding="utf-8"?>
<p:tagLst xmlns:a="http://schemas.openxmlformats.org/drawingml/2006/main" xmlns:r="http://schemas.openxmlformats.org/officeDocument/2006/relationships" xmlns:p="http://schemas.openxmlformats.org/presentationml/2006/main">
  <p:tag name="ANGLE" val="3"/>
</p:tagLst>
</file>

<file path=ppt/tags/tag267.xml><?xml version="1.0" encoding="utf-8"?>
<p:tagLst xmlns:a="http://schemas.openxmlformats.org/drawingml/2006/main" xmlns:r="http://schemas.openxmlformats.org/officeDocument/2006/relationships" xmlns:p="http://schemas.openxmlformats.org/presentationml/2006/main">
  <p:tag name="ANGLE" val="3"/>
</p:tagLst>
</file>

<file path=ppt/tags/tag268.xml><?xml version="1.0" encoding="utf-8"?>
<p:tagLst xmlns:a="http://schemas.openxmlformats.org/drawingml/2006/main" xmlns:r="http://schemas.openxmlformats.org/officeDocument/2006/relationships" xmlns:p="http://schemas.openxmlformats.org/presentationml/2006/main">
  <p:tag name="ANGLE" val="2"/>
</p:tagLst>
</file>

<file path=ppt/tags/tag269.xml><?xml version="1.0" encoding="utf-8"?>
<p:tagLst xmlns:a="http://schemas.openxmlformats.org/drawingml/2006/main" xmlns:r="http://schemas.openxmlformats.org/officeDocument/2006/relationships" xmlns:p="http://schemas.openxmlformats.org/presentationml/2006/main">
  <p:tag name="ANGLE" val="2"/>
</p:tagLst>
</file>

<file path=ppt/tags/tag27.xml><?xml version="1.0" encoding="utf-8"?>
<p:tagLst xmlns:a="http://schemas.openxmlformats.org/drawingml/2006/main" xmlns:r="http://schemas.openxmlformats.org/officeDocument/2006/relationships" xmlns:p="http://schemas.openxmlformats.org/presentationml/2006/main">
  <p:tag name="SHAPENAME" val="Subtitle"/>
</p:tagLst>
</file>

<file path=ppt/tags/tag270.xml><?xml version="1.0" encoding="utf-8"?>
<p:tagLst xmlns:a="http://schemas.openxmlformats.org/drawingml/2006/main" xmlns:r="http://schemas.openxmlformats.org/officeDocument/2006/relationships" xmlns:p="http://schemas.openxmlformats.org/presentationml/2006/main">
  <p:tag name="ANGLE" val="1"/>
</p:tagLst>
</file>

<file path=ppt/tags/tag271.xml><?xml version="1.0" encoding="utf-8"?>
<p:tagLst xmlns:a="http://schemas.openxmlformats.org/drawingml/2006/main" xmlns:r="http://schemas.openxmlformats.org/officeDocument/2006/relationships" xmlns:p="http://schemas.openxmlformats.org/presentationml/2006/main">
  <p:tag name="ANGLE" val="1"/>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7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76.xml><?xml version="1.0" encoding="utf-8"?>
<p:tagLst xmlns:a="http://schemas.openxmlformats.org/drawingml/2006/main" xmlns:r="http://schemas.openxmlformats.org/officeDocument/2006/relationships" xmlns:p="http://schemas.openxmlformats.org/presentationml/2006/main">
  <p:tag name="SHAPENAME" val="Subtitle"/>
</p:tagLst>
</file>

<file path=ppt/tags/tag277.xml><?xml version="1.0" encoding="utf-8"?>
<p:tagLst xmlns:a="http://schemas.openxmlformats.org/drawingml/2006/main" xmlns:r="http://schemas.openxmlformats.org/officeDocument/2006/relationships" xmlns:p="http://schemas.openxmlformats.org/presentationml/2006/main">
  <p:tag name="SHAPENAME" val="Titl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8.xml><?xml version="1.0" encoding="utf-8"?>
<p:tagLst xmlns:a="http://schemas.openxmlformats.org/drawingml/2006/main" xmlns:r="http://schemas.openxmlformats.org/officeDocument/2006/relationships" xmlns:p="http://schemas.openxmlformats.org/presentationml/2006/main">
  <p:tag name="SHAPENAME" val="Title"/>
</p:tagLst>
</file>

<file path=ppt/tags/tag28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2.xml><?xml version="1.0" encoding="utf-8"?>
<p:tagLst xmlns:a="http://schemas.openxmlformats.org/drawingml/2006/main" xmlns:r="http://schemas.openxmlformats.org/officeDocument/2006/relationships" xmlns:p="http://schemas.openxmlformats.org/presentationml/2006/main">
  <p:tag name="SHAPENAME" val="5. Source"/>
</p:tagLst>
</file>

<file path=ppt/tags/tag2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8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9.xml><?xml version="1.0" encoding="utf-8"?>
<p:tagLst xmlns:a="http://schemas.openxmlformats.org/drawingml/2006/main" xmlns:r="http://schemas.openxmlformats.org/officeDocument/2006/relationships" xmlns:p="http://schemas.openxmlformats.org/presentationml/2006/main">
  <p:tag name="SHAPENAME" val="5. Sourc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29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6.xml><?xml version="1.0" encoding="utf-8"?>
<p:tagLst xmlns:a="http://schemas.openxmlformats.org/drawingml/2006/main" xmlns:r="http://schemas.openxmlformats.org/officeDocument/2006/relationships" xmlns:p="http://schemas.openxmlformats.org/presentationml/2006/main">
  <p:tag name="SHAPENAME" val="5. Source"/>
</p:tagLst>
</file>

<file path=ppt/tags/tag29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2.xml><?xml version="1.0" encoding="utf-8"?>
<p:tagLst xmlns:a="http://schemas.openxmlformats.org/drawingml/2006/main" xmlns:r="http://schemas.openxmlformats.org/officeDocument/2006/relationships" xmlns:p="http://schemas.openxmlformats.org/presentationml/2006/main">
  <p:tag name="SHAPENAME" val="5. Source"/>
</p:tagLst>
</file>

<file path=ppt/tags/tag30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30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8.xml><?xml version="1.0" encoding="utf-8"?>
<p:tagLst xmlns:a="http://schemas.openxmlformats.org/drawingml/2006/main" xmlns:r="http://schemas.openxmlformats.org/officeDocument/2006/relationships" xmlns:p="http://schemas.openxmlformats.org/presentationml/2006/main">
  <p:tag name="SHAPENAME" val="5. Source"/>
</p:tagLst>
</file>

<file path=ppt/tags/tag30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xml><?xml version="1.0" encoding="utf-8"?>
<p:tagLst xmlns:a="http://schemas.openxmlformats.org/drawingml/2006/main" xmlns:r="http://schemas.openxmlformats.org/officeDocument/2006/relationships" xmlns:p="http://schemas.openxmlformats.org/presentationml/2006/main">
  <p:tag name="SHAPENAME" val="3. Subtitl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3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5.xml><?xml version="1.0" encoding="utf-8"?>
<p:tagLst xmlns:a="http://schemas.openxmlformats.org/drawingml/2006/main" xmlns:r="http://schemas.openxmlformats.org/officeDocument/2006/relationships" xmlns:p="http://schemas.openxmlformats.org/presentationml/2006/main">
  <p:tag name="SHAPENAME" val="5. Source"/>
</p:tagLst>
</file>

<file path=ppt/tags/tag31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31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1.xml><?xml version="1.0" encoding="utf-8"?>
<p:tagLst xmlns:a="http://schemas.openxmlformats.org/drawingml/2006/main" xmlns:r="http://schemas.openxmlformats.org/officeDocument/2006/relationships" xmlns:p="http://schemas.openxmlformats.org/presentationml/2006/main">
  <p:tag name="SHAPENAME" val="3. Subtitle"/>
</p:tagLst>
</file>

<file path=ppt/tags/tag322.xml><?xml version="1.0" encoding="utf-8"?>
<p:tagLst xmlns:a="http://schemas.openxmlformats.org/drawingml/2006/main" xmlns:r="http://schemas.openxmlformats.org/officeDocument/2006/relationships" xmlns:p="http://schemas.openxmlformats.org/presentationml/2006/main">
  <p:tag name="SHAPENAME" val="5. Source"/>
</p:tagLst>
</file>

<file path=ppt/tags/tag32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32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2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9.xml><?xml version="1.0" encoding="utf-8"?>
<p:tagLst xmlns:a="http://schemas.openxmlformats.org/drawingml/2006/main" xmlns:r="http://schemas.openxmlformats.org/officeDocument/2006/relationships" xmlns:p="http://schemas.openxmlformats.org/presentationml/2006/main">
  <p:tag name="SHAPENAME" val="3. Subtitle"/>
</p:tagLst>
</file>

<file path=ppt/tags/tag33.xml><?xml version="1.0" encoding="utf-8"?>
<p:tagLst xmlns:a="http://schemas.openxmlformats.org/drawingml/2006/main" xmlns:r="http://schemas.openxmlformats.org/officeDocument/2006/relationships" xmlns:p="http://schemas.openxmlformats.org/presentationml/2006/main">
  <p:tag name="SHAPENAME" val="5. Source"/>
</p:tagLst>
</file>

<file path=ppt/tags/tag330.xml><?xml version="1.0" encoding="utf-8"?>
<p:tagLst xmlns:a="http://schemas.openxmlformats.org/drawingml/2006/main" xmlns:r="http://schemas.openxmlformats.org/officeDocument/2006/relationships" xmlns:p="http://schemas.openxmlformats.org/presentationml/2006/main">
  <p:tag name="SHAPENAME" val="5. Source"/>
</p:tagLst>
</file>

<file path=ppt/tags/tag33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33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8.xml><?xml version="1.0" encoding="utf-8"?>
<p:tagLst xmlns:a="http://schemas.openxmlformats.org/drawingml/2006/main" xmlns:r="http://schemas.openxmlformats.org/officeDocument/2006/relationships" xmlns:p="http://schemas.openxmlformats.org/presentationml/2006/main">
  <p:tag name="SHAPENAME" val="3. Subtitle"/>
</p:tagLst>
</file>

<file path=ppt/tags/tag339.xml><?xml version="1.0" encoding="utf-8"?>
<p:tagLst xmlns:a="http://schemas.openxmlformats.org/drawingml/2006/main" xmlns:r="http://schemas.openxmlformats.org/officeDocument/2006/relationships" xmlns:p="http://schemas.openxmlformats.org/presentationml/2006/main">
  <p:tag name="SHAPENAME" val="5. Source"/>
</p:tagLst>
</file>

<file path=ppt/tags/tag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3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6.xml><?xml version="1.0" encoding="utf-8"?>
<p:tagLst xmlns:a="http://schemas.openxmlformats.org/drawingml/2006/main" xmlns:r="http://schemas.openxmlformats.org/officeDocument/2006/relationships" xmlns:p="http://schemas.openxmlformats.org/presentationml/2006/main">
  <p:tag name="SHAPENAME" val="3. Subtitle"/>
</p:tagLst>
</file>

<file path=ppt/tags/tag347.xml><?xml version="1.0" encoding="utf-8"?>
<p:tagLst xmlns:a="http://schemas.openxmlformats.org/drawingml/2006/main" xmlns:r="http://schemas.openxmlformats.org/officeDocument/2006/relationships" xmlns:p="http://schemas.openxmlformats.org/presentationml/2006/main">
  <p:tag name="SHAPENAME" val="5. Source"/>
</p:tagLst>
</file>

<file path=ppt/tags/tag34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35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5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355.xml><?xml version="1.0" encoding="utf-8"?>
<p:tagLst xmlns:a="http://schemas.openxmlformats.org/drawingml/2006/main" xmlns:r="http://schemas.openxmlformats.org/officeDocument/2006/relationships" xmlns:p="http://schemas.openxmlformats.org/presentationml/2006/main">
  <p:tag name="SHAPENAME" val="5. Source"/>
</p:tagLst>
</file>

<file path=ppt/tags/tag3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35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1.xml><?xml version="1.0" encoding="utf-8"?>
<p:tagLst xmlns:a="http://schemas.openxmlformats.org/drawingml/2006/main" xmlns:r="http://schemas.openxmlformats.org/officeDocument/2006/relationships" xmlns:p="http://schemas.openxmlformats.org/presentationml/2006/main">
  <p:tag name="SHAPENAME" val="5. Source"/>
</p:tagLst>
</file>

<file path=ppt/tags/tag36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5.xml><?xml version="1.0" encoding="utf-8"?>
<p:tagLst xmlns:a="http://schemas.openxmlformats.org/drawingml/2006/main" xmlns:r="http://schemas.openxmlformats.org/officeDocument/2006/relationships" xmlns:p="http://schemas.openxmlformats.org/presentationml/2006/main">
  <p:tag name="SHAPENAME" val="5. Source"/>
</p:tagLst>
</file>

<file path=ppt/tags/tag3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8.xml><?xml version="1.0" encoding="utf-8"?>
<p:tagLst xmlns:a="http://schemas.openxmlformats.org/drawingml/2006/main" xmlns:r="http://schemas.openxmlformats.org/officeDocument/2006/relationships" xmlns:p="http://schemas.openxmlformats.org/presentationml/2006/main">
  <p:tag name="SHAPENAME" val="5. Source"/>
</p:tagLst>
</file>

<file path=ppt/tags/tag36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70.xml><?xml version="1.0" encoding="utf-8"?>
<p:tagLst xmlns:a="http://schemas.openxmlformats.org/drawingml/2006/main" xmlns:r="http://schemas.openxmlformats.org/officeDocument/2006/relationships" xmlns:p="http://schemas.openxmlformats.org/presentationml/2006/main">
  <p:tag name="NAME" val="CustomIcon"/>
</p:tagLst>
</file>

<file path=ppt/tags/tag371.xml><?xml version="1.0" encoding="utf-8"?>
<p:tagLst xmlns:a="http://schemas.openxmlformats.org/drawingml/2006/main" xmlns:r="http://schemas.openxmlformats.org/officeDocument/2006/relationships" xmlns:p="http://schemas.openxmlformats.org/presentationml/2006/main">
  <p:tag name="NAME" val="CustomIcon"/>
</p:tagLst>
</file>

<file path=ppt/tags/tag372.xml><?xml version="1.0" encoding="utf-8"?>
<p:tagLst xmlns:a="http://schemas.openxmlformats.org/drawingml/2006/main" xmlns:r="http://schemas.openxmlformats.org/officeDocument/2006/relationships" xmlns:p="http://schemas.openxmlformats.org/presentationml/2006/main">
  <p:tag name="NAME" val="CustomIcon"/>
</p:tagLst>
</file>

<file path=ppt/tags/tag373.xml><?xml version="1.0" encoding="utf-8"?>
<p:tagLst xmlns:a="http://schemas.openxmlformats.org/drawingml/2006/main" xmlns:r="http://schemas.openxmlformats.org/officeDocument/2006/relationships" xmlns:p="http://schemas.openxmlformats.org/presentationml/2006/main">
  <p:tag name="NAME" val="CustomIcon"/>
</p:tagLst>
</file>

<file path=ppt/tags/tag374.xml><?xml version="1.0" encoding="utf-8"?>
<p:tagLst xmlns:a="http://schemas.openxmlformats.org/drawingml/2006/main" xmlns:r="http://schemas.openxmlformats.org/officeDocument/2006/relationships" xmlns:p="http://schemas.openxmlformats.org/presentationml/2006/main">
  <p:tag name="NAME" val="CustomIcon"/>
</p:tagLst>
</file>

<file path=ppt/tags/tag375.xml><?xml version="1.0" encoding="utf-8"?>
<p:tagLst xmlns:a="http://schemas.openxmlformats.org/drawingml/2006/main" xmlns:r="http://schemas.openxmlformats.org/officeDocument/2006/relationships" xmlns:p="http://schemas.openxmlformats.org/presentationml/2006/main">
  <p:tag name="NAME" val="CustomIcon"/>
</p:tagLst>
</file>

<file path=ppt/tags/tag376.xml><?xml version="1.0" encoding="utf-8"?>
<p:tagLst xmlns:a="http://schemas.openxmlformats.org/drawingml/2006/main" xmlns:r="http://schemas.openxmlformats.org/officeDocument/2006/relationships" xmlns:p="http://schemas.openxmlformats.org/presentationml/2006/main">
  <p:tag name="NAME" val="CustomIcon"/>
</p:tagLst>
</file>

<file path=ppt/tags/tag377.xml><?xml version="1.0" encoding="utf-8"?>
<p:tagLst xmlns:a="http://schemas.openxmlformats.org/drawingml/2006/main" xmlns:r="http://schemas.openxmlformats.org/officeDocument/2006/relationships" xmlns:p="http://schemas.openxmlformats.org/presentationml/2006/main">
  <p:tag name="NAME" val="CustomIcon"/>
</p:tagLst>
</file>

<file path=ppt/tags/tag378.xml><?xml version="1.0" encoding="utf-8"?>
<p:tagLst xmlns:a="http://schemas.openxmlformats.org/drawingml/2006/main" xmlns:r="http://schemas.openxmlformats.org/officeDocument/2006/relationships" xmlns:p="http://schemas.openxmlformats.org/presentationml/2006/main">
  <p:tag name="SLIDELOOKUP" val="20251105181311657-21474836481"/>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SHAPENAME" val="3. Subtitl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381.xml><?xml version="1.0" encoding="utf-8"?>
<p:tagLst xmlns:a="http://schemas.openxmlformats.org/drawingml/2006/main" xmlns:r="http://schemas.openxmlformats.org/officeDocument/2006/relationships" xmlns:p="http://schemas.openxmlformats.org/presentationml/2006/main">
  <p:tag name="NOREPLACE" val="true"/>
</p:tagLst>
</file>

<file path=ppt/tags/tag382.xml><?xml version="1.0" encoding="utf-8"?>
<p:tagLst xmlns:a="http://schemas.openxmlformats.org/drawingml/2006/main" xmlns:r="http://schemas.openxmlformats.org/officeDocument/2006/relationships" xmlns:p="http://schemas.openxmlformats.org/presentationml/2006/main">
  <p:tag name="SHAPENAME" val="4. Footnote"/>
</p:tagLst>
</file>

<file path=ppt/tags/tag3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4.xml><?xml version="1.0" encoding="utf-8"?>
<p:tagLst xmlns:a="http://schemas.openxmlformats.org/drawingml/2006/main" xmlns:r="http://schemas.openxmlformats.org/officeDocument/2006/relationships" xmlns:p="http://schemas.openxmlformats.org/presentationml/2006/main">
  <p:tag name="NAME" val="ACET"/>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8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88.xml><?xml version="1.0" encoding="utf-8"?>
<p:tagLst xmlns:a="http://schemas.openxmlformats.org/drawingml/2006/main" xmlns:r="http://schemas.openxmlformats.org/officeDocument/2006/relationships" xmlns:p="http://schemas.openxmlformats.org/presentationml/2006/main">
  <p:tag name="SHAPENAME" val="Subtitle"/>
</p:tagLst>
</file>

<file path=ppt/tags/tag389.xml><?xml version="1.0" encoding="utf-8"?>
<p:tagLst xmlns:a="http://schemas.openxmlformats.org/drawingml/2006/main" xmlns:r="http://schemas.openxmlformats.org/officeDocument/2006/relationships" xmlns:p="http://schemas.openxmlformats.org/presentationml/2006/main">
  <p:tag name="SHAPENAME" val="Title"/>
</p:tagLst>
</file>

<file path=ppt/tags/tag3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92.xml><?xml version="1.0" encoding="utf-8"?>
<p:tagLst xmlns:a="http://schemas.openxmlformats.org/drawingml/2006/main" xmlns:r="http://schemas.openxmlformats.org/officeDocument/2006/relationships" xmlns:p="http://schemas.openxmlformats.org/presentationml/2006/main">
  <p:tag name="SHAPENAME" val="3. Subtitle"/>
</p:tagLst>
</file>

<file path=ppt/tags/tag39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4.xml><?xml version="1.0" encoding="utf-8"?>
<p:tagLst xmlns:a="http://schemas.openxmlformats.org/drawingml/2006/main" xmlns:r="http://schemas.openxmlformats.org/officeDocument/2006/relationships" xmlns:p="http://schemas.openxmlformats.org/presentationml/2006/main">
  <p:tag name="SHAPENAME" val="5. Source"/>
</p:tagLst>
</file>

<file path=ppt/tags/tag39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99.xml><?xml version="1.0" encoding="utf-8"?>
<p:tagLst xmlns:a="http://schemas.openxmlformats.org/drawingml/2006/main" xmlns:r="http://schemas.openxmlformats.org/officeDocument/2006/relationships" xmlns:p="http://schemas.openxmlformats.org/presentationml/2006/main">
  <p:tag name="SHAPENAME" val="3. Subtitle"/>
</p:tagLst>
</file>

<file path=ppt/tags/tag4.xml><?xml version="1.0" encoding="utf-8"?>
<p:tagLst xmlns:a="http://schemas.openxmlformats.org/drawingml/2006/main" xmlns:r="http://schemas.openxmlformats.org/officeDocument/2006/relationships" xmlns:p="http://schemas.openxmlformats.org/presentationml/2006/main">
  <p:tag name="SHAPENAME" val="4. Footnote"/>
</p:tagLst>
</file>

<file path=ppt/tags/tag40.xml><?xml version="1.0" encoding="utf-8"?>
<p:tagLst xmlns:a="http://schemas.openxmlformats.org/drawingml/2006/main" xmlns:r="http://schemas.openxmlformats.org/officeDocument/2006/relationships" xmlns:p="http://schemas.openxmlformats.org/presentationml/2006/main">
  <p:tag name="SHAPENAME" val="5. Source"/>
</p:tagLst>
</file>

<file path=ppt/tags/tag40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01.xml><?xml version="1.0" encoding="utf-8"?>
<p:tagLst xmlns:a="http://schemas.openxmlformats.org/drawingml/2006/main" xmlns:r="http://schemas.openxmlformats.org/officeDocument/2006/relationships" xmlns:p="http://schemas.openxmlformats.org/presentationml/2006/main">
  <p:tag name="SHAPENAME" val="5. Source"/>
</p:tagLst>
</file>

<file path=ppt/tags/tag4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0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40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08.xml><?xml version="1.0" encoding="utf-8"?>
<p:tagLst xmlns:a="http://schemas.openxmlformats.org/drawingml/2006/main" xmlns:r="http://schemas.openxmlformats.org/officeDocument/2006/relationships" xmlns:p="http://schemas.openxmlformats.org/presentationml/2006/main">
  <p:tag name="SHAPENAME" val="5. Source"/>
</p:tagLst>
</file>

<file path=ppt/tags/tag40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14.xml><?xml version="1.0" encoding="utf-8"?>
<p:tagLst xmlns:a="http://schemas.openxmlformats.org/drawingml/2006/main" xmlns:r="http://schemas.openxmlformats.org/officeDocument/2006/relationships" xmlns:p="http://schemas.openxmlformats.org/presentationml/2006/main">
  <p:tag name="SHAPENAME" val="5. Source"/>
</p:tagLst>
</file>

<file path=ppt/tags/tag4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1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0.xml><?xml version="1.0" encoding="utf-8"?>
<p:tagLst xmlns:a="http://schemas.openxmlformats.org/drawingml/2006/main" xmlns:r="http://schemas.openxmlformats.org/officeDocument/2006/relationships" xmlns:p="http://schemas.openxmlformats.org/presentationml/2006/main">
  <p:tag name="SHAPENAME" val="5. Source"/>
</p:tagLst>
</file>

<file path=ppt/tags/tag42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42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5.xml><?xml version="1.0" encoding="utf-8"?>
<p:tagLst xmlns:a="http://schemas.openxmlformats.org/drawingml/2006/main" xmlns:r="http://schemas.openxmlformats.org/officeDocument/2006/relationships" xmlns:p="http://schemas.openxmlformats.org/presentationml/2006/main">
  <p:tag name="SHAPENAME" val="3. Subtitle"/>
</p:tagLst>
</file>

<file path=ppt/tags/tag42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7.xml><?xml version="1.0" encoding="utf-8"?>
<p:tagLst xmlns:a="http://schemas.openxmlformats.org/drawingml/2006/main" xmlns:r="http://schemas.openxmlformats.org/officeDocument/2006/relationships" xmlns:p="http://schemas.openxmlformats.org/presentationml/2006/main">
  <p:tag name="SHAPENAME" val="5. Source"/>
</p:tagLst>
</file>

<file path=ppt/tags/tag42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43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3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3.xml><?xml version="1.0" encoding="utf-8"?>
<p:tagLst xmlns:a="http://schemas.openxmlformats.org/drawingml/2006/main" xmlns:r="http://schemas.openxmlformats.org/officeDocument/2006/relationships" xmlns:p="http://schemas.openxmlformats.org/presentationml/2006/main">
  <p:tag name="SHAPENAME" val="3. Subtitle"/>
</p:tagLst>
</file>

<file path=ppt/tags/tag434.xml><?xml version="1.0" encoding="utf-8"?>
<p:tagLst xmlns:a="http://schemas.openxmlformats.org/drawingml/2006/main" xmlns:r="http://schemas.openxmlformats.org/officeDocument/2006/relationships" xmlns:p="http://schemas.openxmlformats.org/presentationml/2006/main">
  <p:tag name="SHAPENAME" val="5. Source"/>
</p:tagLst>
</file>

<file path=ppt/tags/tag43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43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44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41.xml><?xml version="1.0" encoding="utf-8"?>
<p:tagLst xmlns:a="http://schemas.openxmlformats.org/drawingml/2006/main" xmlns:r="http://schemas.openxmlformats.org/officeDocument/2006/relationships" xmlns:p="http://schemas.openxmlformats.org/presentationml/2006/main">
  <p:tag name="SHAPENAME" val="3. Subtitle"/>
</p:tagLst>
</file>

<file path=ppt/tags/tag442.xml><?xml version="1.0" encoding="utf-8"?>
<p:tagLst xmlns:a="http://schemas.openxmlformats.org/drawingml/2006/main" xmlns:r="http://schemas.openxmlformats.org/officeDocument/2006/relationships" xmlns:p="http://schemas.openxmlformats.org/presentationml/2006/main">
  <p:tag name="SHAPENAME" val="5. Source"/>
</p:tagLst>
</file>

<file path=ppt/tags/tag4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44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0.xml><?xml version="1.0" encoding="utf-8"?>
<p:tagLst xmlns:a="http://schemas.openxmlformats.org/drawingml/2006/main" xmlns:r="http://schemas.openxmlformats.org/officeDocument/2006/relationships" xmlns:p="http://schemas.openxmlformats.org/presentationml/2006/main">
  <p:tag name="SHAPENAME" val="3. Subtitle"/>
</p:tagLst>
</file>

<file path=ppt/tags/tag451.xml><?xml version="1.0" encoding="utf-8"?>
<p:tagLst xmlns:a="http://schemas.openxmlformats.org/drawingml/2006/main" xmlns:r="http://schemas.openxmlformats.org/officeDocument/2006/relationships" xmlns:p="http://schemas.openxmlformats.org/presentationml/2006/main">
  <p:tag name="SHAPENAME" val="5. Source"/>
</p:tagLst>
</file>

<file path=ppt/tags/tag4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4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8.xml><?xml version="1.0" encoding="utf-8"?>
<p:tagLst xmlns:a="http://schemas.openxmlformats.org/drawingml/2006/main" xmlns:r="http://schemas.openxmlformats.org/officeDocument/2006/relationships" xmlns:p="http://schemas.openxmlformats.org/presentationml/2006/main">
  <p:tag name="SHAPENAME" val="3. Subtitle"/>
</p:tagLst>
</file>

<file path=ppt/tags/tag459.xml><?xml version="1.0" encoding="utf-8"?>
<p:tagLst xmlns:a="http://schemas.openxmlformats.org/drawingml/2006/main" xmlns:r="http://schemas.openxmlformats.org/officeDocument/2006/relationships" xmlns:p="http://schemas.openxmlformats.org/presentationml/2006/main">
  <p:tag name="SHAPENAME" val="5. Source"/>
</p:tagLst>
</file>

<file path=ppt/tags/tag4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46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6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6.xml><?xml version="1.0" encoding="utf-8"?>
<p:tagLst xmlns:a="http://schemas.openxmlformats.org/drawingml/2006/main" xmlns:r="http://schemas.openxmlformats.org/officeDocument/2006/relationships" xmlns:p="http://schemas.openxmlformats.org/presentationml/2006/main">
  <p:tag name="SHAPENAME" val="3. Subtitle"/>
</p:tagLst>
</file>

<file path=ppt/tags/tag467.xml><?xml version="1.0" encoding="utf-8"?>
<p:tagLst xmlns:a="http://schemas.openxmlformats.org/drawingml/2006/main" xmlns:r="http://schemas.openxmlformats.org/officeDocument/2006/relationships" xmlns:p="http://schemas.openxmlformats.org/presentationml/2006/main">
  <p:tag name="SHAPENAME" val="5. Source"/>
</p:tagLst>
</file>

<file path=ppt/tags/tag4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SHAPENAME" val="5. Source"/>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47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73.xml><?xml version="1.0" encoding="utf-8"?>
<p:tagLst xmlns:a="http://schemas.openxmlformats.org/drawingml/2006/main" xmlns:r="http://schemas.openxmlformats.org/officeDocument/2006/relationships" xmlns:p="http://schemas.openxmlformats.org/presentationml/2006/main">
  <p:tag name="SHAPENAME" val="5. Source"/>
</p:tagLst>
</file>

<file path=ppt/tags/tag47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77.xml><?xml version="1.0" encoding="utf-8"?>
<p:tagLst xmlns:a="http://schemas.openxmlformats.org/drawingml/2006/main" xmlns:r="http://schemas.openxmlformats.org/officeDocument/2006/relationships" xmlns:p="http://schemas.openxmlformats.org/presentationml/2006/main">
  <p:tag name="SHAPENAME" val="5. Source"/>
</p:tagLst>
</file>

<file path=ppt/tags/tag4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80.xml><?xml version="1.0" encoding="utf-8"?>
<p:tagLst xmlns:a="http://schemas.openxmlformats.org/drawingml/2006/main" xmlns:r="http://schemas.openxmlformats.org/officeDocument/2006/relationships" xmlns:p="http://schemas.openxmlformats.org/presentationml/2006/main">
  <p:tag name="SHAPENAME" val="5. Source"/>
</p:tagLst>
</file>

<file path=ppt/tags/tag481.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86.xml><?xml version="1.0" encoding="utf-8"?>
<p:tagLst xmlns:a="http://schemas.openxmlformats.org/drawingml/2006/main" xmlns:r="http://schemas.openxmlformats.org/officeDocument/2006/relationships" xmlns:p="http://schemas.openxmlformats.org/presentationml/2006/main">
  <p:tag name="1LEVEL" val="15"/>
  <p:tag name="2LEVEL" val="7.5"/>
  <p:tag name="3LEVEL" val="3.75"/>
  <p:tag name="4LEVEL" val="1.88"/>
  <p:tag name="5LEVEL" val="0.94"/>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2.xml><?xml version="1.0" encoding="utf-8"?>
<p:tagLst xmlns:a="http://schemas.openxmlformats.org/drawingml/2006/main" xmlns:r="http://schemas.openxmlformats.org/officeDocument/2006/relationships" xmlns:p="http://schemas.openxmlformats.org/presentationml/2006/main">
  <p:tag name="1LEVEL" val="20"/>
  <p:tag name="2LEVEL" val="10"/>
  <p:tag name="3LEVEL" val="5"/>
  <p:tag name="4LEVEL" val="2.5"/>
  <p:tag name="5LEVEL" val="1.25"/>
</p:tagLst>
</file>

<file path=ppt/tags/tag49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6.xml><?xml version="1.0" encoding="utf-8"?>
<p:tagLst xmlns:a="http://schemas.openxmlformats.org/drawingml/2006/main" xmlns:r="http://schemas.openxmlformats.org/officeDocument/2006/relationships" xmlns:p="http://schemas.openxmlformats.org/presentationml/2006/main">
  <p:tag name="1LEVEL" val="10"/>
  <p:tag name="2LEVEL" val="5"/>
  <p:tag name="3LEVEL" val="2.5"/>
  <p:tag name="4LEVEL" val="1.25"/>
  <p:tag name="5LEVEL" val="0.62"/>
</p:tagLst>
</file>

<file path=ppt/tags/tag497.xml><?xml version="1.0" encoding="utf-8"?>
<p:tagLst xmlns:a="http://schemas.openxmlformats.org/drawingml/2006/main" xmlns:r="http://schemas.openxmlformats.org/officeDocument/2006/relationships" xmlns:p="http://schemas.openxmlformats.org/presentationml/2006/main">
  <p:tag name="1LEVEL" val="10"/>
  <p:tag name="2LEVEL" val="5"/>
  <p:tag name="3LEVEL" val="2.5"/>
  <p:tag name="4LEVEL" val="1.25"/>
  <p:tag name="5LEVEL" val="0.62"/>
</p:tagLst>
</file>

<file path=ppt/tags/tag498.xml><?xml version="1.0" encoding="utf-8"?>
<p:tagLst xmlns:a="http://schemas.openxmlformats.org/drawingml/2006/main" xmlns:r="http://schemas.openxmlformats.org/officeDocument/2006/relationships" xmlns:p="http://schemas.openxmlformats.org/presentationml/2006/main">
  <p:tag name="1LEVEL" val="10"/>
  <p:tag name="2LEVEL" val="5"/>
  <p:tag name="3LEVEL" val="2.5"/>
  <p:tag name="4LEVEL" val="1.25"/>
  <p:tag name="5LEVEL" val="0.62"/>
</p:tagLst>
</file>

<file path=ppt/tags/tag499.xml><?xml version="1.0" encoding="utf-8"?>
<p:tagLst xmlns:a="http://schemas.openxmlformats.org/drawingml/2006/main" xmlns:r="http://schemas.openxmlformats.org/officeDocument/2006/relationships" xmlns:p="http://schemas.openxmlformats.org/presentationml/2006/main">
  <p:tag name="1LEVEL" val="10"/>
  <p:tag name="2LEVEL" val="5"/>
  <p:tag name="3LEVEL" val="2.5"/>
  <p:tag name="4LEVEL" val="1.25"/>
  <p:tag name="5LEVEL" val="0.62"/>
</p:tagLst>
</file>

<file path=ppt/tags/tag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50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3.xml><?xml version="1.0" encoding="utf-8"?>
<p:tagLst xmlns:a="http://schemas.openxmlformats.org/drawingml/2006/main" xmlns:r="http://schemas.openxmlformats.org/officeDocument/2006/relationships" xmlns:p="http://schemas.openxmlformats.org/presentationml/2006/main">
  <p:tag name="NAME" val="CustomIcon"/>
</p:tagLst>
</file>

<file path=ppt/tags/tag50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05.xml><?xml version="1.0" encoding="utf-8"?>
<p:tagLst xmlns:a="http://schemas.openxmlformats.org/drawingml/2006/main" xmlns:r="http://schemas.openxmlformats.org/officeDocument/2006/relationships" xmlns:p="http://schemas.openxmlformats.org/presentationml/2006/main">
  <p:tag name="NAME" val="CustomIcon"/>
</p:tagLst>
</file>

<file path=ppt/tags/tag506.xml><?xml version="1.0" encoding="utf-8"?>
<p:tagLst xmlns:a="http://schemas.openxmlformats.org/drawingml/2006/main" xmlns:r="http://schemas.openxmlformats.org/officeDocument/2006/relationships" xmlns:p="http://schemas.openxmlformats.org/presentationml/2006/main">
  <p:tag name="NAME" val="CustomIcon"/>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9.xml><?xml version="1.0" encoding="utf-8"?>
<p:tagLst xmlns:a="http://schemas.openxmlformats.org/drawingml/2006/main" xmlns:r="http://schemas.openxmlformats.org/officeDocument/2006/relationships" xmlns:p="http://schemas.openxmlformats.org/presentationml/2006/main">
  <p:tag name="NAME" val="CustomIcon"/>
</p:tagLst>
</file>

<file path=ppt/tags/tag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10.xml><?xml version="1.0" encoding="utf-8"?>
<p:tagLst xmlns:a="http://schemas.openxmlformats.org/drawingml/2006/main" xmlns:r="http://schemas.openxmlformats.org/officeDocument/2006/relationships" xmlns:p="http://schemas.openxmlformats.org/presentationml/2006/main">
  <p:tag name="NAME" val="CustomIcon"/>
</p:tagLst>
</file>

<file path=ppt/tags/tag511.xml><?xml version="1.0" encoding="utf-8"?>
<p:tagLst xmlns:a="http://schemas.openxmlformats.org/drawingml/2006/main" xmlns:r="http://schemas.openxmlformats.org/officeDocument/2006/relationships" xmlns:p="http://schemas.openxmlformats.org/presentationml/2006/main">
  <p:tag name="NAME" val="CustomIcon"/>
</p:tagLst>
</file>

<file path=ppt/tags/tag512.xml><?xml version="1.0" encoding="utf-8"?>
<p:tagLst xmlns:a="http://schemas.openxmlformats.org/drawingml/2006/main" xmlns:r="http://schemas.openxmlformats.org/officeDocument/2006/relationships" xmlns:p="http://schemas.openxmlformats.org/presentationml/2006/main">
  <p:tag name="NAME" val="CustomIcon"/>
</p:tagLst>
</file>

<file path=ppt/tags/tag513.xml><?xml version="1.0" encoding="utf-8"?>
<p:tagLst xmlns:a="http://schemas.openxmlformats.org/drawingml/2006/main" xmlns:r="http://schemas.openxmlformats.org/officeDocument/2006/relationships" xmlns:p="http://schemas.openxmlformats.org/presentationml/2006/main">
  <p:tag name="NAME" val="CustomIcon"/>
</p:tagLst>
</file>

<file path=ppt/tags/tag514.xml><?xml version="1.0" encoding="utf-8"?>
<p:tagLst xmlns:a="http://schemas.openxmlformats.org/drawingml/2006/main" xmlns:r="http://schemas.openxmlformats.org/officeDocument/2006/relationships" xmlns:p="http://schemas.openxmlformats.org/presentationml/2006/main">
  <p:tag name="NAME" val="CustomIcon"/>
</p:tagLst>
</file>

<file path=ppt/tags/tag515.xml><?xml version="1.0" encoding="utf-8"?>
<p:tagLst xmlns:a="http://schemas.openxmlformats.org/drawingml/2006/main" xmlns:r="http://schemas.openxmlformats.org/officeDocument/2006/relationships" xmlns:p="http://schemas.openxmlformats.org/presentationml/2006/main">
  <p:tag name="NAME" val="CustomIcon"/>
</p:tagLst>
</file>

<file path=ppt/tags/tag516.xml><?xml version="1.0" encoding="utf-8"?>
<p:tagLst xmlns:a="http://schemas.openxmlformats.org/drawingml/2006/main" xmlns:r="http://schemas.openxmlformats.org/officeDocument/2006/relationships" xmlns:p="http://schemas.openxmlformats.org/presentationml/2006/main">
  <p:tag name="NAME" val="CustomIcon"/>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23.xml><?xml version="1.0" encoding="utf-8"?>
<p:tagLst xmlns:a="http://schemas.openxmlformats.org/drawingml/2006/main" xmlns:r="http://schemas.openxmlformats.org/officeDocument/2006/relationships" xmlns:p="http://schemas.openxmlformats.org/presentationml/2006/main">
  <p:tag name="NAME" val="CustomIcon"/>
</p:tagLst>
</file>

<file path=ppt/tags/tag524.xml><?xml version="1.0" encoding="utf-8"?>
<p:tagLst xmlns:a="http://schemas.openxmlformats.org/drawingml/2006/main" xmlns:r="http://schemas.openxmlformats.org/officeDocument/2006/relationships" xmlns:p="http://schemas.openxmlformats.org/presentationml/2006/main">
  <p:tag name="NAME" val="CustomIcon"/>
</p:tagLst>
</file>

<file path=ppt/tags/tag5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26.xml><?xml version="1.0" encoding="utf-8"?>
<p:tagLst xmlns:a="http://schemas.openxmlformats.org/drawingml/2006/main" xmlns:r="http://schemas.openxmlformats.org/officeDocument/2006/relationships" xmlns:p="http://schemas.openxmlformats.org/presentationml/2006/main">
  <p:tag name="NAME" val="CustomIcon"/>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29.xml><?xml version="1.0" encoding="utf-8"?>
<p:tagLst xmlns:a="http://schemas.openxmlformats.org/drawingml/2006/main" xmlns:r="http://schemas.openxmlformats.org/officeDocument/2006/relationships" xmlns:p="http://schemas.openxmlformats.org/presentationml/2006/main">
  <p:tag name="1LEVEL" val="10"/>
  <p:tag name="2LEVEL" val="5"/>
  <p:tag name="3LEVEL" val="2.5"/>
  <p:tag name="4LEVEL" val="1.25"/>
  <p:tag name="5LEVEL" val="0.62"/>
</p:tagLst>
</file>

<file path=ppt/tags/tag53.xml><?xml version="1.0" encoding="utf-8"?>
<p:tagLst xmlns:a="http://schemas.openxmlformats.org/drawingml/2006/main" xmlns:r="http://schemas.openxmlformats.org/officeDocument/2006/relationships" xmlns:p="http://schemas.openxmlformats.org/presentationml/2006/main">
  <p:tag name="SHAPENAME" val="5. Source"/>
</p:tagLst>
</file>

<file path=ppt/tags/tag53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36.xml><?xml version="1.0" encoding="utf-8"?>
<p:tagLst xmlns:a="http://schemas.openxmlformats.org/drawingml/2006/main" xmlns:r="http://schemas.openxmlformats.org/officeDocument/2006/relationships" xmlns:p="http://schemas.openxmlformats.org/presentationml/2006/main">
  <p:tag name="NAME" val="CustomIcon"/>
</p:tagLst>
</file>

<file path=ppt/tags/tag537.xml><?xml version="1.0" encoding="utf-8"?>
<p:tagLst xmlns:a="http://schemas.openxmlformats.org/drawingml/2006/main" xmlns:r="http://schemas.openxmlformats.org/officeDocument/2006/relationships" xmlns:p="http://schemas.openxmlformats.org/presentationml/2006/main">
  <p:tag name="NAME" val="CustomIcon"/>
</p:tagLst>
</file>

<file path=ppt/tags/tag5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1.xml><?xml version="1.0" encoding="utf-8"?>
<p:tagLst xmlns:a="http://schemas.openxmlformats.org/drawingml/2006/main" xmlns:r="http://schemas.openxmlformats.org/officeDocument/2006/relationships" xmlns:p="http://schemas.openxmlformats.org/presentationml/2006/main">
  <p:tag name="NAME" val="CustomIcon"/>
</p:tagLst>
</file>

<file path=ppt/tags/tag542.xml><?xml version="1.0" encoding="utf-8"?>
<p:tagLst xmlns:a="http://schemas.openxmlformats.org/drawingml/2006/main" xmlns:r="http://schemas.openxmlformats.org/officeDocument/2006/relationships" xmlns:p="http://schemas.openxmlformats.org/presentationml/2006/main">
  <p:tag name="NAME" val="CustomIcon"/>
</p:tagLst>
</file>

<file path=ppt/tags/tag54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NAME" val="ACET"/>
</p:tagLst>
</file>

<file path=ppt/tags/tag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4.xml><?xml version="1.0" encoding="utf-8"?>
<p:tagLst xmlns:a="http://schemas.openxmlformats.org/drawingml/2006/main" xmlns:r="http://schemas.openxmlformats.org/officeDocument/2006/relationships" xmlns:p="http://schemas.openxmlformats.org/presentationml/2006/main">
  <p:tag name="SHAPENAME" val="3. Subtitle"/>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SHAPENAME" val="5. Source"/>
</p:tagLst>
</file>

<file path=ppt/tags/tag6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7.xml><?xml version="1.0" encoding="utf-8"?>
<p:tagLst xmlns:a="http://schemas.openxmlformats.org/drawingml/2006/main" xmlns:r="http://schemas.openxmlformats.org/officeDocument/2006/relationships" xmlns:p="http://schemas.openxmlformats.org/presentationml/2006/main">
  <p:tag name="SHAPENAME" val="Grid"/>
</p:tagLst>
</file>

<file path=ppt/tags/tag7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2.xml><?xml version="1.0" encoding="utf-8"?>
<p:tagLst xmlns:a="http://schemas.openxmlformats.org/drawingml/2006/main" xmlns:r="http://schemas.openxmlformats.org/officeDocument/2006/relationships" xmlns:p="http://schemas.openxmlformats.org/presentationml/2006/main">
  <p:tag name="SHAPENAME" val="3. Subtitle"/>
</p:tagLst>
</file>

<file path=ppt/tags/tag73.xml><?xml version="1.0" encoding="utf-8"?>
<p:tagLst xmlns:a="http://schemas.openxmlformats.org/drawingml/2006/main" xmlns:r="http://schemas.openxmlformats.org/officeDocument/2006/relationships" xmlns:p="http://schemas.openxmlformats.org/presentationml/2006/main">
  <p:tag name="SHAPENAME" val="5. Source"/>
</p:tagLst>
</file>

<file path=ppt/tags/tag7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7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3. Subtitle"/>
</p:tagLst>
</file>

<file path=ppt/tags/tag81.xml><?xml version="1.0" encoding="utf-8"?>
<p:tagLst xmlns:a="http://schemas.openxmlformats.org/drawingml/2006/main" xmlns:r="http://schemas.openxmlformats.org/officeDocument/2006/relationships" xmlns:p="http://schemas.openxmlformats.org/presentationml/2006/main">
  <p:tag name="SHAPENAME" val="5. Source"/>
</p:tagLst>
</file>

<file path=ppt/tags/tag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8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9.xml><?xml version="1.0" encoding="utf-8"?>
<p:tagLst xmlns:a="http://schemas.openxmlformats.org/drawingml/2006/main" xmlns:r="http://schemas.openxmlformats.org/officeDocument/2006/relationships" xmlns:p="http://schemas.openxmlformats.org/presentationml/2006/main">
  <p:tag name="SHAPENAME" val="3. Subtitle"/>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5. Source"/>
</p:tagLst>
</file>

<file path=ppt/tags/tag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9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7.xml><?xml version="1.0" encoding="utf-8"?>
<p:tagLst xmlns:a="http://schemas.openxmlformats.org/drawingml/2006/main" xmlns:r="http://schemas.openxmlformats.org/officeDocument/2006/relationships" xmlns:p="http://schemas.openxmlformats.org/presentationml/2006/main">
  <p:tag name="SHAPENAME" val="3. Subtitle"/>
</p:tagLst>
</file>

<file path=ppt/tags/tag98.xml><?xml version="1.0" encoding="utf-8"?>
<p:tagLst xmlns:a="http://schemas.openxmlformats.org/drawingml/2006/main" xmlns:r="http://schemas.openxmlformats.org/officeDocument/2006/relationships" xmlns:p="http://schemas.openxmlformats.org/presentationml/2006/main">
  <p:tag name="SHAPENAME" val="5. Source"/>
</p:tagLst>
</file>

<file path=ppt/tags/tag99.xml><?xml version="1.0" encoding="utf-8"?>
<p:tagLst xmlns:a="http://schemas.openxmlformats.org/drawingml/2006/main" xmlns:r="http://schemas.openxmlformats.org/officeDocument/2006/relationships" xmlns:p="http://schemas.openxmlformats.org/presentationml/2006/main">
  <p:tag name="SHAPENAME" val="1. On-page tracker"/>
</p:tagLst>
</file>

<file path=ppt/theme/theme1.xml><?xml version="1.0" encoding="utf-8"?>
<a:theme xmlns:a="http://schemas.openxmlformats.org/drawingml/2006/main" name="White">
  <a:themeElements>
    <a:clrScheme name="Scheme1">
      <a:dk1>
        <a:srgbClr val="000000"/>
      </a:dk1>
      <a:lt1>
        <a:srgbClr val="FFFFFF"/>
      </a:lt1>
      <a:dk2>
        <a:srgbClr val="FFFFFF"/>
      </a:dk2>
      <a:lt2>
        <a:srgbClr val="FFFFFF"/>
      </a:lt2>
      <a:accent1>
        <a:srgbClr val="D61118"/>
      </a:accent1>
      <a:accent2>
        <a:srgbClr val="F47477"/>
      </a:accent2>
      <a:accent3>
        <a:srgbClr val="F74B00"/>
      </a:accent3>
      <a:accent4>
        <a:srgbClr val="FF9A6D"/>
      </a:accent4>
      <a:accent5>
        <a:srgbClr val="076533"/>
      </a:accent5>
      <a:accent6>
        <a:srgbClr val="88B59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D61118"/>
        </a:accent1>
        <a:accent2>
          <a:srgbClr val="F47477"/>
        </a:accent2>
        <a:accent3>
          <a:srgbClr val="F74B00"/>
        </a:accent3>
        <a:accent4>
          <a:srgbClr val="FF9A6D"/>
        </a:accent4>
        <a:accent5>
          <a:srgbClr val="076533"/>
        </a:accent5>
        <a:accent6>
          <a:srgbClr val="88B59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0813YK01_CF_16x9_ENG_V2.potx" id="{0FE31533-4EF3-4836-A5BE-8CE65E10D4B0}" vid="{6793B0AD-8885-45C2-8F11-51EDD69B081D}"/>
    </a:ext>
  </a:extLst>
</a:theme>
</file>

<file path=ppt/theme/theme2.xml><?xml version="1.0" encoding="utf-8"?>
<a:theme xmlns:a="http://schemas.openxmlformats.org/drawingml/2006/main" name="Contrast">
  <a:themeElements>
    <a:clrScheme name="Scheme2">
      <a:dk1>
        <a:srgbClr val="FFFFFF"/>
      </a:dk1>
      <a:lt1>
        <a:srgbClr val="D61118"/>
      </a:lt1>
      <a:dk2>
        <a:srgbClr val="000000"/>
      </a:dk2>
      <a:lt2>
        <a:srgbClr val="000000"/>
      </a:lt2>
      <a:accent1>
        <a:srgbClr val="FFFFFF"/>
      </a:accent1>
      <a:accent2>
        <a:srgbClr val="F47477"/>
      </a:accent2>
      <a:accent3>
        <a:srgbClr val="F74B00"/>
      </a:accent3>
      <a:accent4>
        <a:srgbClr val="FF9A6D"/>
      </a:accent4>
      <a:accent5>
        <a:srgbClr val="076533"/>
      </a:accent5>
      <a:accent6>
        <a:srgbClr val="88B59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2">
        <a:dk1>
          <a:srgbClr val="FFFFFF"/>
        </a:dk1>
        <a:lt1>
          <a:srgbClr val="D61118"/>
        </a:lt1>
        <a:dk2>
          <a:srgbClr val="000000"/>
        </a:dk2>
        <a:lt2>
          <a:srgbClr val="000000"/>
        </a:lt2>
        <a:accent1>
          <a:srgbClr val="FFFFFF"/>
        </a:accent1>
        <a:accent2>
          <a:srgbClr val="F47477"/>
        </a:accent2>
        <a:accent3>
          <a:srgbClr val="F74B00"/>
        </a:accent3>
        <a:accent4>
          <a:srgbClr val="FF9A6D"/>
        </a:accent4>
        <a:accent5>
          <a:srgbClr val="076533"/>
        </a:accent5>
        <a:accent6>
          <a:srgbClr val="88B59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0813YK01_CF_16x9_ENG_V2.potx" id="{0FE31533-4EF3-4836-A5BE-8CE65E10D4B0}" vid="{85DD5687-8930-4907-95FC-FDF2B35CC210}"/>
    </a:ext>
  </a:extLst>
</a:theme>
</file>

<file path=ppt/theme/theme3.xml><?xml version="1.0" encoding="utf-8"?>
<a:theme xmlns:a="http://schemas.openxmlformats.org/drawingml/2006/main" name="2_White">
  <a:themeElements>
    <a:clrScheme name="Scheme1">
      <a:dk1>
        <a:srgbClr val="000000"/>
      </a:dk1>
      <a:lt1>
        <a:srgbClr val="FFFFFF"/>
      </a:lt1>
      <a:dk2>
        <a:srgbClr val="FFFFFF"/>
      </a:dk2>
      <a:lt2>
        <a:srgbClr val="FFFFFF"/>
      </a:lt2>
      <a:accent1>
        <a:srgbClr val="D61118"/>
      </a:accent1>
      <a:accent2>
        <a:srgbClr val="F47477"/>
      </a:accent2>
      <a:accent3>
        <a:srgbClr val="F74B00"/>
      </a:accent3>
      <a:accent4>
        <a:srgbClr val="FF9A6D"/>
      </a:accent4>
      <a:accent5>
        <a:srgbClr val="076533"/>
      </a:accent5>
      <a:accent6>
        <a:srgbClr val="88B59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D61118"/>
        </a:accent1>
        <a:accent2>
          <a:srgbClr val="F47477"/>
        </a:accent2>
        <a:accent3>
          <a:srgbClr val="F74B00"/>
        </a:accent3>
        <a:accent4>
          <a:srgbClr val="FF9A6D"/>
        </a:accent4>
        <a:accent5>
          <a:srgbClr val="076533"/>
        </a:accent5>
        <a:accent6>
          <a:srgbClr val="88B59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EN_BASEFORM_16x9_OF_TITLETOP(56)" id="{0F1A248F-C8F2-4913-BAA4-8AA824C1E899}" vid="{ACB3D4BB-BADB-4D8F-B39A-E45D35F7EFAD}"/>
    </a:ext>
  </a:extLst>
</a:theme>
</file>

<file path=ppt/theme/theme4.xml><?xml version="1.0" encoding="utf-8"?>
<a:theme xmlns:a="http://schemas.openxmlformats.org/drawingml/2006/main" name="6_White">
  <a:themeElements>
    <a:clrScheme name="Scheme1">
      <a:dk1>
        <a:srgbClr val="000000"/>
      </a:dk1>
      <a:lt1>
        <a:srgbClr val="FFFFFF"/>
      </a:lt1>
      <a:dk2>
        <a:srgbClr val="FFFFFF"/>
      </a:dk2>
      <a:lt2>
        <a:srgbClr val="FFFFFF"/>
      </a:lt2>
      <a:accent1>
        <a:srgbClr val="D61118"/>
      </a:accent1>
      <a:accent2>
        <a:srgbClr val="F47477"/>
      </a:accent2>
      <a:accent3>
        <a:srgbClr val="F74B00"/>
      </a:accent3>
      <a:accent4>
        <a:srgbClr val="FF9A6D"/>
      </a:accent4>
      <a:accent5>
        <a:srgbClr val="076533"/>
      </a:accent5>
      <a:accent6>
        <a:srgbClr val="88B59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D61118"/>
        </a:accent1>
        <a:accent2>
          <a:srgbClr val="F47477"/>
        </a:accent2>
        <a:accent3>
          <a:srgbClr val="F74B00"/>
        </a:accent3>
        <a:accent4>
          <a:srgbClr val="FF9A6D"/>
        </a:accent4>
        <a:accent5>
          <a:srgbClr val="076533"/>
        </a:accent5>
        <a:accent6>
          <a:srgbClr val="88B59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3275XB01_CF_16x9_ENG_IK.potx" id="{043F4F76-E390-4134-B271-07AE5E352A1D}" vid="{E5635F7A-D524-4BA5-AA61-3336E07F9EB1}"/>
    </a:ext>
  </a:extLst>
</a:theme>
</file>

<file path=ppt/theme/theme5.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3" Type="http://schemas.microsoft.com/office/2011/relationships/webextension" Target="webextension3.xml"/><Relationship Id="rId2" Type="http://schemas.microsoft.com/office/2011/relationships/webextension" Target="webextension2.xml"/><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525" row="0">
    <wetp:webextensionref xmlns:r="http://schemas.openxmlformats.org/officeDocument/2006/relationships" r:id="rId1"/>
  </wetp:taskpane>
  <wetp:taskpane dockstate="right" visibility="0" width="525" row="7">
    <wetp:webextensionref xmlns:r="http://schemas.openxmlformats.org/officeDocument/2006/relationships" r:id="rId2"/>
  </wetp:taskpane>
  <wetp:taskpane dockstate="right" visibility="0" width="438" row="7">
    <wetp:webextensionref xmlns:r="http://schemas.openxmlformats.org/officeDocument/2006/relationships" r:id="rId3"/>
  </wetp:taskpane>
</wetp:taskpanes>
</file>

<file path=ppt/webextensions/webextension1.xml><?xml version="1.0" encoding="utf-8"?>
<we:webextension xmlns:we="http://schemas.microsoft.com/office/webextensions/webextension/2010/11" id="{1543B5FC-406E-4B2F-AD18-20E28C2B1129}">
  <we:reference id="5332053f-08b1-4ad5-b936-144d44d33f40" version="2.1.0.2" store="EXCatalog" storeType="EXCatalog"/>
  <we:alternateReferences/>
  <we:properties/>
  <we:bindings/>
  <we:snapshot xmlns:r="http://schemas.openxmlformats.org/officeDocument/2006/relationships"/>
</we:webextension>
</file>

<file path=ppt/webextensions/webextension2.xml><?xml version="1.0" encoding="utf-8"?>
<we:webextension xmlns:we="http://schemas.microsoft.com/office/webextensions/webextension/2010/11" id="{BEF3EAB8-12F2-4C6D-995A-02E4413454BF}">
  <we:reference id="7888317b-a425-4590-9747-4c188fd7be2e" version="2.27.2.0" store="EXCatalog" storeType="EXCatalog"/>
  <we:alternateReferences/>
  <we:properties/>
  <we:bindings/>
  <we:snapshot xmlns:r="http://schemas.openxmlformats.org/officeDocument/2006/relationships"/>
  <we:extLst>
    <a:ext xmlns:a="http://schemas.openxmlformats.org/drawingml/2006/main" uri="{0858819E-0033-43BF-8937-05EC82904868}">
      <we:backgroundApp state="0" runtimeId="Taskpane.Url"/>
    </a:ext>
  </we:extLst>
</we:webextension>
</file>

<file path=ppt/webextensions/webextension3.xml><?xml version="1.0" encoding="utf-8"?>
<we:webextension xmlns:we="http://schemas.microsoft.com/office/webextensions/webextension/2010/11" id="{CB1EC988-7E8D-43C0-BBCA-6269009C2F4C}">
  <we:reference id="e74ca2a7-5e50-4ebf-bfa5-bb75c7950374" version="4.0.0.0" store="EXCatalog" storeType="EXCatalog"/>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1B96E6CCE4F4844CB84D0C3D1086C1FD" ma:contentTypeVersion="15" ma:contentTypeDescription="Create a new document." ma:contentTypeScope="" ma:versionID="1f2ee007f7fab9adf95bb43ecc8c1dd7">
  <xsd:schema xmlns:xsd="http://www.w3.org/2001/XMLSchema" xmlns:xs="http://www.w3.org/2001/XMLSchema" xmlns:p="http://schemas.microsoft.com/office/2006/metadata/properties" xmlns:ns1="http://schemas.microsoft.com/sharepoint/v3" xmlns:ns2="21731e03-f7ae-4152-8881-bb1c031cac1b" xmlns:ns3="49e1bf9d-1317-43b0-978d-2d8c4fc30d46" targetNamespace="http://schemas.microsoft.com/office/2006/metadata/properties" ma:root="true" ma:fieldsID="fac2ae36e97494fb076c26cbe641c130" ns1:_="" ns2:_="" ns3:_="">
    <xsd:import namespace="http://schemas.microsoft.com/sharepoint/v3"/>
    <xsd:import namespace="21731e03-f7ae-4152-8881-bb1c031cac1b"/>
    <xsd:import namespace="49e1bf9d-1317-43b0-978d-2d8c4fc30d46"/>
    <xsd:element name="properties">
      <xsd:complexType>
        <xsd:sequence>
          <xsd:element name="documentManagement">
            <xsd:complexType>
              <xsd:all>
                <xsd:element ref="ns1:SourceSystemTaxHTField" minOccurs="0"/>
                <xsd:element ref="ns2:TaxCatchAll" minOccurs="0"/>
                <xsd:element ref="ns2:TaxCatchAllLabel" minOccurs="0"/>
                <xsd:element ref="ns1:DataSourceTaxHTField" minOccurs="0"/>
                <xsd:element ref="ns3:MediaServiceMetadata" minOccurs="0"/>
                <xsd:element ref="ns3:MediaServiceFastMetadata" minOccurs="0"/>
                <xsd:element ref="ns3:MediaServiceSearchProperties" minOccurs="0"/>
                <xsd:element ref="ns3:MediaServiceObjectDetectorVersions" minOccurs="0"/>
                <xsd:element ref="ns3:lcf76f155ced4ddcb4097134ff3c332f" minOccurs="0"/>
                <xsd:element ref="ns3:MediaServiceDateTaken" minOccurs="0"/>
                <xsd:element ref="ns3:MediaServiceOCR" minOccurs="0"/>
                <xsd:element ref="ns3:MediaServiceGenerationTime" minOccurs="0"/>
                <xsd:element ref="ns3:MediaServiceEventHashCode" minOccurs="0"/>
                <xsd:element ref="ns3:MediaServiceBillingMetadata"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SourceSystemTaxHTField" ma:index="8" nillable="true" ma:taxonomy="true" ma:internalName="SourceSystemTaxHTField" ma:taxonomyFieldName="SourceSystem" ma:displayName="SourceSystem" ma:default="1;#SPE|e1155322-03d8-4904-a51c-d7d7cbd8ca84" ma:fieldId="{47a4a752-267f-4a97-8090-10a2519bea80}" ma:sspId="c9369470-76d8-40bb-9f83-c9dbb6c0fac8" ma:termSetId="14dc3a28-f268-42f7-8f59-1ae69d4ade2b" ma:anchorId="00000000-0000-0000-0000-000000000000" ma:open="false" ma:isKeyword="false">
      <xsd:complexType>
        <xsd:sequence>
          <xsd:element ref="pc:Terms" minOccurs="0" maxOccurs="1"/>
        </xsd:sequence>
      </xsd:complexType>
    </xsd:element>
    <xsd:element name="DataSourceTaxHTField" ma:index="12" nillable="true" ma:taxonomy="true" ma:internalName="DataSourceTaxHTField" ma:taxonomyFieldName="DataSource" ma:displayName="DataSource" ma:default="2;#Internal|0b10eabc-00d3-4553-8252-f6efa1cda259" ma:fieldId="{3f43e88d-a7af-4356-bc15-e032d34e22fe}" ma:sspId="c9369470-76d8-40bb-9f83-c9dbb6c0fac8" ma:termSetId="36ddf51e-868c-4a6e-ae2e-8e285ecab479"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1731e03-f7ae-4152-8881-bb1c031cac1b" elementFormDefault="qualified">
    <xsd:import namespace="http://schemas.microsoft.com/office/2006/documentManagement/types"/>
    <xsd:import namespace="http://schemas.microsoft.com/office/infopath/2007/PartnerControls"/>
    <xsd:element name="TaxCatchAll" ma:index="9" nillable="true" ma:displayName="Taxonomy Catch All Column" ma:hidden="true" ma:list="{1237d863-4cbc-4df7-88c7-fa3796088513}" ma:internalName="TaxCatchAll" ma:showField="CatchAllData" ma:web="21731e03-f7ae-4152-8881-bb1c031cac1b">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1237d863-4cbc-4df7-88c7-fa3796088513}" ma:internalName="TaxCatchAllLabel" ma:readOnly="true" ma:showField="CatchAllDataLabel" ma:web="21731e03-f7ae-4152-8881-bb1c031cac1b">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49e1bf9d-1317-43b0-978d-2d8c4fc30d46" elementFormDefault="qualified">
    <xsd:import namespace="http://schemas.microsoft.com/office/2006/documentManagement/types"/>
    <xsd:import namespace="http://schemas.microsoft.com/office/infopath/2007/PartnerControls"/>
    <xsd:element name="MediaServiceMetadata" ma:index="14" nillable="true" ma:displayName="MediaServiceMetadata" ma:hidden="true" ma:internalName="MediaServiceMetadata" ma:readOnly="true">
      <xsd:simpleType>
        <xsd:restriction base="dms:Note"/>
      </xsd:simpleType>
    </xsd:element>
    <xsd:element name="MediaServiceFastMetadata" ma:index="15" nillable="true" ma:displayName="MediaServiceFastMetadata" ma:hidden="true" ma:internalName="MediaServiceFastMetadata" ma:readOnly="true">
      <xsd:simpleType>
        <xsd:restriction base="dms:Note"/>
      </xsd:simpleType>
    </xsd:element>
    <xsd:element name="MediaServiceSearchProperties" ma:index="16" nillable="true" ma:displayName="MediaServiceSearchProperties" ma:hidden="true" ma:internalName="MediaServiceSearchProperties" ma:readOnly="true">
      <xsd:simpleType>
        <xsd:restriction base="dms:Note"/>
      </xsd:simple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18eb3a52-a9ad-454e-96a1-46bb4cd16a89" ma:termSetId="09814cd3-568e-fe90-9814-8d621ff8fb84" ma:anchorId="fba54fb3-c3e1-fe81-a776-ca4b69148c4d" ma:open="true" ma:isKeyword="false">
      <xsd:complexType>
        <xsd:sequence>
          <xsd:element ref="pc:Terms" minOccurs="0" maxOccurs="1"/>
        </xsd:sequence>
      </xsd:complexType>
    </xsd:element>
    <xsd:element name="MediaServiceDateTaken" ma:index="20" nillable="true" ma:displayName="MediaServiceDateTaken" ma:hidden="true" ma:indexed="true" ma:internalName="MediaServiceDateTaken" ma:readOnly="true">
      <xsd:simpleType>
        <xsd:restriction base="dms:Text"/>
      </xsd:simpleType>
    </xsd:element>
    <xsd:element name="MediaServiceOCR" ma:index="21" nillable="true" ma:displayName="Extracted Text" ma:internalName="MediaServiceOCR" ma:readOnly="true">
      <xsd:simpleType>
        <xsd:restriction base="dms:Note">
          <xsd:maxLength value="255"/>
        </xsd:restriction>
      </xsd:simpleType>
    </xsd:element>
    <xsd:element name="MediaServiceGenerationTime" ma:index="22" nillable="true" ma:displayName="MediaServiceGenerationTime" ma:hidden="true" ma:internalName="MediaServiceGenerationTime" ma:readOnly="true">
      <xsd:simpleType>
        <xsd:restriction base="dms:Text"/>
      </xsd:simpleType>
    </xsd:element>
    <xsd:element name="MediaServiceEventHashCode" ma:index="23" nillable="true" ma:displayName="MediaServiceEventHashCode" ma:hidden="true" ma:internalName="MediaServiceEventHashCode" ma:readOnly="true">
      <xsd:simpleType>
        <xsd:restriction base="dms:Text"/>
      </xsd:simpleType>
    </xsd:element>
    <xsd:element name="MediaServiceBillingMetadata" ma:index="24" nillable="true" ma:displayName="MediaServiceBillingMetadata" ma:hidden="true" ma:internalName="MediaServiceBillingMetadata" ma:readOnly="true">
      <xsd:simpleType>
        <xsd:restriction base="dms:Note"/>
      </xsd:simpleType>
    </xsd:element>
    <xsd:element name="MediaLengthInSeconds" ma:index="2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DataSourceTaxHTField xmlns="http://schemas.microsoft.com/sharepoint/v3">
      <Terms xmlns="http://schemas.microsoft.com/office/infopath/2007/PartnerControls">
        <TermInfo xmlns="http://schemas.microsoft.com/office/infopath/2007/PartnerControls">
          <TermName xmlns="http://schemas.microsoft.com/office/infopath/2007/PartnerControls">Internal</TermName>
          <TermId xmlns="http://schemas.microsoft.com/office/infopath/2007/PartnerControls">0b10eabc-00d3-4553-8252-f6efa1cda259</TermId>
        </TermInfo>
      </Terms>
    </DataSourceTaxHTField>
    <SourceSystemTaxHTField xmlns="http://schemas.microsoft.com/sharepoint/v3">
      <Terms xmlns="http://schemas.microsoft.com/office/infopath/2007/PartnerControls">
        <TermInfo xmlns="http://schemas.microsoft.com/office/infopath/2007/PartnerControls">
          <TermName xmlns="http://schemas.microsoft.com/office/infopath/2007/PartnerControls">SPE</TermName>
          <TermId xmlns="http://schemas.microsoft.com/office/infopath/2007/PartnerControls">e1155322-03d8-4904-a51c-d7d7cbd8ca84</TermId>
        </TermInfo>
      </Terms>
    </SourceSystemTaxHTField>
    <lcf76f155ced4ddcb4097134ff3c332f xmlns="49e1bf9d-1317-43b0-978d-2d8c4fc30d46">
      <Terms xmlns="http://schemas.microsoft.com/office/infopath/2007/PartnerControls"/>
    </lcf76f155ced4ddcb4097134ff3c332f>
    <TaxCatchAll xmlns="21731e03-f7ae-4152-8881-bb1c031cac1b">
      <Value>2</Value>
      <Value>1</Value>
    </TaxCatchAll>
  </documentManagement>
</p:properties>
</file>

<file path=customXml/itemProps1.xml><?xml version="1.0" encoding="utf-8"?>
<ds:datastoreItem xmlns:ds="http://schemas.openxmlformats.org/officeDocument/2006/customXml" ds:itemID="{C2524005-CA06-4F7D-9A8F-BAF75C9B06C1}">
  <ds:schemaRefs>
    <ds:schemaRef ds:uri="http://schemas.microsoft.com/sharepoint/v3/contenttype/forms"/>
  </ds:schemaRefs>
</ds:datastoreItem>
</file>

<file path=customXml/itemProps2.xml><?xml version="1.0" encoding="utf-8"?>
<ds:datastoreItem xmlns:ds="http://schemas.openxmlformats.org/officeDocument/2006/customXml" ds:itemID="{2B098550-2C45-4691-9F29-508F9B30EFCC}">
  <ds:schemaRefs>
    <ds:schemaRef ds:uri="21731e03-f7ae-4152-8881-bb1c031cac1b"/>
    <ds:schemaRef ds:uri="49e1bf9d-1317-43b0-978d-2d8c4fc30d4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CBDFEF53-67D3-4F89-98CE-ACC9DE5943C2}">
  <ds:schemaRefs>
    <ds:schemaRef ds:uri="21731e03-f7ae-4152-8881-bb1c031cac1b"/>
    <ds:schemaRef ds:uri="49e1bf9d-1317-43b0-978d-2d8c4fc30d46"/>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0813YK01_CF_16x9_ENG_V2</Template>
  <TotalTime>0</TotalTime>
  <Words>1300</Words>
  <Application>Microsoft Office PowerPoint</Application>
  <PresentationFormat>Widescreen</PresentationFormat>
  <Paragraphs>142</Paragraphs>
  <Slides>17</Slides>
  <Notes>0</Notes>
  <HiddenSlides>0</HiddenSlides>
  <MMClips>0</MMClips>
  <ScaleCrop>false</ScaleCrop>
  <HeadingPairs>
    <vt:vector size="4" baseType="variant">
      <vt:variant>
        <vt:lpstr>Theme</vt:lpstr>
      </vt:variant>
      <vt:variant>
        <vt:i4>4</vt:i4>
      </vt:variant>
      <vt:variant>
        <vt:lpstr>Slide Titles</vt:lpstr>
      </vt:variant>
      <vt:variant>
        <vt:i4>17</vt:i4>
      </vt:variant>
    </vt:vector>
  </HeadingPairs>
  <TitlesOfParts>
    <vt:vector size="21" baseType="lpstr">
      <vt:lpstr>White</vt:lpstr>
      <vt:lpstr>Contrast</vt:lpstr>
      <vt:lpstr>2_White</vt:lpstr>
      <vt:lpstr>6_White</vt:lpstr>
      <vt:lpstr>County Aggregation and Industrial Parks (CAIPs)</vt:lpstr>
      <vt:lpstr>Overview </vt:lpstr>
      <vt:lpstr>Lessons Across Borders</vt:lpstr>
      <vt:lpstr>Overview (2/2)</vt:lpstr>
      <vt:lpstr>Background</vt:lpstr>
      <vt:lpstr>Macro investment opportunity</vt:lpstr>
      <vt:lpstr>CAIPs architecture &amp; design (1/2)</vt:lpstr>
      <vt:lpstr>CAIPs architecture &amp; design (2/2)</vt:lpstr>
      <vt:lpstr>Targeted value chains (1/2)</vt:lpstr>
      <vt:lpstr>Targeted value chains (2/2)</vt:lpstr>
      <vt:lpstr>Strategic fiscal &amp; regulatory incentives</vt:lpstr>
      <vt:lpstr>Operational models</vt:lpstr>
      <vt:lpstr>Anchor Manufacturers &amp; Processors</vt:lpstr>
      <vt:lpstr>County Government Operated Model </vt:lpstr>
      <vt:lpstr>Special Purpose Vehicle (SPV) Model </vt:lpstr>
      <vt:lpstr>Special Purpose Vehicle (SPV) Model </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Leire Sarasola Santiago</dc:creator>
  <cp:keywords/>
  <dc:description/>
  <cp:lastModifiedBy>Amisi Rogers</cp:lastModifiedBy>
  <cp:revision>29</cp:revision>
  <dcterms:created xsi:type="dcterms:W3CDTF">2025-03-08T05:38:41Z</dcterms:created>
  <dcterms:modified xsi:type="dcterms:W3CDTF">2026-07-08T12:07:10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3303d7c-e5a3-4cc8-90eb-69bfd7570ac4_Enabled">
    <vt:lpwstr>True</vt:lpwstr>
  </property>
  <property fmtid="{D5CDD505-2E9C-101B-9397-08002B2CF9AE}" pid="3" name="MSIP_Label_83303d7c-e5a3-4cc8-90eb-69bfd7570ac4_SetDate">
    <vt:lpwstr>2025-02-23T11:45:03Z</vt:lpwstr>
  </property>
  <property fmtid="{D5CDD505-2E9C-101B-9397-08002B2CF9AE}" pid="4" name="MediaServiceImageTags">
    <vt:lpwstr/>
  </property>
  <property fmtid="{D5CDD505-2E9C-101B-9397-08002B2CF9AE}" pid="5" name="ContentTypeId">
    <vt:lpwstr>0x0101001B96E6CCE4F4844CB84D0C3D1086C1FD</vt:lpwstr>
  </property>
  <property fmtid="{D5CDD505-2E9C-101B-9397-08002B2CF9AE}" pid="6" name="DataSource">
    <vt:lpwstr>2;#Internal|0b10eabc-00d3-4553-8252-f6efa1cda259</vt:lpwstr>
  </property>
  <property fmtid="{D5CDD505-2E9C-101B-9397-08002B2CF9AE}" pid="7" name="MSIP_Label_83303d7c-e5a3-4cc8-90eb-69bfd7570ac4_ActionId">
    <vt:lpwstr>7908301d-2d02-4d49-aff9-c9664f13155b</vt:lpwstr>
  </property>
  <property fmtid="{D5CDD505-2E9C-101B-9397-08002B2CF9AE}" pid="8" name="SourceSystem">
    <vt:lpwstr>1;#SPE|e1155322-03d8-4904-a51c-d7d7cbd8ca84</vt:lpwstr>
  </property>
  <property fmtid="{D5CDD505-2E9C-101B-9397-08002B2CF9AE}" pid="9" name="MSIP_Label_83303d7c-e5a3-4cc8-90eb-69bfd7570ac4_Removed">
    <vt:lpwstr>False</vt:lpwstr>
  </property>
  <property fmtid="{D5CDD505-2E9C-101B-9397-08002B2CF9AE}" pid="10" name="MSIP_Label_83303d7c-e5a3-4cc8-90eb-69bfd7570ac4_Extended_MSFT_Method">
    <vt:lpwstr>Standard</vt:lpwstr>
  </property>
  <property fmtid="{D5CDD505-2E9C-101B-9397-08002B2CF9AE}" pid="11" name="MSIP_Label_83303d7c-e5a3-4cc8-90eb-69bfd7570ac4_SiteId">
    <vt:lpwstr>cc8936bc-9382-4fff-87cb-6f55999549e7</vt:lpwstr>
  </property>
  <property fmtid="{D5CDD505-2E9C-101B-9397-08002B2CF9AE}" pid="12" name="Sensitivity">
    <vt:lpwstr>Client Confidential</vt:lpwstr>
  </property>
  <property fmtid="{D5CDD505-2E9C-101B-9397-08002B2CF9AE}" pid="13" name="MSIP_Label_83303d7c-e5a3-4cc8-90eb-69bfd7570ac4_Name">
    <vt:lpwstr>Client Confidential</vt:lpwstr>
  </property>
</Properties>
</file>